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wmf" ContentType="image/x-wm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2.xml" ContentType="application/vnd.openxmlformats-officedocument.theme+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3.xml" ContentType="application/vnd.openxmlformats-officedocument.theme+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4.xml" ContentType="application/vnd.openxmlformats-officedocument.theme+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5.xml" ContentType="application/vnd.openxmlformats-officedocument.theme+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6.xml" ContentType="application/vnd.openxmlformats-officedocument.theme+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7.xml" ContentType="application/vnd.openxmlformats-officedocument.theme+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8.xml" ContentType="application/vnd.openxmlformats-officedocument.theme+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heme/theme9.xml" ContentType="application/vnd.openxmlformats-officedocument.theme+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heme/theme10.xml" ContentType="application/vnd.openxmlformats-officedocument.theme+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11.xml" ContentType="application/vnd.openxmlformats-officedocument.theme+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heme/theme12.xml" ContentType="application/vnd.openxmlformats-officedocument.theme+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theme/theme13.xml" ContentType="application/vnd.openxmlformats-officedocument.theme+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theme/theme14.xml" ContentType="application/vnd.openxmlformats-officedocument.theme+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theme/theme15.xml" ContentType="application/vnd.openxmlformats-officedocument.theme+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theme/theme16.xml" ContentType="application/vnd.openxmlformats-officedocument.theme+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theme/theme17.xml" ContentType="application/vnd.openxmlformats-officedocument.theme+xml"/>
  <Override PartName="/ppt/tags/tag1.xml" ContentType="application/vnd.openxmlformats-officedocument.presentationml.tags+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theme/theme18.xml" ContentType="application/vnd.openxmlformats-officedocument.theme+xml"/>
  <Override PartName="/ppt/theme/theme19.xml" ContentType="application/vnd.openxmlformats-officedocument.theme+xml"/>
  <Override PartName="/ppt/theme/theme20.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1" r:id="rId1"/>
    <p:sldMasterId id="2147485251" r:id="rId2"/>
    <p:sldMasterId id="2147485271" r:id="rId3"/>
    <p:sldMasterId id="2147485444" r:id="rId4"/>
    <p:sldMasterId id="2147485645" r:id="rId5"/>
    <p:sldMasterId id="2147485725" r:id="rId6"/>
    <p:sldMasterId id="2147486169" r:id="rId7"/>
    <p:sldMasterId id="2147486179" r:id="rId8"/>
    <p:sldMasterId id="2147486190" r:id="rId9"/>
    <p:sldMasterId id="2147486401" r:id="rId10"/>
    <p:sldMasterId id="2147486416" r:id="rId11"/>
    <p:sldMasterId id="2147486421" r:id="rId12"/>
    <p:sldMasterId id="2147486432" r:id="rId13"/>
    <p:sldMasterId id="2147486443" r:id="rId14"/>
    <p:sldMasterId id="2147486449" r:id="rId15"/>
    <p:sldMasterId id="2147486455" r:id="rId16"/>
    <p:sldMasterId id="2147486523" r:id="rId17"/>
    <p:sldMasterId id="2147486559" r:id="rId18"/>
  </p:sldMasterIdLst>
  <p:notesMasterIdLst>
    <p:notesMasterId r:id="rId64"/>
  </p:notesMasterIdLst>
  <p:handoutMasterIdLst>
    <p:handoutMasterId r:id="rId65"/>
  </p:handoutMasterIdLst>
  <p:sldIdLst>
    <p:sldId id="1358" r:id="rId19"/>
    <p:sldId id="1361" r:id="rId20"/>
    <p:sldId id="1417" r:id="rId21"/>
    <p:sldId id="1464" r:id="rId22"/>
    <p:sldId id="1455" r:id="rId23"/>
    <p:sldId id="1463" r:id="rId24"/>
    <p:sldId id="688" r:id="rId25"/>
    <p:sldId id="1465" r:id="rId26"/>
    <p:sldId id="524" r:id="rId27"/>
    <p:sldId id="719" r:id="rId28"/>
    <p:sldId id="1466" r:id="rId29"/>
    <p:sldId id="735" r:id="rId30"/>
    <p:sldId id="698" r:id="rId31"/>
    <p:sldId id="749" r:id="rId32"/>
    <p:sldId id="1402" r:id="rId33"/>
    <p:sldId id="634" r:id="rId34"/>
    <p:sldId id="1467" r:id="rId35"/>
    <p:sldId id="1459" r:id="rId36"/>
    <p:sldId id="1461" r:id="rId37"/>
    <p:sldId id="1515" r:id="rId38"/>
    <p:sldId id="1510" r:id="rId39"/>
    <p:sldId id="1508" r:id="rId40"/>
    <p:sldId id="1506" r:id="rId41"/>
    <p:sldId id="1468" r:id="rId42"/>
    <p:sldId id="1516" r:id="rId43"/>
    <p:sldId id="1426" r:id="rId44"/>
    <p:sldId id="1424" r:id="rId45"/>
    <p:sldId id="1493" r:id="rId46"/>
    <p:sldId id="1492" r:id="rId47"/>
    <p:sldId id="1517" r:id="rId48"/>
    <p:sldId id="1501" r:id="rId49"/>
    <p:sldId id="1502" r:id="rId50"/>
    <p:sldId id="1522" r:id="rId51"/>
    <p:sldId id="1523" r:id="rId52"/>
    <p:sldId id="1470" r:id="rId53"/>
    <p:sldId id="1419" r:id="rId54"/>
    <p:sldId id="1418" r:id="rId55"/>
    <p:sldId id="1421" r:id="rId56"/>
    <p:sldId id="1422" r:id="rId57"/>
    <p:sldId id="1423" r:id="rId58"/>
    <p:sldId id="1526" r:id="rId59"/>
    <p:sldId id="1525" r:id="rId60"/>
    <p:sldId id="1529" r:id="rId61"/>
    <p:sldId id="1528" r:id="rId62"/>
    <p:sldId id="1454" r:id="rId63"/>
  </p:sldIdLst>
  <p:sldSz cx="12192000" cy="6858000"/>
  <p:notesSz cx="6888163" cy="10020300"/>
  <p:defaultTextStyle>
    <a:defPPr>
      <a:defRPr lang="de-DE"/>
    </a:defPPr>
    <a:lvl1pPr algn="l" rtl="0" eaLnBrk="0" fontAlgn="base" hangingPunct="0">
      <a:spcBef>
        <a:spcPct val="0"/>
      </a:spcBef>
      <a:spcAft>
        <a:spcPct val="0"/>
      </a:spcAft>
      <a:defRPr b="1" kern="1200">
        <a:solidFill>
          <a:schemeClr val="tx1"/>
        </a:solidFill>
        <a:latin typeface="Verdana" panose="020B0604030504040204" pitchFamily="34" charset="0"/>
        <a:ea typeface="+mn-ea"/>
        <a:cs typeface="+mn-cs"/>
      </a:defRPr>
    </a:lvl1pPr>
    <a:lvl2pPr marL="457200" algn="l" rtl="0" eaLnBrk="0" fontAlgn="base" hangingPunct="0">
      <a:spcBef>
        <a:spcPct val="0"/>
      </a:spcBef>
      <a:spcAft>
        <a:spcPct val="0"/>
      </a:spcAft>
      <a:defRPr b="1" kern="1200">
        <a:solidFill>
          <a:schemeClr val="tx1"/>
        </a:solidFill>
        <a:latin typeface="Verdana" panose="020B0604030504040204" pitchFamily="34" charset="0"/>
        <a:ea typeface="+mn-ea"/>
        <a:cs typeface="+mn-cs"/>
      </a:defRPr>
    </a:lvl2pPr>
    <a:lvl3pPr marL="914400" algn="l" rtl="0" eaLnBrk="0" fontAlgn="base" hangingPunct="0">
      <a:spcBef>
        <a:spcPct val="0"/>
      </a:spcBef>
      <a:spcAft>
        <a:spcPct val="0"/>
      </a:spcAft>
      <a:defRPr b="1" kern="1200">
        <a:solidFill>
          <a:schemeClr val="tx1"/>
        </a:solidFill>
        <a:latin typeface="Verdana" panose="020B0604030504040204" pitchFamily="34" charset="0"/>
        <a:ea typeface="+mn-ea"/>
        <a:cs typeface="+mn-cs"/>
      </a:defRPr>
    </a:lvl3pPr>
    <a:lvl4pPr marL="1371600" algn="l" rtl="0" eaLnBrk="0" fontAlgn="base" hangingPunct="0">
      <a:spcBef>
        <a:spcPct val="0"/>
      </a:spcBef>
      <a:spcAft>
        <a:spcPct val="0"/>
      </a:spcAft>
      <a:defRPr b="1" kern="1200">
        <a:solidFill>
          <a:schemeClr val="tx1"/>
        </a:solidFill>
        <a:latin typeface="Verdana" panose="020B0604030504040204" pitchFamily="34" charset="0"/>
        <a:ea typeface="+mn-ea"/>
        <a:cs typeface="+mn-cs"/>
      </a:defRPr>
    </a:lvl4pPr>
    <a:lvl5pPr marL="1828800" algn="l" rtl="0" eaLnBrk="0" fontAlgn="base" hangingPunct="0">
      <a:spcBef>
        <a:spcPct val="0"/>
      </a:spcBef>
      <a:spcAft>
        <a:spcPct val="0"/>
      </a:spcAft>
      <a:defRPr b="1" kern="1200">
        <a:solidFill>
          <a:schemeClr val="tx1"/>
        </a:solidFill>
        <a:latin typeface="Verdana" panose="020B0604030504040204" pitchFamily="34" charset="0"/>
        <a:ea typeface="+mn-ea"/>
        <a:cs typeface="+mn-cs"/>
      </a:defRPr>
    </a:lvl5pPr>
    <a:lvl6pPr marL="2286000" algn="l" defTabSz="914400" rtl="0" eaLnBrk="1" latinLnBrk="0" hangingPunct="1">
      <a:defRPr b="1" kern="1200">
        <a:solidFill>
          <a:schemeClr val="tx1"/>
        </a:solidFill>
        <a:latin typeface="Verdana" panose="020B0604030504040204" pitchFamily="34" charset="0"/>
        <a:ea typeface="+mn-ea"/>
        <a:cs typeface="+mn-cs"/>
      </a:defRPr>
    </a:lvl6pPr>
    <a:lvl7pPr marL="2743200" algn="l" defTabSz="914400" rtl="0" eaLnBrk="1" latinLnBrk="0" hangingPunct="1">
      <a:defRPr b="1" kern="1200">
        <a:solidFill>
          <a:schemeClr val="tx1"/>
        </a:solidFill>
        <a:latin typeface="Verdana" panose="020B0604030504040204" pitchFamily="34" charset="0"/>
        <a:ea typeface="+mn-ea"/>
        <a:cs typeface="+mn-cs"/>
      </a:defRPr>
    </a:lvl7pPr>
    <a:lvl8pPr marL="3200400" algn="l" defTabSz="914400" rtl="0" eaLnBrk="1" latinLnBrk="0" hangingPunct="1">
      <a:defRPr b="1" kern="1200">
        <a:solidFill>
          <a:schemeClr val="tx1"/>
        </a:solidFill>
        <a:latin typeface="Verdana" panose="020B0604030504040204" pitchFamily="34" charset="0"/>
        <a:ea typeface="+mn-ea"/>
        <a:cs typeface="+mn-cs"/>
      </a:defRPr>
    </a:lvl8pPr>
    <a:lvl9pPr marL="3657600" algn="l" defTabSz="914400" rtl="0" eaLnBrk="1" latinLnBrk="0" hangingPunct="1">
      <a:defRPr b="1" kern="1200">
        <a:solidFill>
          <a:schemeClr val="tx1"/>
        </a:solidFill>
        <a:latin typeface="Verdana" panose="020B0604030504040204" pitchFamily="34" charset="0"/>
        <a:ea typeface="+mn-ea"/>
        <a:cs typeface="+mn-cs"/>
      </a:defRPr>
    </a:lvl9pPr>
  </p:defaultTextStyle>
  <p:extLst>
    <p:ext uri="{EFAFB233-063F-42B5-8137-9DF3F51BA10A}">
      <p15:sldGuideLst xmlns:p15="http://schemas.microsoft.com/office/powerpoint/2012/main">
        <p15:guide id="1" orient="horz" pos="380">
          <p15:clr>
            <a:srgbClr val="A4A3A4"/>
          </p15:clr>
        </p15:guide>
        <p15:guide id="2" orient="horz" pos="3847">
          <p15:clr>
            <a:srgbClr val="A4A3A4"/>
          </p15:clr>
        </p15:guide>
        <p15:guide id="3" orient="horz" pos="1026">
          <p15:clr>
            <a:srgbClr val="A4A3A4"/>
          </p15:clr>
        </p15:guide>
        <p15:guide id="4" orient="horz" pos="1495">
          <p15:clr>
            <a:srgbClr val="A4A3A4"/>
          </p15:clr>
        </p15:guide>
        <p15:guide id="5" orient="horz" pos="2196">
          <p15:clr>
            <a:srgbClr val="A4A3A4"/>
          </p15:clr>
        </p15:guide>
        <p15:guide id="6" pos="332">
          <p15:clr>
            <a:srgbClr val="A4A3A4"/>
          </p15:clr>
        </p15:guide>
        <p15:guide id="7" pos="4996">
          <p15:clr>
            <a:srgbClr val="A4A3A4"/>
          </p15:clr>
        </p15:guide>
        <p15:guide id="8" pos="1123">
          <p15:clr>
            <a:srgbClr val="A4A3A4"/>
          </p15:clr>
        </p15:guide>
        <p15:guide id="9" pos="3393">
          <p15:clr>
            <a:srgbClr val="A4A3A4"/>
          </p15:clr>
        </p15:guide>
        <p15:guide id="10" pos="6508">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0000FF"/>
    <a:srgbClr val="003399"/>
    <a:srgbClr val="0066FF"/>
    <a:srgbClr val="003366"/>
    <a:srgbClr val="FEC200"/>
    <a:srgbClr val="DEA900"/>
    <a:srgbClr val="EAEAEA"/>
    <a:srgbClr val="8000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B117795-411A-4908-946B-8B69071043E9}" v="911" dt="2023-10-16T06:21:18.022"/>
  </p1510:revLst>
</p1510:revInfo>
</file>

<file path=ppt/tableStyles.xml><?xml version="1.0" encoding="utf-8"?>
<a:tblStyleLst xmlns:a="http://schemas.openxmlformats.org/drawingml/2006/main" def="{5C22544A-7EE6-4342-B048-85BDC9FD1C3A}">
  <a:tblStyle styleId="{5940675A-B579-460E-94D1-54222C63F5DA}" styleName="Keine Formatvorlage, Tabellenraster">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ittlere Formatvorlag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93296810-A885-4BE3-A3E7-6D5BEEA58F35}" styleName="Mittlere Formatvorlage 2 - Akz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125E5076-3810-47DD-B79F-674D7AD40C01}" styleName="Dunkle Formatvorlage 1 - Akzent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Dunkle Formatvorlage 1 - Akz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A107856-5554-42FB-B03E-39F5DBC370BA}" styleName="Mittlere Formatvorlage 4 - Akz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napVertSplitter="1" vertBarState="minimized">
    <p:restoredLeft sz="5729" autoAdjust="0"/>
    <p:restoredTop sz="86392" autoAdjust="0"/>
  </p:normalViewPr>
  <p:slideViewPr>
    <p:cSldViewPr snapToGrid="0">
      <p:cViewPr varScale="1">
        <p:scale>
          <a:sx n="75" d="100"/>
          <a:sy n="75" d="100"/>
        </p:scale>
        <p:origin x="784" y="36"/>
      </p:cViewPr>
      <p:guideLst>
        <p:guide orient="horz" pos="380"/>
        <p:guide orient="horz" pos="3847"/>
        <p:guide orient="horz" pos="1026"/>
        <p:guide orient="horz" pos="1495"/>
        <p:guide orient="horz" pos="2196"/>
        <p:guide pos="332"/>
        <p:guide pos="4996"/>
        <p:guide pos="1123"/>
        <p:guide pos="3393"/>
        <p:guide pos="6508"/>
      </p:guideLst>
    </p:cSldViewPr>
  </p:slideViewPr>
  <p:outlineViewPr>
    <p:cViewPr>
      <p:scale>
        <a:sx n="33" d="100"/>
        <a:sy n="33" d="100"/>
      </p:scale>
      <p:origin x="0" y="-12840"/>
    </p:cViewPr>
    <p:sldLst>
      <p:sld r:id="rId1" collapse="1"/>
      <p:sld r:id="rId2" collapse="1"/>
      <p:sld r:id="rId3" collapse="1"/>
      <p:sld r:id="rId4" collapse="1"/>
      <p:sld r:id="rId5" collapse="1"/>
      <p:sld r:id="rId6" collapse="1"/>
      <p:sld r:id="rId7" collapse="1"/>
    </p:sldLst>
  </p:outlineViewPr>
  <p:notesTextViewPr>
    <p:cViewPr>
      <p:scale>
        <a:sx n="100" d="100"/>
        <a:sy n="100" d="100"/>
      </p:scale>
      <p:origin x="0" y="0"/>
    </p:cViewPr>
  </p:notesTextViewPr>
  <p:sorterViewPr>
    <p:cViewPr varScale="1">
      <p:scale>
        <a:sx n="1" d="1"/>
        <a:sy n="1" d="1"/>
      </p:scale>
      <p:origin x="0" y="-14616"/>
    </p:cViewPr>
  </p:sorter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8.xml"/><Relationship Id="rId21" Type="http://schemas.openxmlformats.org/officeDocument/2006/relationships/slide" Target="slides/slide3.xml"/><Relationship Id="rId42" Type="http://schemas.openxmlformats.org/officeDocument/2006/relationships/slide" Target="slides/slide24.xml"/><Relationship Id="rId47" Type="http://schemas.openxmlformats.org/officeDocument/2006/relationships/slide" Target="slides/slide29.xml"/><Relationship Id="rId63" Type="http://schemas.openxmlformats.org/officeDocument/2006/relationships/slide" Target="slides/slide45.xml"/><Relationship Id="rId68" Type="http://schemas.openxmlformats.org/officeDocument/2006/relationships/theme" Target="theme/theme1.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Master" Target="slideMasters/slideMaster16.xml"/><Relationship Id="rId29" Type="http://schemas.openxmlformats.org/officeDocument/2006/relationships/slide" Target="slides/slide11.xml"/><Relationship Id="rId11" Type="http://schemas.openxmlformats.org/officeDocument/2006/relationships/slideMaster" Target="slideMasters/slideMaster11.xml"/><Relationship Id="rId24" Type="http://schemas.openxmlformats.org/officeDocument/2006/relationships/slide" Target="slides/slide6.xml"/><Relationship Id="rId32" Type="http://schemas.openxmlformats.org/officeDocument/2006/relationships/slide" Target="slides/slide14.xml"/><Relationship Id="rId37" Type="http://schemas.openxmlformats.org/officeDocument/2006/relationships/slide" Target="slides/slide19.xml"/><Relationship Id="rId40" Type="http://schemas.openxmlformats.org/officeDocument/2006/relationships/slide" Target="slides/slide22.xml"/><Relationship Id="rId45" Type="http://schemas.openxmlformats.org/officeDocument/2006/relationships/slide" Target="slides/slide27.xml"/><Relationship Id="rId53" Type="http://schemas.openxmlformats.org/officeDocument/2006/relationships/slide" Target="slides/slide35.xml"/><Relationship Id="rId58" Type="http://schemas.openxmlformats.org/officeDocument/2006/relationships/slide" Target="slides/slide40.xml"/><Relationship Id="rId66" Type="http://schemas.openxmlformats.org/officeDocument/2006/relationships/presProps" Target="presProps.xml"/><Relationship Id="rId5" Type="http://schemas.openxmlformats.org/officeDocument/2006/relationships/slideMaster" Target="slideMasters/slideMaster5.xml"/><Relationship Id="rId61" Type="http://schemas.openxmlformats.org/officeDocument/2006/relationships/slide" Target="slides/slide43.xml"/><Relationship Id="rId19" Type="http://schemas.openxmlformats.org/officeDocument/2006/relationships/slide" Target="slides/slide1.xml"/><Relationship Id="rId14" Type="http://schemas.openxmlformats.org/officeDocument/2006/relationships/slideMaster" Target="slideMasters/slideMaster14.xml"/><Relationship Id="rId22" Type="http://schemas.openxmlformats.org/officeDocument/2006/relationships/slide" Target="slides/slide4.xml"/><Relationship Id="rId27" Type="http://schemas.openxmlformats.org/officeDocument/2006/relationships/slide" Target="slides/slide9.xml"/><Relationship Id="rId30" Type="http://schemas.openxmlformats.org/officeDocument/2006/relationships/slide" Target="slides/slide12.xml"/><Relationship Id="rId35" Type="http://schemas.openxmlformats.org/officeDocument/2006/relationships/slide" Target="slides/slide17.xml"/><Relationship Id="rId43" Type="http://schemas.openxmlformats.org/officeDocument/2006/relationships/slide" Target="slides/slide25.xml"/><Relationship Id="rId48" Type="http://schemas.openxmlformats.org/officeDocument/2006/relationships/slide" Target="slides/slide30.xml"/><Relationship Id="rId56" Type="http://schemas.openxmlformats.org/officeDocument/2006/relationships/slide" Target="slides/slide38.xml"/><Relationship Id="rId64" Type="http://schemas.openxmlformats.org/officeDocument/2006/relationships/notesMaster" Target="notesMasters/notesMaster1.xml"/><Relationship Id="rId69" Type="http://schemas.openxmlformats.org/officeDocument/2006/relationships/tableStyles" Target="tableStyles.xml"/><Relationship Id="rId8" Type="http://schemas.openxmlformats.org/officeDocument/2006/relationships/slideMaster" Target="slideMasters/slideMaster8.xml"/><Relationship Id="rId51" Type="http://schemas.openxmlformats.org/officeDocument/2006/relationships/slide" Target="slides/slide33.xml"/><Relationship Id="rId3" Type="http://schemas.openxmlformats.org/officeDocument/2006/relationships/slideMaster" Target="slideMasters/slideMaster3.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25" Type="http://schemas.openxmlformats.org/officeDocument/2006/relationships/slide" Target="slides/slide7.xml"/><Relationship Id="rId33" Type="http://schemas.openxmlformats.org/officeDocument/2006/relationships/slide" Target="slides/slide15.xml"/><Relationship Id="rId38" Type="http://schemas.openxmlformats.org/officeDocument/2006/relationships/slide" Target="slides/slide20.xml"/><Relationship Id="rId46" Type="http://schemas.openxmlformats.org/officeDocument/2006/relationships/slide" Target="slides/slide28.xml"/><Relationship Id="rId59" Type="http://schemas.openxmlformats.org/officeDocument/2006/relationships/slide" Target="slides/slide41.xml"/><Relationship Id="rId67" Type="http://schemas.openxmlformats.org/officeDocument/2006/relationships/viewProps" Target="viewProps.xml"/><Relationship Id="rId20" Type="http://schemas.openxmlformats.org/officeDocument/2006/relationships/slide" Target="slides/slide2.xml"/><Relationship Id="rId41" Type="http://schemas.openxmlformats.org/officeDocument/2006/relationships/slide" Target="slides/slide23.xml"/><Relationship Id="rId54" Type="http://schemas.openxmlformats.org/officeDocument/2006/relationships/slide" Target="slides/slide36.xml"/><Relationship Id="rId62" Type="http://schemas.openxmlformats.org/officeDocument/2006/relationships/slide" Target="slides/slide44.xml"/><Relationship Id="rId70" Type="http://schemas.microsoft.com/office/2015/10/relationships/revisionInfo" Target="revisionInfo.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Master" Target="slideMasters/slideMaster15.xml"/><Relationship Id="rId23" Type="http://schemas.openxmlformats.org/officeDocument/2006/relationships/slide" Target="slides/slide5.xml"/><Relationship Id="rId28" Type="http://schemas.openxmlformats.org/officeDocument/2006/relationships/slide" Target="slides/slide10.xml"/><Relationship Id="rId36" Type="http://schemas.openxmlformats.org/officeDocument/2006/relationships/slide" Target="slides/slide18.xml"/><Relationship Id="rId49" Type="http://schemas.openxmlformats.org/officeDocument/2006/relationships/slide" Target="slides/slide31.xml"/><Relationship Id="rId57" Type="http://schemas.openxmlformats.org/officeDocument/2006/relationships/slide" Target="slides/slide39.xml"/><Relationship Id="rId10" Type="http://schemas.openxmlformats.org/officeDocument/2006/relationships/slideMaster" Target="slideMasters/slideMaster10.xml"/><Relationship Id="rId31" Type="http://schemas.openxmlformats.org/officeDocument/2006/relationships/slide" Target="slides/slide13.xml"/><Relationship Id="rId44" Type="http://schemas.openxmlformats.org/officeDocument/2006/relationships/slide" Target="slides/slide26.xml"/><Relationship Id="rId52" Type="http://schemas.openxmlformats.org/officeDocument/2006/relationships/slide" Target="slides/slide34.xml"/><Relationship Id="rId60" Type="http://schemas.openxmlformats.org/officeDocument/2006/relationships/slide" Target="slides/slide42.xml"/><Relationship Id="rId65" Type="http://schemas.openxmlformats.org/officeDocument/2006/relationships/handoutMaster" Target="handoutMasters/handoutMaster1.xml"/><Relationship Id="rId4" Type="http://schemas.openxmlformats.org/officeDocument/2006/relationships/slideMaster" Target="slideMasters/slideMaster4.xml"/><Relationship Id="rId9" Type="http://schemas.openxmlformats.org/officeDocument/2006/relationships/slideMaster" Target="slideMasters/slideMaster9.xml"/><Relationship Id="rId13" Type="http://schemas.openxmlformats.org/officeDocument/2006/relationships/slideMaster" Target="slideMasters/slideMaster13.xml"/><Relationship Id="rId18" Type="http://schemas.openxmlformats.org/officeDocument/2006/relationships/slideMaster" Target="slideMasters/slideMaster18.xml"/><Relationship Id="rId39" Type="http://schemas.openxmlformats.org/officeDocument/2006/relationships/slide" Target="slides/slide21.xml"/><Relationship Id="rId34" Type="http://schemas.openxmlformats.org/officeDocument/2006/relationships/slide" Target="slides/slide16.xml"/><Relationship Id="rId50" Type="http://schemas.openxmlformats.org/officeDocument/2006/relationships/slide" Target="slides/slide32.xml"/><Relationship Id="rId55" Type="http://schemas.openxmlformats.org/officeDocument/2006/relationships/slide" Target="slides/slide37.xml"/></Relationships>
</file>

<file path=ppt/_rels/viewProps.xml.rels><?xml version="1.0" encoding="UTF-8" standalone="yes"?>
<Relationships xmlns="http://schemas.openxmlformats.org/package/2006/relationships"><Relationship Id="rId3" Type="http://schemas.openxmlformats.org/officeDocument/2006/relationships/slide" Target="slides/slide8.xml"/><Relationship Id="rId7" Type="http://schemas.openxmlformats.org/officeDocument/2006/relationships/slide" Target="slides/slide35.xml"/><Relationship Id="rId2" Type="http://schemas.openxmlformats.org/officeDocument/2006/relationships/slide" Target="slides/slide4.xml"/><Relationship Id="rId1" Type="http://schemas.openxmlformats.org/officeDocument/2006/relationships/slide" Target="slides/slide2.xml"/><Relationship Id="rId6" Type="http://schemas.openxmlformats.org/officeDocument/2006/relationships/slide" Target="slides/slide24.xml"/><Relationship Id="rId5" Type="http://schemas.openxmlformats.org/officeDocument/2006/relationships/slide" Target="slides/slide17.xml"/><Relationship Id="rId4" Type="http://schemas.openxmlformats.org/officeDocument/2006/relationships/slide" Target="slides/slide1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20.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6258" name="Rectangle 2">
            <a:extLst>
              <a:ext uri="{FF2B5EF4-FFF2-40B4-BE49-F238E27FC236}">
                <a16:creationId xmlns:a16="http://schemas.microsoft.com/office/drawing/2014/main" id="{568E5E71-9A71-97A5-131A-6A23D2AC3CA3}"/>
              </a:ext>
            </a:extLst>
          </p:cNvPr>
          <p:cNvSpPr>
            <a:spLocks noGrp="1" noChangeArrowheads="1"/>
          </p:cNvSpPr>
          <p:nvPr>
            <p:ph type="hdr" sz="quarter"/>
          </p:nvPr>
        </p:nvSpPr>
        <p:spPr bwMode="auto">
          <a:xfrm>
            <a:off x="0" y="0"/>
            <a:ext cx="2986088" cy="501650"/>
          </a:xfrm>
          <a:prstGeom prst="rect">
            <a:avLst/>
          </a:prstGeom>
          <a:noFill/>
          <a:ln>
            <a:noFill/>
          </a:ln>
        </p:spPr>
        <p:txBody>
          <a:bodyPr vert="horz" wrap="square" lIns="92001" tIns="46002" rIns="92001" bIns="46002" numCol="1" anchor="t" anchorCtr="0" compatLnSpc="1">
            <a:prstTxWarp prst="textNoShape">
              <a:avLst/>
            </a:prstTxWarp>
          </a:bodyPr>
          <a:lstStyle>
            <a:lvl1pPr defTabSz="919324" eaLnBrk="1" hangingPunct="1">
              <a:defRPr sz="1200" b="0">
                <a:latin typeface="Arial" pitchFamily="34" charset="0"/>
              </a:defRPr>
            </a:lvl1pPr>
          </a:lstStyle>
          <a:p>
            <a:pPr>
              <a:defRPr/>
            </a:pPr>
            <a:endParaRPr lang="en-US"/>
          </a:p>
        </p:txBody>
      </p:sp>
      <p:sp>
        <p:nvSpPr>
          <p:cNvPr id="96259" name="Rectangle 3">
            <a:extLst>
              <a:ext uri="{FF2B5EF4-FFF2-40B4-BE49-F238E27FC236}">
                <a16:creationId xmlns:a16="http://schemas.microsoft.com/office/drawing/2014/main" id="{3785766C-44F0-F5D6-E20E-B30C616B062A}"/>
              </a:ext>
            </a:extLst>
          </p:cNvPr>
          <p:cNvSpPr>
            <a:spLocks noGrp="1" noChangeArrowheads="1"/>
          </p:cNvSpPr>
          <p:nvPr>
            <p:ph type="dt" sz="quarter" idx="1"/>
          </p:nvPr>
        </p:nvSpPr>
        <p:spPr bwMode="auto">
          <a:xfrm>
            <a:off x="3900488" y="0"/>
            <a:ext cx="2986087" cy="501650"/>
          </a:xfrm>
          <a:prstGeom prst="rect">
            <a:avLst/>
          </a:prstGeom>
          <a:noFill/>
          <a:ln>
            <a:noFill/>
          </a:ln>
        </p:spPr>
        <p:txBody>
          <a:bodyPr vert="horz" wrap="square" lIns="92001" tIns="46002" rIns="92001" bIns="46002" numCol="1" anchor="t" anchorCtr="0" compatLnSpc="1">
            <a:prstTxWarp prst="textNoShape">
              <a:avLst/>
            </a:prstTxWarp>
          </a:bodyPr>
          <a:lstStyle>
            <a:lvl1pPr algn="r" defTabSz="919324" eaLnBrk="1" hangingPunct="1">
              <a:defRPr sz="1200" b="0">
                <a:latin typeface="Arial" pitchFamily="34" charset="0"/>
              </a:defRPr>
            </a:lvl1pPr>
          </a:lstStyle>
          <a:p>
            <a:pPr>
              <a:defRPr/>
            </a:pPr>
            <a:endParaRPr lang="en-US"/>
          </a:p>
        </p:txBody>
      </p:sp>
      <p:sp>
        <p:nvSpPr>
          <p:cNvPr id="96260" name="Rectangle 4">
            <a:extLst>
              <a:ext uri="{FF2B5EF4-FFF2-40B4-BE49-F238E27FC236}">
                <a16:creationId xmlns:a16="http://schemas.microsoft.com/office/drawing/2014/main" id="{118A427D-35AF-5847-CA0D-54B2835BD15E}"/>
              </a:ext>
            </a:extLst>
          </p:cNvPr>
          <p:cNvSpPr>
            <a:spLocks noGrp="1" noChangeArrowheads="1"/>
          </p:cNvSpPr>
          <p:nvPr>
            <p:ph type="ftr" sz="quarter" idx="2"/>
          </p:nvPr>
        </p:nvSpPr>
        <p:spPr bwMode="auto">
          <a:xfrm>
            <a:off x="0" y="9517063"/>
            <a:ext cx="2986088" cy="501650"/>
          </a:xfrm>
          <a:prstGeom prst="rect">
            <a:avLst/>
          </a:prstGeom>
          <a:noFill/>
          <a:ln>
            <a:noFill/>
          </a:ln>
        </p:spPr>
        <p:txBody>
          <a:bodyPr vert="horz" wrap="square" lIns="92001" tIns="46002" rIns="92001" bIns="46002" numCol="1" anchor="b" anchorCtr="0" compatLnSpc="1">
            <a:prstTxWarp prst="textNoShape">
              <a:avLst/>
            </a:prstTxWarp>
          </a:bodyPr>
          <a:lstStyle>
            <a:lvl1pPr defTabSz="919324" eaLnBrk="1" hangingPunct="1">
              <a:defRPr sz="1200" b="0">
                <a:latin typeface="Arial" pitchFamily="34" charset="0"/>
              </a:defRPr>
            </a:lvl1pPr>
          </a:lstStyle>
          <a:p>
            <a:pPr>
              <a:defRPr/>
            </a:pPr>
            <a:endParaRPr lang="en-US"/>
          </a:p>
        </p:txBody>
      </p:sp>
      <p:sp>
        <p:nvSpPr>
          <p:cNvPr id="96261" name="Rectangle 5">
            <a:extLst>
              <a:ext uri="{FF2B5EF4-FFF2-40B4-BE49-F238E27FC236}">
                <a16:creationId xmlns:a16="http://schemas.microsoft.com/office/drawing/2014/main" id="{0D842173-AFB0-11A3-4AA5-882E3E1BB1F0}"/>
              </a:ext>
            </a:extLst>
          </p:cNvPr>
          <p:cNvSpPr>
            <a:spLocks noGrp="1" noChangeArrowheads="1"/>
          </p:cNvSpPr>
          <p:nvPr>
            <p:ph type="sldNum" sz="quarter" idx="3"/>
          </p:nvPr>
        </p:nvSpPr>
        <p:spPr bwMode="auto">
          <a:xfrm>
            <a:off x="3900488" y="9517063"/>
            <a:ext cx="2986087" cy="501650"/>
          </a:xfrm>
          <a:prstGeom prst="rect">
            <a:avLst/>
          </a:prstGeom>
          <a:noFill/>
          <a:ln>
            <a:noFill/>
          </a:ln>
        </p:spPr>
        <p:txBody>
          <a:bodyPr vert="horz" wrap="square" lIns="92001" tIns="46002" rIns="92001" bIns="46002" numCol="1" anchor="b" anchorCtr="0" compatLnSpc="1">
            <a:prstTxWarp prst="textNoShape">
              <a:avLst/>
            </a:prstTxWarp>
          </a:bodyPr>
          <a:lstStyle>
            <a:lvl1pPr algn="r" defTabSz="918039" eaLnBrk="1" hangingPunct="1">
              <a:defRPr sz="1200" b="0">
                <a:latin typeface="Arial" panose="020B0604020202020204" pitchFamily="34" charset="0"/>
              </a:defRPr>
            </a:lvl1pPr>
          </a:lstStyle>
          <a:p>
            <a:pPr>
              <a:defRPr/>
            </a:pPr>
            <a:fld id="{39926363-F4D0-4C98-B712-2B5854F8D4C2}" type="slidenum">
              <a:rPr lang="en-US" altLang="de-DE"/>
              <a:pPr>
                <a:defRPr/>
              </a:pPr>
              <a:t>‹Nr.›</a:t>
            </a:fld>
            <a:endParaRPr lang="en-US" altLang="de-DE"/>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9698" name="Rectangle 2">
            <a:extLst>
              <a:ext uri="{FF2B5EF4-FFF2-40B4-BE49-F238E27FC236}">
                <a16:creationId xmlns:a16="http://schemas.microsoft.com/office/drawing/2014/main" id="{D21C78B7-931B-1AFA-7C85-A541B4468722}"/>
              </a:ext>
            </a:extLst>
          </p:cNvPr>
          <p:cNvSpPr>
            <a:spLocks noGrp="1" noChangeArrowheads="1"/>
          </p:cNvSpPr>
          <p:nvPr>
            <p:ph type="hdr" sz="quarter"/>
          </p:nvPr>
        </p:nvSpPr>
        <p:spPr bwMode="auto">
          <a:xfrm>
            <a:off x="0" y="0"/>
            <a:ext cx="2986088" cy="501650"/>
          </a:xfrm>
          <a:prstGeom prst="rect">
            <a:avLst/>
          </a:prstGeom>
          <a:noFill/>
          <a:ln>
            <a:noFill/>
          </a:ln>
        </p:spPr>
        <p:txBody>
          <a:bodyPr vert="horz" wrap="square" lIns="92001" tIns="46002" rIns="92001" bIns="46002" numCol="1" anchor="t" anchorCtr="0" compatLnSpc="1">
            <a:prstTxWarp prst="textNoShape">
              <a:avLst/>
            </a:prstTxWarp>
          </a:bodyPr>
          <a:lstStyle>
            <a:lvl1pPr defTabSz="919324" eaLnBrk="1" hangingPunct="1">
              <a:defRPr sz="1200" b="0">
                <a:latin typeface="Arial" pitchFamily="34" charset="0"/>
              </a:defRPr>
            </a:lvl1pPr>
          </a:lstStyle>
          <a:p>
            <a:pPr>
              <a:defRPr/>
            </a:pPr>
            <a:endParaRPr lang="en-US"/>
          </a:p>
        </p:txBody>
      </p:sp>
      <p:sp>
        <p:nvSpPr>
          <p:cNvPr id="29699" name="Rectangle 3">
            <a:extLst>
              <a:ext uri="{FF2B5EF4-FFF2-40B4-BE49-F238E27FC236}">
                <a16:creationId xmlns:a16="http://schemas.microsoft.com/office/drawing/2014/main" id="{8F4ECCEF-A808-C6CD-4216-76A44BAB1A6A}"/>
              </a:ext>
            </a:extLst>
          </p:cNvPr>
          <p:cNvSpPr>
            <a:spLocks noGrp="1" noChangeArrowheads="1"/>
          </p:cNvSpPr>
          <p:nvPr>
            <p:ph type="dt" idx="1"/>
          </p:nvPr>
        </p:nvSpPr>
        <p:spPr bwMode="auto">
          <a:xfrm>
            <a:off x="3900488" y="0"/>
            <a:ext cx="2986087" cy="501650"/>
          </a:xfrm>
          <a:prstGeom prst="rect">
            <a:avLst/>
          </a:prstGeom>
          <a:noFill/>
          <a:ln>
            <a:noFill/>
          </a:ln>
        </p:spPr>
        <p:txBody>
          <a:bodyPr vert="horz" wrap="square" lIns="92001" tIns="46002" rIns="92001" bIns="46002" numCol="1" anchor="t" anchorCtr="0" compatLnSpc="1">
            <a:prstTxWarp prst="textNoShape">
              <a:avLst/>
            </a:prstTxWarp>
          </a:bodyPr>
          <a:lstStyle>
            <a:lvl1pPr algn="r" defTabSz="919324" eaLnBrk="1" hangingPunct="1">
              <a:defRPr sz="1200" b="0">
                <a:latin typeface="Arial" pitchFamily="34" charset="0"/>
              </a:defRPr>
            </a:lvl1pPr>
          </a:lstStyle>
          <a:p>
            <a:pPr>
              <a:defRPr/>
            </a:pPr>
            <a:endParaRPr lang="en-US"/>
          </a:p>
        </p:txBody>
      </p:sp>
      <p:sp>
        <p:nvSpPr>
          <p:cNvPr id="44036" name="Rectangle 4">
            <a:extLst>
              <a:ext uri="{FF2B5EF4-FFF2-40B4-BE49-F238E27FC236}">
                <a16:creationId xmlns:a16="http://schemas.microsoft.com/office/drawing/2014/main" id="{815E3F25-E141-400E-E59B-8BAAD9FC1D05}"/>
              </a:ext>
            </a:extLst>
          </p:cNvPr>
          <p:cNvSpPr>
            <a:spLocks noGrp="1" noRot="1" noChangeAspect="1" noChangeArrowheads="1" noTextEdit="1"/>
          </p:cNvSpPr>
          <p:nvPr>
            <p:ph type="sldImg" idx="2"/>
          </p:nvPr>
        </p:nvSpPr>
        <p:spPr bwMode="auto">
          <a:xfrm>
            <a:off x="101600" y="750888"/>
            <a:ext cx="6686550" cy="3760787"/>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9701" name="Rectangle 5">
            <a:extLst>
              <a:ext uri="{FF2B5EF4-FFF2-40B4-BE49-F238E27FC236}">
                <a16:creationId xmlns:a16="http://schemas.microsoft.com/office/drawing/2014/main" id="{E4F9587E-7DF2-DF88-99E9-49CEE5D0B037}"/>
              </a:ext>
            </a:extLst>
          </p:cNvPr>
          <p:cNvSpPr>
            <a:spLocks noGrp="1" noChangeArrowheads="1"/>
          </p:cNvSpPr>
          <p:nvPr>
            <p:ph type="body" sz="quarter" idx="3"/>
          </p:nvPr>
        </p:nvSpPr>
        <p:spPr bwMode="auto">
          <a:xfrm>
            <a:off x="688975" y="4759325"/>
            <a:ext cx="5510213" cy="4510088"/>
          </a:xfrm>
          <a:prstGeom prst="rect">
            <a:avLst/>
          </a:prstGeom>
          <a:noFill/>
          <a:ln>
            <a:noFill/>
          </a:ln>
        </p:spPr>
        <p:txBody>
          <a:bodyPr vert="horz" wrap="square" lIns="92001" tIns="46002" rIns="92001" bIns="46002" numCol="1" anchor="t" anchorCtr="0" compatLnSpc="1">
            <a:prstTxWarp prst="textNoShape">
              <a:avLst/>
            </a:prstTxWarp>
          </a:bodyPr>
          <a:lstStyle/>
          <a:p>
            <a:pPr lvl="0"/>
            <a:r>
              <a:rPr lang="de-DE" noProof="0"/>
              <a:t>Textmasterformate durch Klicken bearbeiten</a:t>
            </a:r>
          </a:p>
          <a:p>
            <a:pPr lvl="1"/>
            <a:r>
              <a:rPr lang="de-DE" noProof="0"/>
              <a:t>Zweite Ebene</a:t>
            </a:r>
          </a:p>
          <a:p>
            <a:pPr lvl="2"/>
            <a:r>
              <a:rPr lang="de-DE" noProof="0"/>
              <a:t>Dritte Ebene</a:t>
            </a:r>
          </a:p>
          <a:p>
            <a:pPr lvl="3"/>
            <a:r>
              <a:rPr lang="de-DE" noProof="0"/>
              <a:t>Vierte Ebene</a:t>
            </a:r>
          </a:p>
          <a:p>
            <a:pPr lvl="4"/>
            <a:r>
              <a:rPr lang="de-DE" noProof="0"/>
              <a:t>Fünfte Ebene</a:t>
            </a:r>
          </a:p>
        </p:txBody>
      </p:sp>
      <p:sp>
        <p:nvSpPr>
          <p:cNvPr id="29702" name="Rectangle 6">
            <a:extLst>
              <a:ext uri="{FF2B5EF4-FFF2-40B4-BE49-F238E27FC236}">
                <a16:creationId xmlns:a16="http://schemas.microsoft.com/office/drawing/2014/main" id="{BAEA3BC0-0DB2-DA43-EA5B-B800C4B9F996}"/>
              </a:ext>
            </a:extLst>
          </p:cNvPr>
          <p:cNvSpPr>
            <a:spLocks noGrp="1" noChangeArrowheads="1"/>
          </p:cNvSpPr>
          <p:nvPr>
            <p:ph type="ftr" sz="quarter" idx="4"/>
          </p:nvPr>
        </p:nvSpPr>
        <p:spPr bwMode="auto">
          <a:xfrm>
            <a:off x="0" y="9517063"/>
            <a:ext cx="2986088" cy="501650"/>
          </a:xfrm>
          <a:prstGeom prst="rect">
            <a:avLst/>
          </a:prstGeom>
          <a:noFill/>
          <a:ln>
            <a:noFill/>
          </a:ln>
        </p:spPr>
        <p:txBody>
          <a:bodyPr vert="horz" wrap="square" lIns="92001" tIns="46002" rIns="92001" bIns="46002" numCol="1" anchor="b" anchorCtr="0" compatLnSpc="1">
            <a:prstTxWarp prst="textNoShape">
              <a:avLst/>
            </a:prstTxWarp>
          </a:bodyPr>
          <a:lstStyle>
            <a:lvl1pPr defTabSz="919324" eaLnBrk="1" hangingPunct="1">
              <a:defRPr sz="1200" b="0">
                <a:latin typeface="Arial" pitchFamily="34" charset="0"/>
              </a:defRPr>
            </a:lvl1pPr>
          </a:lstStyle>
          <a:p>
            <a:pPr>
              <a:defRPr/>
            </a:pPr>
            <a:endParaRPr lang="en-US"/>
          </a:p>
        </p:txBody>
      </p:sp>
      <p:sp>
        <p:nvSpPr>
          <p:cNvPr id="29703" name="Rectangle 7">
            <a:extLst>
              <a:ext uri="{FF2B5EF4-FFF2-40B4-BE49-F238E27FC236}">
                <a16:creationId xmlns:a16="http://schemas.microsoft.com/office/drawing/2014/main" id="{C779BCB9-37E4-5F51-129A-A34445146732}"/>
              </a:ext>
            </a:extLst>
          </p:cNvPr>
          <p:cNvSpPr>
            <a:spLocks noGrp="1" noChangeArrowheads="1"/>
          </p:cNvSpPr>
          <p:nvPr>
            <p:ph type="sldNum" sz="quarter" idx="5"/>
          </p:nvPr>
        </p:nvSpPr>
        <p:spPr bwMode="auto">
          <a:xfrm>
            <a:off x="3900488" y="9517063"/>
            <a:ext cx="2986087" cy="501650"/>
          </a:xfrm>
          <a:prstGeom prst="rect">
            <a:avLst/>
          </a:prstGeom>
          <a:noFill/>
          <a:ln>
            <a:noFill/>
          </a:ln>
        </p:spPr>
        <p:txBody>
          <a:bodyPr vert="horz" wrap="square" lIns="92001" tIns="46002" rIns="92001" bIns="46002" numCol="1" anchor="b" anchorCtr="0" compatLnSpc="1">
            <a:prstTxWarp prst="textNoShape">
              <a:avLst/>
            </a:prstTxWarp>
          </a:bodyPr>
          <a:lstStyle>
            <a:lvl1pPr algn="r" defTabSz="918039" eaLnBrk="1" hangingPunct="1">
              <a:defRPr sz="1200" b="0">
                <a:latin typeface="Arial" panose="020B0604020202020204" pitchFamily="34" charset="0"/>
              </a:defRPr>
            </a:lvl1pPr>
          </a:lstStyle>
          <a:p>
            <a:pPr>
              <a:defRPr/>
            </a:pPr>
            <a:fld id="{E68E0776-8027-4D9E-85D1-B365B1BC0B07}" type="slidenum">
              <a:rPr lang="de-DE" altLang="de-DE"/>
              <a:pPr>
                <a:defRPr/>
              </a:pPr>
              <a:t>‹Nr.›</a:t>
            </a:fld>
            <a:endParaRPr lang="de-DE" altLang="de-DE"/>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charset="0"/>
        <a:ea typeface="+mn-ea"/>
        <a:cs typeface="+mn-cs"/>
      </a:defRPr>
    </a:lvl1pPr>
    <a:lvl2pPr marL="457200" algn="l" rtl="0" eaLnBrk="0" fontAlgn="base" hangingPunct="0">
      <a:spcBef>
        <a:spcPct val="30000"/>
      </a:spcBef>
      <a:spcAft>
        <a:spcPct val="0"/>
      </a:spcAft>
      <a:defRPr sz="1200" kern="1200">
        <a:solidFill>
          <a:schemeClr val="tx1"/>
        </a:solidFill>
        <a:latin typeface="Arial" charset="0"/>
        <a:ea typeface="+mn-ea"/>
        <a:cs typeface="+mn-cs"/>
      </a:defRPr>
    </a:lvl2pPr>
    <a:lvl3pPr marL="914400" algn="l" rtl="0" eaLnBrk="0" fontAlgn="base" hangingPunct="0">
      <a:spcBef>
        <a:spcPct val="30000"/>
      </a:spcBef>
      <a:spcAft>
        <a:spcPct val="0"/>
      </a:spcAft>
      <a:defRPr sz="1200" kern="1200">
        <a:solidFill>
          <a:schemeClr val="tx1"/>
        </a:solidFill>
        <a:latin typeface="Arial" charset="0"/>
        <a:ea typeface="+mn-ea"/>
        <a:cs typeface="+mn-cs"/>
      </a:defRPr>
    </a:lvl3pPr>
    <a:lvl4pPr marL="1371600" algn="l" rtl="0" eaLnBrk="0" fontAlgn="base" hangingPunct="0">
      <a:spcBef>
        <a:spcPct val="30000"/>
      </a:spcBef>
      <a:spcAft>
        <a:spcPct val="0"/>
      </a:spcAft>
      <a:defRPr sz="1200" kern="1200">
        <a:solidFill>
          <a:schemeClr val="tx1"/>
        </a:solidFill>
        <a:latin typeface="Arial" charset="0"/>
        <a:ea typeface="+mn-ea"/>
        <a:cs typeface="+mn-cs"/>
      </a:defRPr>
    </a:lvl4pPr>
    <a:lvl5pPr marL="1828800" algn="l" rtl="0" eaLnBrk="0" fontAlgn="base" hangingPunct="0">
      <a:spcBef>
        <a:spcPct val="30000"/>
      </a:spcBef>
      <a:spcAft>
        <a:spcPct val="0"/>
      </a:spcAft>
      <a:defRPr sz="12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pPr>
              <a:defRPr/>
            </a:pPr>
            <a:fld id="{E68E0776-8027-4D9E-85D1-B365B1BC0B07}" type="slidenum">
              <a:rPr lang="de-DE" altLang="de-DE" smtClean="0"/>
              <a:pPr>
                <a:defRPr/>
              </a:pPr>
              <a:t>1</a:t>
            </a:fld>
            <a:endParaRPr lang="de-DE" altLang="de-DE"/>
          </a:p>
        </p:txBody>
      </p:sp>
    </p:spTree>
    <p:extLst>
      <p:ext uri="{BB962C8B-B14F-4D97-AF65-F5344CB8AC3E}">
        <p14:creationId xmlns:p14="http://schemas.microsoft.com/office/powerpoint/2010/main" val="336669087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pPr>
              <a:defRPr/>
            </a:pPr>
            <a:fld id="{E68E0776-8027-4D9E-85D1-B365B1BC0B07}" type="slidenum">
              <a:rPr lang="de-DE" altLang="de-DE" smtClean="0"/>
              <a:pPr>
                <a:defRPr/>
              </a:pPr>
              <a:t>10</a:t>
            </a:fld>
            <a:endParaRPr lang="de-DE" altLang="de-DE"/>
          </a:p>
        </p:txBody>
      </p:sp>
    </p:spTree>
    <p:extLst>
      <p:ext uri="{BB962C8B-B14F-4D97-AF65-F5344CB8AC3E}">
        <p14:creationId xmlns:p14="http://schemas.microsoft.com/office/powerpoint/2010/main" val="6157066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Rectangle 7">
            <a:extLst>
              <a:ext uri="{FF2B5EF4-FFF2-40B4-BE49-F238E27FC236}">
                <a16:creationId xmlns:a16="http://schemas.microsoft.com/office/drawing/2014/main" id="{5162B9A5-EF68-AF64-D58B-59A45D0B7591}"/>
              </a:ext>
            </a:extLst>
          </p:cNvPr>
          <p:cNvSpPr>
            <a:spLocks noGrp="1" noChangeArrowheads="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07573">
              <a:spcBef>
                <a:spcPct val="30000"/>
              </a:spcBef>
              <a:defRPr sz="1200">
                <a:solidFill>
                  <a:schemeClr val="tx1"/>
                </a:solidFill>
                <a:latin typeface="Arial" panose="020B0604020202020204" pitchFamily="34" charset="0"/>
              </a:defRPr>
            </a:lvl1pPr>
            <a:lvl2pPr marL="742703" indent="-284206" defTabSz="907573">
              <a:spcBef>
                <a:spcPct val="30000"/>
              </a:spcBef>
              <a:defRPr sz="1200">
                <a:solidFill>
                  <a:schemeClr val="tx1"/>
                </a:solidFill>
                <a:latin typeface="Arial" panose="020B0604020202020204" pitchFamily="34" charset="0"/>
              </a:defRPr>
            </a:lvl2pPr>
            <a:lvl3pPr marL="1141533" indent="-227679" defTabSz="907573">
              <a:spcBef>
                <a:spcPct val="30000"/>
              </a:spcBef>
              <a:defRPr sz="1200">
                <a:solidFill>
                  <a:schemeClr val="tx1"/>
                </a:solidFill>
                <a:latin typeface="Arial" panose="020B0604020202020204" pitchFamily="34" charset="0"/>
              </a:defRPr>
            </a:lvl3pPr>
            <a:lvl4pPr marL="1600030" indent="-227679" defTabSz="907573">
              <a:spcBef>
                <a:spcPct val="30000"/>
              </a:spcBef>
              <a:defRPr sz="1200">
                <a:solidFill>
                  <a:schemeClr val="tx1"/>
                </a:solidFill>
                <a:latin typeface="Arial" panose="020B0604020202020204" pitchFamily="34" charset="0"/>
              </a:defRPr>
            </a:lvl4pPr>
            <a:lvl5pPr marL="2056957" indent="-227679" defTabSz="907573">
              <a:spcBef>
                <a:spcPct val="30000"/>
              </a:spcBef>
              <a:defRPr sz="1200">
                <a:solidFill>
                  <a:schemeClr val="tx1"/>
                </a:solidFill>
                <a:latin typeface="Arial" panose="020B0604020202020204" pitchFamily="34" charset="0"/>
              </a:defRPr>
            </a:lvl5pPr>
            <a:lvl6pPr marL="2509174" indent="-227679" defTabSz="907573" eaLnBrk="0" fontAlgn="base" hangingPunct="0">
              <a:spcBef>
                <a:spcPct val="30000"/>
              </a:spcBef>
              <a:spcAft>
                <a:spcPct val="0"/>
              </a:spcAft>
              <a:defRPr sz="1200">
                <a:solidFill>
                  <a:schemeClr val="tx1"/>
                </a:solidFill>
                <a:latin typeface="Arial" panose="020B0604020202020204" pitchFamily="34" charset="0"/>
              </a:defRPr>
            </a:lvl6pPr>
            <a:lvl7pPr marL="2961390" indent="-227679" defTabSz="907573" eaLnBrk="0" fontAlgn="base" hangingPunct="0">
              <a:spcBef>
                <a:spcPct val="30000"/>
              </a:spcBef>
              <a:spcAft>
                <a:spcPct val="0"/>
              </a:spcAft>
              <a:defRPr sz="1200">
                <a:solidFill>
                  <a:schemeClr val="tx1"/>
                </a:solidFill>
                <a:latin typeface="Arial" panose="020B0604020202020204" pitchFamily="34" charset="0"/>
              </a:defRPr>
            </a:lvl7pPr>
            <a:lvl8pPr marL="3413607" indent="-227679" defTabSz="907573" eaLnBrk="0" fontAlgn="base" hangingPunct="0">
              <a:spcBef>
                <a:spcPct val="30000"/>
              </a:spcBef>
              <a:spcAft>
                <a:spcPct val="0"/>
              </a:spcAft>
              <a:defRPr sz="1200">
                <a:solidFill>
                  <a:schemeClr val="tx1"/>
                </a:solidFill>
                <a:latin typeface="Arial" panose="020B0604020202020204" pitchFamily="34" charset="0"/>
              </a:defRPr>
            </a:lvl8pPr>
            <a:lvl9pPr marL="3865823" indent="-227679" defTabSz="907573" eaLnBrk="0" fontAlgn="base" hangingPunct="0">
              <a:spcBef>
                <a:spcPct val="30000"/>
              </a:spcBef>
              <a:spcAft>
                <a:spcPct val="0"/>
              </a:spcAft>
              <a:defRPr sz="1200">
                <a:solidFill>
                  <a:schemeClr val="tx1"/>
                </a:solidFill>
                <a:latin typeface="Arial" panose="020B0604020202020204" pitchFamily="34" charset="0"/>
              </a:defRPr>
            </a:lvl9pPr>
          </a:lstStyle>
          <a:p>
            <a:pPr>
              <a:spcBef>
                <a:spcPct val="0"/>
              </a:spcBef>
              <a:defRPr/>
            </a:pPr>
            <a:fld id="{FCA088CD-6581-435B-9B73-7443EECC8543}" type="slidenum">
              <a:rPr lang="de-DE" altLang="de-DE">
                <a:solidFill>
                  <a:srgbClr val="000000"/>
                </a:solidFill>
              </a:rPr>
              <a:pPr>
                <a:spcBef>
                  <a:spcPct val="0"/>
                </a:spcBef>
                <a:defRPr/>
              </a:pPr>
              <a:t>11</a:t>
            </a:fld>
            <a:endParaRPr lang="de-DE" altLang="de-DE">
              <a:solidFill>
                <a:srgbClr val="000000"/>
              </a:solidFill>
            </a:endParaRPr>
          </a:p>
        </p:txBody>
      </p:sp>
      <p:sp>
        <p:nvSpPr>
          <p:cNvPr id="48131" name="Rectangle 2">
            <a:extLst>
              <a:ext uri="{FF2B5EF4-FFF2-40B4-BE49-F238E27FC236}">
                <a16:creationId xmlns:a16="http://schemas.microsoft.com/office/drawing/2014/main" id="{435C96D2-0769-ED24-9059-4C6E9D3D5FC2}"/>
              </a:ext>
            </a:extLst>
          </p:cNvPr>
          <p:cNvSpPr>
            <a:spLocks noGrp="1" noRot="1" noChangeAspect="1" noChangeArrowheads="1" noTextEdit="1"/>
          </p:cNvSpPr>
          <p:nvPr>
            <p:ph type="sldImg"/>
          </p:nvPr>
        </p:nvSpPr>
        <p:spPr>
          <a:ln/>
        </p:spPr>
      </p:sp>
      <p:sp>
        <p:nvSpPr>
          <p:cNvPr id="48132" name="Rectangle 3">
            <a:extLst>
              <a:ext uri="{FF2B5EF4-FFF2-40B4-BE49-F238E27FC236}">
                <a16:creationId xmlns:a16="http://schemas.microsoft.com/office/drawing/2014/main" id="{BECC3270-6A2B-84FF-BB05-9D25807C65FC}"/>
              </a:ext>
            </a:extLst>
          </p:cNvPr>
          <p:cNvSpPr>
            <a:spLocks noGrp="1" noChangeArrowheads="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de-DE" dirty="0">
              <a:latin typeface="Arial" panose="020B0604020202020204" pitchFamily="34" charset="0"/>
            </a:endParaRPr>
          </a:p>
        </p:txBody>
      </p:sp>
    </p:spTree>
    <p:extLst>
      <p:ext uri="{BB962C8B-B14F-4D97-AF65-F5344CB8AC3E}">
        <p14:creationId xmlns:p14="http://schemas.microsoft.com/office/powerpoint/2010/main" val="89158414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pPr>
              <a:defRPr/>
            </a:pPr>
            <a:fld id="{E68E0776-8027-4D9E-85D1-B365B1BC0B07}" type="slidenum">
              <a:rPr lang="de-DE" altLang="de-DE" smtClean="0"/>
              <a:pPr>
                <a:defRPr/>
              </a:pPr>
              <a:t>12</a:t>
            </a:fld>
            <a:endParaRPr lang="de-DE" altLang="de-DE"/>
          </a:p>
        </p:txBody>
      </p:sp>
    </p:spTree>
    <p:extLst>
      <p:ext uri="{BB962C8B-B14F-4D97-AF65-F5344CB8AC3E}">
        <p14:creationId xmlns:p14="http://schemas.microsoft.com/office/powerpoint/2010/main" val="71355962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Folienbildplatzhalter 1">
            <a:extLst>
              <a:ext uri="{FF2B5EF4-FFF2-40B4-BE49-F238E27FC236}">
                <a16:creationId xmlns:a16="http://schemas.microsoft.com/office/drawing/2014/main" id="{33A4D77F-E459-DE6C-6CD9-A115FCDF0C97}"/>
              </a:ext>
            </a:extLst>
          </p:cNvPr>
          <p:cNvSpPr>
            <a:spLocks noGrp="1" noRot="1" noChangeAspect="1" noChangeArrowheads="1" noTextEdit="1"/>
          </p:cNvSpPr>
          <p:nvPr>
            <p:ph type="sldImg"/>
          </p:nvPr>
        </p:nvSpPr>
        <p:spPr>
          <a:ln/>
        </p:spPr>
      </p:sp>
      <p:sp>
        <p:nvSpPr>
          <p:cNvPr id="36867" name="Notizenplatzhalter 2">
            <a:extLst>
              <a:ext uri="{FF2B5EF4-FFF2-40B4-BE49-F238E27FC236}">
                <a16:creationId xmlns:a16="http://schemas.microsoft.com/office/drawing/2014/main" id="{47CDFB64-AAD2-485D-91DE-4C0B32C22ECE}"/>
              </a:ext>
            </a:extLst>
          </p:cNvPr>
          <p:cNvSpPr>
            <a:spLocks noGrp="1" noChangeArrowheads="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de-DE" altLang="de-DE" dirty="0">
              <a:latin typeface="Arial" panose="020B0604020202020204" pitchFamily="34" charset="0"/>
            </a:endParaRPr>
          </a:p>
        </p:txBody>
      </p:sp>
      <p:sp>
        <p:nvSpPr>
          <p:cNvPr id="36868" name="Foliennummernplatzhalter 3">
            <a:extLst>
              <a:ext uri="{FF2B5EF4-FFF2-40B4-BE49-F238E27FC236}">
                <a16:creationId xmlns:a16="http://schemas.microsoft.com/office/drawing/2014/main" id="{C980B6E0-5B8B-C224-8A99-DDCDF9F9B046}"/>
              </a:ext>
            </a:extLst>
          </p:cNvPr>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08050">
              <a:defRPr b="1">
                <a:solidFill>
                  <a:schemeClr val="tx1"/>
                </a:solidFill>
                <a:latin typeface="Verdana" panose="020B0604030504040204" pitchFamily="34" charset="0"/>
              </a:defRPr>
            </a:lvl1pPr>
            <a:lvl2pPr marL="742950" indent="-285750" defTabSz="908050">
              <a:defRPr b="1">
                <a:solidFill>
                  <a:schemeClr val="tx1"/>
                </a:solidFill>
                <a:latin typeface="Verdana" panose="020B0604030504040204" pitchFamily="34" charset="0"/>
              </a:defRPr>
            </a:lvl2pPr>
            <a:lvl3pPr marL="1143000" indent="-228600" defTabSz="908050">
              <a:defRPr b="1">
                <a:solidFill>
                  <a:schemeClr val="tx1"/>
                </a:solidFill>
                <a:latin typeface="Verdana" panose="020B0604030504040204" pitchFamily="34" charset="0"/>
              </a:defRPr>
            </a:lvl3pPr>
            <a:lvl4pPr marL="1600200" indent="-228600" defTabSz="908050">
              <a:defRPr b="1">
                <a:solidFill>
                  <a:schemeClr val="tx1"/>
                </a:solidFill>
                <a:latin typeface="Verdana" panose="020B0604030504040204" pitchFamily="34" charset="0"/>
              </a:defRPr>
            </a:lvl4pPr>
            <a:lvl5pPr marL="2057400" indent="-228600" defTabSz="908050">
              <a:defRPr b="1">
                <a:solidFill>
                  <a:schemeClr val="tx1"/>
                </a:solidFill>
                <a:latin typeface="Verdana" panose="020B0604030504040204" pitchFamily="34" charset="0"/>
              </a:defRPr>
            </a:lvl5pPr>
            <a:lvl6pPr marL="2514600" indent="-228600" defTabSz="908050" eaLnBrk="0" fontAlgn="base" hangingPunct="0">
              <a:spcBef>
                <a:spcPct val="0"/>
              </a:spcBef>
              <a:spcAft>
                <a:spcPct val="0"/>
              </a:spcAft>
              <a:defRPr b="1">
                <a:solidFill>
                  <a:schemeClr val="tx1"/>
                </a:solidFill>
                <a:latin typeface="Verdana" panose="020B0604030504040204" pitchFamily="34" charset="0"/>
              </a:defRPr>
            </a:lvl6pPr>
            <a:lvl7pPr marL="2971800" indent="-228600" defTabSz="908050" eaLnBrk="0" fontAlgn="base" hangingPunct="0">
              <a:spcBef>
                <a:spcPct val="0"/>
              </a:spcBef>
              <a:spcAft>
                <a:spcPct val="0"/>
              </a:spcAft>
              <a:defRPr b="1">
                <a:solidFill>
                  <a:schemeClr val="tx1"/>
                </a:solidFill>
                <a:latin typeface="Verdana" panose="020B0604030504040204" pitchFamily="34" charset="0"/>
              </a:defRPr>
            </a:lvl7pPr>
            <a:lvl8pPr marL="3429000" indent="-228600" defTabSz="908050" eaLnBrk="0" fontAlgn="base" hangingPunct="0">
              <a:spcBef>
                <a:spcPct val="0"/>
              </a:spcBef>
              <a:spcAft>
                <a:spcPct val="0"/>
              </a:spcAft>
              <a:defRPr b="1">
                <a:solidFill>
                  <a:schemeClr val="tx1"/>
                </a:solidFill>
                <a:latin typeface="Verdana" panose="020B0604030504040204" pitchFamily="34" charset="0"/>
              </a:defRPr>
            </a:lvl8pPr>
            <a:lvl9pPr marL="3886200" indent="-228600" defTabSz="908050" eaLnBrk="0" fontAlgn="base" hangingPunct="0">
              <a:spcBef>
                <a:spcPct val="0"/>
              </a:spcBef>
              <a:spcAft>
                <a:spcPct val="0"/>
              </a:spcAft>
              <a:defRPr b="1">
                <a:solidFill>
                  <a:schemeClr val="tx1"/>
                </a:solidFill>
                <a:latin typeface="Verdana" panose="020B0604030504040204" pitchFamily="34" charset="0"/>
              </a:defRPr>
            </a:lvl9pPr>
          </a:lstStyle>
          <a:p>
            <a:pPr marL="0" marR="0" lvl="0" indent="0" algn="r" defTabSz="908050" rtl="0" eaLnBrk="1" fontAlgn="base" latinLnBrk="0" hangingPunct="1">
              <a:lnSpc>
                <a:spcPct val="100000"/>
              </a:lnSpc>
              <a:spcBef>
                <a:spcPct val="0"/>
              </a:spcBef>
              <a:spcAft>
                <a:spcPct val="0"/>
              </a:spcAft>
              <a:buClrTx/>
              <a:buSzTx/>
              <a:buFontTx/>
              <a:buNone/>
              <a:tabLst/>
              <a:defRPr/>
            </a:pPr>
            <a:fld id="{030B26F1-DB0A-42EF-AEE1-4988A5FC4F39}" type="slidenum">
              <a:rPr kumimoji="0" lang="de-DE" altLang="de-DE" sz="12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r" defTabSz="908050" rtl="0" eaLnBrk="1" fontAlgn="base" latinLnBrk="0" hangingPunct="1">
                <a:lnSpc>
                  <a:spcPct val="100000"/>
                </a:lnSpc>
                <a:spcBef>
                  <a:spcPct val="0"/>
                </a:spcBef>
                <a:spcAft>
                  <a:spcPct val="0"/>
                </a:spcAft>
                <a:buClrTx/>
                <a:buSzTx/>
                <a:buFontTx/>
                <a:buNone/>
                <a:tabLst/>
                <a:defRPr/>
              </a:pPr>
              <a:t>13</a:t>
            </a:fld>
            <a:endParaRPr kumimoji="0" lang="de-DE" altLang="de-DE" sz="12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Folienbildplatzhalter 1">
            <a:extLst>
              <a:ext uri="{FF2B5EF4-FFF2-40B4-BE49-F238E27FC236}">
                <a16:creationId xmlns:a16="http://schemas.microsoft.com/office/drawing/2014/main" id="{C1C75CA5-1F51-9D91-C5C5-397AEB9B7FE0}"/>
              </a:ext>
            </a:extLst>
          </p:cNvPr>
          <p:cNvSpPr>
            <a:spLocks noGrp="1" noRot="1" noChangeAspect="1" noChangeArrowheads="1" noTextEdit="1"/>
          </p:cNvSpPr>
          <p:nvPr>
            <p:ph type="sldImg"/>
          </p:nvPr>
        </p:nvSpPr>
        <p:spPr>
          <a:ln/>
        </p:spPr>
      </p:sp>
      <p:sp>
        <p:nvSpPr>
          <p:cNvPr id="38915" name="Notizenplatzhalter 2">
            <a:extLst>
              <a:ext uri="{FF2B5EF4-FFF2-40B4-BE49-F238E27FC236}">
                <a16:creationId xmlns:a16="http://schemas.microsoft.com/office/drawing/2014/main" id="{22B5C65A-E39C-75C1-8E91-DB8DE57BA636}"/>
              </a:ext>
            </a:extLst>
          </p:cNvPr>
          <p:cNvSpPr>
            <a:spLocks noGrp="1" noChangeArrowheads="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de-DE" altLang="de-DE" dirty="0">
              <a:latin typeface="Arial" panose="020B0604020202020204" pitchFamily="34" charset="0"/>
            </a:endParaRPr>
          </a:p>
        </p:txBody>
      </p:sp>
      <p:sp>
        <p:nvSpPr>
          <p:cNvPr id="38916" name="Foliennummernplatzhalter 3">
            <a:extLst>
              <a:ext uri="{FF2B5EF4-FFF2-40B4-BE49-F238E27FC236}">
                <a16:creationId xmlns:a16="http://schemas.microsoft.com/office/drawing/2014/main" id="{2E6C6D83-705E-6B35-CE8A-AB9CD07414C8}"/>
              </a:ext>
            </a:extLst>
          </p:cNvPr>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08050">
              <a:defRPr b="1">
                <a:solidFill>
                  <a:schemeClr val="tx1"/>
                </a:solidFill>
                <a:latin typeface="Verdana" panose="020B0604030504040204" pitchFamily="34" charset="0"/>
              </a:defRPr>
            </a:lvl1pPr>
            <a:lvl2pPr marL="742950" indent="-285750" defTabSz="908050">
              <a:defRPr b="1">
                <a:solidFill>
                  <a:schemeClr val="tx1"/>
                </a:solidFill>
                <a:latin typeface="Verdana" panose="020B0604030504040204" pitchFamily="34" charset="0"/>
              </a:defRPr>
            </a:lvl2pPr>
            <a:lvl3pPr marL="1143000" indent="-228600" defTabSz="908050">
              <a:defRPr b="1">
                <a:solidFill>
                  <a:schemeClr val="tx1"/>
                </a:solidFill>
                <a:latin typeface="Verdana" panose="020B0604030504040204" pitchFamily="34" charset="0"/>
              </a:defRPr>
            </a:lvl3pPr>
            <a:lvl4pPr marL="1600200" indent="-228600" defTabSz="908050">
              <a:defRPr b="1">
                <a:solidFill>
                  <a:schemeClr val="tx1"/>
                </a:solidFill>
                <a:latin typeface="Verdana" panose="020B0604030504040204" pitchFamily="34" charset="0"/>
              </a:defRPr>
            </a:lvl4pPr>
            <a:lvl5pPr marL="2057400" indent="-228600" defTabSz="908050">
              <a:defRPr b="1">
                <a:solidFill>
                  <a:schemeClr val="tx1"/>
                </a:solidFill>
                <a:latin typeface="Verdana" panose="020B0604030504040204" pitchFamily="34" charset="0"/>
              </a:defRPr>
            </a:lvl5pPr>
            <a:lvl6pPr marL="2514600" indent="-228600" defTabSz="908050" eaLnBrk="0" fontAlgn="base" hangingPunct="0">
              <a:spcBef>
                <a:spcPct val="0"/>
              </a:spcBef>
              <a:spcAft>
                <a:spcPct val="0"/>
              </a:spcAft>
              <a:defRPr b="1">
                <a:solidFill>
                  <a:schemeClr val="tx1"/>
                </a:solidFill>
                <a:latin typeface="Verdana" panose="020B0604030504040204" pitchFamily="34" charset="0"/>
              </a:defRPr>
            </a:lvl6pPr>
            <a:lvl7pPr marL="2971800" indent="-228600" defTabSz="908050" eaLnBrk="0" fontAlgn="base" hangingPunct="0">
              <a:spcBef>
                <a:spcPct val="0"/>
              </a:spcBef>
              <a:spcAft>
                <a:spcPct val="0"/>
              </a:spcAft>
              <a:defRPr b="1">
                <a:solidFill>
                  <a:schemeClr val="tx1"/>
                </a:solidFill>
                <a:latin typeface="Verdana" panose="020B0604030504040204" pitchFamily="34" charset="0"/>
              </a:defRPr>
            </a:lvl7pPr>
            <a:lvl8pPr marL="3429000" indent="-228600" defTabSz="908050" eaLnBrk="0" fontAlgn="base" hangingPunct="0">
              <a:spcBef>
                <a:spcPct val="0"/>
              </a:spcBef>
              <a:spcAft>
                <a:spcPct val="0"/>
              </a:spcAft>
              <a:defRPr b="1">
                <a:solidFill>
                  <a:schemeClr val="tx1"/>
                </a:solidFill>
                <a:latin typeface="Verdana" panose="020B0604030504040204" pitchFamily="34" charset="0"/>
              </a:defRPr>
            </a:lvl8pPr>
            <a:lvl9pPr marL="3886200" indent="-228600" defTabSz="908050" eaLnBrk="0" fontAlgn="base" hangingPunct="0">
              <a:spcBef>
                <a:spcPct val="0"/>
              </a:spcBef>
              <a:spcAft>
                <a:spcPct val="0"/>
              </a:spcAft>
              <a:defRPr b="1">
                <a:solidFill>
                  <a:schemeClr val="tx1"/>
                </a:solidFill>
                <a:latin typeface="Verdana" panose="020B0604030504040204" pitchFamily="34" charset="0"/>
              </a:defRPr>
            </a:lvl9pPr>
          </a:lstStyle>
          <a:p>
            <a:pPr marL="0" marR="0" lvl="0" indent="0" algn="r" defTabSz="908050" rtl="0" eaLnBrk="1" fontAlgn="base" latinLnBrk="0" hangingPunct="1">
              <a:lnSpc>
                <a:spcPct val="100000"/>
              </a:lnSpc>
              <a:spcBef>
                <a:spcPct val="0"/>
              </a:spcBef>
              <a:spcAft>
                <a:spcPct val="0"/>
              </a:spcAft>
              <a:buClrTx/>
              <a:buSzTx/>
              <a:buFontTx/>
              <a:buNone/>
              <a:tabLst/>
              <a:defRPr/>
            </a:pPr>
            <a:fld id="{193A4F6C-CD8C-47F5-ACCE-3A286630EB81}" type="slidenum">
              <a:rPr kumimoji="0" lang="de-DE" altLang="de-DE" sz="12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r" defTabSz="908050" rtl="0" eaLnBrk="1" fontAlgn="base" latinLnBrk="0" hangingPunct="1">
                <a:lnSpc>
                  <a:spcPct val="100000"/>
                </a:lnSpc>
                <a:spcBef>
                  <a:spcPct val="0"/>
                </a:spcBef>
                <a:spcAft>
                  <a:spcPct val="0"/>
                </a:spcAft>
                <a:buClrTx/>
                <a:buSzTx/>
                <a:buFontTx/>
                <a:buNone/>
                <a:tabLst/>
                <a:defRPr/>
              </a:pPr>
              <a:t>14</a:t>
            </a:fld>
            <a:endParaRPr kumimoji="0" lang="de-DE" altLang="de-DE" sz="12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pPr>
              <a:defRPr/>
            </a:pPr>
            <a:fld id="{E68E0776-8027-4D9E-85D1-B365B1BC0B07}" type="slidenum">
              <a:rPr lang="de-DE" altLang="de-DE" smtClean="0"/>
              <a:pPr>
                <a:defRPr/>
              </a:pPr>
              <a:t>15</a:t>
            </a:fld>
            <a:endParaRPr lang="de-DE" altLang="de-DE"/>
          </a:p>
        </p:txBody>
      </p:sp>
    </p:spTree>
    <p:extLst>
      <p:ext uri="{BB962C8B-B14F-4D97-AF65-F5344CB8AC3E}">
        <p14:creationId xmlns:p14="http://schemas.microsoft.com/office/powerpoint/2010/main" val="223305829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pPr>
              <a:defRPr/>
            </a:pPr>
            <a:fld id="{E68E0776-8027-4D9E-85D1-B365B1BC0B07}" type="slidenum">
              <a:rPr lang="de-DE" altLang="de-DE" smtClean="0"/>
              <a:pPr>
                <a:defRPr/>
              </a:pPr>
              <a:t>16</a:t>
            </a:fld>
            <a:endParaRPr lang="de-DE" altLang="de-DE"/>
          </a:p>
        </p:txBody>
      </p:sp>
    </p:spTree>
    <p:extLst>
      <p:ext uri="{BB962C8B-B14F-4D97-AF65-F5344CB8AC3E}">
        <p14:creationId xmlns:p14="http://schemas.microsoft.com/office/powerpoint/2010/main" val="10690861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Rectangle 7">
            <a:extLst>
              <a:ext uri="{FF2B5EF4-FFF2-40B4-BE49-F238E27FC236}">
                <a16:creationId xmlns:a16="http://schemas.microsoft.com/office/drawing/2014/main" id="{5162B9A5-EF68-AF64-D58B-59A45D0B7591}"/>
              </a:ext>
            </a:extLst>
          </p:cNvPr>
          <p:cNvSpPr>
            <a:spLocks noGrp="1" noChangeArrowheads="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07573">
              <a:spcBef>
                <a:spcPct val="30000"/>
              </a:spcBef>
              <a:defRPr sz="1200">
                <a:solidFill>
                  <a:schemeClr val="tx1"/>
                </a:solidFill>
                <a:latin typeface="Arial" panose="020B0604020202020204" pitchFamily="34" charset="0"/>
              </a:defRPr>
            </a:lvl1pPr>
            <a:lvl2pPr marL="742703" indent="-284206" defTabSz="907573">
              <a:spcBef>
                <a:spcPct val="30000"/>
              </a:spcBef>
              <a:defRPr sz="1200">
                <a:solidFill>
                  <a:schemeClr val="tx1"/>
                </a:solidFill>
                <a:latin typeface="Arial" panose="020B0604020202020204" pitchFamily="34" charset="0"/>
              </a:defRPr>
            </a:lvl2pPr>
            <a:lvl3pPr marL="1141533" indent="-227679" defTabSz="907573">
              <a:spcBef>
                <a:spcPct val="30000"/>
              </a:spcBef>
              <a:defRPr sz="1200">
                <a:solidFill>
                  <a:schemeClr val="tx1"/>
                </a:solidFill>
                <a:latin typeface="Arial" panose="020B0604020202020204" pitchFamily="34" charset="0"/>
              </a:defRPr>
            </a:lvl3pPr>
            <a:lvl4pPr marL="1600030" indent="-227679" defTabSz="907573">
              <a:spcBef>
                <a:spcPct val="30000"/>
              </a:spcBef>
              <a:defRPr sz="1200">
                <a:solidFill>
                  <a:schemeClr val="tx1"/>
                </a:solidFill>
                <a:latin typeface="Arial" panose="020B0604020202020204" pitchFamily="34" charset="0"/>
              </a:defRPr>
            </a:lvl4pPr>
            <a:lvl5pPr marL="2056957" indent="-227679" defTabSz="907573">
              <a:spcBef>
                <a:spcPct val="30000"/>
              </a:spcBef>
              <a:defRPr sz="1200">
                <a:solidFill>
                  <a:schemeClr val="tx1"/>
                </a:solidFill>
                <a:latin typeface="Arial" panose="020B0604020202020204" pitchFamily="34" charset="0"/>
              </a:defRPr>
            </a:lvl5pPr>
            <a:lvl6pPr marL="2509174" indent="-227679" defTabSz="907573" eaLnBrk="0" fontAlgn="base" hangingPunct="0">
              <a:spcBef>
                <a:spcPct val="30000"/>
              </a:spcBef>
              <a:spcAft>
                <a:spcPct val="0"/>
              </a:spcAft>
              <a:defRPr sz="1200">
                <a:solidFill>
                  <a:schemeClr val="tx1"/>
                </a:solidFill>
                <a:latin typeface="Arial" panose="020B0604020202020204" pitchFamily="34" charset="0"/>
              </a:defRPr>
            </a:lvl6pPr>
            <a:lvl7pPr marL="2961390" indent="-227679" defTabSz="907573" eaLnBrk="0" fontAlgn="base" hangingPunct="0">
              <a:spcBef>
                <a:spcPct val="30000"/>
              </a:spcBef>
              <a:spcAft>
                <a:spcPct val="0"/>
              </a:spcAft>
              <a:defRPr sz="1200">
                <a:solidFill>
                  <a:schemeClr val="tx1"/>
                </a:solidFill>
                <a:latin typeface="Arial" panose="020B0604020202020204" pitchFamily="34" charset="0"/>
              </a:defRPr>
            </a:lvl7pPr>
            <a:lvl8pPr marL="3413607" indent="-227679" defTabSz="907573" eaLnBrk="0" fontAlgn="base" hangingPunct="0">
              <a:spcBef>
                <a:spcPct val="30000"/>
              </a:spcBef>
              <a:spcAft>
                <a:spcPct val="0"/>
              </a:spcAft>
              <a:defRPr sz="1200">
                <a:solidFill>
                  <a:schemeClr val="tx1"/>
                </a:solidFill>
                <a:latin typeface="Arial" panose="020B0604020202020204" pitchFamily="34" charset="0"/>
              </a:defRPr>
            </a:lvl8pPr>
            <a:lvl9pPr marL="3865823" indent="-227679" defTabSz="907573" eaLnBrk="0" fontAlgn="base" hangingPunct="0">
              <a:spcBef>
                <a:spcPct val="30000"/>
              </a:spcBef>
              <a:spcAft>
                <a:spcPct val="0"/>
              </a:spcAft>
              <a:defRPr sz="1200">
                <a:solidFill>
                  <a:schemeClr val="tx1"/>
                </a:solidFill>
                <a:latin typeface="Arial" panose="020B0604020202020204" pitchFamily="34" charset="0"/>
              </a:defRPr>
            </a:lvl9pPr>
          </a:lstStyle>
          <a:p>
            <a:pPr>
              <a:spcBef>
                <a:spcPct val="0"/>
              </a:spcBef>
              <a:defRPr/>
            </a:pPr>
            <a:fld id="{FCA088CD-6581-435B-9B73-7443EECC8543}" type="slidenum">
              <a:rPr lang="de-DE" altLang="de-DE">
                <a:solidFill>
                  <a:srgbClr val="000000"/>
                </a:solidFill>
              </a:rPr>
              <a:pPr>
                <a:spcBef>
                  <a:spcPct val="0"/>
                </a:spcBef>
                <a:defRPr/>
              </a:pPr>
              <a:t>17</a:t>
            </a:fld>
            <a:endParaRPr lang="de-DE" altLang="de-DE">
              <a:solidFill>
                <a:srgbClr val="000000"/>
              </a:solidFill>
            </a:endParaRPr>
          </a:p>
        </p:txBody>
      </p:sp>
      <p:sp>
        <p:nvSpPr>
          <p:cNvPr id="48131" name="Rectangle 2">
            <a:extLst>
              <a:ext uri="{FF2B5EF4-FFF2-40B4-BE49-F238E27FC236}">
                <a16:creationId xmlns:a16="http://schemas.microsoft.com/office/drawing/2014/main" id="{435C96D2-0769-ED24-9059-4C6E9D3D5FC2}"/>
              </a:ext>
            </a:extLst>
          </p:cNvPr>
          <p:cNvSpPr>
            <a:spLocks noGrp="1" noRot="1" noChangeAspect="1" noChangeArrowheads="1" noTextEdit="1"/>
          </p:cNvSpPr>
          <p:nvPr>
            <p:ph type="sldImg"/>
          </p:nvPr>
        </p:nvSpPr>
        <p:spPr>
          <a:ln/>
        </p:spPr>
      </p:sp>
      <p:sp>
        <p:nvSpPr>
          <p:cNvPr id="48132" name="Rectangle 3">
            <a:extLst>
              <a:ext uri="{FF2B5EF4-FFF2-40B4-BE49-F238E27FC236}">
                <a16:creationId xmlns:a16="http://schemas.microsoft.com/office/drawing/2014/main" id="{BECC3270-6A2B-84FF-BB05-9D25807C65FC}"/>
              </a:ext>
            </a:extLst>
          </p:cNvPr>
          <p:cNvSpPr>
            <a:spLocks noGrp="1" noChangeArrowheads="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de-DE" dirty="0">
              <a:latin typeface="Arial" panose="020B0604020202020204" pitchFamily="34" charset="0"/>
            </a:endParaRPr>
          </a:p>
        </p:txBody>
      </p:sp>
    </p:spTree>
    <p:extLst>
      <p:ext uri="{BB962C8B-B14F-4D97-AF65-F5344CB8AC3E}">
        <p14:creationId xmlns:p14="http://schemas.microsoft.com/office/powerpoint/2010/main" val="59954928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pPr>
              <a:defRPr/>
            </a:pPr>
            <a:fld id="{E68E0776-8027-4D9E-85D1-B365B1BC0B07}" type="slidenum">
              <a:rPr lang="de-DE" altLang="de-DE" smtClean="0"/>
              <a:pPr>
                <a:defRPr/>
              </a:pPr>
              <a:t>18</a:t>
            </a:fld>
            <a:endParaRPr lang="de-DE" altLang="de-DE"/>
          </a:p>
        </p:txBody>
      </p:sp>
    </p:spTree>
    <p:extLst>
      <p:ext uri="{BB962C8B-B14F-4D97-AF65-F5344CB8AC3E}">
        <p14:creationId xmlns:p14="http://schemas.microsoft.com/office/powerpoint/2010/main" val="201713250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pPr>
              <a:defRPr/>
            </a:pPr>
            <a:fld id="{E68E0776-8027-4D9E-85D1-B365B1BC0B07}" type="slidenum">
              <a:rPr lang="de-DE" altLang="de-DE" smtClean="0"/>
              <a:pPr>
                <a:defRPr/>
              </a:pPr>
              <a:t>19</a:t>
            </a:fld>
            <a:endParaRPr lang="de-DE" altLang="de-DE"/>
          </a:p>
        </p:txBody>
      </p:sp>
    </p:spTree>
    <p:extLst>
      <p:ext uri="{BB962C8B-B14F-4D97-AF65-F5344CB8AC3E}">
        <p14:creationId xmlns:p14="http://schemas.microsoft.com/office/powerpoint/2010/main" val="89536522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Rectangle 7">
            <a:extLst>
              <a:ext uri="{FF2B5EF4-FFF2-40B4-BE49-F238E27FC236}">
                <a16:creationId xmlns:a16="http://schemas.microsoft.com/office/drawing/2014/main" id="{5162B9A5-EF68-AF64-D58B-59A45D0B7591}"/>
              </a:ext>
            </a:extLst>
          </p:cNvPr>
          <p:cNvSpPr>
            <a:spLocks noGrp="1" noChangeArrowheads="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07573">
              <a:spcBef>
                <a:spcPct val="30000"/>
              </a:spcBef>
              <a:defRPr sz="1200">
                <a:solidFill>
                  <a:schemeClr val="tx1"/>
                </a:solidFill>
                <a:latin typeface="Arial" panose="020B0604020202020204" pitchFamily="34" charset="0"/>
              </a:defRPr>
            </a:lvl1pPr>
            <a:lvl2pPr marL="742703" indent="-284206" defTabSz="907573">
              <a:spcBef>
                <a:spcPct val="30000"/>
              </a:spcBef>
              <a:defRPr sz="1200">
                <a:solidFill>
                  <a:schemeClr val="tx1"/>
                </a:solidFill>
                <a:latin typeface="Arial" panose="020B0604020202020204" pitchFamily="34" charset="0"/>
              </a:defRPr>
            </a:lvl2pPr>
            <a:lvl3pPr marL="1141533" indent="-227679" defTabSz="907573">
              <a:spcBef>
                <a:spcPct val="30000"/>
              </a:spcBef>
              <a:defRPr sz="1200">
                <a:solidFill>
                  <a:schemeClr val="tx1"/>
                </a:solidFill>
                <a:latin typeface="Arial" panose="020B0604020202020204" pitchFamily="34" charset="0"/>
              </a:defRPr>
            </a:lvl3pPr>
            <a:lvl4pPr marL="1600030" indent="-227679" defTabSz="907573">
              <a:spcBef>
                <a:spcPct val="30000"/>
              </a:spcBef>
              <a:defRPr sz="1200">
                <a:solidFill>
                  <a:schemeClr val="tx1"/>
                </a:solidFill>
                <a:latin typeface="Arial" panose="020B0604020202020204" pitchFamily="34" charset="0"/>
              </a:defRPr>
            </a:lvl4pPr>
            <a:lvl5pPr marL="2056957" indent="-227679" defTabSz="907573">
              <a:spcBef>
                <a:spcPct val="30000"/>
              </a:spcBef>
              <a:defRPr sz="1200">
                <a:solidFill>
                  <a:schemeClr val="tx1"/>
                </a:solidFill>
                <a:latin typeface="Arial" panose="020B0604020202020204" pitchFamily="34" charset="0"/>
              </a:defRPr>
            </a:lvl5pPr>
            <a:lvl6pPr marL="2509174" indent="-227679" defTabSz="907573" eaLnBrk="0" fontAlgn="base" hangingPunct="0">
              <a:spcBef>
                <a:spcPct val="30000"/>
              </a:spcBef>
              <a:spcAft>
                <a:spcPct val="0"/>
              </a:spcAft>
              <a:defRPr sz="1200">
                <a:solidFill>
                  <a:schemeClr val="tx1"/>
                </a:solidFill>
                <a:latin typeface="Arial" panose="020B0604020202020204" pitchFamily="34" charset="0"/>
              </a:defRPr>
            </a:lvl6pPr>
            <a:lvl7pPr marL="2961390" indent="-227679" defTabSz="907573" eaLnBrk="0" fontAlgn="base" hangingPunct="0">
              <a:spcBef>
                <a:spcPct val="30000"/>
              </a:spcBef>
              <a:spcAft>
                <a:spcPct val="0"/>
              </a:spcAft>
              <a:defRPr sz="1200">
                <a:solidFill>
                  <a:schemeClr val="tx1"/>
                </a:solidFill>
                <a:latin typeface="Arial" panose="020B0604020202020204" pitchFamily="34" charset="0"/>
              </a:defRPr>
            </a:lvl7pPr>
            <a:lvl8pPr marL="3413607" indent="-227679" defTabSz="907573" eaLnBrk="0" fontAlgn="base" hangingPunct="0">
              <a:spcBef>
                <a:spcPct val="30000"/>
              </a:spcBef>
              <a:spcAft>
                <a:spcPct val="0"/>
              </a:spcAft>
              <a:defRPr sz="1200">
                <a:solidFill>
                  <a:schemeClr val="tx1"/>
                </a:solidFill>
                <a:latin typeface="Arial" panose="020B0604020202020204" pitchFamily="34" charset="0"/>
              </a:defRPr>
            </a:lvl8pPr>
            <a:lvl9pPr marL="3865823" indent="-227679" defTabSz="907573" eaLnBrk="0" fontAlgn="base" hangingPunct="0">
              <a:spcBef>
                <a:spcPct val="30000"/>
              </a:spcBef>
              <a:spcAft>
                <a:spcPct val="0"/>
              </a:spcAft>
              <a:defRPr sz="1200">
                <a:solidFill>
                  <a:schemeClr val="tx1"/>
                </a:solidFill>
                <a:latin typeface="Arial" panose="020B0604020202020204" pitchFamily="34" charset="0"/>
              </a:defRPr>
            </a:lvl9pPr>
          </a:lstStyle>
          <a:p>
            <a:pPr>
              <a:spcBef>
                <a:spcPct val="0"/>
              </a:spcBef>
              <a:defRPr/>
            </a:pPr>
            <a:fld id="{FCA088CD-6581-435B-9B73-7443EECC8543}" type="slidenum">
              <a:rPr lang="de-DE" altLang="de-DE">
                <a:solidFill>
                  <a:srgbClr val="000000"/>
                </a:solidFill>
              </a:rPr>
              <a:pPr>
                <a:spcBef>
                  <a:spcPct val="0"/>
                </a:spcBef>
                <a:defRPr/>
              </a:pPr>
              <a:t>2</a:t>
            </a:fld>
            <a:endParaRPr lang="de-DE" altLang="de-DE">
              <a:solidFill>
                <a:srgbClr val="000000"/>
              </a:solidFill>
            </a:endParaRPr>
          </a:p>
        </p:txBody>
      </p:sp>
      <p:sp>
        <p:nvSpPr>
          <p:cNvPr id="48131" name="Rectangle 2">
            <a:extLst>
              <a:ext uri="{FF2B5EF4-FFF2-40B4-BE49-F238E27FC236}">
                <a16:creationId xmlns:a16="http://schemas.microsoft.com/office/drawing/2014/main" id="{435C96D2-0769-ED24-9059-4C6E9D3D5FC2}"/>
              </a:ext>
            </a:extLst>
          </p:cNvPr>
          <p:cNvSpPr>
            <a:spLocks noGrp="1" noRot="1" noChangeAspect="1" noChangeArrowheads="1" noTextEdit="1"/>
          </p:cNvSpPr>
          <p:nvPr>
            <p:ph type="sldImg"/>
          </p:nvPr>
        </p:nvSpPr>
        <p:spPr>
          <a:ln/>
        </p:spPr>
      </p:sp>
      <p:sp>
        <p:nvSpPr>
          <p:cNvPr id="48132" name="Rectangle 3">
            <a:extLst>
              <a:ext uri="{FF2B5EF4-FFF2-40B4-BE49-F238E27FC236}">
                <a16:creationId xmlns:a16="http://schemas.microsoft.com/office/drawing/2014/main" id="{BECC3270-6A2B-84FF-BB05-9D25807C65FC}"/>
              </a:ext>
            </a:extLst>
          </p:cNvPr>
          <p:cNvSpPr>
            <a:spLocks noGrp="1" noChangeArrowheads="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de-DE" dirty="0">
              <a:latin typeface="Arial" panose="020B0604020202020204" pitchFamily="34" charset="0"/>
            </a:endParaRPr>
          </a:p>
        </p:txBody>
      </p:sp>
    </p:spTree>
    <p:extLst>
      <p:ext uri="{BB962C8B-B14F-4D97-AF65-F5344CB8AC3E}">
        <p14:creationId xmlns:p14="http://schemas.microsoft.com/office/powerpoint/2010/main" val="360310861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pPr>
              <a:defRPr/>
            </a:pPr>
            <a:fld id="{E68E0776-8027-4D9E-85D1-B365B1BC0B07}" type="slidenum">
              <a:rPr lang="de-DE" altLang="de-DE" smtClean="0"/>
              <a:pPr>
                <a:defRPr/>
              </a:pPr>
              <a:t>20</a:t>
            </a:fld>
            <a:endParaRPr lang="de-DE" altLang="de-DE"/>
          </a:p>
        </p:txBody>
      </p:sp>
    </p:spTree>
    <p:extLst>
      <p:ext uri="{BB962C8B-B14F-4D97-AF65-F5344CB8AC3E}">
        <p14:creationId xmlns:p14="http://schemas.microsoft.com/office/powerpoint/2010/main" val="89563662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pPr>
              <a:defRPr/>
            </a:pPr>
            <a:fld id="{E68E0776-8027-4D9E-85D1-B365B1BC0B07}" type="slidenum">
              <a:rPr lang="de-DE" altLang="de-DE" smtClean="0"/>
              <a:pPr>
                <a:defRPr/>
              </a:pPr>
              <a:t>21</a:t>
            </a:fld>
            <a:endParaRPr lang="de-DE" altLang="de-DE"/>
          </a:p>
        </p:txBody>
      </p:sp>
    </p:spTree>
    <p:extLst>
      <p:ext uri="{BB962C8B-B14F-4D97-AF65-F5344CB8AC3E}">
        <p14:creationId xmlns:p14="http://schemas.microsoft.com/office/powerpoint/2010/main" val="302839098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pPr>
              <a:defRPr/>
            </a:pPr>
            <a:fld id="{E68E0776-8027-4D9E-85D1-B365B1BC0B07}" type="slidenum">
              <a:rPr lang="de-DE" altLang="de-DE" smtClean="0"/>
              <a:pPr>
                <a:defRPr/>
              </a:pPr>
              <a:t>22</a:t>
            </a:fld>
            <a:endParaRPr lang="de-DE" altLang="de-DE"/>
          </a:p>
        </p:txBody>
      </p:sp>
    </p:spTree>
    <p:extLst>
      <p:ext uri="{BB962C8B-B14F-4D97-AF65-F5344CB8AC3E}">
        <p14:creationId xmlns:p14="http://schemas.microsoft.com/office/powerpoint/2010/main" val="320150090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Rectangle 7">
            <a:extLst>
              <a:ext uri="{FF2B5EF4-FFF2-40B4-BE49-F238E27FC236}">
                <a16:creationId xmlns:a16="http://schemas.microsoft.com/office/drawing/2014/main" id="{5162B9A5-EF68-AF64-D58B-59A45D0B7591}"/>
              </a:ext>
            </a:extLst>
          </p:cNvPr>
          <p:cNvSpPr>
            <a:spLocks noGrp="1" noChangeArrowheads="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07573">
              <a:spcBef>
                <a:spcPct val="30000"/>
              </a:spcBef>
              <a:defRPr sz="1200">
                <a:solidFill>
                  <a:schemeClr val="tx1"/>
                </a:solidFill>
                <a:latin typeface="Arial" panose="020B0604020202020204" pitchFamily="34" charset="0"/>
              </a:defRPr>
            </a:lvl1pPr>
            <a:lvl2pPr marL="742703" indent="-284206" defTabSz="907573">
              <a:spcBef>
                <a:spcPct val="30000"/>
              </a:spcBef>
              <a:defRPr sz="1200">
                <a:solidFill>
                  <a:schemeClr val="tx1"/>
                </a:solidFill>
                <a:latin typeface="Arial" panose="020B0604020202020204" pitchFamily="34" charset="0"/>
              </a:defRPr>
            </a:lvl2pPr>
            <a:lvl3pPr marL="1141533" indent="-227679" defTabSz="907573">
              <a:spcBef>
                <a:spcPct val="30000"/>
              </a:spcBef>
              <a:defRPr sz="1200">
                <a:solidFill>
                  <a:schemeClr val="tx1"/>
                </a:solidFill>
                <a:latin typeface="Arial" panose="020B0604020202020204" pitchFamily="34" charset="0"/>
              </a:defRPr>
            </a:lvl3pPr>
            <a:lvl4pPr marL="1600030" indent="-227679" defTabSz="907573">
              <a:spcBef>
                <a:spcPct val="30000"/>
              </a:spcBef>
              <a:defRPr sz="1200">
                <a:solidFill>
                  <a:schemeClr val="tx1"/>
                </a:solidFill>
                <a:latin typeface="Arial" panose="020B0604020202020204" pitchFamily="34" charset="0"/>
              </a:defRPr>
            </a:lvl4pPr>
            <a:lvl5pPr marL="2056957" indent="-227679" defTabSz="907573">
              <a:spcBef>
                <a:spcPct val="30000"/>
              </a:spcBef>
              <a:defRPr sz="1200">
                <a:solidFill>
                  <a:schemeClr val="tx1"/>
                </a:solidFill>
                <a:latin typeface="Arial" panose="020B0604020202020204" pitchFamily="34" charset="0"/>
              </a:defRPr>
            </a:lvl5pPr>
            <a:lvl6pPr marL="2509174" indent="-227679" defTabSz="907573" eaLnBrk="0" fontAlgn="base" hangingPunct="0">
              <a:spcBef>
                <a:spcPct val="30000"/>
              </a:spcBef>
              <a:spcAft>
                <a:spcPct val="0"/>
              </a:spcAft>
              <a:defRPr sz="1200">
                <a:solidFill>
                  <a:schemeClr val="tx1"/>
                </a:solidFill>
                <a:latin typeface="Arial" panose="020B0604020202020204" pitchFamily="34" charset="0"/>
              </a:defRPr>
            </a:lvl6pPr>
            <a:lvl7pPr marL="2961390" indent="-227679" defTabSz="907573" eaLnBrk="0" fontAlgn="base" hangingPunct="0">
              <a:spcBef>
                <a:spcPct val="30000"/>
              </a:spcBef>
              <a:spcAft>
                <a:spcPct val="0"/>
              </a:spcAft>
              <a:defRPr sz="1200">
                <a:solidFill>
                  <a:schemeClr val="tx1"/>
                </a:solidFill>
                <a:latin typeface="Arial" panose="020B0604020202020204" pitchFamily="34" charset="0"/>
              </a:defRPr>
            </a:lvl7pPr>
            <a:lvl8pPr marL="3413607" indent="-227679" defTabSz="907573" eaLnBrk="0" fontAlgn="base" hangingPunct="0">
              <a:spcBef>
                <a:spcPct val="30000"/>
              </a:spcBef>
              <a:spcAft>
                <a:spcPct val="0"/>
              </a:spcAft>
              <a:defRPr sz="1200">
                <a:solidFill>
                  <a:schemeClr val="tx1"/>
                </a:solidFill>
                <a:latin typeface="Arial" panose="020B0604020202020204" pitchFamily="34" charset="0"/>
              </a:defRPr>
            </a:lvl8pPr>
            <a:lvl9pPr marL="3865823" indent="-227679" defTabSz="907573" eaLnBrk="0" fontAlgn="base" hangingPunct="0">
              <a:spcBef>
                <a:spcPct val="30000"/>
              </a:spcBef>
              <a:spcAft>
                <a:spcPct val="0"/>
              </a:spcAft>
              <a:defRPr sz="1200">
                <a:solidFill>
                  <a:schemeClr val="tx1"/>
                </a:solidFill>
                <a:latin typeface="Arial" panose="020B0604020202020204" pitchFamily="34" charset="0"/>
              </a:defRPr>
            </a:lvl9pPr>
          </a:lstStyle>
          <a:p>
            <a:pPr>
              <a:spcBef>
                <a:spcPct val="0"/>
              </a:spcBef>
              <a:defRPr/>
            </a:pPr>
            <a:fld id="{FCA088CD-6581-435B-9B73-7443EECC8543}" type="slidenum">
              <a:rPr lang="de-DE" altLang="de-DE">
                <a:solidFill>
                  <a:srgbClr val="000000"/>
                </a:solidFill>
              </a:rPr>
              <a:pPr>
                <a:spcBef>
                  <a:spcPct val="0"/>
                </a:spcBef>
                <a:defRPr/>
              </a:pPr>
              <a:t>24</a:t>
            </a:fld>
            <a:endParaRPr lang="de-DE" altLang="de-DE">
              <a:solidFill>
                <a:srgbClr val="000000"/>
              </a:solidFill>
            </a:endParaRPr>
          </a:p>
        </p:txBody>
      </p:sp>
      <p:sp>
        <p:nvSpPr>
          <p:cNvPr id="48131" name="Rectangle 2">
            <a:extLst>
              <a:ext uri="{FF2B5EF4-FFF2-40B4-BE49-F238E27FC236}">
                <a16:creationId xmlns:a16="http://schemas.microsoft.com/office/drawing/2014/main" id="{435C96D2-0769-ED24-9059-4C6E9D3D5FC2}"/>
              </a:ext>
            </a:extLst>
          </p:cNvPr>
          <p:cNvSpPr>
            <a:spLocks noGrp="1" noRot="1" noChangeAspect="1" noChangeArrowheads="1" noTextEdit="1"/>
          </p:cNvSpPr>
          <p:nvPr>
            <p:ph type="sldImg"/>
          </p:nvPr>
        </p:nvSpPr>
        <p:spPr>
          <a:ln/>
        </p:spPr>
      </p:sp>
      <p:sp>
        <p:nvSpPr>
          <p:cNvPr id="48132" name="Rectangle 3">
            <a:extLst>
              <a:ext uri="{FF2B5EF4-FFF2-40B4-BE49-F238E27FC236}">
                <a16:creationId xmlns:a16="http://schemas.microsoft.com/office/drawing/2014/main" id="{BECC3270-6A2B-84FF-BB05-9D25807C65FC}"/>
              </a:ext>
            </a:extLst>
          </p:cNvPr>
          <p:cNvSpPr>
            <a:spLocks noGrp="1" noChangeArrowheads="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de-DE" dirty="0">
              <a:latin typeface="Arial" panose="020B0604020202020204" pitchFamily="34" charset="0"/>
            </a:endParaRPr>
          </a:p>
        </p:txBody>
      </p:sp>
    </p:spTree>
    <p:extLst>
      <p:ext uri="{BB962C8B-B14F-4D97-AF65-F5344CB8AC3E}">
        <p14:creationId xmlns:p14="http://schemas.microsoft.com/office/powerpoint/2010/main" val="138986474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0" name="Folienbildplatzhalter 1">
            <a:extLst>
              <a:ext uri="{FF2B5EF4-FFF2-40B4-BE49-F238E27FC236}">
                <a16:creationId xmlns:a16="http://schemas.microsoft.com/office/drawing/2014/main" id="{AFDC0348-52A2-EF94-67CB-A93A73B0783F}"/>
              </a:ext>
            </a:extLst>
          </p:cNvPr>
          <p:cNvSpPr>
            <a:spLocks noGrp="1" noRot="1" noChangeAspect="1" noChangeArrowheads="1" noTextEdit="1"/>
          </p:cNvSpPr>
          <p:nvPr>
            <p:ph type="sldImg"/>
          </p:nvPr>
        </p:nvSpPr>
        <p:spPr>
          <a:xfrm>
            <a:off x="90488" y="744538"/>
            <a:ext cx="6616700" cy="3722687"/>
          </a:xfrm>
          <a:ln/>
        </p:spPr>
      </p:sp>
      <p:sp>
        <p:nvSpPr>
          <p:cNvPr id="53251" name="Notizenplatzhalter 2">
            <a:extLst>
              <a:ext uri="{FF2B5EF4-FFF2-40B4-BE49-F238E27FC236}">
                <a16:creationId xmlns:a16="http://schemas.microsoft.com/office/drawing/2014/main" id="{85028B6C-CFA9-6328-0636-5B657EA64218}"/>
              </a:ext>
            </a:extLst>
          </p:cNvPr>
          <p:cNvSpPr>
            <a:spLocks noGrp="1" noChangeArrowheads="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de-DE" altLang="de-DE">
              <a:latin typeface="Arial" panose="020B0604020202020204" pitchFamily="34" charset="0"/>
            </a:endParaRPr>
          </a:p>
        </p:txBody>
      </p:sp>
      <p:sp>
        <p:nvSpPr>
          <p:cNvPr id="53252" name="Foliennummernplatzhalter 3">
            <a:extLst>
              <a:ext uri="{FF2B5EF4-FFF2-40B4-BE49-F238E27FC236}">
                <a16:creationId xmlns:a16="http://schemas.microsoft.com/office/drawing/2014/main" id="{F3EA3BF5-738F-8F98-6534-C66DFA07BE16}"/>
              </a:ext>
            </a:extLst>
          </p:cNvPr>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08050">
              <a:defRPr b="1">
                <a:solidFill>
                  <a:schemeClr val="tx1"/>
                </a:solidFill>
                <a:latin typeface="Verdana" panose="020B0604030504040204" pitchFamily="34" charset="0"/>
              </a:defRPr>
            </a:lvl1pPr>
            <a:lvl2pPr marL="742950" indent="-285750" defTabSz="908050">
              <a:defRPr b="1">
                <a:solidFill>
                  <a:schemeClr val="tx1"/>
                </a:solidFill>
                <a:latin typeface="Verdana" panose="020B0604030504040204" pitchFamily="34" charset="0"/>
              </a:defRPr>
            </a:lvl2pPr>
            <a:lvl3pPr marL="1143000" indent="-228600" defTabSz="908050">
              <a:defRPr b="1">
                <a:solidFill>
                  <a:schemeClr val="tx1"/>
                </a:solidFill>
                <a:latin typeface="Verdana" panose="020B0604030504040204" pitchFamily="34" charset="0"/>
              </a:defRPr>
            </a:lvl3pPr>
            <a:lvl4pPr marL="1600200" indent="-228600" defTabSz="908050">
              <a:defRPr b="1">
                <a:solidFill>
                  <a:schemeClr val="tx1"/>
                </a:solidFill>
                <a:latin typeface="Verdana" panose="020B0604030504040204" pitchFamily="34" charset="0"/>
              </a:defRPr>
            </a:lvl4pPr>
            <a:lvl5pPr marL="2057400" indent="-228600" defTabSz="908050">
              <a:defRPr b="1">
                <a:solidFill>
                  <a:schemeClr val="tx1"/>
                </a:solidFill>
                <a:latin typeface="Verdana" panose="020B0604030504040204" pitchFamily="34" charset="0"/>
              </a:defRPr>
            </a:lvl5pPr>
            <a:lvl6pPr marL="2514600" indent="-228600" defTabSz="908050" eaLnBrk="0" fontAlgn="base" hangingPunct="0">
              <a:spcBef>
                <a:spcPct val="0"/>
              </a:spcBef>
              <a:spcAft>
                <a:spcPct val="0"/>
              </a:spcAft>
              <a:defRPr b="1">
                <a:solidFill>
                  <a:schemeClr val="tx1"/>
                </a:solidFill>
                <a:latin typeface="Verdana" panose="020B0604030504040204" pitchFamily="34" charset="0"/>
              </a:defRPr>
            </a:lvl6pPr>
            <a:lvl7pPr marL="2971800" indent="-228600" defTabSz="908050" eaLnBrk="0" fontAlgn="base" hangingPunct="0">
              <a:spcBef>
                <a:spcPct val="0"/>
              </a:spcBef>
              <a:spcAft>
                <a:spcPct val="0"/>
              </a:spcAft>
              <a:defRPr b="1">
                <a:solidFill>
                  <a:schemeClr val="tx1"/>
                </a:solidFill>
                <a:latin typeface="Verdana" panose="020B0604030504040204" pitchFamily="34" charset="0"/>
              </a:defRPr>
            </a:lvl7pPr>
            <a:lvl8pPr marL="3429000" indent="-228600" defTabSz="908050" eaLnBrk="0" fontAlgn="base" hangingPunct="0">
              <a:spcBef>
                <a:spcPct val="0"/>
              </a:spcBef>
              <a:spcAft>
                <a:spcPct val="0"/>
              </a:spcAft>
              <a:defRPr b="1">
                <a:solidFill>
                  <a:schemeClr val="tx1"/>
                </a:solidFill>
                <a:latin typeface="Verdana" panose="020B0604030504040204" pitchFamily="34" charset="0"/>
              </a:defRPr>
            </a:lvl8pPr>
            <a:lvl9pPr marL="3886200" indent="-228600" defTabSz="908050" eaLnBrk="0" fontAlgn="base" hangingPunct="0">
              <a:spcBef>
                <a:spcPct val="0"/>
              </a:spcBef>
              <a:spcAft>
                <a:spcPct val="0"/>
              </a:spcAft>
              <a:defRPr b="1">
                <a:solidFill>
                  <a:schemeClr val="tx1"/>
                </a:solidFill>
                <a:latin typeface="Verdana" panose="020B0604030504040204" pitchFamily="34" charset="0"/>
              </a:defRPr>
            </a:lvl9pPr>
          </a:lstStyle>
          <a:p>
            <a:pPr marL="0" marR="0" lvl="0" indent="0" algn="r" defTabSz="908050" rtl="0" eaLnBrk="1" fontAlgn="base" latinLnBrk="0" hangingPunct="1">
              <a:lnSpc>
                <a:spcPct val="100000"/>
              </a:lnSpc>
              <a:spcBef>
                <a:spcPct val="0"/>
              </a:spcBef>
              <a:spcAft>
                <a:spcPct val="0"/>
              </a:spcAft>
              <a:buClrTx/>
              <a:buSzTx/>
              <a:buFontTx/>
              <a:buNone/>
              <a:tabLst/>
              <a:defRPr/>
            </a:pPr>
            <a:fld id="{09FCFEFB-4588-40B5-86D4-6E06A8CF3D06}" type="slidenum">
              <a:rPr kumimoji="0" lang="de-DE" altLang="de-DE" sz="12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r" defTabSz="908050" rtl="0" eaLnBrk="1" fontAlgn="base" latinLnBrk="0" hangingPunct="1">
                <a:lnSpc>
                  <a:spcPct val="100000"/>
                </a:lnSpc>
                <a:spcBef>
                  <a:spcPct val="0"/>
                </a:spcBef>
                <a:spcAft>
                  <a:spcPct val="0"/>
                </a:spcAft>
                <a:buClrTx/>
                <a:buSzTx/>
                <a:buFontTx/>
                <a:buNone/>
                <a:tabLst/>
                <a:defRPr/>
              </a:pPr>
              <a:t>26</a:t>
            </a:fld>
            <a:endParaRPr kumimoji="0" lang="de-DE" altLang="de-DE" sz="12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81075707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pPr>
              <a:defRPr/>
            </a:pPr>
            <a:fld id="{E68E0776-8027-4D9E-85D1-B365B1BC0B07}" type="slidenum">
              <a:rPr lang="de-DE" altLang="de-DE" smtClean="0"/>
              <a:pPr>
                <a:defRPr/>
              </a:pPr>
              <a:t>27</a:t>
            </a:fld>
            <a:endParaRPr lang="de-DE" altLang="de-DE"/>
          </a:p>
        </p:txBody>
      </p:sp>
    </p:spTree>
    <p:extLst>
      <p:ext uri="{BB962C8B-B14F-4D97-AF65-F5344CB8AC3E}">
        <p14:creationId xmlns:p14="http://schemas.microsoft.com/office/powerpoint/2010/main" val="293229592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Rectangle 7">
            <a:extLst>
              <a:ext uri="{FF2B5EF4-FFF2-40B4-BE49-F238E27FC236}">
                <a16:creationId xmlns:a16="http://schemas.microsoft.com/office/drawing/2014/main" id="{5162B9A5-EF68-AF64-D58B-59A45D0B7591}"/>
              </a:ext>
            </a:extLst>
          </p:cNvPr>
          <p:cNvSpPr>
            <a:spLocks noGrp="1" noChangeArrowheads="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07573">
              <a:spcBef>
                <a:spcPct val="30000"/>
              </a:spcBef>
              <a:defRPr sz="1200">
                <a:solidFill>
                  <a:schemeClr val="tx1"/>
                </a:solidFill>
                <a:latin typeface="Arial" panose="020B0604020202020204" pitchFamily="34" charset="0"/>
              </a:defRPr>
            </a:lvl1pPr>
            <a:lvl2pPr marL="742703" indent="-284206" defTabSz="907573">
              <a:spcBef>
                <a:spcPct val="30000"/>
              </a:spcBef>
              <a:defRPr sz="1200">
                <a:solidFill>
                  <a:schemeClr val="tx1"/>
                </a:solidFill>
                <a:latin typeface="Arial" panose="020B0604020202020204" pitchFamily="34" charset="0"/>
              </a:defRPr>
            </a:lvl2pPr>
            <a:lvl3pPr marL="1141533" indent="-227679" defTabSz="907573">
              <a:spcBef>
                <a:spcPct val="30000"/>
              </a:spcBef>
              <a:defRPr sz="1200">
                <a:solidFill>
                  <a:schemeClr val="tx1"/>
                </a:solidFill>
                <a:latin typeface="Arial" panose="020B0604020202020204" pitchFamily="34" charset="0"/>
              </a:defRPr>
            </a:lvl3pPr>
            <a:lvl4pPr marL="1600030" indent="-227679" defTabSz="907573">
              <a:spcBef>
                <a:spcPct val="30000"/>
              </a:spcBef>
              <a:defRPr sz="1200">
                <a:solidFill>
                  <a:schemeClr val="tx1"/>
                </a:solidFill>
                <a:latin typeface="Arial" panose="020B0604020202020204" pitchFamily="34" charset="0"/>
              </a:defRPr>
            </a:lvl4pPr>
            <a:lvl5pPr marL="2056957" indent="-227679" defTabSz="907573">
              <a:spcBef>
                <a:spcPct val="30000"/>
              </a:spcBef>
              <a:defRPr sz="1200">
                <a:solidFill>
                  <a:schemeClr val="tx1"/>
                </a:solidFill>
                <a:latin typeface="Arial" panose="020B0604020202020204" pitchFamily="34" charset="0"/>
              </a:defRPr>
            </a:lvl5pPr>
            <a:lvl6pPr marL="2509174" indent="-227679" defTabSz="907573" eaLnBrk="0" fontAlgn="base" hangingPunct="0">
              <a:spcBef>
                <a:spcPct val="30000"/>
              </a:spcBef>
              <a:spcAft>
                <a:spcPct val="0"/>
              </a:spcAft>
              <a:defRPr sz="1200">
                <a:solidFill>
                  <a:schemeClr val="tx1"/>
                </a:solidFill>
                <a:latin typeface="Arial" panose="020B0604020202020204" pitchFamily="34" charset="0"/>
              </a:defRPr>
            </a:lvl6pPr>
            <a:lvl7pPr marL="2961390" indent="-227679" defTabSz="907573" eaLnBrk="0" fontAlgn="base" hangingPunct="0">
              <a:spcBef>
                <a:spcPct val="30000"/>
              </a:spcBef>
              <a:spcAft>
                <a:spcPct val="0"/>
              </a:spcAft>
              <a:defRPr sz="1200">
                <a:solidFill>
                  <a:schemeClr val="tx1"/>
                </a:solidFill>
                <a:latin typeface="Arial" panose="020B0604020202020204" pitchFamily="34" charset="0"/>
              </a:defRPr>
            </a:lvl7pPr>
            <a:lvl8pPr marL="3413607" indent="-227679" defTabSz="907573" eaLnBrk="0" fontAlgn="base" hangingPunct="0">
              <a:spcBef>
                <a:spcPct val="30000"/>
              </a:spcBef>
              <a:spcAft>
                <a:spcPct val="0"/>
              </a:spcAft>
              <a:defRPr sz="1200">
                <a:solidFill>
                  <a:schemeClr val="tx1"/>
                </a:solidFill>
                <a:latin typeface="Arial" panose="020B0604020202020204" pitchFamily="34" charset="0"/>
              </a:defRPr>
            </a:lvl8pPr>
            <a:lvl9pPr marL="3865823" indent="-227679" defTabSz="907573" eaLnBrk="0" fontAlgn="base" hangingPunct="0">
              <a:spcBef>
                <a:spcPct val="30000"/>
              </a:spcBef>
              <a:spcAft>
                <a:spcPct val="0"/>
              </a:spcAft>
              <a:defRPr sz="1200">
                <a:solidFill>
                  <a:schemeClr val="tx1"/>
                </a:solidFill>
                <a:latin typeface="Arial" panose="020B0604020202020204" pitchFamily="34" charset="0"/>
              </a:defRPr>
            </a:lvl9pPr>
          </a:lstStyle>
          <a:p>
            <a:pPr>
              <a:spcBef>
                <a:spcPct val="0"/>
              </a:spcBef>
              <a:defRPr/>
            </a:pPr>
            <a:fld id="{FCA088CD-6581-435B-9B73-7443EECC8543}" type="slidenum">
              <a:rPr lang="de-DE" altLang="de-DE">
                <a:solidFill>
                  <a:srgbClr val="000000"/>
                </a:solidFill>
              </a:rPr>
              <a:pPr>
                <a:spcBef>
                  <a:spcPct val="0"/>
                </a:spcBef>
                <a:defRPr/>
              </a:pPr>
              <a:t>35</a:t>
            </a:fld>
            <a:endParaRPr lang="de-DE" altLang="de-DE">
              <a:solidFill>
                <a:srgbClr val="000000"/>
              </a:solidFill>
            </a:endParaRPr>
          </a:p>
        </p:txBody>
      </p:sp>
      <p:sp>
        <p:nvSpPr>
          <p:cNvPr id="48131" name="Rectangle 2">
            <a:extLst>
              <a:ext uri="{FF2B5EF4-FFF2-40B4-BE49-F238E27FC236}">
                <a16:creationId xmlns:a16="http://schemas.microsoft.com/office/drawing/2014/main" id="{435C96D2-0769-ED24-9059-4C6E9D3D5FC2}"/>
              </a:ext>
            </a:extLst>
          </p:cNvPr>
          <p:cNvSpPr>
            <a:spLocks noGrp="1" noRot="1" noChangeAspect="1" noChangeArrowheads="1" noTextEdit="1"/>
          </p:cNvSpPr>
          <p:nvPr>
            <p:ph type="sldImg"/>
          </p:nvPr>
        </p:nvSpPr>
        <p:spPr>
          <a:ln/>
        </p:spPr>
      </p:sp>
      <p:sp>
        <p:nvSpPr>
          <p:cNvPr id="48132" name="Rectangle 3">
            <a:extLst>
              <a:ext uri="{FF2B5EF4-FFF2-40B4-BE49-F238E27FC236}">
                <a16:creationId xmlns:a16="http://schemas.microsoft.com/office/drawing/2014/main" id="{BECC3270-6A2B-84FF-BB05-9D25807C65FC}"/>
              </a:ext>
            </a:extLst>
          </p:cNvPr>
          <p:cNvSpPr>
            <a:spLocks noGrp="1" noChangeArrowheads="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de-DE" dirty="0">
              <a:latin typeface="Arial" panose="020B0604020202020204" pitchFamily="34" charset="0"/>
            </a:endParaRPr>
          </a:p>
        </p:txBody>
      </p:sp>
    </p:spTree>
    <p:extLst>
      <p:ext uri="{BB962C8B-B14F-4D97-AF65-F5344CB8AC3E}">
        <p14:creationId xmlns:p14="http://schemas.microsoft.com/office/powerpoint/2010/main" val="145443225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pPr>
              <a:defRPr/>
            </a:pPr>
            <a:fld id="{E68E0776-8027-4D9E-85D1-B365B1BC0B07}" type="slidenum">
              <a:rPr lang="de-DE" altLang="de-DE" smtClean="0"/>
              <a:pPr>
                <a:defRPr/>
              </a:pPr>
              <a:t>42</a:t>
            </a:fld>
            <a:endParaRPr lang="de-DE" altLang="de-DE"/>
          </a:p>
        </p:txBody>
      </p:sp>
    </p:spTree>
    <p:extLst>
      <p:ext uri="{BB962C8B-B14F-4D97-AF65-F5344CB8AC3E}">
        <p14:creationId xmlns:p14="http://schemas.microsoft.com/office/powerpoint/2010/main" val="318005744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pPr>
              <a:defRPr/>
            </a:pPr>
            <a:fld id="{E68E0776-8027-4D9E-85D1-B365B1BC0B07}" type="slidenum">
              <a:rPr lang="de-DE" altLang="de-DE" smtClean="0"/>
              <a:pPr>
                <a:defRPr/>
              </a:pPr>
              <a:t>44</a:t>
            </a:fld>
            <a:endParaRPr lang="de-DE" altLang="de-DE"/>
          </a:p>
        </p:txBody>
      </p:sp>
    </p:spTree>
    <p:extLst>
      <p:ext uri="{BB962C8B-B14F-4D97-AF65-F5344CB8AC3E}">
        <p14:creationId xmlns:p14="http://schemas.microsoft.com/office/powerpoint/2010/main" val="368894103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pPr>
              <a:defRPr/>
            </a:pPr>
            <a:fld id="{E68E0776-8027-4D9E-85D1-B365B1BC0B07}" type="slidenum">
              <a:rPr lang="de-DE" altLang="de-DE" smtClean="0"/>
              <a:pPr>
                <a:defRPr/>
              </a:pPr>
              <a:t>45</a:t>
            </a:fld>
            <a:endParaRPr lang="de-DE" altLang="de-DE"/>
          </a:p>
        </p:txBody>
      </p:sp>
    </p:spTree>
    <p:extLst>
      <p:ext uri="{BB962C8B-B14F-4D97-AF65-F5344CB8AC3E}">
        <p14:creationId xmlns:p14="http://schemas.microsoft.com/office/powerpoint/2010/main" val="198973282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pPr marL="0" marR="0" lvl="0" indent="0" algn="r" defTabSz="918039" rtl="0" eaLnBrk="1" fontAlgn="base" latinLnBrk="0" hangingPunct="1">
              <a:lnSpc>
                <a:spcPct val="100000"/>
              </a:lnSpc>
              <a:spcBef>
                <a:spcPct val="0"/>
              </a:spcBef>
              <a:spcAft>
                <a:spcPct val="0"/>
              </a:spcAft>
              <a:buClrTx/>
              <a:buSzTx/>
              <a:buFontTx/>
              <a:buNone/>
              <a:tabLst/>
              <a:defRPr/>
            </a:pPr>
            <a:fld id="{E68E0776-8027-4D9E-85D1-B365B1BC0B07}" type="slidenum">
              <a:rPr kumimoji="0" lang="de-DE" altLang="de-DE" sz="12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r" defTabSz="918039" rtl="0" eaLnBrk="1" fontAlgn="base" latinLnBrk="0" hangingPunct="1">
                <a:lnSpc>
                  <a:spcPct val="100000"/>
                </a:lnSpc>
                <a:spcBef>
                  <a:spcPct val="0"/>
                </a:spcBef>
                <a:spcAft>
                  <a:spcPct val="0"/>
                </a:spcAft>
                <a:buClrTx/>
                <a:buSzTx/>
                <a:buFontTx/>
                <a:buNone/>
                <a:tabLst/>
                <a:defRPr/>
              </a:pPr>
              <a:t>3</a:t>
            </a:fld>
            <a:endParaRPr kumimoji="0" lang="de-DE" altLang="de-DE" sz="12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73945219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Rectangle 7">
            <a:extLst>
              <a:ext uri="{FF2B5EF4-FFF2-40B4-BE49-F238E27FC236}">
                <a16:creationId xmlns:a16="http://schemas.microsoft.com/office/drawing/2014/main" id="{5162B9A5-EF68-AF64-D58B-59A45D0B7591}"/>
              </a:ext>
            </a:extLst>
          </p:cNvPr>
          <p:cNvSpPr>
            <a:spLocks noGrp="1" noChangeArrowheads="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07573">
              <a:spcBef>
                <a:spcPct val="30000"/>
              </a:spcBef>
              <a:defRPr sz="1200">
                <a:solidFill>
                  <a:schemeClr val="tx1"/>
                </a:solidFill>
                <a:latin typeface="Arial" panose="020B0604020202020204" pitchFamily="34" charset="0"/>
              </a:defRPr>
            </a:lvl1pPr>
            <a:lvl2pPr marL="742703" indent="-284206" defTabSz="907573">
              <a:spcBef>
                <a:spcPct val="30000"/>
              </a:spcBef>
              <a:defRPr sz="1200">
                <a:solidFill>
                  <a:schemeClr val="tx1"/>
                </a:solidFill>
                <a:latin typeface="Arial" panose="020B0604020202020204" pitchFamily="34" charset="0"/>
              </a:defRPr>
            </a:lvl2pPr>
            <a:lvl3pPr marL="1141533" indent="-227679" defTabSz="907573">
              <a:spcBef>
                <a:spcPct val="30000"/>
              </a:spcBef>
              <a:defRPr sz="1200">
                <a:solidFill>
                  <a:schemeClr val="tx1"/>
                </a:solidFill>
                <a:latin typeface="Arial" panose="020B0604020202020204" pitchFamily="34" charset="0"/>
              </a:defRPr>
            </a:lvl3pPr>
            <a:lvl4pPr marL="1600030" indent="-227679" defTabSz="907573">
              <a:spcBef>
                <a:spcPct val="30000"/>
              </a:spcBef>
              <a:defRPr sz="1200">
                <a:solidFill>
                  <a:schemeClr val="tx1"/>
                </a:solidFill>
                <a:latin typeface="Arial" panose="020B0604020202020204" pitchFamily="34" charset="0"/>
              </a:defRPr>
            </a:lvl4pPr>
            <a:lvl5pPr marL="2056957" indent="-227679" defTabSz="907573">
              <a:spcBef>
                <a:spcPct val="30000"/>
              </a:spcBef>
              <a:defRPr sz="1200">
                <a:solidFill>
                  <a:schemeClr val="tx1"/>
                </a:solidFill>
                <a:latin typeface="Arial" panose="020B0604020202020204" pitchFamily="34" charset="0"/>
              </a:defRPr>
            </a:lvl5pPr>
            <a:lvl6pPr marL="2509174" indent="-227679" defTabSz="907573" eaLnBrk="0" fontAlgn="base" hangingPunct="0">
              <a:spcBef>
                <a:spcPct val="30000"/>
              </a:spcBef>
              <a:spcAft>
                <a:spcPct val="0"/>
              </a:spcAft>
              <a:defRPr sz="1200">
                <a:solidFill>
                  <a:schemeClr val="tx1"/>
                </a:solidFill>
                <a:latin typeface="Arial" panose="020B0604020202020204" pitchFamily="34" charset="0"/>
              </a:defRPr>
            </a:lvl6pPr>
            <a:lvl7pPr marL="2961390" indent="-227679" defTabSz="907573" eaLnBrk="0" fontAlgn="base" hangingPunct="0">
              <a:spcBef>
                <a:spcPct val="30000"/>
              </a:spcBef>
              <a:spcAft>
                <a:spcPct val="0"/>
              </a:spcAft>
              <a:defRPr sz="1200">
                <a:solidFill>
                  <a:schemeClr val="tx1"/>
                </a:solidFill>
                <a:latin typeface="Arial" panose="020B0604020202020204" pitchFamily="34" charset="0"/>
              </a:defRPr>
            </a:lvl7pPr>
            <a:lvl8pPr marL="3413607" indent="-227679" defTabSz="907573" eaLnBrk="0" fontAlgn="base" hangingPunct="0">
              <a:spcBef>
                <a:spcPct val="30000"/>
              </a:spcBef>
              <a:spcAft>
                <a:spcPct val="0"/>
              </a:spcAft>
              <a:defRPr sz="1200">
                <a:solidFill>
                  <a:schemeClr val="tx1"/>
                </a:solidFill>
                <a:latin typeface="Arial" panose="020B0604020202020204" pitchFamily="34" charset="0"/>
              </a:defRPr>
            </a:lvl8pPr>
            <a:lvl9pPr marL="3865823" indent="-227679" defTabSz="907573" eaLnBrk="0" fontAlgn="base" hangingPunct="0">
              <a:spcBef>
                <a:spcPct val="30000"/>
              </a:spcBef>
              <a:spcAft>
                <a:spcPct val="0"/>
              </a:spcAft>
              <a:defRPr sz="1200">
                <a:solidFill>
                  <a:schemeClr val="tx1"/>
                </a:solidFill>
                <a:latin typeface="Arial" panose="020B0604020202020204" pitchFamily="34" charset="0"/>
              </a:defRPr>
            </a:lvl9pPr>
          </a:lstStyle>
          <a:p>
            <a:pPr>
              <a:spcBef>
                <a:spcPct val="0"/>
              </a:spcBef>
              <a:defRPr/>
            </a:pPr>
            <a:fld id="{FCA088CD-6581-435B-9B73-7443EECC8543}" type="slidenum">
              <a:rPr lang="de-DE" altLang="de-DE">
                <a:solidFill>
                  <a:srgbClr val="000000"/>
                </a:solidFill>
              </a:rPr>
              <a:pPr>
                <a:spcBef>
                  <a:spcPct val="0"/>
                </a:spcBef>
                <a:defRPr/>
              </a:pPr>
              <a:t>4</a:t>
            </a:fld>
            <a:endParaRPr lang="de-DE" altLang="de-DE">
              <a:solidFill>
                <a:srgbClr val="000000"/>
              </a:solidFill>
            </a:endParaRPr>
          </a:p>
        </p:txBody>
      </p:sp>
      <p:sp>
        <p:nvSpPr>
          <p:cNvPr id="48131" name="Rectangle 2">
            <a:extLst>
              <a:ext uri="{FF2B5EF4-FFF2-40B4-BE49-F238E27FC236}">
                <a16:creationId xmlns:a16="http://schemas.microsoft.com/office/drawing/2014/main" id="{435C96D2-0769-ED24-9059-4C6E9D3D5FC2}"/>
              </a:ext>
            </a:extLst>
          </p:cNvPr>
          <p:cNvSpPr>
            <a:spLocks noGrp="1" noRot="1" noChangeAspect="1" noChangeArrowheads="1" noTextEdit="1"/>
          </p:cNvSpPr>
          <p:nvPr>
            <p:ph type="sldImg"/>
          </p:nvPr>
        </p:nvSpPr>
        <p:spPr>
          <a:ln/>
        </p:spPr>
      </p:sp>
      <p:sp>
        <p:nvSpPr>
          <p:cNvPr id="48132" name="Rectangle 3">
            <a:extLst>
              <a:ext uri="{FF2B5EF4-FFF2-40B4-BE49-F238E27FC236}">
                <a16:creationId xmlns:a16="http://schemas.microsoft.com/office/drawing/2014/main" id="{BECC3270-6A2B-84FF-BB05-9D25807C65FC}"/>
              </a:ext>
            </a:extLst>
          </p:cNvPr>
          <p:cNvSpPr>
            <a:spLocks noGrp="1" noChangeArrowheads="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de-DE" dirty="0">
              <a:latin typeface="Arial" panose="020B0604020202020204" pitchFamily="34" charset="0"/>
            </a:endParaRPr>
          </a:p>
        </p:txBody>
      </p:sp>
    </p:spTree>
    <p:extLst>
      <p:ext uri="{BB962C8B-B14F-4D97-AF65-F5344CB8AC3E}">
        <p14:creationId xmlns:p14="http://schemas.microsoft.com/office/powerpoint/2010/main" val="296233814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pPr>
              <a:defRPr/>
            </a:pPr>
            <a:fld id="{E68E0776-8027-4D9E-85D1-B365B1BC0B07}" type="slidenum">
              <a:rPr lang="de-DE" altLang="de-DE" smtClean="0"/>
              <a:pPr>
                <a:defRPr/>
              </a:pPr>
              <a:t>5</a:t>
            </a:fld>
            <a:endParaRPr lang="de-DE" altLang="de-DE"/>
          </a:p>
        </p:txBody>
      </p:sp>
    </p:spTree>
    <p:extLst>
      <p:ext uri="{BB962C8B-B14F-4D97-AF65-F5344CB8AC3E}">
        <p14:creationId xmlns:p14="http://schemas.microsoft.com/office/powerpoint/2010/main" val="373859653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Folienbildplatzhalter 1">
            <a:extLst>
              <a:ext uri="{FF2B5EF4-FFF2-40B4-BE49-F238E27FC236}">
                <a16:creationId xmlns:a16="http://schemas.microsoft.com/office/drawing/2014/main" id="{AF711EE2-6EC0-6004-1C6F-C60670487438}"/>
              </a:ext>
            </a:extLst>
          </p:cNvPr>
          <p:cNvSpPr>
            <a:spLocks noGrp="1" noRot="1" noChangeAspect="1" noChangeArrowheads="1" noTextEdit="1"/>
          </p:cNvSpPr>
          <p:nvPr>
            <p:ph type="sldImg"/>
          </p:nvPr>
        </p:nvSpPr>
        <p:spPr>
          <a:ln/>
        </p:spPr>
      </p:sp>
      <p:sp>
        <p:nvSpPr>
          <p:cNvPr id="16387" name="Notizenplatzhalter 2">
            <a:extLst>
              <a:ext uri="{FF2B5EF4-FFF2-40B4-BE49-F238E27FC236}">
                <a16:creationId xmlns:a16="http://schemas.microsoft.com/office/drawing/2014/main" id="{5E9B6DE2-88E1-2802-3D80-CC4B42C2A037}"/>
              </a:ext>
            </a:extLst>
          </p:cNvPr>
          <p:cNvSpPr>
            <a:spLocks noGrp="1" noChangeArrowheads="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de-DE" altLang="de-DE" dirty="0">
              <a:latin typeface="Arial" panose="020B0604020202020204" pitchFamily="34" charset="0"/>
            </a:endParaRPr>
          </a:p>
        </p:txBody>
      </p:sp>
      <p:sp>
        <p:nvSpPr>
          <p:cNvPr id="16388" name="Foliennummernplatzhalter 3">
            <a:extLst>
              <a:ext uri="{FF2B5EF4-FFF2-40B4-BE49-F238E27FC236}">
                <a16:creationId xmlns:a16="http://schemas.microsoft.com/office/drawing/2014/main" id="{91770C13-0D9D-0E41-D16D-AA53DC1CBC22}"/>
              </a:ext>
            </a:extLst>
          </p:cNvPr>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08050">
              <a:defRPr b="1">
                <a:solidFill>
                  <a:schemeClr val="tx1"/>
                </a:solidFill>
                <a:latin typeface="Verdana" panose="020B0604030504040204" pitchFamily="34" charset="0"/>
              </a:defRPr>
            </a:lvl1pPr>
            <a:lvl2pPr marL="742950" indent="-285750" defTabSz="908050">
              <a:defRPr b="1">
                <a:solidFill>
                  <a:schemeClr val="tx1"/>
                </a:solidFill>
                <a:latin typeface="Verdana" panose="020B0604030504040204" pitchFamily="34" charset="0"/>
              </a:defRPr>
            </a:lvl2pPr>
            <a:lvl3pPr marL="1143000" indent="-228600" defTabSz="908050">
              <a:defRPr b="1">
                <a:solidFill>
                  <a:schemeClr val="tx1"/>
                </a:solidFill>
                <a:latin typeface="Verdana" panose="020B0604030504040204" pitchFamily="34" charset="0"/>
              </a:defRPr>
            </a:lvl3pPr>
            <a:lvl4pPr marL="1600200" indent="-228600" defTabSz="908050">
              <a:defRPr b="1">
                <a:solidFill>
                  <a:schemeClr val="tx1"/>
                </a:solidFill>
                <a:latin typeface="Verdana" panose="020B0604030504040204" pitchFamily="34" charset="0"/>
              </a:defRPr>
            </a:lvl4pPr>
            <a:lvl5pPr marL="2057400" indent="-228600" defTabSz="908050">
              <a:defRPr b="1">
                <a:solidFill>
                  <a:schemeClr val="tx1"/>
                </a:solidFill>
                <a:latin typeface="Verdana" panose="020B0604030504040204" pitchFamily="34" charset="0"/>
              </a:defRPr>
            </a:lvl5pPr>
            <a:lvl6pPr marL="2514600" indent="-228600" defTabSz="908050" eaLnBrk="0" fontAlgn="base" hangingPunct="0">
              <a:spcBef>
                <a:spcPct val="0"/>
              </a:spcBef>
              <a:spcAft>
                <a:spcPct val="0"/>
              </a:spcAft>
              <a:defRPr b="1">
                <a:solidFill>
                  <a:schemeClr val="tx1"/>
                </a:solidFill>
                <a:latin typeface="Verdana" panose="020B0604030504040204" pitchFamily="34" charset="0"/>
              </a:defRPr>
            </a:lvl6pPr>
            <a:lvl7pPr marL="2971800" indent="-228600" defTabSz="908050" eaLnBrk="0" fontAlgn="base" hangingPunct="0">
              <a:spcBef>
                <a:spcPct val="0"/>
              </a:spcBef>
              <a:spcAft>
                <a:spcPct val="0"/>
              </a:spcAft>
              <a:defRPr b="1">
                <a:solidFill>
                  <a:schemeClr val="tx1"/>
                </a:solidFill>
                <a:latin typeface="Verdana" panose="020B0604030504040204" pitchFamily="34" charset="0"/>
              </a:defRPr>
            </a:lvl7pPr>
            <a:lvl8pPr marL="3429000" indent="-228600" defTabSz="908050" eaLnBrk="0" fontAlgn="base" hangingPunct="0">
              <a:spcBef>
                <a:spcPct val="0"/>
              </a:spcBef>
              <a:spcAft>
                <a:spcPct val="0"/>
              </a:spcAft>
              <a:defRPr b="1">
                <a:solidFill>
                  <a:schemeClr val="tx1"/>
                </a:solidFill>
                <a:latin typeface="Verdana" panose="020B0604030504040204" pitchFamily="34" charset="0"/>
              </a:defRPr>
            </a:lvl8pPr>
            <a:lvl9pPr marL="3886200" indent="-228600" defTabSz="908050" eaLnBrk="0" fontAlgn="base" hangingPunct="0">
              <a:spcBef>
                <a:spcPct val="0"/>
              </a:spcBef>
              <a:spcAft>
                <a:spcPct val="0"/>
              </a:spcAft>
              <a:defRPr b="1">
                <a:solidFill>
                  <a:schemeClr val="tx1"/>
                </a:solidFill>
                <a:latin typeface="Verdana" panose="020B0604030504040204" pitchFamily="34" charset="0"/>
              </a:defRPr>
            </a:lvl9pPr>
          </a:lstStyle>
          <a:p>
            <a:pPr marL="0" marR="0" lvl="0" indent="0" algn="r" defTabSz="908050" rtl="0" eaLnBrk="1" fontAlgn="base" latinLnBrk="0" hangingPunct="1">
              <a:lnSpc>
                <a:spcPct val="100000"/>
              </a:lnSpc>
              <a:spcBef>
                <a:spcPct val="0"/>
              </a:spcBef>
              <a:spcAft>
                <a:spcPct val="0"/>
              </a:spcAft>
              <a:buClrTx/>
              <a:buSzTx/>
              <a:buFontTx/>
              <a:buNone/>
              <a:tabLst/>
              <a:defRPr/>
            </a:pPr>
            <a:fld id="{6C11B231-9C84-4C1F-A622-A0456CC3AD4C}" type="slidenum">
              <a:rPr kumimoji="0" lang="de-DE" altLang="de-DE" sz="12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r" defTabSz="908050" rtl="0" eaLnBrk="1" fontAlgn="base" latinLnBrk="0" hangingPunct="1">
                <a:lnSpc>
                  <a:spcPct val="100000"/>
                </a:lnSpc>
                <a:spcBef>
                  <a:spcPct val="0"/>
                </a:spcBef>
                <a:spcAft>
                  <a:spcPct val="0"/>
                </a:spcAft>
                <a:buClrTx/>
                <a:buSzTx/>
                <a:buFontTx/>
                <a:buNone/>
                <a:tabLst/>
                <a:defRPr/>
              </a:pPr>
              <a:t>6</a:t>
            </a:fld>
            <a:endParaRPr kumimoji="0" lang="de-DE" altLang="de-DE" sz="12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03977501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Folienbildplatzhalter 1">
            <a:extLst>
              <a:ext uri="{FF2B5EF4-FFF2-40B4-BE49-F238E27FC236}">
                <a16:creationId xmlns:a16="http://schemas.microsoft.com/office/drawing/2014/main" id="{AF711EE2-6EC0-6004-1C6F-C60670487438}"/>
              </a:ext>
            </a:extLst>
          </p:cNvPr>
          <p:cNvSpPr>
            <a:spLocks noGrp="1" noRot="1" noChangeAspect="1" noChangeArrowheads="1" noTextEdit="1"/>
          </p:cNvSpPr>
          <p:nvPr>
            <p:ph type="sldImg"/>
          </p:nvPr>
        </p:nvSpPr>
        <p:spPr>
          <a:ln/>
        </p:spPr>
      </p:sp>
      <p:sp>
        <p:nvSpPr>
          <p:cNvPr id="16387" name="Notizenplatzhalter 2">
            <a:extLst>
              <a:ext uri="{FF2B5EF4-FFF2-40B4-BE49-F238E27FC236}">
                <a16:creationId xmlns:a16="http://schemas.microsoft.com/office/drawing/2014/main" id="{5E9B6DE2-88E1-2802-3D80-CC4B42C2A037}"/>
              </a:ext>
            </a:extLst>
          </p:cNvPr>
          <p:cNvSpPr>
            <a:spLocks noGrp="1" noChangeArrowheads="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de-DE" altLang="de-DE" dirty="0">
              <a:latin typeface="Arial" panose="020B0604020202020204" pitchFamily="34" charset="0"/>
            </a:endParaRPr>
          </a:p>
        </p:txBody>
      </p:sp>
      <p:sp>
        <p:nvSpPr>
          <p:cNvPr id="16388" name="Foliennummernplatzhalter 3">
            <a:extLst>
              <a:ext uri="{FF2B5EF4-FFF2-40B4-BE49-F238E27FC236}">
                <a16:creationId xmlns:a16="http://schemas.microsoft.com/office/drawing/2014/main" id="{91770C13-0D9D-0E41-D16D-AA53DC1CBC22}"/>
              </a:ext>
            </a:extLst>
          </p:cNvPr>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08050">
              <a:defRPr b="1">
                <a:solidFill>
                  <a:schemeClr val="tx1"/>
                </a:solidFill>
                <a:latin typeface="Verdana" panose="020B0604030504040204" pitchFamily="34" charset="0"/>
              </a:defRPr>
            </a:lvl1pPr>
            <a:lvl2pPr marL="742950" indent="-285750" defTabSz="908050">
              <a:defRPr b="1">
                <a:solidFill>
                  <a:schemeClr val="tx1"/>
                </a:solidFill>
                <a:latin typeface="Verdana" panose="020B0604030504040204" pitchFamily="34" charset="0"/>
              </a:defRPr>
            </a:lvl2pPr>
            <a:lvl3pPr marL="1143000" indent="-228600" defTabSz="908050">
              <a:defRPr b="1">
                <a:solidFill>
                  <a:schemeClr val="tx1"/>
                </a:solidFill>
                <a:latin typeface="Verdana" panose="020B0604030504040204" pitchFamily="34" charset="0"/>
              </a:defRPr>
            </a:lvl3pPr>
            <a:lvl4pPr marL="1600200" indent="-228600" defTabSz="908050">
              <a:defRPr b="1">
                <a:solidFill>
                  <a:schemeClr val="tx1"/>
                </a:solidFill>
                <a:latin typeface="Verdana" panose="020B0604030504040204" pitchFamily="34" charset="0"/>
              </a:defRPr>
            </a:lvl4pPr>
            <a:lvl5pPr marL="2057400" indent="-228600" defTabSz="908050">
              <a:defRPr b="1">
                <a:solidFill>
                  <a:schemeClr val="tx1"/>
                </a:solidFill>
                <a:latin typeface="Verdana" panose="020B0604030504040204" pitchFamily="34" charset="0"/>
              </a:defRPr>
            </a:lvl5pPr>
            <a:lvl6pPr marL="2514600" indent="-228600" defTabSz="908050" eaLnBrk="0" fontAlgn="base" hangingPunct="0">
              <a:spcBef>
                <a:spcPct val="0"/>
              </a:spcBef>
              <a:spcAft>
                <a:spcPct val="0"/>
              </a:spcAft>
              <a:defRPr b="1">
                <a:solidFill>
                  <a:schemeClr val="tx1"/>
                </a:solidFill>
                <a:latin typeface="Verdana" panose="020B0604030504040204" pitchFamily="34" charset="0"/>
              </a:defRPr>
            </a:lvl6pPr>
            <a:lvl7pPr marL="2971800" indent="-228600" defTabSz="908050" eaLnBrk="0" fontAlgn="base" hangingPunct="0">
              <a:spcBef>
                <a:spcPct val="0"/>
              </a:spcBef>
              <a:spcAft>
                <a:spcPct val="0"/>
              </a:spcAft>
              <a:defRPr b="1">
                <a:solidFill>
                  <a:schemeClr val="tx1"/>
                </a:solidFill>
                <a:latin typeface="Verdana" panose="020B0604030504040204" pitchFamily="34" charset="0"/>
              </a:defRPr>
            </a:lvl7pPr>
            <a:lvl8pPr marL="3429000" indent="-228600" defTabSz="908050" eaLnBrk="0" fontAlgn="base" hangingPunct="0">
              <a:spcBef>
                <a:spcPct val="0"/>
              </a:spcBef>
              <a:spcAft>
                <a:spcPct val="0"/>
              </a:spcAft>
              <a:defRPr b="1">
                <a:solidFill>
                  <a:schemeClr val="tx1"/>
                </a:solidFill>
                <a:latin typeface="Verdana" panose="020B0604030504040204" pitchFamily="34" charset="0"/>
              </a:defRPr>
            </a:lvl8pPr>
            <a:lvl9pPr marL="3886200" indent="-228600" defTabSz="908050" eaLnBrk="0" fontAlgn="base" hangingPunct="0">
              <a:spcBef>
                <a:spcPct val="0"/>
              </a:spcBef>
              <a:spcAft>
                <a:spcPct val="0"/>
              </a:spcAft>
              <a:defRPr b="1">
                <a:solidFill>
                  <a:schemeClr val="tx1"/>
                </a:solidFill>
                <a:latin typeface="Verdana" panose="020B0604030504040204" pitchFamily="34" charset="0"/>
              </a:defRPr>
            </a:lvl9pPr>
          </a:lstStyle>
          <a:p>
            <a:pPr marL="0" marR="0" lvl="0" indent="0" algn="r" defTabSz="908050" rtl="0" eaLnBrk="1" fontAlgn="base" latinLnBrk="0" hangingPunct="1">
              <a:lnSpc>
                <a:spcPct val="100000"/>
              </a:lnSpc>
              <a:spcBef>
                <a:spcPct val="0"/>
              </a:spcBef>
              <a:spcAft>
                <a:spcPct val="0"/>
              </a:spcAft>
              <a:buClrTx/>
              <a:buSzTx/>
              <a:buFontTx/>
              <a:buNone/>
              <a:tabLst/>
              <a:defRPr/>
            </a:pPr>
            <a:fld id="{6C11B231-9C84-4C1F-A622-A0456CC3AD4C}" type="slidenum">
              <a:rPr kumimoji="0" lang="de-DE" altLang="de-DE" sz="12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r" defTabSz="908050" rtl="0" eaLnBrk="1" fontAlgn="base" latinLnBrk="0" hangingPunct="1">
                <a:lnSpc>
                  <a:spcPct val="100000"/>
                </a:lnSpc>
                <a:spcBef>
                  <a:spcPct val="0"/>
                </a:spcBef>
                <a:spcAft>
                  <a:spcPct val="0"/>
                </a:spcAft>
                <a:buClrTx/>
                <a:buSzTx/>
                <a:buFontTx/>
                <a:buNone/>
                <a:tabLst/>
                <a:defRPr/>
              </a:pPr>
              <a:t>7</a:t>
            </a:fld>
            <a:endParaRPr kumimoji="0" lang="de-DE" altLang="de-DE" sz="12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Rectangle 7">
            <a:extLst>
              <a:ext uri="{FF2B5EF4-FFF2-40B4-BE49-F238E27FC236}">
                <a16:creationId xmlns:a16="http://schemas.microsoft.com/office/drawing/2014/main" id="{5162B9A5-EF68-AF64-D58B-59A45D0B7591}"/>
              </a:ext>
            </a:extLst>
          </p:cNvPr>
          <p:cNvSpPr>
            <a:spLocks noGrp="1" noChangeArrowheads="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07573">
              <a:spcBef>
                <a:spcPct val="30000"/>
              </a:spcBef>
              <a:defRPr sz="1200">
                <a:solidFill>
                  <a:schemeClr val="tx1"/>
                </a:solidFill>
                <a:latin typeface="Arial" panose="020B0604020202020204" pitchFamily="34" charset="0"/>
              </a:defRPr>
            </a:lvl1pPr>
            <a:lvl2pPr marL="742703" indent="-284206" defTabSz="907573">
              <a:spcBef>
                <a:spcPct val="30000"/>
              </a:spcBef>
              <a:defRPr sz="1200">
                <a:solidFill>
                  <a:schemeClr val="tx1"/>
                </a:solidFill>
                <a:latin typeface="Arial" panose="020B0604020202020204" pitchFamily="34" charset="0"/>
              </a:defRPr>
            </a:lvl2pPr>
            <a:lvl3pPr marL="1141533" indent="-227679" defTabSz="907573">
              <a:spcBef>
                <a:spcPct val="30000"/>
              </a:spcBef>
              <a:defRPr sz="1200">
                <a:solidFill>
                  <a:schemeClr val="tx1"/>
                </a:solidFill>
                <a:latin typeface="Arial" panose="020B0604020202020204" pitchFamily="34" charset="0"/>
              </a:defRPr>
            </a:lvl3pPr>
            <a:lvl4pPr marL="1600030" indent="-227679" defTabSz="907573">
              <a:spcBef>
                <a:spcPct val="30000"/>
              </a:spcBef>
              <a:defRPr sz="1200">
                <a:solidFill>
                  <a:schemeClr val="tx1"/>
                </a:solidFill>
                <a:latin typeface="Arial" panose="020B0604020202020204" pitchFamily="34" charset="0"/>
              </a:defRPr>
            </a:lvl4pPr>
            <a:lvl5pPr marL="2056957" indent="-227679" defTabSz="907573">
              <a:spcBef>
                <a:spcPct val="30000"/>
              </a:spcBef>
              <a:defRPr sz="1200">
                <a:solidFill>
                  <a:schemeClr val="tx1"/>
                </a:solidFill>
                <a:latin typeface="Arial" panose="020B0604020202020204" pitchFamily="34" charset="0"/>
              </a:defRPr>
            </a:lvl5pPr>
            <a:lvl6pPr marL="2509174" indent="-227679" defTabSz="907573" eaLnBrk="0" fontAlgn="base" hangingPunct="0">
              <a:spcBef>
                <a:spcPct val="30000"/>
              </a:spcBef>
              <a:spcAft>
                <a:spcPct val="0"/>
              </a:spcAft>
              <a:defRPr sz="1200">
                <a:solidFill>
                  <a:schemeClr val="tx1"/>
                </a:solidFill>
                <a:latin typeface="Arial" panose="020B0604020202020204" pitchFamily="34" charset="0"/>
              </a:defRPr>
            </a:lvl6pPr>
            <a:lvl7pPr marL="2961390" indent="-227679" defTabSz="907573" eaLnBrk="0" fontAlgn="base" hangingPunct="0">
              <a:spcBef>
                <a:spcPct val="30000"/>
              </a:spcBef>
              <a:spcAft>
                <a:spcPct val="0"/>
              </a:spcAft>
              <a:defRPr sz="1200">
                <a:solidFill>
                  <a:schemeClr val="tx1"/>
                </a:solidFill>
                <a:latin typeface="Arial" panose="020B0604020202020204" pitchFamily="34" charset="0"/>
              </a:defRPr>
            </a:lvl7pPr>
            <a:lvl8pPr marL="3413607" indent="-227679" defTabSz="907573" eaLnBrk="0" fontAlgn="base" hangingPunct="0">
              <a:spcBef>
                <a:spcPct val="30000"/>
              </a:spcBef>
              <a:spcAft>
                <a:spcPct val="0"/>
              </a:spcAft>
              <a:defRPr sz="1200">
                <a:solidFill>
                  <a:schemeClr val="tx1"/>
                </a:solidFill>
                <a:latin typeface="Arial" panose="020B0604020202020204" pitchFamily="34" charset="0"/>
              </a:defRPr>
            </a:lvl8pPr>
            <a:lvl9pPr marL="3865823" indent="-227679" defTabSz="907573" eaLnBrk="0" fontAlgn="base" hangingPunct="0">
              <a:spcBef>
                <a:spcPct val="30000"/>
              </a:spcBef>
              <a:spcAft>
                <a:spcPct val="0"/>
              </a:spcAft>
              <a:defRPr sz="1200">
                <a:solidFill>
                  <a:schemeClr val="tx1"/>
                </a:solidFill>
                <a:latin typeface="Arial" panose="020B0604020202020204" pitchFamily="34" charset="0"/>
              </a:defRPr>
            </a:lvl9pPr>
          </a:lstStyle>
          <a:p>
            <a:pPr>
              <a:spcBef>
                <a:spcPct val="0"/>
              </a:spcBef>
              <a:defRPr/>
            </a:pPr>
            <a:fld id="{FCA088CD-6581-435B-9B73-7443EECC8543}" type="slidenum">
              <a:rPr lang="de-DE" altLang="de-DE">
                <a:solidFill>
                  <a:srgbClr val="000000"/>
                </a:solidFill>
              </a:rPr>
              <a:pPr>
                <a:spcBef>
                  <a:spcPct val="0"/>
                </a:spcBef>
                <a:defRPr/>
              </a:pPr>
              <a:t>8</a:t>
            </a:fld>
            <a:endParaRPr lang="de-DE" altLang="de-DE">
              <a:solidFill>
                <a:srgbClr val="000000"/>
              </a:solidFill>
            </a:endParaRPr>
          </a:p>
        </p:txBody>
      </p:sp>
      <p:sp>
        <p:nvSpPr>
          <p:cNvPr id="48131" name="Rectangle 2">
            <a:extLst>
              <a:ext uri="{FF2B5EF4-FFF2-40B4-BE49-F238E27FC236}">
                <a16:creationId xmlns:a16="http://schemas.microsoft.com/office/drawing/2014/main" id="{435C96D2-0769-ED24-9059-4C6E9D3D5FC2}"/>
              </a:ext>
            </a:extLst>
          </p:cNvPr>
          <p:cNvSpPr>
            <a:spLocks noGrp="1" noRot="1" noChangeAspect="1" noChangeArrowheads="1" noTextEdit="1"/>
          </p:cNvSpPr>
          <p:nvPr>
            <p:ph type="sldImg"/>
          </p:nvPr>
        </p:nvSpPr>
        <p:spPr>
          <a:ln/>
        </p:spPr>
      </p:sp>
      <p:sp>
        <p:nvSpPr>
          <p:cNvPr id="48132" name="Rectangle 3">
            <a:extLst>
              <a:ext uri="{FF2B5EF4-FFF2-40B4-BE49-F238E27FC236}">
                <a16:creationId xmlns:a16="http://schemas.microsoft.com/office/drawing/2014/main" id="{BECC3270-6A2B-84FF-BB05-9D25807C65FC}"/>
              </a:ext>
            </a:extLst>
          </p:cNvPr>
          <p:cNvSpPr>
            <a:spLocks noGrp="1" noChangeArrowheads="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de-DE" dirty="0">
              <a:latin typeface="Arial" panose="020B0604020202020204" pitchFamily="34" charset="0"/>
            </a:endParaRPr>
          </a:p>
        </p:txBody>
      </p:sp>
    </p:spTree>
    <p:extLst>
      <p:ext uri="{BB962C8B-B14F-4D97-AF65-F5344CB8AC3E}">
        <p14:creationId xmlns:p14="http://schemas.microsoft.com/office/powerpoint/2010/main" val="158186142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pPr>
              <a:defRPr/>
            </a:pPr>
            <a:fld id="{E68E0776-8027-4D9E-85D1-B365B1BC0B07}" type="slidenum">
              <a:rPr lang="de-DE" altLang="de-DE" smtClean="0"/>
              <a:pPr>
                <a:defRPr/>
              </a:pPr>
              <a:t>9</a:t>
            </a:fld>
            <a:endParaRPr lang="de-DE" altLang="de-DE"/>
          </a:p>
        </p:txBody>
      </p:sp>
    </p:spTree>
    <p:extLst>
      <p:ext uri="{BB962C8B-B14F-4D97-AF65-F5344CB8AC3E}">
        <p14:creationId xmlns:p14="http://schemas.microsoft.com/office/powerpoint/2010/main" val="140780212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07.xml.rels><?xml version="1.0" encoding="UTF-8" standalone="yes"?>
<Relationships xmlns="http://schemas.openxmlformats.org/package/2006/relationships"><Relationship Id="rId2" Type="http://schemas.openxmlformats.org/officeDocument/2006/relationships/slideMaster" Target="../slideMasters/slideMaster17.xml"/><Relationship Id="rId1" Type="http://schemas.openxmlformats.org/officeDocument/2006/relationships/tags" Target="../tags/tag1.xml"/></Relationships>
</file>

<file path=ppt/slideLayouts/_rels/slideLayout108.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image" Target="../media/image1.png"/><Relationship Id="rId7" Type="http://schemas.openxmlformats.org/officeDocument/2006/relationships/image" Target="../media/image17.png"/><Relationship Id="rId2" Type="http://schemas.openxmlformats.org/officeDocument/2006/relationships/image" Target="../media/image13.emf"/><Relationship Id="rId1" Type="http://schemas.openxmlformats.org/officeDocument/2006/relationships/slideMaster" Target="../slideMasters/slideMaster18.xml"/><Relationship Id="rId6" Type="http://schemas.openxmlformats.org/officeDocument/2006/relationships/image" Target="../media/image16.png"/><Relationship Id="rId5" Type="http://schemas.openxmlformats.org/officeDocument/2006/relationships/image" Target="../media/image15.png"/><Relationship Id="rId10" Type="http://schemas.openxmlformats.org/officeDocument/2006/relationships/image" Target="../media/image20.png"/><Relationship Id="rId4" Type="http://schemas.openxmlformats.org/officeDocument/2006/relationships/image" Target="../media/image14.png"/><Relationship Id="rId9" Type="http://schemas.openxmlformats.org/officeDocument/2006/relationships/image" Target="../media/image19.jpeg"/></Relationships>
</file>

<file path=ppt/slideLayouts/_rels/slideLayout109.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image" Target="../media/image1.png"/><Relationship Id="rId7" Type="http://schemas.openxmlformats.org/officeDocument/2006/relationships/image" Target="../media/image17.png"/><Relationship Id="rId2" Type="http://schemas.openxmlformats.org/officeDocument/2006/relationships/image" Target="../media/image21.emf"/><Relationship Id="rId1" Type="http://schemas.openxmlformats.org/officeDocument/2006/relationships/slideMaster" Target="../slideMasters/slideMaster18.xml"/><Relationship Id="rId6" Type="http://schemas.openxmlformats.org/officeDocument/2006/relationships/image" Target="../media/image16.png"/><Relationship Id="rId5" Type="http://schemas.openxmlformats.org/officeDocument/2006/relationships/image" Target="../media/image15.png"/><Relationship Id="rId10" Type="http://schemas.openxmlformats.org/officeDocument/2006/relationships/image" Target="../media/image22.png"/><Relationship Id="rId4" Type="http://schemas.openxmlformats.org/officeDocument/2006/relationships/image" Target="../media/image14.png"/><Relationship Id="rId9" Type="http://schemas.openxmlformats.org/officeDocument/2006/relationships/image" Target="../media/image19.jpeg"/></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0.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image" Target="../media/image1.png"/><Relationship Id="rId7" Type="http://schemas.openxmlformats.org/officeDocument/2006/relationships/image" Target="../media/image17.png"/><Relationship Id="rId2" Type="http://schemas.openxmlformats.org/officeDocument/2006/relationships/image" Target="../media/image23.emf"/><Relationship Id="rId1" Type="http://schemas.openxmlformats.org/officeDocument/2006/relationships/slideMaster" Target="../slideMasters/slideMaster18.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png"/></Relationships>
</file>

<file path=ppt/slideLayouts/_rels/slideLayout111.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image" Target="../media/image1.png"/><Relationship Id="rId7" Type="http://schemas.openxmlformats.org/officeDocument/2006/relationships/image" Target="../media/image17.png"/><Relationship Id="rId2" Type="http://schemas.openxmlformats.org/officeDocument/2006/relationships/image" Target="../media/image11.emf"/><Relationship Id="rId1" Type="http://schemas.openxmlformats.org/officeDocument/2006/relationships/slideMaster" Target="../slideMasters/slideMaster18.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png"/></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8.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8.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9.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9.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0.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1.xml"/></Relationships>
</file>

<file path=ppt/slideLayouts/_rels/slideLayout73.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image" Target="../media/image1.png"/><Relationship Id="rId7" Type="http://schemas.openxmlformats.org/officeDocument/2006/relationships/image" Target="../media/image17.png"/><Relationship Id="rId2" Type="http://schemas.openxmlformats.org/officeDocument/2006/relationships/image" Target="../media/image13.emf"/><Relationship Id="rId1" Type="http://schemas.openxmlformats.org/officeDocument/2006/relationships/slideMaster" Target="../slideMasters/slideMaster12.xml"/><Relationship Id="rId6" Type="http://schemas.openxmlformats.org/officeDocument/2006/relationships/image" Target="../media/image16.png"/><Relationship Id="rId5" Type="http://schemas.openxmlformats.org/officeDocument/2006/relationships/image" Target="../media/image15.png"/><Relationship Id="rId10" Type="http://schemas.openxmlformats.org/officeDocument/2006/relationships/image" Target="../media/image20.png"/><Relationship Id="rId4" Type="http://schemas.openxmlformats.org/officeDocument/2006/relationships/image" Target="../media/image14.png"/><Relationship Id="rId9" Type="http://schemas.openxmlformats.org/officeDocument/2006/relationships/image" Target="../media/image19.jpeg"/></Relationships>
</file>

<file path=ppt/slideLayouts/_rels/slideLayout74.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image" Target="../media/image1.png"/><Relationship Id="rId7" Type="http://schemas.openxmlformats.org/officeDocument/2006/relationships/image" Target="../media/image17.png"/><Relationship Id="rId2" Type="http://schemas.openxmlformats.org/officeDocument/2006/relationships/image" Target="../media/image21.emf"/><Relationship Id="rId1" Type="http://schemas.openxmlformats.org/officeDocument/2006/relationships/slideMaster" Target="../slideMasters/slideMaster12.xml"/><Relationship Id="rId6" Type="http://schemas.openxmlformats.org/officeDocument/2006/relationships/image" Target="../media/image16.png"/><Relationship Id="rId5" Type="http://schemas.openxmlformats.org/officeDocument/2006/relationships/image" Target="../media/image15.png"/><Relationship Id="rId10" Type="http://schemas.openxmlformats.org/officeDocument/2006/relationships/image" Target="../media/image22.png"/><Relationship Id="rId4" Type="http://schemas.openxmlformats.org/officeDocument/2006/relationships/image" Target="../media/image14.png"/><Relationship Id="rId9" Type="http://schemas.openxmlformats.org/officeDocument/2006/relationships/image" Target="../media/image19.jpeg"/></Relationships>
</file>

<file path=ppt/slideLayouts/_rels/slideLayout75.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image" Target="../media/image1.png"/><Relationship Id="rId7" Type="http://schemas.openxmlformats.org/officeDocument/2006/relationships/image" Target="../media/image17.png"/><Relationship Id="rId2" Type="http://schemas.openxmlformats.org/officeDocument/2006/relationships/image" Target="../media/image23.emf"/><Relationship Id="rId1" Type="http://schemas.openxmlformats.org/officeDocument/2006/relationships/slideMaster" Target="../slideMasters/slideMaster12.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png"/></Relationships>
</file>

<file path=ppt/slideLayouts/_rels/slideLayout76.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image" Target="../media/image1.png"/><Relationship Id="rId7" Type="http://schemas.openxmlformats.org/officeDocument/2006/relationships/image" Target="../media/image17.png"/><Relationship Id="rId2" Type="http://schemas.openxmlformats.org/officeDocument/2006/relationships/image" Target="../media/image11.emf"/><Relationship Id="rId1" Type="http://schemas.openxmlformats.org/officeDocument/2006/relationships/slideMaster" Target="../slideMasters/slideMaster12.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png"/></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2.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image" Target="../media/image1.png"/><Relationship Id="rId7" Type="http://schemas.openxmlformats.org/officeDocument/2006/relationships/image" Target="../media/image17.png"/><Relationship Id="rId2" Type="http://schemas.openxmlformats.org/officeDocument/2006/relationships/image" Target="../media/image13.emf"/><Relationship Id="rId1" Type="http://schemas.openxmlformats.org/officeDocument/2006/relationships/slideMaster" Target="../slideMasters/slideMaster13.xml"/><Relationship Id="rId6" Type="http://schemas.openxmlformats.org/officeDocument/2006/relationships/image" Target="../media/image16.png"/><Relationship Id="rId5" Type="http://schemas.openxmlformats.org/officeDocument/2006/relationships/image" Target="../media/image15.png"/><Relationship Id="rId10" Type="http://schemas.openxmlformats.org/officeDocument/2006/relationships/image" Target="../media/image20.png"/><Relationship Id="rId4" Type="http://schemas.openxmlformats.org/officeDocument/2006/relationships/image" Target="../media/image14.png"/><Relationship Id="rId9" Type="http://schemas.openxmlformats.org/officeDocument/2006/relationships/image" Target="../media/image19.jpeg"/></Relationships>
</file>

<file path=ppt/slideLayouts/_rels/slideLayout83.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image" Target="../media/image1.png"/><Relationship Id="rId7" Type="http://schemas.openxmlformats.org/officeDocument/2006/relationships/image" Target="../media/image17.png"/><Relationship Id="rId2" Type="http://schemas.openxmlformats.org/officeDocument/2006/relationships/image" Target="../media/image21.emf"/><Relationship Id="rId1" Type="http://schemas.openxmlformats.org/officeDocument/2006/relationships/slideMaster" Target="../slideMasters/slideMaster13.xml"/><Relationship Id="rId6" Type="http://schemas.openxmlformats.org/officeDocument/2006/relationships/image" Target="../media/image16.png"/><Relationship Id="rId5" Type="http://schemas.openxmlformats.org/officeDocument/2006/relationships/image" Target="../media/image15.png"/><Relationship Id="rId10" Type="http://schemas.openxmlformats.org/officeDocument/2006/relationships/image" Target="../media/image22.png"/><Relationship Id="rId4" Type="http://schemas.openxmlformats.org/officeDocument/2006/relationships/image" Target="../media/image14.png"/><Relationship Id="rId9" Type="http://schemas.openxmlformats.org/officeDocument/2006/relationships/image" Target="../media/image19.jpeg"/></Relationships>
</file>

<file path=ppt/slideLayouts/_rels/slideLayout84.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image" Target="../media/image1.png"/><Relationship Id="rId7" Type="http://schemas.openxmlformats.org/officeDocument/2006/relationships/image" Target="../media/image17.png"/><Relationship Id="rId2" Type="http://schemas.openxmlformats.org/officeDocument/2006/relationships/image" Target="../media/image23.emf"/><Relationship Id="rId1" Type="http://schemas.openxmlformats.org/officeDocument/2006/relationships/slideMaster" Target="../slideMasters/slideMaster13.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png"/></Relationships>
</file>

<file path=ppt/slideLayouts/_rels/slideLayout85.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image" Target="../media/image1.png"/><Relationship Id="rId7" Type="http://schemas.openxmlformats.org/officeDocument/2006/relationships/image" Target="../media/image17.png"/><Relationship Id="rId2" Type="http://schemas.openxmlformats.org/officeDocument/2006/relationships/image" Target="../media/image11.emf"/><Relationship Id="rId1" Type="http://schemas.openxmlformats.org/officeDocument/2006/relationships/slideMaster" Target="../slideMasters/slideMaster13.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png"/></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slideLayout1.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a:xfrm>
            <a:off x="478367" y="559974"/>
            <a:ext cx="9169400" cy="838200"/>
          </a:xfrm>
        </p:spPr>
        <p:txBody>
          <a:bodyPr anchor="t"/>
          <a:lstStyle>
            <a:lvl1pPr>
              <a:defRPr sz="2000"/>
            </a:lvl1pPr>
          </a:lstStyle>
          <a:p>
            <a:r>
              <a:rPr lang="de-DE" dirty="0"/>
              <a:t>Titelmasterformat durch Klicken bearbeiten</a:t>
            </a:r>
          </a:p>
        </p:txBody>
      </p:sp>
      <p:sp>
        <p:nvSpPr>
          <p:cNvPr id="3" name="Inhaltsplatzhalter 2"/>
          <p:cNvSpPr>
            <a:spLocks noGrp="1"/>
          </p:cNvSpPr>
          <p:nvPr>
            <p:ph idx="1"/>
          </p:nvPr>
        </p:nvSpPr>
        <p:spPr/>
        <p:txBody>
          <a:bodyPr/>
          <a:lstStyle/>
          <a:p>
            <a:pPr lvl="0"/>
            <a:r>
              <a:rPr lang="de-DE" dirty="0"/>
              <a:t>Textmasterformate durch Klicken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Rectangle 1041">
            <a:extLst>
              <a:ext uri="{FF2B5EF4-FFF2-40B4-BE49-F238E27FC236}">
                <a16:creationId xmlns:a16="http://schemas.microsoft.com/office/drawing/2014/main" id="{E4DF0130-0774-D7BD-CED3-C46BB43993A4}"/>
              </a:ext>
            </a:extLst>
          </p:cNvPr>
          <p:cNvSpPr>
            <a:spLocks noGrp="1" noChangeArrowheads="1"/>
          </p:cNvSpPr>
          <p:nvPr>
            <p:ph type="ftr" sz="quarter" idx="10"/>
          </p:nvPr>
        </p:nvSpPr>
        <p:spPr>
          <a:xfrm>
            <a:off x="627063" y="6310313"/>
            <a:ext cx="7007225" cy="215900"/>
          </a:xfrm>
          <a:prstGeom prst="rect">
            <a:avLst/>
          </a:prstGeom>
        </p:spPr>
        <p:txBody>
          <a:bodyPr vert="horz" wrap="square" lIns="91440" tIns="45720" rIns="91440" bIns="45720" numCol="1" anchor="t" anchorCtr="0" compatLnSpc="1">
            <a:prstTxWarp prst="textNoShape">
              <a:avLst/>
            </a:prstTxWarp>
          </a:bodyPr>
          <a:lstStyle>
            <a:lvl1pPr eaLnBrk="1" hangingPunct="1">
              <a:defRPr/>
            </a:lvl1pPr>
          </a:lstStyle>
          <a:p>
            <a:pPr>
              <a:defRPr/>
            </a:pPr>
            <a:r>
              <a:rPr lang="en-GB" altLang="de-DE"/>
              <a:t>Lecture: Interactions in Turbomachinery Rotordynamics - </a:t>
            </a:r>
            <a:fld id="{BD176000-88EA-4B0D-AA64-40FAAF40BFAE}" type="datetime1">
              <a:rPr lang="en-GB" altLang="de-DE" smtClean="0"/>
              <a:pPr>
                <a:defRPr/>
              </a:pPr>
              <a:t>28/01/2024</a:t>
            </a:fld>
            <a:r>
              <a:rPr lang="en-GB" altLang="de-DE"/>
              <a:t> - P </a:t>
            </a:r>
            <a:fld id="{2EA9304C-208A-4746-A614-2D16B9B421AA}" type="slidenum">
              <a:rPr lang="en-GB" altLang="de-DE" smtClean="0"/>
              <a:pPr>
                <a:defRPr/>
              </a:pPr>
              <a:t>‹Nr.›</a:t>
            </a:fld>
            <a:endParaRPr lang="en-GB" altLang="de-DE"/>
          </a:p>
        </p:txBody>
      </p:sp>
    </p:spTree>
    <p:extLst>
      <p:ext uri="{BB962C8B-B14F-4D97-AF65-F5344CB8AC3E}">
        <p14:creationId xmlns:p14="http://schemas.microsoft.com/office/powerpoint/2010/main" val="423975700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blank" preserve="1">
  <p:cSld name="Leer">
    <p:spTree>
      <p:nvGrpSpPr>
        <p:cNvPr id="1" name=""/>
        <p:cNvGrpSpPr/>
        <p:nvPr/>
      </p:nvGrpSpPr>
      <p:grpSpPr>
        <a:xfrm>
          <a:off x="0" y="0"/>
          <a:ext cx="0" cy="0"/>
          <a:chOff x="0" y="0"/>
          <a:chExt cx="0" cy="0"/>
        </a:xfrm>
      </p:grpSpPr>
      <p:sp>
        <p:nvSpPr>
          <p:cNvPr id="2" name="Line 1039">
            <a:extLst>
              <a:ext uri="{FF2B5EF4-FFF2-40B4-BE49-F238E27FC236}">
                <a16:creationId xmlns:a16="http://schemas.microsoft.com/office/drawing/2014/main" id="{973E0F08-94FC-298F-D4BF-0D4CA44C167C}"/>
              </a:ext>
            </a:extLst>
          </p:cNvPr>
          <p:cNvSpPr>
            <a:spLocks noChangeShapeType="1"/>
          </p:cNvSpPr>
          <p:nvPr userDrawn="1"/>
        </p:nvSpPr>
        <p:spPr bwMode="auto">
          <a:xfrm>
            <a:off x="465138" y="950913"/>
            <a:ext cx="11263312" cy="0"/>
          </a:xfrm>
          <a:prstGeom prst="line">
            <a:avLst/>
          </a:prstGeom>
          <a:noFill/>
          <a:ln w="12700">
            <a:solidFill>
              <a:srgbClr val="5F5F5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Tree>
    <p:extLst>
      <p:ext uri="{BB962C8B-B14F-4D97-AF65-F5344CB8AC3E}">
        <p14:creationId xmlns:p14="http://schemas.microsoft.com/office/powerpoint/2010/main" val="57045138"/>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a:xfrm>
            <a:off x="478367" y="559974"/>
            <a:ext cx="9169400" cy="838200"/>
          </a:xfrm>
        </p:spPr>
        <p:txBody>
          <a:bodyPr anchor="t"/>
          <a:lstStyle>
            <a:lvl1pPr>
              <a:defRPr sz="2000"/>
            </a:lvl1pPr>
          </a:lstStyle>
          <a:p>
            <a:r>
              <a:rPr lang="de-DE" dirty="0"/>
              <a:t>Titelmasterformat durch Klicken bearbeiten</a:t>
            </a:r>
          </a:p>
        </p:txBody>
      </p:sp>
      <p:sp>
        <p:nvSpPr>
          <p:cNvPr id="3" name="Inhaltsplatzhalter 2"/>
          <p:cNvSpPr>
            <a:spLocks noGrp="1"/>
          </p:cNvSpPr>
          <p:nvPr>
            <p:ph idx="1"/>
          </p:nvPr>
        </p:nvSpPr>
        <p:spPr/>
        <p:txBody>
          <a:bodyPr/>
          <a:lstStyle/>
          <a:p>
            <a:pPr lvl="0"/>
            <a:r>
              <a:rPr lang="de-DE" dirty="0"/>
              <a:t>Textmasterformate durch Klicken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Rectangle 1041">
            <a:extLst>
              <a:ext uri="{FF2B5EF4-FFF2-40B4-BE49-F238E27FC236}">
                <a16:creationId xmlns:a16="http://schemas.microsoft.com/office/drawing/2014/main" id="{5CDFB25F-3B7B-DB71-0310-B9BD575A0F4B}"/>
              </a:ext>
            </a:extLst>
          </p:cNvPr>
          <p:cNvSpPr>
            <a:spLocks noGrp="1" noChangeArrowheads="1"/>
          </p:cNvSpPr>
          <p:nvPr>
            <p:ph type="ftr" sz="quarter" idx="10"/>
          </p:nvPr>
        </p:nvSpPr>
        <p:spPr>
          <a:xfrm>
            <a:off x="626534" y="6310313"/>
            <a:ext cx="7008284" cy="215900"/>
          </a:xfrm>
          <a:prstGeom prst="rect">
            <a:avLst/>
          </a:prstGeom>
        </p:spPr>
        <p:txBody>
          <a:bodyPr vert="horz" wrap="square" lIns="91440" tIns="45720" rIns="91440" bIns="45720" numCol="1" anchor="t" anchorCtr="0" compatLnSpc="1">
            <a:prstTxWarp prst="textNoShape">
              <a:avLst/>
            </a:prstTxWarp>
          </a:bodyPr>
          <a:lstStyle>
            <a:lvl1pPr eaLnBrk="1" hangingPunct="1">
              <a:defRPr/>
            </a:lvl1pPr>
          </a:lstStyle>
          <a:p>
            <a:pPr>
              <a:defRPr/>
            </a:pPr>
            <a:r>
              <a:rPr lang="en-GB" altLang="de-DE"/>
              <a:t>Lecture: Interactions in Turbomachinery Rotordynamics - </a:t>
            </a:r>
            <a:fld id="{F11C5482-5771-402F-99F3-55B9698443D3}" type="datetime1">
              <a:rPr lang="en-GB" altLang="de-DE" smtClean="0"/>
              <a:pPr>
                <a:defRPr/>
              </a:pPr>
              <a:t>28/01/2024</a:t>
            </a:fld>
            <a:r>
              <a:rPr lang="en-GB" altLang="de-DE"/>
              <a:t> - P </a:t>
            </a:r>
            <a:fld id="{7A5A5443-4112-4694-8970-FBF5CD6B628C}" type="slidenum">
              <a:rPr lang="en-GB" altLang="de-DE" smtClean="0"/>
              <a:pPr>
                <a:defRPr/>
              </a:pPr>
              <a:t>‹Nr.›</a:t>
            </a:fld>
            <a:endParaRPr lang="en-GB" altLang="de-DE"/>
          </a:p>
        </p:txBody>
      </p:sp>
    </p:spTree>
    <p:extLst>
      <p:ext uri="{BB962C8B-B14F-4D97-AF65-F5344CB8AC3E}">
        <p14:creationId xmlns:p14="http://schemas.microsoft.com/office/powerpoint/2010/main" val="3763171262"/>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Tree>
    <p:extLst>
      <p:ext uri="{BB962C8B-B14F-4D97-AF65-F5344CB8AC3E}">
        <p14:creationId xmlns:p14="http://schemas.microsoft.com/office/powerpoint/2010/main" val="4023784450"/>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type="blank" preserve="1">
  <p:cSld name="1_Leer">
    <p:spTree>
      <p:nvGrpSpPr>
        <p:cNvPr id="1" name=""/>
        <p:cNvGrpSpPr/>
        <p:nvPr/>
      </p:nvGrpSpPr>
      <p:grpSpPr>
        <a:xfrm>
          <a:off x="0" y="0"/>
          <a:ext cx="0" cy="0"/>
          <a:chOff x="0" y="0"/>
          <a:chExt cx="0" cy="0"/>
        </a:xfrm>
      </p:grpSpPr>
    </p:spTree>
    <p:extLst>
      <p:ext uri="{BB962C8B-B14F-4D97-AF65-F5344CB8AC3E}">
        <p14:creationId xmlns:p14="http://schemas.microsoft.com/office/powerpoint/2010/main" val="52793225"/>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userDrawn="1">
  <p:cSld name="Benutzerdefiniertes Layou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4" name="Textplatzhalter 3"/>
          <p:cNvSpPr>
            <a:spLocks noGrp="1"/>
          </p:cNvSpPr>
          <p:nvPr>
            <p:ph type="body" sz="quarter" idx="10"/>
          </p:nvPr>
        </p:nvSpPr>
        <p:spPr>
          <a:xfrm>
            <a:off x="478367" y="1785939"/>
            <a:ext cx="9713384" cy="4071937"/>
          </a:xfrm>
        </p:spPr>
        <p:txBody>
          <a:body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endParaRPr lang="de-DE" dirty="0"/>
          </a:p>
        </p:txBody>
      </p:sp>
    </p:spTree>
    <p:extLst>
      <p:ext uri="{BB962C8B-B14F-4D97-AF65-F5344CB8AC3E}">
        <p14:creationId xmlns:p14="http://schemas.microsoft.com/office/powerpoint/2010/main" val="1775190596"/>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a:xfrm>
            <a:off x="478367" y="559974"/>
            <a:ext cx="9169400" cy="838200"/>
          </a:xfrm>
        </p:spPr>
        <p:txBody>
          <a:bodyPr anchor="t"/>
          <a:lstStyle>
            <a:lvl1pPr>
              <a:defRPr sz="2000"/>
            </a:lvl1pPr>
          </a:lstStyle>
          <a:p>
            <a:r>
              <a:rPr lang="de-DE" dirty="0"/>
              <a:t>Titelmasterformat durch Klicken bearbeiten</a:t>
            </a:r>
          </a:p>
        </p:txBody>
      </p:sp>
      <p:sp>
        <p:nvSpPr>
          <p:cNvPr id="3" name="Inhaltsplatzhalter 2"/>
          <p:cNvSpPr>
            <a:spLocks noGrp="1"/>
          </p:cNvSpPr>
          <p:nvPr>
            <p:ph idx="1"/>
          </p:nvPr>
        </p:nvSpPr>
        <p:spPr/>
        <p:txBody>
          <a:bodyPr/>
          <a:lstStyle/>
          <a:p>
            <a:pPr lvl="0"/>
            <a:r>
              <a:rPr lang="de-DE" dirty="0"/>
              <a:t>Textmasterformate durch Klicken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Rectangle 1041">
            <a:extLst>
              <a:ext uri="{FF2B5EF4-FFF2-40B4-BE49-F238E27FC236}">
                <a16:creationId xmlns:a16="http://schemas.microsoft.com/office/drawing/2014/main" id="{B0AFBE50-10EE-D422-53AD-2CD79D42653A}"/>
              </a:ext>
            </a:extLst>
          </p:cNvPr>
          <p:cNvSpPr>
            <a:spLocks noGrp="1" noChangeArrowheads="1"/>
          </p:cNvSpPr>
          <p:nvPr>
            <p:ph type="ftr" sz="quarter" idx="10"/>
          </p:nvPr>
        </p:nvSpPr>
        <p:spPr>
          <a:xfrm>
            <a:off x="626534" y="6310313"/>
            <a:ext cx="7008284" cy="215900"/>
          </a:xfrm>
          <a:prstGeom prst="rect">
            <a:avLst/>
          </a:prstGeom>
        </p:spPr>
        <p:txBody>
          <a:bodyPr vert="horz" wrap="square" lIns="91440" tIns="45720" rIns="91440" bIns="45720" numCol="1" anchor="t" anchorCtr="0" compatLnSpc="1">
            <a:prstTxWarp prst="textNoShape">
              <a:avLst/>
            </a:prstTxWarp>
          </a:bodyPr>
          <a:lstStyle>
            <a:lvl1pPr eaLnBrk="1" hangingPunct="1">
              <a:defRPr/>
            </a:lvl1pPr>
          </a:lstStyle>
          <a:p>
            <a:pPr>
              <a:defRPr/>
            </a:pPr>
            <a:r>
              <a:rPr lang="en-GB" altLang="de-DE"/>
              <a:t>Lecture: Interactions in Turbomachinery Rotordynamics - </a:t>
            </a:r>
            <a:fld id="{F11C5482-5771-402F-99F3-55B9698443D3}" type="datetime1">
              <a:rPr lang="en-GB" altLang="de-DE" smtClean="0"/>
              <a:pPr>
                <a:defRPr/>
              </a:pPr>
              <a:t>28/01/2024</a:t>
            </a:fld>
            <a:r>
              <a:rPr lang="en-GB" altLang="de-DE"/>
              <a:t> - P </a:t>
            </a:r>
            <a:fld id="{E0A3C128-E8C2-4CFD-8A40-530D803B5D44}" type="slidenum">
              <a:rPr lang="en-GB" altLang="de-DE" smtClean="0"/>
              <a:pPr>
                <a:defRPr/>
              </a:pPr>
              <a:t>‹Nr.›</a:t>
            </a:fld>
            <a:endParaRPr lang="en-GB" altLang="de-DE"/>
          </a:p>
        </p:txBody>
      </p:sp>
    </p:spTree>
    <p:extLst>
      <p:ext uri="{BB962C8B-B14F-4D97-AF65-F5344CB8AC3E}">
        <p14:creationId xmlns:p14="http://schemas.microsoft.com/office/powerpoint/2010/main" val="1663017836"/>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Tree>
    <p:extLst>
      <p:ext uri="{BB962C8B-B14F-4D97-AF65-F5344CB8AC3E}">
        <p14:creationId xmlns:p14="http://schemas.microsoft.com/office/powerpoint/2010/main" val="748787470"/>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userDrawn="1">
  <p:cSld name="Benutzerdefiniertes Layou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4" name="Textplatzhalter 3"/>
          <p:cNvSpPr>
            <a:spLocks noGrp="1"/>
          </p:cNvSpPr>
          <p:nvPr>
            <p:ph type="body" sz="quarter" idx="10"/>
          </p:nvPr>
        </p:nvSpPr>
        <p:spPr>
          <a:xfrm>
            <a:off x="478367" y="1785939"/>
            <a:ext cx="9713384" cy="4071937"/>
          </a:xfrm>
        </p:spPr>
        <p:txBody>
          <a:body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endParaRPr lang="de-DE" dirty="0"/>
          </a:p>
        </p:txBody>
      </p:sp>
    </p:spTree>
    <p:extLst>
      <p:ext uri="{BB962C8B-B14F-4D97-AF65-F5344CB8AC3E}">
        <p14:creationId xmlns:p14="http://schemas.microsoft.com/office/powerpoint/2010/main" val="1843265093"/>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type="twoObj">
  <p:cSld name="Zw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en-US"/>
          </a:p>
        </p:txBody>
      </p:sp>
      <p:sp>
        <p:nvSpPr>
          <p:cNvPr id="3" name="Inhaltsplatzhalter 2"/>
          <p:cNvSpPr>
            <a:spLocks noGrp="1"/>
          </p:cNvSpPr>
          <p:nvPr>
            <p:ph sz="half" idx="1"/>
          </p:nvPr>
        </p:nvSpPr>
        <p:spPr>
          <a:xfrm>
            <a:off x="8271593" y="2035488"/>
            <a:ext cx="1695948" cy="4090896"/>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dirty="0"/>
              <a:t>Textmasterformate durch Klicken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4" name="Inhaltsplatzhalter 3"/>
          <p:cNvSpPr>
            <a:spLocks noGrp="1"/>
          </p:cNvSpPr>
          <p:nvPr>
            <p:ph sz="half" idx="2"/>
          </p:nvPr>
        </p:nvSpPr>
        <p:spPr>
          <a:xfrm>
            <a:off x="10141299" y="2035488"/>
            <a:ext cx="1697757" cy="4090896"/>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dirty="0"/>
              <a:t>Textmasterformate durch Klicken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5" name="Rectangle 6">
            <a:extLst>
              <a:ext uri="{FF2B5EF4-FFF2-40B4-BE49-F238E27FC236}">
                <a16:creationId xmlns:a16="http://schemas.microsoft.com/office/drawing/2014/main" id="{631E60E6-3773-7B6D-5F44-95D89040A053}"/>
              </a:ext>
            </a:extLst>
          </p:cNvPr>
          <p:cNvSpPr>
            <a:spLocks noGrp="1" noChangeArrowheads="1"/>
          </p:cNvSpPr>
          <p:nvPr>
            <p:ph type="sldNum" sz="quarter" idx="10"/>
            <p:custDataLst>
              <p:tags r:id="rId1"/>
            </p:custDataLst>
          </p:nvPr>
        </p:nvSpPr>
        <p:spPr>
          <a:xfrm>
            <a:off x="8737600" y="6356351"/>
            <a:ext cx="2844800" cy="365125"/>
          </a:xfrm>
          <a:prstGeom prst="rect">
            <a:avLst/>
          </a:prstGeom>
        </p:spPr>
        <p:txBody>
          <a:bodyPr vert="horz" wrap="square" lIns="91440" tIns="45720" rIns="91440" bIns="45720" numCol="1" anchor="t" anchorCtr="0" compatLnSpc="1">
            <a:prstTxWarp prst="textNoShape">
              <a:avLst/>
            </a:prstTxWarp>
          </a:bodyPr>
          <a:lstStyle>
            <a:lvl1pPr eaLnBrk="1" hangingPunct="1">
              <a:defRPr/>
            </a:lvl1pPr>
          </a:lstStyle>
          <a:p>
            <a:pPr>
              <a:defRPr/>
            </a:pPr>
            <a:fld id="{6E62681C-0E1F-41CF-9028-6CBD67DF6ECF}" type="slidenum">
              <a:rPr lang="en-GB" altLang="de-DE"/>
              <a:pPr>
                <a:defRPr/>
              </a:pPr>
              <a:t>‹Nr.›</a:t>
            </a:fld>
            <a:endParaRPr lang="en-GB" altLang="de-DE"/>
          </a:p>
        </p:txBody>
      </p:sp>
    </p:spTree>
    <p:extLst>
      <p:ext uri="{BB962C8B-B14F-4D97-AF65-F5344CB8AC3E}">
        <p14:creationId xmlns:p14="http://schemas.microsoft.com/office/powerpoint/2010/main" val="4259761150"/>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6_Titelfolie">
    <p:spTree>
      <p:nvGrpSpPr>
        <p:cNvPr id="1" name=""/>
        <p:cNvGrpSpPr/>
        <p:nvPr/>
      </p:nvGrpSpPr>
      <p:grpSpPr>
        <a:xfrm>
          <a:off x="0" y="0"/>
          <a:ext cx="0" cy="0"/>
          <a:chOff x="0" y="0"/>
          <a:chExt cx="0" cy="0"/>
        </a:xfrm>
      </p:grpSpPr>
      <p:sp>
        <p:nvSpPr>
          <p:cNvPr id="14" name="Rechteck 13"/>
          <p:cNvSpPr/>
          <p:nvPr/>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rgbClr val="00715E"/>
              </a:solidFill>
            </a:endParaRPr>
          </a:p>
        </p:txBody>
      </p:sp>
      <p:sp>
        <p:nvSpPr>
          <p:cNvPr id="12" name="Titel 11"/>
          <p:cNvSpPr>
            <a:spLocks noGrp="1"/>
          </p:cNvSpPr>
          <p:nvPr>
            <p:ph type="title" hasCustomPrompt="1"/>
          </p:nvPr>
        </p:nvSpPr>
        <p:spPr>
          <a:xfrm>
            <a:off x="672001" y="480000"/>
            <a:ext cx="9120000" cy="480000"/>
          </a:xfrm>
        </p:spPr>
        <p:txBody>
          <a:bodyPr/>
          <a:lstStyle>
            <a:lvl1pPr>
              <a:defRPr sz="3200">
                <a:solidFill>
                  <a:srgbClr val="FDCA00"/>
                </a:solidFill>
              </a:defRPr>
            </a:lvl1pPr>
          </a:lstStyle>
          <a:p>
            <a:r>
              <a:rPr lang="de-DE" dirty="0"/>
              <a:t>TITELMASTERFORMAT DURCH KLICKEN</a:t>
            </a:r>
          </a:p>
        </p:txBody>
      </p:sp>
      <p:pic>
        <p:nvPicPr>
          <p:cNvPr id="15" name="Bild 14"/>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680914" y="5740751"/>
            <a:ext cx="11192933" cy="609600"/>
          </a:xfrm>
          <a:prstGeom prst="rect">
            <a:avLst/>
          </a:prstGeom>
        </p:spPr>
      </p:pic>
      <p:sp>
        <p:nvSpPr>
          <p:cNvPr id="9" name="Titel 2"/>
          <p:cNvSpPr txBox="1">
            <a:spLocks/>
          </p:cNvSpPr>
          <p:nvPr/>
        </p:nvSpPr>
        <p:spPr bwMode="auto">
          <a:xfrm>
            <a:off x="2596318" y="5384375"/>
            <a:ext cx="1812295" cy="1117600"/>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lvl1pPr algn="l" rtl="0" eaLnBrk="1" fontAlgn="base" hangingPunct="1">
              <a:spcBef>
                <a:spcPct val="0"/>
              </a:spcBef>
              <a:spcAft>
                <a:spcPct val="0"/>
              </a:spcAft>
              <a:defRPr sz="2800" b="1" i="0">
                <a:solidFill>
                  <a:srgbClr val="FDCA00"/>
                </a:solidFill>
                <a:latin typeface="+mj-lt"/>
                <a:ea typeface="Verdana" charset="0"/>
                <a:cs typeface="Verdana" charset="0"/>
              </a:defRPr>
            </a:lvl1pPr>
            <a:lvl2pPr algn="l" rtl="0" eaLnBrk="1" fontAlgn="base" hangingPunct="1">
              <a:spcBef>
                <a:spcPct val="0"/>
              </a:spcBef>
              <a:spcAft>
                <a:spcPct val="0"/>
              </a:spcAft>
              <a:defRPr sz="2400" b="1">
                <a:solidFill>
                  <a:schemeClr val="tx1"/>
                </a:solidFill>
                <a:latin typeface="Arial" charset="0"/>
              </a:defRPr>
            </a:lvl2pPr>
            <a:lvl3pPr algn="l" rtl="0" eaLnBrk="1" fontAlgn="base" hangingPunct="1">
              <a:spcBef>
                <a:spcPct val="0"/>
              </a:spcBef>
              <a:spcAft>
                <a:spcPct val="0"/>
              </a:spcAft>
              <a:defRPr sz="2400" b="1">
                <a:solidFill>
                  <a:schemeClr val="tx1"/>
                </a:solidFill>
                <a:latin typeface="Arial" charset="0"/>
              </a:defRPr>
            </a:lvl3pPr>
            <a:lvl4pPr algn="l" rtl="0" eaLnBrk="1" fontAlgn="base" hangingPunct="1">
              <a:spcBef>
                <a:spcPct val="0"/>
              </a:spcBef>
              <a:spcAft>
                <a:spcPct val="0"/>
              </a:spcAft>
              <a:defRPr sz="2400" b="1">
                <a:solidFill>
                  <a:schemeClr val="tx1"/>
                </a:solidFill>
                <a:latin typeface="Arial" charset="0"/>
              </a:defRPr>
            </a:lvl4pPr>
            <a:lvl5pPr algn="l" rtl="0" eaLnBrk="1" fontAlgn="base" hangingPunct="1">
              <a:spcBef>
                <a:spcPct val="0"/>
              </a:spcBef>
              <a:spcAft>
                <a:spcPct val="0"/>
              </a:spcAft>
              <a:defRPr sz="2400" b="1">
                <a:solidFill>
                  <a:schemeClr val="tx1"/>
                </a:solidFill>
                <a:latin typeface="Arial" charset="0"/>
              </a:defRPr>
            </a:lvl5pPr>
            <a:lvl6pPr marL="457200" algn="l" rtl="0" eaLnBrk="1" fontAlgn="base" hangingPunct="1">
              <a:spcBef>
                <a:spcPct val="0"/>
              </a:spcBef>
              <a:spcAft>
                <a:spcPct val="0"/>
              </a:spcAft>
              <a:defRPr sz="2400" b="1">
                <a:solidFill>
                  <a:schemeClr val="tx1"/>
                </a:solidFill>
                <a:latin typeface="Arial" charset="0"/>
              </a:defRPr>
            </a:lvl6pPr>
            <a:lvl7pPr marL="914400" algn="l" rtl="0" eaLnBrk="1" fontAlgn="base" hangingPunct="1">
              <a:spcBef>
                <a:spcPct val="0"/>
              </a:spcBef>
              <a:spcAft>
                <a:spcPct val="0"/>
              </a:spcAft>
              <a:defRPr sz="2400" b="1">
                <a:solidFill>
                  <a:schemeClr val="tx1"/>
                </a:solidFill>
                <a:latin typeface="Arial" charset="0"/>
              </a:defRPr>
            </a:lvl7pPr>
            <a:lvl8pPr marL="1371600" algn="l" rtl="0" eaLnBrk="1" fontAlgn="base" hangingPunct="1">
              <a:spcBef>
                <a:spcPct val="0"/>
              </a:spcBef>
              <a:spcAft>
                <a:spcPct val="0"/>
              </a:spcAft>
              <a:defRPr sz="2400" b="1">
                <a:solidFill>
                  <a:schemeClr val="tx1"/>
                </a:solidFill>
                <a:latin typeface="Arial" charset="0"/>
              </a:defRPr>
            </a:lvl8pPr>
            <a:lvl9pPr marL="1828800" algn="l" rtl="0" eaLnBrk="1" fontAlgn="base" hangingPunct="1">
              <a:spcBef>
                <a:spcPct val="0"/>
              </a:spcBef>
              <a:spcAft>
                <a:spcPct val="0"/>
              </a:spcAft>
              <a:defRPr sz="2400" b="1">
                <a:solidFill>
                  <a:schemeClr val="tx1"/>
                </a:solidFill>
                <a:latin typeface="Arial" charset="0"/>
              </a:defRPr>
            </a:lvl9pPr>
          </a:lstStyle>
          <a:p>
            <a:endParaRPr lang="de-DE" sz="4533" b="0" kern="0" dirty="0">
              <a:solidFill>
                <a:schemeClr val="accent1"/>
              </a:solidFill>
              <a:latin typeface="+mj-lt"/>
            </a:endParaRPr>
          </a:p>
        </p:txBody>
      </p:sp>
      <p:sp>
        <p:nvSpPr>
          <p:cNvPr id="50" name="Textfeld 49"/>
          <p:cNvSpPr txBox="1"/>
          <p:nvPr userDrawn="1"/>
        </p:nvSpPr>
        <p:spPr>
          <a:xfrm>
            <a:off x="5376000" y="2880000"/>
            <a:ext cx="6144000" cy="2575770"/>
          </a:xfrm>
          <a:prstGeom prst="rect">
            <a:avLst/>
          </a:prstGeom>
          <a:noFill/>
        </p:spPr>
        <p:txBody>
          <a:bodyPr wrap="square" rtlCol="0">
            <a:spAutoFit/>
          </a:bodyPr>
          <a:lstStyle/>
          <a:p>
            <a:pPr marL="0" indent="0">
              <a:lnSpc>
                <a:spcPct val="100000"/>
              </a:lnSpc>
              <a:spcBef>
                <a:spcPts val="0"/>
              </a:spcBef>
              <a:spcAft>
                <a:spcPts val="0"/>
              </a:spcAft>
              <a:buNone/>
            </a:pPr>
            <a:r>
              <a:rPr lang="de-DE" sz="1467" dirty="0">
                <a:solidFill>
                  <a:schemeClr val="accent1"/>
                </a:solidFill>
              </a:rPr>
              <a:t>Prof. Tobias </a:t>
            </a:r>
            <a:r>
              <a:rPr lang="de-DE" sz="1467" dirty="0" err="1">
                <a:solidFill>
                  <a:schemeClr val="accent1"/>
                </a:solidFill>
              </a:rPr>
              <a:t>Melz</a:t>
            </a:r>
            <a:endParaRPr lang="de-DE" sz="1467" dirty="0">
              <a:solidFill>
                <a:schemeClr val="accent1"/>
              </a:solidFill>
            </a:endParaRPr>
          </a:p>
          <a:p>
            <a:pPr marL="0" indent="0">
              <a:lnSpc>
                <a:spcPct val="100000"/>
              </a:lnSpc>
              <a:spcBef>
                <a:spcPts val="0"/>
              </a:spcBef>
              <a:spcAft>
                <a:spcPts val="0"/>
              </a:spcAft>
              <a:buNone/>
            </a:pPr>
            <a:endParaRPr lang="de-DE" sz="1467" dirty="0">
              <a:solidFill>
                <a:schemeClr val="accent1"/>
              </a:solidFill>
            </a:endParaRPr>
          </a:p>
          <a:p>
            <a:pPr marL="0" indent="0">
              <a:lnSpc>
                <a:spcPct val="100000"/>
              </a:lnSpc>
              <a:spcBef>
                <a:spcPts val="0"/>
              </a:spcBef>
              <a:spcAft>
                <a:spcPts val="0"/>
              </a:spcAft>
              <a:buNone/>
            </a:pPr>
            <a:r>
              <a:rPr lang="de-DE" sz="1467" dirty="0">
                <a:solidFill>
                  <a:schemeClr val="accent1"/>
                </a:solidFill>
              </a:rPr>
              <a:t>Technische Universität Darmstadt</a:t>
            </a:r>
          </a:p>
          <a:p>
            <a:pPr marL="0" indent="0">
              <a:lnSpc>
                <a:spcPct val="100000"/>
              </a:lnSpc>
              <a:spcBef>
                <a:spcPts val="0"/>
              </a:spcBef>
              <a:spcAft>
                <a:spcPts val="0"/>
              </a:spcAft>
              <a:buNone/>
            </a:pPr>
            <a:r>
              <a:rPr lang="de-DE" sz="1467" dirty="0">
                <a:solidFill>
                  <a:schemeClr val="accent1"/>
                </a:solidFill>
              </a:rPr>
              <a:t>Fachgebiet Systemzuverlässigkeit, </a:t>
            </a:r>
            <a:r>
              <a:rPr lang="de-DE" sz="1467" dirty="0" err="1">
                <a:solidFill>
                  <a:schemeClr val="accent1"/>
                </a:solidFill>
              </a:rPr>
              <a:t>Adaptronik</a:t>
            </a:r>
            <a:r>
              <a:rPr lang="de-DE" sz="1467" dirty="0">
                <a:solidFill>
                  <a:schemeClr val="accent1"/>
                </a:solidFill>
              </a:rPr>
              <a:t> und Maschinenakustik SAM</a:t>
            </a:r>
          </a:p>
          <a:p>
            <a:pPr marL="0" indent="0">
              <a:lnSpc>
                <a:spcPct val="100000"/>
              </a:lnSpc>
              <a:spcBef>
                <a:spcPts val="0"/>
              </a:spcBef>
              <a:spcAft>
                <a:spcPts val="0"/>
              </a:spcAft>
              <a:buNone/>
            </a:pPr>
            <a:r>
              <a:rPr lang="de-DE" sz="1467" dirty="0">
                <a:solidFill>
                  <a:schemeClr val="accent1"/>
                </a:solidFill>
              </a:rPr>
              <a:t>Otto-Berndt-Straße 2, Gebäude L1|01</a:t>
            </a:r>
          </a:p>
          <a:p>
            <a:pPr marL="0" indent="0">
              <a:lnSpc>
                <a:spcPct val="100000"/>
              </a:lnSpc>
              <a:spcBef>
                <a:spcPts val="0"/>
              </a:spcBef>
              <a:spcAft>
                <a:spcPts val="0"/>
              </a:spcAft>
              <a:buNone/>
            </a:pPr>
            <a:r>
              <a:rPr lang="de-DE" sz="1467" dirty="0">
                <a:solidFill>
                  <a:schemeClr val="accent1"/>
                </a:solidFill>
              </a:rPr>
              <a:t>64287 Darmstadt</a:t>
            </a:r>
          </a:p>
          <a:p>
            <a:pPr marL="0" indent="0">
              <a:lnSpc>
                <a:spcPct val="100000"/>
              </a:lnSpc>
              <a:spcBef>
                <a:spcPts val="0"/>
              </a:spcBef>
              <a:spcAft>
                <a:spcPts val="0"/>
              </a:spcAft>
              <a:buNone/>
            </a:pPr>
            <a:r>
              <a:rPr lang="de-DE" sz="1467" dirty="0">
                <a:solidFill>
                  <a:schemeClr val="accent1"/>
                </a:solidFill>
              </a:rPr>
              <a:t>Tel.: 06151 16-23510</a:t>
            </a:r>
          </a:p>
          <a:p>
            <a:pPr marL="0" indent="0">
              <a:lnSpc>
                <a:spcPct val="100000"/>
              </a:lnSpc>
              <a:spcBef>
                <a:spcPts val="0"/>
              </a:spcBef>
              <a:spcAft>
                <a:spcPts val="0"/>
              </a:spcAft>
              <a:buNone/>
            </a:pPr>
            <a:r>
              <a:rPr lang="de-DE" sz="1467" dirty="0">
                <a:solidFill>
                  <a:schemeClr val="accent1"/>
                </a:solidFill>
              </a:rPr>
              <a:t>tobias.melz@lbf.fraunhofer.de</a:t>
            </a:r>
          </a:p>
          <a:p>
            <a:pPr marL="0" indent="0">
              <a:lnSpc>
                <a:spcPct val="100000"/>
              </a:lnSpc>
              <a:spcBef>
                <a:spcPts val="0"/>
              </a:spcBef>
              <a:spcAft>
                <a:spcPts val="0"/>
              </a:spcAft>
              <a:buNone/>
            </a:pPr>
            <a:r>
              <a:rPr lang="de-DE" sz="1467" dirty="0">
                <a:solidFill>
                  <a:schemeClr val="accent1"/>
                </a:solidFill>
              </a:rPr>
              <a:t>www.sam.tu-darmstadt.de </a:t>
            </a:r>
            <a:br>
              <a:rPr lang="de-DE" sz="1467" dirty="0">
                <a:solidFill>
                  <a:schemeClr val="accent1"/>
                </a:solidFill>
              </a:rPr>
            </a:br>
            <a:r>
              <a:rPr lang="de-DE" sz="1467" dirty="0">
                <a:solidFill>
                  <a:schemeClr val="accent1"/>
                </a:solidFill>
              </a:rPr>
              <a:t>www.lbf.fraunhofer.de</a:t>
            </a:r>
          </a:p>
        </p:txBody>
      </p:sp>
      <p:sp>
        <p:nvSpPr>
          <p:cNvPr id="52" name="Rectangle 4"/>
          <p:cNvSpPr>
            <a:spLocks noGrp="1" noChangeArrowheads="1"/>
          </p:cNvSpPr>
          <p:nvPr>
            <p:ph type="subTitle" idx="1"/>
          </p:nvPr>
        </p:nvSpPr>
        <p:spPr>
          <a:xfrm>
            <a:off x="671076" y="1152001"/>
            <a:ext cx="9120000" cy="789519"/>
          </a:xfrm>
        </p:spPr>
        <p:txBody>
          <a:bodyPr lIns="0" tIns="0" rIns="0" bIns="0"/>
          <a:lstStyle>
            <a:lvl1pPr marL="0" indent="0">
              <a:spcBef>
                <a:spcPct val="0"/>
              </a:spcBef>
              <a:buFont typeface="Wingdings" pitchFamily="2" charset="2"/>
              <a:buNone/>
              <a:defRPr sz="2200" b="0" i="0">
                <a:solidFill>
                  <a:srgbClr val="FDCA00"/>
                </a:solidFill>
                <a:latin typeface="+mj-lt"/>
                <a:ea typeface="Verdana" charset="0"/>
                <a:cs typeface="Verdana" charset="0"/>
              </a:defRPr>
            </a:lvl1pPr>
          </a:lstStyle>
          <a:p>
            <a:r>
              <a:rPr lang="de-DE" dirty="0"/>
              <a:t>Master-Untertitelformat bearbeiten</a:t>
            </a:r>
          </a:p>
        </p:txBody>
      </p:sp>
      <p:grpSp>
        <p:nvGrpSpPr>
          <p:cNvPr id="45" name="Gruppierung 9"/>
          <p:cNvGrpSpPr/>
          <p:nvPr userDrawn="1"/>
        </p:nvGrpSpPr>
        <p:grpSpPr>
          <a:xfrm>
            <a:off x="9887088" y="477223"/>
            <a:ext cx="2304912" cy="870205"/>
            <a:chOff x="7415316" y="357917"/>
            <a:chExt cx="1728684" cy="652654"/>
          </a:xfrm>
          <a:solidFill>
            <a:schemeClr val="bg1"/>
          </a:solidFill>
        </p:grpSpPr>
        <p:sp>
          <p:nvSpPr>
            <p:cNvPr id="46" name="Rechteck 45"/>
            <p:cNvSpPr/>
            <p:nvPr/>
          </p:nvSpPr>
          <p:spPr>
            <a:xfrm>
              <a:off x="7415316" y="357917"/>
              <a:ext cx="1728684" cy="65265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47" name="Picture 9" descr="tud_logo"/>
            <p:cNvPicPr>
              <a:picLocks noChangeAspect="1" noChangeArrowheads="1"/>
            </p:cNvPicPr>
            <p:nvPr/>
          </p:nvPicPr>
          <p:blipFill rotWithShape="1">
            <a:blip r:embed="rId3" cstate="print">
              <a:clrChange>
                <a:clrFrom>
                  <a:srgbClr val="FDFDFD"/>
                </a:clrFrom>
                <a:clrTo>
                  <a:srgbClr val="FDFDFD">
                    <a:alpha val="0"/>
                  </a:srgbClr>
                </a:clrTo>
              </a:clrChange>
              <a:extLst>
                <a:ext uri="{28A0092B-C50C-407E-A947-70E740481C1C}">
                  <a14:useLocalDpi xmlns:a14="http://schemas.microsoft.com/office/drawing/2010/main"/>
                </a:ext>
              </a:extLst>
            </a:blip>
            <a:srcRect l="7733" t="6878" r="5453" b="9546"/>
            <a:stretch/>
          </p:blipFill>
          <p:spPr bwMode="auto">
            <a:xfrm>
              <a:off x="7608875" y="407299"/>
              <a:ext cx="1404584" cy="540631"/>
            </a:xfrm>
            <a:prstGeom prst="rect">
              <a:avLst/>
            </a:prstGeom>
            <a:grpFill/>
            <a:ln w="9525">
              <a:noFill/>
              <a:miter lim="800000"/>
              <a:headEnd/>
              <a:tailEnd/>
            </a:ln>
          </p:spPr>
        </p:pic>
      </p:grpSp>
      <p:sp>
        <p:nvSpPr>
          <p:cNvPr id="84" name="Rechteck 83"/>
          <p:cNvSpPr/>
          <p:nvPr userDrawn="1"/>
        </p:nvSpPr>
        <p:spPr>
          <a:xfrm>
            <a:off x="9887088" y="1345096"/>
            <a:ext cx="2304912" cy="429605"/>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51" name="Group 4"/>
          <p:cNvGrpSpPr>
            <a:grpSpLocks noChangeAspect="1"/>
          </p:cNvGrpSpPr>
          <p:nvPr userDrawn="1"/>
        </p:nvGrpSpPr>
        <p:grpSpPr bwMode="auto">
          <a:xfrm>
            <a:off x="11268361" y="1286959"/>
            <a:ext cx="601441" cy="445749"/>
            <a:chOff x="5478" y="637"/>
            <a:chExt cx="282" cy="209"/>
          </a:xfrm>
        </p:grpSpPr>
        <p:sp>
          <p:nvSpPr>
            <p:cNvPr id="53" name="AutoShape 3"/>
            <p:cNvSpPr>
              <a:spLocks noChangeAspect="1" noChangeArrowheads="1" noTextEdit="1"/>
            </p:cNvSpPr>
            <p:nvPr userDrawn="1"/>
          </p:nvSpPr>
          <p:spPr bwMode="auto">
            <a:xfrm>
              <a:off x="5478" y="637"/>
              <a:ext cx="282" cy="2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pic>
          <p:nvPicPr>
            <p:cNvPr id="54" name="Picture 5"/>
            <p:cNvPicPr>
              <a:picLocks noChangeAspect="1" noChangeArrowheads="1"/>
            </p:cNvPicPr>
            <p:nvPr userDrawn="1"/>
          </p:nvPicPr>
          <p:blipFill>
            <a:blip r:embed="rId4" cstate="hqprint">
              <a:extLst>
                <a:ext uri="{28A0092B-C50C-407E-A947-70E740481C1C}">
                  <a14:useLocalDpi xmlns:a14="http://schemas.microsoft.com/office/drawing/2010/main" val="0"/>
                </a:ext>
              </a:extLst>
            </a:blip>
            <a:srcRect/>
            <a:stretch>
              <a:fillRect/>
            </a:stretch>
          </p:blipFill>
          <p:spPr bwMode="auto">
            <a:xfrm>
              <a:off x="5478" y="637"/>
              <a:ext cx="282" cy="2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5" name="Freeform 6"/>
            <p:cNvSpPr>
              <a:spLocks noEditPoints="1"/>
            </p:cNvSpPr>
            <p:nvPr userDrawn="1"/>
          </p:nvSpPr>
          <p:spPr bwMode="auto">
            <a:xfrm>
              <a:off x="5486" y="647"/>
              <a:ext cx="185" cy="183"/>
            </a:xfrm>
            <a:custGeom>
              <a:avLst/>
              <a:gdLst>
                <a:gd name="T0" fmla="*/ 554 w 554"/>
                <a:gd name="T1" fmla="*/ 275 h 550"/>
                <a:gd name="T2" fmla="*/ 549 w 554"/>
                <a:gd name="T3" fmla="*/ 331 h 550"/>
                <a:gd name="T4" fmla="*/ 533 w 554"/>
                <a:gd name="T5" fmla="*/ 382 h 550"/>
                <a:gd name="T6" fmla="*/ 507 w 554"/>
                <a:gd name="T7" fmla="*/ 429 h 550"/>
                <a:gd name="T8" fmla="*/ 473 w 554"/>
                <a:gd name="T9" fmla="*/ 470 h 550"/>
                <a:gd name="T10" fmla="*/ 433 w 554"/>
                <a:gd name="T11" fmla="*/ 503 h 550"/>
                <a:gd name="T12" fmla="*/ 385 w 554"/>
                <a:gd name="T13" fmla="*/ 529 h 550"/>
                <a:gd name="T14" fmla="*/ 334 w 554"/>
                <a:gd name="T15" fmla="*/ 544 h 550"/>
                <a:gd name="T16" fmla="*/ 278 w 554"/>
                <a:gd name="T17" fmla="*/ 550 h 550"/>
                <a:gd name="T18" fmla="*/ 249 w 554"/>
                <a:gd name="T19" fmla="*/ 549 h 550"/>
                <a:gd name="T20" fmla="*/ 195 w 554"/>
                <a:gd name="T21" fmla="*/ 539 h 550"/>
                <a:gd name="T22" fmla="*/ 145 w 554"/>
                <a:gd name="T23" fmla="*/ 517 h 550"/>
                <a:gd name="T24" fmla="*/ 102 w 554"/>
                <a:gd name="T25" fmla="*/ 487 h 550"/>
                <a:gd name="T26" fmla="*/ 63 w 554"/>
                <a:gd name="T27" fmla="*/ 450 h 550"/>
                <a:gd name="T28" fmla="*/ 33 w 554"/>
                <a:gd name="T29" fmla="*/ 406 h 550"/>
                <a:gd name="T30" fmla="*/ 13 w 554"/>
                <a:gd name="T31" fmla="*/ 358 h 550"/>
                <a:gd name="T32" fmla="*/ 2 w 554"/>
                <a:gd name="T33" fmla="*/ 303 h 550"/>
                <a:gd name="T34" fmla="*/ 0 w 554"/>
                <a:gd name="T35" fmla="*/ 275 h 550"/>
                <a:gd name="T36" fmla="*/ 6 w 554"/>
                <a:gd name="T37" fmla="*/ 219 h 550"/>
                <a:gd name="T38" fmla="*/ 22 w 554"/>
                <a:gd name="T39" fmla="*/ 168 h 550"/>
                <a:gd name="T40" fmla="*/ 48 w 554"/>
                <a:gd name="T41" fmla="*/ 121 h 550"/>
                <a:gd name="T42" fmla="*/ 82 w 554"/>
                <a:gd name="T43" fmla="*/ 80 h 550"/>
                <a:gd name="T44" fmla="*/ 122 w 554"/>
                <a:gd name="T45" fmla="*/ 47 h 550"/>
                <a:gd name="T46" fmla="*/ 169 w 554"/>
                <a:gd name="T47" fmla="*/ 21 h 550"/>
                <a:gd name="T48" fmla="*/ 222 w 554"/>
                <a:gd name="T49" fmla="*/ 6 h 550"/>
                <a:gd name="T50" fmla="*/ 278 w 554"/>
                <a:gd name="T51" fmla="*/ 0 h 550"/>
                <a:gd name="T52" fmla="*/ 305 w 554"/>
                <a:gd name="T53" fmla="*/ 1 h 550"/>
                <a:gd name="T54" fmla="*/ 360 w 554"/>
                <a:gd name="T55" fmla="*/ 11 h 550"/>
                <a:gd name="T56" fmla="*/ 410 w 554"/>
                <a:gd name="T57" fmla="*/ 33 h 550"/>
                <a:gd name="T58" fmla="*/ 454 w 554"/>
                <a:gd name="T59" fmla="*/ 63 h 550"/>
                <a:gd name="T60" fmla="*/ 491 w 554"/>
                <a:gd name="T61" fmla="*/ 100 h 550"/>
                <a:gd name="T62" fmla="*/ 521 w 554"/>
                <a:gd name="T63" fmla="*/ 144 h 550"/>
                <a:gd name="T64" fmla="*/ 541 w 554"/>
                <a:gd name="T65" fmla="*/ 192 h 550"/>
                <a:gd name="T66" fmla="*/ 553 w 554"/>
                <a:gd name="T67" fmla="*/ 246 h 550"/>
                <a:gd name="T68" fmla="*/ 554 w 554"/>
                <a:gd name="T69" fmla="*/ 275 h 550"/>
                <a:gd name="T70" fmla="*/ 554 w 554"/>
                <a:gd name="T71" fmla="*/ 275 h 5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54" h="550">
                  <a:moveTo>
                    <a:pt x="554" y="275"/>
                  </a:moveTo>
                  <a:lnTo>
                    <a:pt x="554" y="275"/>
                  </a:lnTo>
                  <a:lnTo>
                    <a:pt x="553" y="303"/>
                  </a:lnTo>
                  <a:lnTo>
                    <a:pt x="549" y="331"/>
                  </a:lnTo>
                  <a:lnTo>
                    <a:pt x="541" y="358"/>
                  </a:lnTo>
                  <a:lnTo>
                    <a:pt x="533" y="382"/>
                  </a:lnTo>
                  <a:lnTo>
                    <a:pt x="521" y="406"/>
                  </a:lnTo>
                  <a:lnTo>
                    <a:pt x="507" y="429"/>
                  </a:lnTo>
                  <a:lnTo>
                    <a:pt x="491" y="450"/>
                  </a:lnTo>
                  <a:lnTo>
                    <a:pt x="473" y="470"/>
                  </a:lnTo>
                  <a:lnTo>
                    <a:pt x="454" y="487"/>
                  </a:lnTo>
                  <a:lnTo>
                    <a:pt x="433" y="503"/>
                  </a:lnTo>
                  <a:lnTo>
                    <a:pt x="410" y="517"/>
                  </a:lnTo>
                  <a:lnTo>
                    <a:pt x="385" y="529"/>
                  </a:lnTo>
                  <a:lnTo>
                    <a:pt x="360" y="539"/>
                  </a:lnTo>
                  <a:lnTo>
                    <a:pt x="334" y="544"/>
                  </a:lnTo>
                  <a:lnTo>
                    <a:pt x="305" y="549"/>
                  </a:lnTo>
                  <a:lnTo>
                    <a:pt x="278" y="550"/>
                  </a:lnTo>
                  <a:lnTo>
                    <a:pt x="278" y="550"/>
                  </a:lnTo>
                  <a:lnTo>
                    <a:pt x="249" y="549"/>
                  </a:lnTo>
                  <a:lnTo>
                    <a:pt x="222" y="544"/>
                  </a:lnTo>
                  <a:lnTo>
                    <a:pt x="195" y="539"/>
                  </a:lnTo>
                  <a:lnTo>
                    <a:pt x="169" y="529"/>
                  </a:lnTo>
                  <a:lnTo>
                    <a:pt x="145" y="517"/>
                  </a:lnTo>
                  <a:lnTo>
                    <a:pt x="122" y="503"/>
                  </a:lnTo>
                  <a:lnTo>
                    <a:pt x="102" y="487"/>
                  </a:lnTo>
                  <a:lnTo>
                    <a:pt x="82" y="470"/>
                  </a:lnTo>
                  <a:lnTo>
                    <a:pt x="63" y="450"/>
                  </a:lnTo>
                  <a:lnTo>
                    <a:pt x="48" y="429"/>
                  </a:lnTo>
                  <a:lnTo>
                    <a:pt x="33" y="406"/>
                  </a:lnTo>
                  <a:lnTo>
                    <a:pt x="22" y="382"/>
                  </a:lnTo>
                  <a:lnTo>
                    <a:pt x="13" y="358"/>
                  </a:lnTo>
                  <a:lnTo>
                    <a:pt x="6" y="331"/>
                  </a:lnTo>
                  <a:lnTo>
                    <a:pt x="2" y="303"/>
                  </a:lnTo>
                  <a:lnTo>
                    <a:pt x="0" y="275"/>
                  </a:lnTo>
                  <a:lnTo>
                    <a:pt x="0" y="275"/>
                  </a:lnTo>
                  <a:lnTo>
                    <a:pt x="2" y="246"/>
                  </a:lnTo>
                  <a:lnTo>
                    <a:pt x="6" y="219"/>
                  </a:lnTo>
                  <a:lnTo>
                    <a:pt x="13" y="192"/>
                  </a:lnTo>
                  <a:lnTo>
                    <a:pt x="22" y="168"/>
                  </a:lnTo>
                  <a:lnTo>
                    <a:pt x="33" y="144"/>
                  </a:lnTo>
                  <a:lnTo>
                    <a:pt x="48" y="121"/>
                  </a:lnTo>
                  <a:lnTo>
                    <a:pt x="63" y="100"/>
                  </a:lnTo>
                  <a:lnTo>
                    <a:pt x="82" y="80"/>
                  </a:lnTo>
                  <a:lnTo>
                    <a:pt x="102" y="63"/>
                  </a:lnTo>
                  <a:lnTo>
                    <a:pt x="122" y="47"/>
                  </a:lnTo>
                  <a:lnTo>
                    <a:pt x="145" y="33"/>
                  </a:lnTo>
                  <a:lnTo>
                    <a:pt x="169" y="21"/>
                  </a:lnTo>
                  <a:lnTo>
                    <a:pt x="195" y="11"/>
                  </a:lnTo>
                  <a:lnTo>
                    <a:pt x="222" y="6"/>
                  </a:lnTo>
                  <a:lnTo>
                    <a:pt x="249" y="1"/>
                  </a:lnTo>
                  <a:lnTo>
                    <a:pt x="278" y="0"/>
                  </a:lnTo>
                  <a:lnTo>
                    <a:pt x="278" y="0"/>
                  </a:lnTo>
                  <a:lnTo>
                    <a:pt x="305" y="1"/>
                  </a:lnTo>
                  <a:lnTo>
                    <a:pt x="334" y="6"/>
                  </a:lnTo>
                  <a:lnTo>
                    <a:pt x="360" y="11"/>
                  </a:lnTo>
                  <a:lnTo>
                    <a:pt x="385" y="21"/>
                  </a:lnTo>
                  <a:lnTo>
                    <a:pt x="410" y="33"/>
                  </a:lnTo>
                  <a:lnTo>
                    <a:pt x="433" y="47"/>
                  </a:lnTo>
                  <a:lnTo>
                    <a:pt x="454" y="63"/>
                  </a:lnTo>
                  <a:lnTo>
                    <a:pt x="473" y="80"/>
                  </a:lnTo>
                  <a:lnTo>
                    <a:pt x="491" y="100"/>
                  </a:lnTo>
                  <a:lnTo>
                    <a:pt x="507" y="121"/>
                  </a:lnTo>
                  <a:lnTo>
                    <a:pt x="521" y="144"/>
                  </a:lnTo>
                  <a:lnTo>
                    <a:pt x="533" y="168"/>
                  </a:lnTo>
                  <a:lnTo>
                    <a:pt x="541" y="192"/>
                  </a:lnTo>
                  <a:lnTo>
                    <a:pt x="549" y="219"/>
                  </a:lnTo>
                  <a:lnTo>
                    <a:pt x="553" y="246"/>
                  </a:lnTo>
                  <a:lnTo>
                    <a:pt x="554" y="275"/>
                  </a:lnTo>
                  <a:lnTo>
                    <a:pt x="554" y="275"/>
                  </a:lnTo>
                  <a:close/>
                  <a:moveTo>
                    <a:pt x="554" y="275"/>
                  </a:moveTo>
                  <a:lnTo>
                    <a:pt x="554" y="275"/>
                  </a:lnTo>
                  <a:close/>
                </a:path>
              </a:pathLst>
            </a:custGeom>
            <a:solidFill>
              <a:srgbClr val="B61F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6" name="Freeform 7"/>
            <p:cNvSpPr>
              <a:spLocks/>
            </p:cNvSpPr>
            <p:nvPr userDrawn="1"/>
          </p:nvSpPr>
          <p:spPr bwMode="auto">
            <a:xfrm>
              <a:off x="5486" y="647"/>
              <a:ext cx="185" cy="183"/>
            </a:xfrm>
            <a:custGeom>
              <a:avLst/>
              <a:gdLst>
                <a:gd name="T0" fmla="*/ 554 w 554"/>
                <a:gd name="T1" fmla="*/ 275 h 550"/>
                <a:gd name="T2" fmla="*/ 549 w 554"/>
                <a:gd name="T3" fmla="*/ 331 h 550"/>
                <a:gd name="T4" fmla="*/ 533 w 554"/>
                <a:gd name="T5" fmla="*/ 382 h 550"/>
                <a:gd name="T6" fmla="*/ 507 w 554"/>
                <a:gd name="T7" fmla="*/ 429 h 550"/>
                <a:gd name="T8" fmla="*/ 473 w 554"/>
                <a:gd name="T9" fmla="*/ 470 h 550"/>
                <a:gd name="T10" fmla="*/ 433 w 554"/>
                <a:gd name="T11" fmla="*/ 503 h 550"/>
                <a:gd name="T12" fmla="*/ 385 w 554"/>
                <a:gd name="T13" fmla="*/ 529 h 550"/>
                <a:gd name="T14" fmla="*/ 334 w 554"/>
                <a:gd name="T15" fmla="*/ 544 h 550"/>
                <a:gd name="T16" fmla="*/ 278 w 554"/>
                <a:gd name="T17" fmla="*/ 550 h 550"/>
                <a:gd name="T18" fmla="*/ 249 w 554"/>
                <a:gd name="T19" fmla="*/ 549 h 550"/>
                <a:gd name="T20" fmla="*/ 195 w 554"/>
                <a:gd name="T21" fmla="*/ 539 h 550"/>
                <a:gd name="T22" fmla="*/ 145 w 554"/>
                <a:gd name="T23" fmla="*/ 517 h 550"/>
                <a:gd name="T24" fmla="*/ 102 w 554"/>
                <a:gd name="T25" fmla="*/ 487 h 550"/>
                <a:gd name="T26" fmla="*/ 63 w 554"/>
                <a:gd name="T27" fmla="*/ 450 h 550"/>
                <a:gd name="T28" fmla="*/ 33 w 554"/>
                <a:gd name="T29" fmla="*/ 406 h 550"/>
                <a:gd name="T30" fmla="*/ 13 w 554"/>
                <a:gd name="T31" fmla="*/ 358 h 550"/>
                <a:gd name="T32" fmla="*/ 2 w 554"/>
                <a:gd name="T33" fmla="*/ 303 h 550"/>
                <a:gd name="T34" fmla="*/ 0 w 554"/>
                <a:gd name="T35" fmla="*/ 275 h 550"/>
                <a:gd name="T36" fmla="*/ 6 w 554"/>
                <a:gd name="T37" fmla="*/ 219 h 550"/>
                <a:gd name="T38" fmla="*/ 22 w 554"/>
                <a:gd name="T39" fmla="*/ 168 h 550"/>
                <a:gd name="T40" fmla="*/ 48 w 554"/>
                <a:gd name="T41" fmla="*/ 121 h 550"/>
                <a:gd name="T42" fmla="*/ 82 w 554"/>
                <a:gd name="T43" fmla="*/ 80 h 550"/>
                <a:gd name="T44" fmla="*/ 122 w 554"/>
                <a:gd name="T45" fmla="*/ 47 h 550"/>
                <a:gd name="T46" fmla="*/ 169 w 554"/>
                <a:gd name="T47" fmla="*/ 21 h 550"/>
                <a:gd name="T48" fmla="*/ 222 w 554"/>
                <a:gd name="T49" fmla="*/ 6 h 550"/>
                <a:gd name="T50" fmla="*/ 278 w 554"/>
                <a:gd name="T51" fmla="*/ 0 h 550"/>
                <a:gd name="T52" fmla="*/ 305 w 554"/>
                <a:gd name="T53" fmla="*/ 1 h 550"/>
                <a:gd name="T54" fmla="*/ 360 w 554"/>
                <a:gd name="T55" fmla="*/ 11 h 550"/>
                <a:gd name="T56" fmla="*/ 410 w 554"/>
                <a:gd name="T57" fmla="*/ 33 h 550"/>
                <a:gd name="T58" fmla="*/ 454 w 554"/>
                <a:gd name="T59" fmla="*/ 63 h 550"/>
                <a:gd name="T60" fmla="*/ 491 w 554"/>
                <a:gd name="T61" fmla="*/ 100 h 550"/>
                <a:gd name="T62" fmla="*/ 521 w 554"/>
                <a:gd name="T63" fmla="*/ 144 h 550"/>
                <a:gd name="T64" fmla="*/ 541 w 554"/>
                <a:gd name="T65" fmla="*/ 192 h 550"/>
                <a:gd name="T66" fmla="*/ 553 w 554"/>
                <a:gd name="T67" fmla="*/ 246 h 550"/>
                <a:gd name="T68" fmla="*/ 554 w 554"/>
                <a:gd name="T69" fmla="*/ 275 h 5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54" h="550">
                  <a:moveTo>
                    <a:pt x="554" y="275"/>
                  </a:moveTo>
                  <a:lnTo>
                    <a:pt x="554" y="275"/>
                  </a:lnTo>
                  <a:lnTo>
                    <a:pt x="553" y="303"/>
                  </a:lnTo>
                  <a:lnTo>
                    <a:pt x="549" y="331"/>
                  </a:lnTo>
                  <a:lnTo>
                    <a:pt x="541" y="358"/>
                  </a:lnTo>
                  <a:lnTo>
                    <a:pt x="533" y="382"/>
                  </a:lnTo>
                  <a:lnTo>
                    <a:pt x="521" y="406"/>
                  </a:lnTo>
                  <a:lnTo>
                    <a:pt x="507" y="429"/>
                  </a:lnTo>
                  <a:lnTo>
                    <a:pt x="491" y="450"/>
                  </a:lnTo>
                  <a:lnTo>
                    <a:pt x="473" y="470"/>
                  </a:lnTo>
                  <a:lnTo>
                    <a:pt x="454" y="487"/>
                  </a:lnTo>
                  <a:lnTo>
                    <a:pt x="433" y="503"/>
                  </a:lnTo>
                  <a:lnTo>
                    <a:pt x="410" y="517"/>
                  </a:lnTo>
                  <a:lnTo>
                    <a:pt x="385" y="529"/>
                  </a:lnTo>
                  <a:lnTo>
                    <a:pt x="360" y="539"/>
                  </a:lnTo>
                  <a:lnTo>
                    <a:pt x="334" y="544"/>
                  </a:lnTo>
                  <a:lnTo>
                    <a:pt x="305" y="549"/>
                  </a:lnTo>
                  <a:lnTo>
                    <a:pt x="278" y="550"/>
                  </a:lnTo>
                  <a:lnTo>
                    <a:pt x="278" y="550"/>
                  </a:lnTo>
                  <a:lnTo>
                    <a:pt x="249" y="549"/>
                  </a:lnTo>
                  <a:lnTo>
                    <a:pt x="222" y="544"/>
                  </a:lnTo>
                  <a:lnTo>
                    <a:pt x="195" y="539"/>
                  </a:lnTo>
                  <a:lnTo>
                    <a:pt x="169" y="529"/>
                  </a:lnTo>
                  <a:lnTo>
                    <a:pt x="145" y="517"/>
                  </a:lnTo>
                  <a:lnTo>
                    <a:pt x="122" y="503"/>
                  </a:lnTo>
                  <a:lnTo>
                    <a:pt x="102" y="487"/>
                  </a:lnTo>
                  <a:lnTo>
                    <a:pt x="82" y="470"/>
                  </a:lnTo>
                  <a:lnTo>
                    <a:pt x="63" y="450"/>
                  </a:lnTo>
                  <a:lnTo>
                    <a:pt x="48" y="429"/>
                  </a:lnTo>
                  <a:lnTo>
                    <a:pt x="33" y="406"/>
                  </a:lnTo>
                  <a:lnTo>
                    <a:pt x="22" y="382"/>
                  </a:lnTo>
                  <a:lnTo>
                    <a:pt x="13" y="358"/>
                  </a:lnTo>
                  <a:lnTo>
                    <a:pt x="6" y="331"/>
                  </a:lnTo>
                  <a:lnTo>
                    <a:pt x="2" y="303"/>
                  </a:lnTo>
                  <a:lnTo>
                    <a:pt x="0" y="275"/>
                  </a:lnTo>
                  <a:lnTo>
                    <a:pt x="0" y="275"/>
                  </a:lnTo>
                  <a:lnTo>
                    <a:pt x="2" y="246"/>
                  </a:lnTo>
                  <a:lnTo>
                    <a:pt x="6" y="219"/>
                  </a:lnTo>
                  <a:lnTo>
                    <a:pt x="13" y="192"/>
                  </a:lnTo>
                  <a:lnTo>
                    <a:pt x="22" y="168"/>
                  </a:lnTo>
                  <a:lnTo>
                    <a:pt x="33" y="144"/>
                  </a:lnTo>
                  <a:lnTo>
                    <a:pt x="48" y="121"/>
                  </a:lnTo>
                  <a:lnTo>
                    <a:pt x="63" y="100"/>
                  </a:lnTo>
                  <a:lnTo>
                    <a:pt x="82" y="80"/>
                  </a:lnTo>
                  <a:lnTo>
                    <a:pt x="102" y="63"/>
                  </a:lnTo>
                  <a:lnTo>
                    <a:pt x="122" y="47"/>
                  </a:lnTo>
                  <a:lnTo>
                    <a:pt x="145" y="33"/>
                  </a:lnTo>
                  <a:lnTo>
                    <a:pt x="169" y="21"/>
                  </a:lnTo>
                  <a:lnTo>
                    <a:pt x="195" y="11"/>
                  </a:lnTo>
                  <a:lnTo>
                    <a:pt x="222" y="6"/>
                  </a:lnTo>
                  <a:lnTo>
                    <a:pt x="249" y="1"/>
                  </a:lnTo>
                  <a:lnTo>
                    <a:pt x="278" y="0"/>
                  </a:lnTo>
                  <a:lnTo>
                    <a:pt x="278" y="0"/>
                  </a:lnTo>
                  <a:lnTo>
                    <a:pt x="305" y="1"/>
                  </a:lnTo>
                  <a:lnTo>
                    <a:pt x="334" y="6"/>
                  </a:lnTo>
                  <a:lnTo>
                    <a:pt x="360" y="11"/>
                  </a:lnTo>
                  <a:lnTo>
                    <a:pt x="385" y="21"/>
                  </a:lnTo>
                  <a:lnTo>
                    <a:pt x="410" y="33"/>
                  </a:lnTo>
                  <a:lnTo>
                    <a:pt x="433" y="47"/>
                  </a:lnTo>
                  <a:lnTo>
                    <a:pt x="454" y="63"/>
                  </a:lnTo>
                  <a:lnTo>
                    <a:pt x="473" y="80"/>
                  </a:lnTo>
                  <a:lnTo>
                    <a:pt x="491" y="100"/>
                  </a:lnTo>
                  <a:lnTo>
                    <a:pt x="507" y="121"/>
                  </a:lnTo>
                  <a:lnTo>
                    <a:pt x="521" y="144"/>
                  </a:lnTo>
                  <a:lnTo>
                    <a:pt x="533" y="168"/>
                  </a:lnTo>
                  <a:lnTo>
                    <a:pt x="541" y="192"/>
                  </a:lnTo>
                  <a:lnTo>
                    <a:pt x="549" y="219"/>
                  </a:lnTo>
                  <a:lnTo>
                    <a:pt x="553" y="246"/>
                  </a:lnTo>
                  <a:lnTo>
                    <a:pt x="554" y="275"/>
                  </a:lnTo>
                  <a:lnTo>
                    <a:pt x="554" y="27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7" name="Line 8"/>
            <p:cNvSpPr>
              <a:spLocks noChangeShapeType="1"/>
            </p:cNvSpPr>
            <p:nvPr userDrawn="1"/>
          </p:nvSpPr>
          <p:spPr bwMode="auto">
            <a:xfrm>
              <a:off x="5671" y="739"/>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8" name="Freeform 9"/>
            <p:cNvSpPr>
              <a:spLocks/>
            </p:cNvSpPr>
            <p:nvPr userDrawn="1"/>
          </p:nvSpPr>
          <p:spPr bwMode="auto">
            <a:xfrm>
              <a:off x="5486" y="647"/>
              <a:ext cx="185" cy="183"/>
            </a:xfrm>
            <a:custGeom>
              <a:avLst/>
              <a:gdLst>
                <a:gd name="T0" fmla="*/ 554 w 554"/>
                <a:gd name="T1" fmla="*/ 275 h 550"/>
                <a:gd name="T2" fmla="*/ 549 w 554"/>
                <a:gd name="T3" fmla="*/ 331 h 550"/>
                <a:gd name="T4" fmla="*/ 533 w 554"/>
                <a:gd name="T5" fmla="*/ 382 h 550"/>
                <a:gd name="T6" fmla="*/ 507 w 554"/>
                <a:gd name="T7" fmla="*/ 429 h 550"/>
                <a:gd name="T8" fmla="*/ 473 w 554"/>
                <a:gd name="T9" fmla="*/ 470 h 550"/>
                <a:gd name="T10" fmla="*/ 433 w 554"/>
                <a:gd name="T11" fmla="*/ 503 h 550"/>
                <a:gd name="T12" fmla="*/ 385 w 554"/>
                <a:gd name="T13" fmla="*/ 529 h 550"/>
                <a:gd name="T14" fmla="*/ 334 w 554"/>
                <a:gd name="T15" fmla="*/ 544 h 550"/>
                <a:gd name="T16" fmla="*/ 278 w 554"/>
                <a:gd name="T17" fmla="*/ 550 h 550"/>
                <a:gd name="T18" fmla="*/ 249 w 554"/>
                <a:gd name="T19" fmla="*/ 549 h 550"/>
                <a:gd name="T20" fmla="*/ 195 w 554"/>
                <a:gd name="T21" fmla="*/ 539 h 550"/>
                <a:gd name="T22" fmla="*/ 145 w 554"/>
                <a:gd name="T23" fmla="*/ 517 h 550"/>
                <a:gd name="T24" fmla="*/ 102 w 554"/>
                <a:gd name="T25" fmla="*/ 487 h 550"/>
                <a:gd name="T26" fmla="*/ 63 w 554"/>
                <a:gd name="T27" fmla="*/ 450 h 550"/>
                <a:gd name="T28" fmla="*/ 33 w 554"/>
                <a:gd name="T29" fmla="*/ 406 h 550"/>
                <a:gd name="T30" fmla="*/ 13 w 554"/>
                <a:gd name="T31" fmla="*/ 358 h 550"/>
                <a:gd name="T32" fmla="*/ 2 w 554"/>
                <a:gd name="T33" fmla="*/ 303 h 550"/>
                <a:gd name="T34" fmla="*/ 0 w 554"/>
                <a:gd name="T35" fmla="*/ 275 h 550"/>
                <a:gd name="T36" fmla="*/ 6 w 554"/>
                <a:gd name="T37" fmla="*/ 219 h 550"/>
                <a:gd name="T38" fmla="*/ 22 w 554"/>
                <a:gd name="T39" fmla="*/ 168 h 550"/>
                <a:gd name="T40" fmla="*/ 48 w 554"/>
                <a:gd name="T41" fmla="*/ 121 h 550"/>
                <a:gd name="T42" fmla="*/ 82 w 554"/>
                <a:gd name="T43" fmla="*/ 80 h 550"/>
                <a:gd name="T44" fmla="*/ 122 w 554"/>
                <a:gd name="T45" fmla="*/ 47 h 550"/>
                <a:gd name="T46" fmla="*/ 169 w 554"/>
                <a:gd name="T47" fmla="*/ 21 h 550"/>
                <a:gd name="T48" fmla="*/ 222 w 554"/>
                <a:gd name="T49" fmla="*/ 6 h 550"/>
                <a:gd name="T50" fmla="*/ 278 w 554"/>
                <a:gd name="T51" fmla="*/ 0 h 550"/>
                <a:gd name="T52" fmla="*/ 305 w 554"/>
                <a:gd name="T53" fmla="*/ 1 h 550"/>
                <a:gd name="T54" fmla="*/ 360 w 554"/>
                <a:gd name="T55" fmla="*/ 11 h 550"/>
                <a:gd name="T56" fmla="*/ 410 w 554"/>
                <a:gd name="T57" fmla="*/ 33 h 550"/>
                <a:gd name="T58" fmla="*/ 454 w 554"/>
                <a:gd name="T59" fmla="*/ 63 h 550"/>
                <a:gd name="T60" fmla="*/ 491 w 554"/>
                <a:gd name="T61" fmla="*/ 100 h 550"/>
                <a:gd name="T62" fmla="*/ 521 w 554"/>
                <a:gd name="T63" fmla="*/ 144 h 550"/>
                <a:gd name="T64" fmla="*/ 541 w 554"/>
                <a:gd name="T65" fmla="*/ 192 h 550"/>
                <a:gd name="T66" fmla="*/ 553 w 554"/>
                <a:gd name="T67" fmla="*/ 246 h 550"/>
                <a:gd name="T68" fmla="*/ 554 w 554"/>
                <a:gd name="T69" fmla="*/ 275 h 5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54" h="550">
                  <a:moveTo>
                    <a:pt x="554" y="275"/>
                  </a:moveTo>
                  <a:lnTo>
                    <a:pt x="554" y="275"/>
                  </a:lnTo>
                  <a:lnTo>
                    <a:pt x="553" y="303"/>
                  </a:lnTo>
                  <a:lnTo>
                    <a:pt x="549" y="331"/>
                  </a:lnTo>
                  <a:lnTo>
                    <a:pt x="541" y="358"/>
                  </a:lnTo>
                  <a:lnTo>
                    <a:pt x="533" y="382"/>
                  </a:lnTo>
                  <a:lnTo>
                    <a:pt x="521" y="406"/>
                  </a:lnTo>
                  <a:lnTo>
                    <a:pt x="507" y="429"/>
                  </a:lnTo>
                  <a:lnTo>
                    <a:pt x="491" y="450"/>
                  </a:lnTo>
                  <a:lnTo>
                    <a:pt x="473" y="470"/>
                  </a:lnTo>
                  <a:lnTo>
                    <a:pt x="454" y="487"/>
                  </a:lnTo>
                  <a:lnTo>
                    <a:pt x="433" y="503"/>
                  </a:lnTo>
                  <a:lnTo>
                    <a:pt x="410" y="517"/>
                  </a:lnTo>
                  <a:lnTo>
                    <a:pt x="385" y="529"/>
                  </a:lnTo>
                  <a:lnTo>
                    <a:pt x="360" y="539"/>
                  </a:lnTo>
                  <a:lnTo>
                    <a:pt x="334" y="544"/>
                  </a:lnTo>
                  <a:lnTo>
                    <a:pt x="305" y="549"/>
                  </a:lnTo>
                  <a:lnTo>
                    <a:pt x="278" y="550"/>
                  </a:lnTo>
                  <a:lnTo>
                    <a:pt x="278" y="550"/>
                  </a:lnTo>
                  <a:lnTo>
                    <a:pt x="249" y="549"/>
                  </a:lnTo>
                  <a:lnTo>
                    <a:pt x="222" y="544"/>
                  </a:lnTo>
                  <a:lnTo>
                    <a:pt x="195" y="539"/>
                  </a:lnTo>
                  <a:lnTo>
                    <a:pt x="169" y="529"/>
                  </a:lnTo>
                  <a:lnTo>
                    <a:pt x="145" y="517"/>
                  </a:lnTo>
                  <a:lnTo>
                    <a:pt x="122" y="503"/>
                  </a:lnTo>
                  <a:lnTo>
                    <a:pt x="102" y="487"/>
                  </a:lnTo>
                  <a:lnTo>
                    <a:pt x="82" y="470"/>
                  </a:lnTo>
                  <a:lnTo>
                    <a:pt x="63" y="450"/>
                  </a:lnTo>
                  <a:lnTo>
                    <a:pt x="48" y="429"/>
                  </a:lnTo>
                  <a:lnTo>
                    <a:pt x="33" y="406"/>
                  </a:lnTo>
                  <a:lnTo>
                    <a:pt x="22" y="382"/>
                  </a:lnTo>
                  <a:lnTo>
                    <a:pt x="13" y="358"/>
                  </a:lnTo>
                  <a:lnTo>
                    <a:pt x="6" y="331"/>
                  </a:lnTo>
                  <a:lnTo>
                    <a:pt x="2" y="303"/>
                  </a:lnTo>
                  <a:lnTo>
                    <a:pt x="0" y="275"/>
                  </a:lnTo>
                  <a:lnTo>
                    <a:pt x="0" y="275"/>
                  </a:lnTo>
                  <a:lnTo>
                    <a:pt x="2" y="246"/>
                  </a:lnTo>
                  <a:lnTo>
                    <a:pt x="6" y="219"/>
                  </a:lnTo>
                  <a:lnTo>
                    <a:pt x="13" y="192"/>
                  </a:lnTo>
                  <a:lnTo>
                    <a:pt x="22" y="168"/>
                  </a:lnTo>
                  <a:lnTo>
                    <a:pt x="33" y="144"/>
                  </a:lnTo>
                  <a:lnTo>
                    <a:pt x="48" y="121"/>
                  </a:lnTo>
                  <a:lnTo>
                    <a:pt x="63" y="100"/>
                  </a:lnTo>
                  <a:lnTo>
                    <a:pt x="82" y="80"/>
                  </a:lnTo>
                  <a:lnTo>
                    <a:pt x="102" y="63"/>
                  </a:lnTo>
                  <a:lnTo>
                    <a:pt x="122" y="47"/>
                  </a:lnTo>
                  <a:lnTo>
                    <a:pt x="145" y="33"/>
                  </a:lnTo>
                  <a:lnTo>
                    <a:pt x="169" y="21"/>
                  </a:lnTo>
                  <a:lnTo>
                    <a:pt x="195" y="11"/>
                  </a:lnTo>
                  <a:lnTo>
                    <a:pt x="222" y="6"/>
                  </a:lnTo>
                  <a:lnTo>
                    <a:pt x="249" y="1"/>
                  </a:lnTo>
                  <a:lnTo>
                    <a:pt x="278" y="0"/>
                  </a:lnTo>
                  <a:lnTo>
                    <a:pt x="278" y="0"/>
                  </a:lnTo>
                  <a:lnTo>
                    <a:pt x="305" y="1"/>
                  </a:lnTo>
                  <a:lnTo>
                    <a:pt x="334" y="6"/>
                  </a:lnTo>
                  <a:lnTo>
                    <a:pt x="360" y="11"/>
                  </a:lnTo>
                  <a:lnTo>
                    <a:pt x="385" y="21"/>
                  </a:lnTo>
                  <a:lnTo>
                    <a:pt x="410" y="33"/>
                  </a:lnTo>
                  <a:lnTo>
                    <a:pt x="433" y="47"/>
                  </a:lnTo>
                  <a:lnTo>
                    <a:pt x="454" y="63"/>
                  </a:lnTo>
                  <a:lnTo>
                    <a:pt x="473" y="80"/>
                  </a:lnTo>
                  <a:lnTo>
                    <a:pt x="491" y="100"/>
                  </a:lnTo>
                  <a:lnTo>
                    <a:pt x="507" y="121"/>
                  </a:lnTo>
                  <a:lnTo>
                    <a:pt x="521" y="144"/>
                  </a:lnTo>
                  <a:lnTo>
                    <a:pt x="533" y="168"/>
                  </a:lnTo>
                  <a:lnTo>
                    <a:pt x="541" y="192"/>
                  </a:lnTo>
                  <a:lnTo>
                    <a:pt x="549" y="219"/>
                  </a:lnTo>
                  <a:lnTo>
                    <a:pt x="553" y="246"/>
                  </a:lnTo>
                  <a:lnTo>
                    <a:pt x="554" y="275"/>
                  </a:lnTo>
                  <a:lnTo>
                    <a:pt x="554" y="275"/>
                  </a:lnTo>
                </a:path>
              </a:pathLst>
            </a:custGeom>
            <a:noFill/>
            <a:ln w="1588">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59" name="Line 10"/>
            <p:cNvSpPr>
              <a:spLocks noChangeShapeType="1"/>
            </p:cNvSpPr>
            <p:nvPr userDrawn="1"/>
          </p:nvSpPr>
          <p:spPr bwMode="auto">
            <a:xfrm>
              <a:off x="5671" y="739"/>
              <a:ext cx="0" cy="0"/>
            </a:xfrm>
            <a:prstGeom prst="line">
              <a:avLst/>
            </a:prstGeom>
            <a:noFill/>
            <a:ln w="1588">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60" name="Freeform 11"/>
            <p:cNvSpPr>
              <a:spLocks noEditPoints="1"/>
            </p:cNvSpPr>
            <p:nvPr userDrawn="1"/>
          </p:nvSpPr>
          <p:spPr bwMode="auto">
            <a:xfrm>
              <a:off x="5497" y="659"/>
              <a:ext cx="170" cy="170"/>
            </a:xfrm>
            <a:custGeom>
              <a:avLst/>
              <a:gdLst>
                <a:gd name="T0" fmla="*/ 510 w 510"/>
                <a:gd name="T1" fmla="*/ 257 h 511"/>
                <a:gd name="T2" fmla="*/ 504 w 510"/>
                <a:gd name="T3" fmla="*/ 309 h 511"/>
                <a:gd name="T4" fmla="*/ 490 w 510"/>
                <a:gd name="T5" fmla="*/ 356 h 511"/>
                <a:gd name="T6" fmla="*/ 465 w 510"/>
                <a:gd name="T7" fmla="*/ 399 h 511"/>
                <a:gd name="T8" fmla="*/ 434 w 510"/>
                <a:gd name="T9" fmla="*/ 437 h 511"/>
                <a:gd name="T10" fmla="*/ 397 w 510"/>
                <a:gd name="T11" fmla="*/ 467 h 511"/>
                <a:gd name="T12" fmla="*/ 354 w 510"/>
                <a:gd name="T13" fmla="*/ 491 h 511"/>
                <a:gd name="T14" fmla="*/ 307 w 510"/>
                <a:gd name="T15" fmla="*/ 505 h 511"/>
                <a:gd name="T16" fmla="*/ 255 w 510"/>
                <a:gd name="T17" fmla="*/ 511 h 511"/>
                <a:gd name="T18" fmla="*/ 229 w 510"/>
                <a:gd name="T19" fmla="*/ 510 h 511"/>
                <a:gd name="T20" fmla="*/ 179 w 510"/>
                <a:gd name="T21" fmla="*/ 500 h 511"/>
                <a:gd name="T22" fmla="*/ 133 w 510"/>
                <a:gd name="T23" fmla="*/ 480 h 511"/>
                <a:gd name="T24" fmla="*/ 93 w 510"/>
                <a:gd name="T25" fmla="*/ 453 h 511"/>
                <a:gd name="T26" fmla="*/ 59 w 510"/>
                <a:gd name="T27" fmla="*/ 419 h 511"/>
                <a:gd name="T28" fmla="*/ 30 w 510"/>
                <a:gd name="T29" fmla="*/ 379 h 511"/>
                <a:gd name="T30" fmla="*/ 12 w 510"/>
                <a:gd name="T31" fmla="*/ 333 h 511"/>
                <a:gd name="T32" fmla="*/ 2 w 510"/>
                <a:gd name="T33" fmla="*/ 283 h 511"/>
                <a:gd name="T34" fmla="*/ 0 w 510"/>
                <a:gd name="T35" fmla="*/ 257 h 511"/>
                <a:gd name="T36" fmla="*/ 6 w 510"/>
                <a:gd name="T37" fmla="*/ 206 h 511"/>
                <a:gd name="T38" fmla="*/ 20 w 510"/>
                <a:gd name="T39" fmla="*/ 158 h 511"/>
                <a:gd name="T40" fmla="*/ 43 w 510"/>
                <a:gd name="T41" fmla="*/ 115 h 511"/>
                <a:gd name="T42" fmla="*/ 75 w 510"/>
                <a:gd name="T43" fmla="*/ 77 h 511"/>
                <a:gd name="T44" fmla="*/ 112 w 510"/>
                <a:gd name="T45" fmla="*/ 44 h 511"/>
                <a:gd name="T46" fmla="*/ 156 w 510"/>
                <a:gd name="T47" fmla="*/ 21 h 511"/>
                <a:gd name="T48" fmla="*/ 204 w 510"/>
                <a:gd name="T49" fmla="*/ 5 h 511"/>
                <a:gd name="T50" fmla="*/ 255 w 510"/>
                <a:gd name="T51" fmla="*/ 0 h 511"/>
                <a:gd name="T52" fmla="*/ 284 w 510"/>
                <a:gd name="T53" fmla="*/ 1 h 511"/>
                <a:gd name="T54" fmla="*/ 337 w 510"/>
                <a:gd name="T55" fmla="*/ 11 h 511"/>
                <a:gd name="T56" fmla="*/ 384 w 510"/>
                <a:gd name="T57" fmla="*/ 31 h 511"/>
                <a:gd name="T58" fmla="*/ 424 w 510"/>
                <a:gd name="T59" fmla="*/ 59 h 511"/>
                <a:gd name="T60" fmla="*/ 457 w 510"/>
                <a:gd name="T61" fmla="*/ 95 h 511"/>
                <a:gd name="T62" fmla="*/ 481 w 510"/>
                <a:gd name="T63" fmla="*/ 136 h 511"/>
                <a:gd name="T64" fmla="*/ 500 w 510"/>
                <a:gd name="T65" fmla="*/ 182 h 511"/>
                <a:gd name="T66" fmla="*/ 508 w 510"/>
                <a:gd name="T67" fmla="*/ 232 h 511"/>
                <a:gd name="T68" fmla="*/ 510 w 510"/>
                <a:gd name="T69" fmla="*/ 257 h 511"/>
                <a:gd name="T70" fmla="*/ 510 w 510"/>
                <a:gd name="T71" fmla="*/ 257 h 5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0" h="511">
                  <a:moveTo>
                    <a:pt x="510" y="257"/>
                  </a:moveTo>
                  <a:lnTo>
                    <a:pt x="510" y="257"/>
                  </a:lnTo>
                  <a:lnTo>
                    <a:pt x="508" y="283"/>
                  </a:lnTo>
                  <a:lnTo>
                    <a:pt x="504" y="309"/>
                  </a:lnTo>
                  <a:lnTo>
                    <a:pt x="498" y="333"/>
                  </a:lnTo>
                  <a:lnTo>
                    <a:pt x="490" y="356"/>
                  </a:lnTo>
                  <a:lnTo>
                    <a:pt x="478" y="379"/>
                  </a:lnTo>
                  <a:lnTo>
                    <a:pt x="465" y="399"/>
                  </a:lnTo>
                  <a:lnTo>
                    <a:pt x="451" y="419"/>
                  </a:lnTo>
                  <a:lnTo>
                    <a:pt x="434" y="437"/>
                  </a:lnTo>
                  <a:lnTo>
                    <a:pt x="417" y="453"/>
                  </a:lnTo>
                  <a:lnTo>
                    <a:pt x="397" y="467"/>
                  </a:lnTo>
                  <a:lnTo>
                    <a:pt x="377" y="480"/>
                  </a:lnTo>
                  <a:lnTo>
                    <a:pt x="354" y="491"/>
                  </a:lnTo>
                  <a:lnTo>
                    <a:pt x="331" y="500"/>
                  </a:lnTo>
                  <a:lnTo>
                    <a:pt x="307" y="505"/>
                  </a:lnTo>
                  <a:lnTo>
                    <a:pt x="281" y="510"/>
                  </a:lnTo>
                  <a:lnTo>
                    <a:pt x="255" y="511"/>
                  </a:lnTo>
                  <a:lnTo>
                    <a:pt x="255" y="511"/>
                  </a:lnTo>
                  <a:lnTo>
                    <a:pt x="229" y="510"/>
                  </a:lnTo>
                  <a:lnTo>
                    <a:pt x="204" y="505"/>
                  </a:lnTo>
                  <a:lnTo>
                    <a:pt x="179" y="500"/>
                  </a:lnTo>
                  <a:lnTo>
                    <a:pt x="156" y="491"/>
                  </a:lnTo>
                  <a:lnTo>
                    <a:pt x="133" y="480"/>
                  </a:lnTo>
                  <a:lnTo>
                    <a:pt x="112" y="467"/>
                  </a:lnTo>
                  <a:lnTo>
                    <a:pt x="93" y="453"/>
                  </a:lnTo>
                  <a:lnTo>
                    <a:pt x="75" y="437"/>
                  </a:lnTo>
                  <a:lnTo>
                    <a:pt x="59" y="419"/>
                  </a:lnTo>
                  <a:lnTo>
                    <a:pt x="43" y="399"/>
                  </a:lnTo>
                  <a:lnTo>
                    <a:pt x="30" y="379"/>
                  </a:lnTo>
                  <a:lnTo>
                    <a:pt x="20" y="356"/>
                  </a:lnTo>
                  <a:lnTo>
                    <a:pt x="12" y="333"/>
                  </a:lnTo>
                  <a:lnTo>
                    <a:pt x="6" y="309"/>
                  </a:lnTo>
                  <a:lnTo>
                    <a:pt x="2" y="283"/>
                  </a:lnTo>
                  <a:lnTo>
                    <a:pt x="0" y="257"/>
                  </a:lnTo>
                  <a:lnTo>
                    <a:pt x="0" y="257"/>
                  </a:lnTo>
                  <a:lnTo>
                    <a:pt x="2" y="232"/>
                  </a:lnTo>
                  <a:lnTo>
                    <a:pt x="6" y="206"/>
                  </a:lnTo>
                  <a:lnTo>
                    <a:pt x="12" y="182"/>
                  </a:lnTo>
                  <a:lnTo>
                    <a:pt x="20" y="158"/>
                  </a:lnTo>
                  <a:lnTo>
                    <a:pt x="30" y="136"/>
                  </a:lnTo>
                  <a:lnTo>
                    <a:pt x="43" y="115"/>
                  </a:lnTo>
                  <a:lnTo>
                    <a:pt x="59" y="95"/>
                  </a:lnTo>
                  <a:lnTo>
                    <a:pt x="75" y="77"/>
                  </a:lnTo>
                  <a:lnTo>
                    <a:pt x="93" y="59"/>
                  </a:lnTo>
                  <a:lnTo>
                    <a:pt x="112" y="44"/>
                  </a:lnTo>
                  <a:lnTo>
                    <a:pt x="133" y="31"/>
                  </a:lnTo>
                  <a:lnTo>
                    <a:pt x="156" y="21"/>
                  </a:lnTo>
                  <a:lnTo>
                    <a:pt x="179" y="11"/>
                  </a:lnTo>
                  <a:lnTo>
                    <a:pt x="204" y="5"/>
                  </a:lnTo>
                  <a:lnTo>
                    <a:pt x="229" y="1"/>
                  </a:lnTo>
                  <a:lnTo>
                    <a:pt x="255" y="0"/>
                  </a:lnTo>
                  <a:lnTo>
                    <a:pt x="255" y="0"/>
                  </a:lnTo>
                  <a:lnTo>
                    <a:pt x="284" y="1"/>
                  </a:lnTo>
                  <a:lnTo>
                    <a:pt x="311" y="5"/>
                  </a:lnTo>
                  <a:lnTo>
                    <a:pt x="337" y="11"/>
                  </a:lnTo>
                  <a:lnTo>
                    <a:pt x="361" y="21"/>
                  </a:lnTo>
                  <a:lnTo>
                    <a:pt x="384" y="31"/>
                  </a:lnTo>
                  <a:lnTo>
                    <a:pt x="404" y="44"/>
                  </a:lnTo>
                  <a:lnTo>
                    <a:pt x="424" y="59"/>
                  </a:lnTo>
                  <a:lnTo>
                    <a:pt x="441" y="77"/>
                  </a:lnTo>
                  <a:lnTo>
                    <a:pt x="457" y="95"/>
                  </a:lnTo>
                  <a:lnTo>
                    <a:pt x="470" y="115"/>
                  </a:lnTo>
                  <a:lnTo>
                    <a:pt x="481" y="136"/>
                  </a:lnTo>
                  <a:lnTo>
                    <a:pt x="491" y="158"/>
                  </a:lnTo>
                  <a:lnTo>
                    <a:pt x="500" y="182"/>
                  </a:lnTo>
                  <a:lnTo>
                    <a:pt x="504" y="206"/>
                  </a:lnTo>
                  <a:lnTo>
                    <a:pt x="508" y="232"/>
                  </a:lnTo>
                  <a:lnTo>
                    <a:pt x="510" y="257"/>
                  </a:lnTo>
                  <a:lnTo>
                    <a:pt x="510" y="257"/>
                  </a:lnTo>
                  <a:close/>
                  <a:moveTo>
                    <a:pt x="510" y="257"/>
                  </a:moveTo>
                  <a:lnTo>
                    <a:pt x="510" y="257"/>
                  </a:lnTo>
                  <a:close/>
                </a:path>
              </a:pathLst>
            </a:custGeom>
            <a:solidFill>
              <a:srgbClr val="00987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61" name="Freeform 12"/>
            <p:cNvSpPr>
              <a:spLocks/>
            </p:cNvSpPr>
            <p:nvPr userDrawn="1"/>
          </p:nvSpPr>
          <p:spPr bwMode="auto">
            <a:xfrm>
              <a:off x="5497" y="659"/>
              <a:ext cx="170" cy="170"/>
            </a:xfrm>
            <a:custGeom>
              <a:avLst/>
              <a:gdLst>
                <a:gd name="T0" fmla="*/ 510 w 510"/>
                <a:gd name="T1" fmla="*/ 257 h 511"/>
                <a:gd name="T2" fmla="*/ 504 w 510"/>
                <a:gd name="T3" fmla="*/ 309 h 511"/>
                <a:gd name="T4" fmla="*/ 490 w 510"/>
                <a:gd name="T5" fmla="*/ 356 h 511"/>
                <a:gd name="T6" fmla="*/ 465 w 510"/>
                <a:gd name="T7" fmla="*/ 399 h 511"/>
                <a:gd name="T8" fmla="*/ 434 w 510"/>
                <a:gd name="T9" fmla="*/ 437 h 511"/>
                <a:gd name="T10" fmla="*/ 397 w 510"/>
                <a:gd name="T11" fmla="*/ 467 h 511"/>
                <a:gd name="T12" fmla="*/ 354 w 510"/>
                <a:gd name="T13" fmla="*/ 491 h 511"/>
                <a:gd name="T14" fmla="*/ 307 w 510"/>
                <a:gd name="T15" fmla="*/ 505 h 511"/>
                <a:gd name="T16" fmla="*/ 255 w 510"/>
                <a:gd name="T17" fmla="*/ 511 h 511"/>
                <a:gd name="T18" fmla="*/ 229 w 510"/>
                <a:gd name="T19" fmla="*/ 510 h 511"/>
                <a:gd name="T20" fmla="*/ 179 w 510"/>
                <a:gd name="T21" fmla="*/ 500 h 511"/>
                <a:gd name="T22" fmla="*/ 133 w 510"/>
                <a:gd name="T23" fmla="*/ 480 h 511"/>
                <a:gd name="T24" fmla="*/ 93 w 510"/>
                <a:gd name="T25" fmla="*/ 453 h 511"/>
                <a:gd name="T26" fmla="*/ 59 w 510"/>
                <a:gd name="T27" fmla="*/ 419 h 511"/>
                <a:gd name="T28" fmla="*/ 30 w 510"/>
                <a:gd name="T29" fmla="*/ 379 h 511"/>
                <a:gd name="T30" fmla="*/ 12 w 510"/>
                <a:gd name="T31" fmla="*/ 333 h 511"/>
                <a:gd name="T32" fmla="*/ 2 w 510"/>
                <a:gd name="T33" fmla="*/ 283 h 511"/>
                <a:gd name="T34" fmla="*/ 0 w 510"/>
                <a:gd name="T35" fmla="*/ 257 h 511"/>
                <a:gd name="T36" fmla="*/ 6 w 510"/>
                <a:gd name="T37" fmla="*/ 206 h 511"/>
                <a:gd name="T38" fmla="*/ 20 w 510"/>
                <a:gd name="T39" fmla="*/ 158 h 511"/>
                <a:gd name="T40" fmla="*/ 43 w 510"/>
                <a:gd name="T41" fmla="*/ 115 h 511"/>
                <a:gd name="T42" fmla="*/ 75 w 510"/>
                <a:gd name="T43" fmla="*/ 77 h 511"/>
                <a:gd name="T44" fmla="*/ 112 w 510"/>
                <a:gd name="T45" fmla="*/ 44 h 511"/>
                <a:gd name="T46" fmla="*/ 156 w 510"/>
                <a:gd name="T47" fmla="*/ 21 h 511"/>
                <a:gd name="T48" fmla="*/ 204 w 510"/>
                <a:gd name="T49" fmla="*/ 5 h 511"/>
                <a:gd name="T50" fmla="*/ 255 w 510"/>
                <a:gd name="T51" fmla="*/ 0 h 511"/>
                <a:gd name="T52" fmla="*/ 284 w 510"/>
                <a:gd name="T53" fmla="*/ 1 h 511"/>
                <a:gd name="T54" fmla="*/ 337 w 510"/>
                <a:gd name="T55" fmla="*/ 11 h 511"/>
                <a:gd name="T56" fmla="*/ 384 w 510"/>
                <a:gd name="T57" fmla="*/ 31 h 511"/>
                <a:gd name="T58" fmla="*/ 424 w 510"/>
                <a:gd name="T59" fmla="*/ 59 h 511"/>
                <a:gd name="T60" fmla="*/ 457 w 510"/>
                <a:gd name="T61" fmla="*/ 95 h 511"/>
                <a:gd name="T62" fmla="*/ 481 w 510"/>
                <a:gd name="T63" fmla="*/ 136 h 511"/>
                <a:gd name="T64" fmla="*/ 500 w 510"/>
                <a:gd name="T65" fmla="*/ 182 h 511"/>
                <a:gd name="T66" fmla="*/ 508 w 510"/>
                <a:gd name="T67" fmla="*/ 232 h 511"/>
                <a:gd name="T68" fmla="*/ 510 w 510"/>
                <a:gd name="T69" fmla="*/ 257 h 5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0" h="511">
                  <a:moveTo>
                    <a:pt x="510" y="257"/>
                  </a:moveTo>
                  <a:lnTo>
                    <a:pt x="510" y="257"/>
                  </a:lnTo>
                  <a:lnTo>
                    <a:pt x="508" y="283"/>
                  </a:lnTo>
                  <a:lnTo>
                    <a:pt x="504" y="309"/>
                  </a:lnTo>
                  <a:lnTo>
                    <a:pt x="498" y="333"/>
                  </a:lnTo>
                  <a:lnTo>
                    <a:pt x="490" y="356"/>
                  </a:lnTo>
                  <a:lnTo>
                    <a:pt x="478" y="379"/>
                  </a:lnTo>
                  <a:lnTo>
                    <a:pt x="465" y="399"/>
                  </a:lnTo>
                  <a:lnTo>
                    <a:pt x="451" y="419"/>
                  </a:lnTo>
                  <a:lnTo>
                    <a:pt x="434" y="437"/>
                  </a:lnTo>
                  <a:lnTo>
                    <a:pt x="417" y="453"/>
                  </a:lnTo>
                  <a:lnTo>
                    <a:pt x="397" y="467"/>
                  </a:lnTo>
                  <a:lnTo>
                    <a:pt x="377" y="480"/>
                  </a:lnTo>
                  <a:lnTo>
                    <a:pt x="354" y="491"/>
                  </a:lnTo>
                  <a:lnTo>
                    <a:pt x="331" y="500"/>
                  </a:lnTo>
                  <a:lnTo>
                    <a:pt x="307" y="505"/>
                  </a:lnTo>
                  <a:lnTo>
                    <a:pt x="281" y="510"/>
                  </a:lnTo>
                  <a:lnTo>
                    <a:pt x="255" y="511"/>
                  </a:lnTo>
                  <a:lnTo>
                    <a:pt x="255" y="511"/>
                  </a:lnTo>
                  <a:lnTo>
                    <a:pt x="229" y="510"/>
                  </a:lnTo>
                  <a:lnTo>
                    <a:pt x="204" y="505"/>
                  </a:lnTo>
                  <a:lnTo>
                    <a:pt x="179" y="500"/>
                  </a:lnTo>
                  <a:lnTo>
                    <a:pt x="156" y="491"/>
                  </a:lnTo>
                  <a:lnTo>
                    <a:pt x="133" y="480"/>
                  </a:lnTo>
                  <a:lnTo>
                    <a:pt x="112" y="467"/>
                  </a:lnTo>
                  <a:lnTo>
                    <a:pt x="93" y="453"/>
                  </a:lnTo>
                  <a:lnTo>
                    <a:pt x="75" y="437"/>
                  </a:lnTo>
                  <a:lnTo>
                    <a:pt x="59" y="419"/>
                  </a:lnTo>
                  <a:lnTo>
                    <a:pt x="43" y="399"/>
                  </a:lnTo>
                  <a:lnTo>
                    <a:pt x="30" y="379"/>
                  </a:lnTo>
                  <a:lnTo>
                    <a:pt x="20" y="356"/>
                  </a:lnTo>
                  <a:lnTo>
                    <a:pt x="12" y="333"/>
                  </a:lnTo>
                  <a:lnTo>
                    <a:pt x="6" y="309"/>
                  </a:lnTo>
                  <a:lnTo>
                    <a:pt x="2" y="283"/>
                  </a:lnTo>
                  <a:lnTo>
                    <a:pt x="0" y="257"/>
                  </a:lnTo>
                  <a:lnTo>
                    <a:pt x="0" y="257"/>
                  </a:lnTo>
                  <a:lnTo>
                    <a:pt x="2" y="232"/>
                  </a:lnTo>
                  <a:lnTo>
                    <a:pt x="6" y="206"/>
                  </a:lnTo>
                  <a:lnTo>
                    <a:pt x="12" y="182"/>
                  </a:lnTo>
                  <a:lnTo>
                    <a:pt x="20" y="158"/>
                  </a:lnTo>
                  <a:lnTo>
                    <a:pt x="30" y="136"/>
                  </a:lnTo>
                  <a:lnTo>
                    <a:pt x="43" y="115"/>
                  </a:lnTo>
                  <a:lnTo>
                    <a:pt x="59" y="95"/>
                  </a:lnTo>
                  <a:lnTo>
                    <a:pt x="75" y="77"/>
                  </a:lnTo>
                  <a:lnTo>
                    <a:pt x="93" y="59"/>
                  </a:lnTo>
                  <a:lnTo>
                    <a:pt x="112" y="44"/>
                  </a:lnTo>
                  <a:lnTo>
                    <a:pt x="133" y="31"/>
                  </a:lnTo>
                  <a:lnTo>
                    <a:pt x="156" y="21"/>
                  </a:lnTo>
                  <a:lnTo>
                    <a:pt x="179" y="11"/>
                  </a:lnTo>
                  <a:lnTo>
                    <a:pt x="204" y="5"/>
                  </a:lnTo>
                  <a:lnTo>
                    <a:pt x="229" y="1"/>
                  </a:lnTo>
                  <a:lnTo>
                    <a:pt x="255" y="0"/>
                  </a:lnTo>
                  <a:lnTo>
                    <a:pt x="255" y="0"/>
                  </a:lnTo>
                  <a:lnTo>
                    <a:pt x="284" y="1"/>
                  </a:lnTo>
                  <a:lnTo>
                    <a:pt x="311" y="5"/>
                  </a:lnTo>
                  <a:lnTo>
                    <a:pt x="337" y="11"/>
                  </a:lnTo>
                  <a:lnTo>
                    <a:pt x="361" y="21"/>
                  </a:lnTo>
                  <a:lnTo>
                    <a:pt x="384" y="31"/>
                  </a:lnTo>
                  <a:lnTo>
                    <a:pt x="404" y="44"/>
                  </a:lnTo>
                  <a:lnTo>
                    <a:pt x="424" y="59"/>
                  </a:lnTo>
                  <a:lnTo>
                    <a:pt x="441" y="77"/>
                  </a:lnTo>
                  <a:lnTo>
                    <a:pt x="457" y="95"/>
                  </a:lnTo>
                  <a:lnTo>
                    <a:pt x="470" y="115"/>
                  </a:lnTo>
                  <a:lnTo>
                    <a:pt x="481" y="136"/>
                  </a:lnTo>
                  <a:lnTo>
                    <a:pt x="491" y="158"/>
                  </a:lnTo>
                  <a:lnTo>
                    <a:pt x="500" y="182"/>
                  </a:lnTo>
                  <a:lnTo>
                    <a:pt x="504" y="206"/>
                  </a:lnTo>
                  <a:lnTo>
                    <a:pt x="508" y="232"/>
                  </a:lnTo>
                  <a:lnTo>
                    <a:pt x="510" y="257"/>
                  </a:lnTo>
                  <a:lnTo>
                    <a:pt x="510" y="25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62" name="Line 13"/>
            <p:cNvSpPr>
              <a:spLocks noChangeShapeType="1"/>
            </p:cNvSpPr>
            <p:nvPr userDrawn="1"/>
          </p:nvSpPr>
          <p:spPr bwMode="auto">
            <a:xfrm>
              <a:off x="5667" y="745"/>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pic>
          <p:nvPicPr>
            <p:cNvPr id="63" name="Picture 14"/>
            <p:cNvPicPr>
              <a:picLocks noChangeAspect="1" noChangeArrowheads="1"/>
            </p:cNvPicPr>
            <p:nvPr userDrawn="1"/>
          </p:nvPicPr>
          <p:blipFill>
            <a:blip r:embed="rId5" cstate="hqprint">
              <a:extLst>
                <a:ext uri="{28A0092B-C50C-407E-A947-70E740481C1C}">
                  <a14:useLocalDpi xmlns:a14="http://schemas.microsoft.com/office/drawing/2010/main" val="0"/>
                </a:ext>
              </a:extLst>
            </a:blip>
            <a:srcRect/>
            <a:stretch>
              <a:fillRect/>
            </a:stretch>
          </p:blipFill>
          <p:spPr bwMode="auto">
            <a:xfrm>
              <a:off x="5478" y="637"/>
              <a:ext cx="282" cy="2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4" name="Freeform 15"/>
            <p:cNvSpPr>
              <a:spLocks/>
            </p:cNvSpPr>
            <p:nvPr userDrawn="1"/>
          </p:nvSpPr>
          <p:spPr bwMode="auto">
            <a:xfrm>
              <a:off x="5525" y="658"/>
              <a:ext cx="121" cy="25"/>
            </a:xfrm>
            <a:custGeom>
              <a:avLst/>
              <a:gdLst>
                <a:gd name="T0" fmla="*/ 0 w 364"/>
                <a:gd name="T1" fmla="*/ 75 h 75"/>
                <a:gd name="T2" fmla="*/ 0 w 364"/>
                <a:gd name="T3" fmla="*/ 75 h 75"/>
                <a:gd name="T4" fmla="*/ 19 w 364"/>
                <a:gd name="T5" fmla="*/ 58 h 75"/>
                <a:gd name="T6" fmla="*/ 40 w 364"/>
                <a:gd name="T7" fmla="*/ 44 h 75"/>
                <a:gd name="T8" fmla="*/ 62 w 364"/>
                <a:gd name="T9" fmla="*/ 31 h 75"/>
                <a:gd name="T10" fmla="*/ 85 w 364"/>
                <a:gd name="T11" fmla="*/ 20 h 75"/>
                <a:gd name="T12" fmla="*/ 108 w 364"/>
                <a:gd name="T13" fmla="*/ 11 h 75"/>
                <a:gd name="T14" fmla="*/ 132 w 364"/>
                <a:gd name="T15" fmla="*/ 5 h 75"/>
                <a:gd name="T16" fmla="*/ 156 w 364"/>
                <a:gd name="T17" fmla="*/ 1 h 75"/>
                <a:gd name="T18" fmla="*/ 182 w 364"/>
                <a:gd name="T19" fmla="*/ 0 h 75"/>
                <a:gd name="T20" fmla="*/ 206 w 364"/>
                <a:gd name="T21" fmla="*/ 1 h 75"/>
                <a:gd name="T22" fmla="*/ 231 w 364"/>
                <a:gd name="T23" fmla="*/ 4 h 75"/>
                <a:gd name="T24" fmla="*/ 255 w 364"/>
                <a:gd name="T25" fmla="*/ 10 h 75"/>
                <a:gd name="T26" fmla="*/ 278 w 364"/>
                <a:gd name="T27" fmla="*/ 18 h 75"/>
                <a:gd name="T28" fmla="*/ 301 w 364"/>
                <a:gd name="T29" fmla="*/ 28 h 75"/>
                <a:gd name="T30" fmla="*/ 324 w 364"/>
                <a:gd name="T31" fmla="*/ 41 h 75"/>
                <a:gd name="T32" fmla="*/ 344 w 364"/>
                <a:gd name="T33" fmla="*/ 55 h 75"/>
                <a:gd name="T34" fmla="*/ 364 w 364"/>
                <a:gd name="T35" fmla="*/ 72 h 75"/>
                <a:gd name="T36" fmla="*/ 0 w 364"/>
                <a:gd name="T37"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4" h="75">
                  <a:moveTo>
                    <a:pt x="0" y="75"/>
                  </a:moveTo>
                  <a:lnTo>
                    <a:pt x="0" y="75"/>
                  </a:lnTo>
                  <a:lnTo>
                    <a:pt x="19" y="58"/>
                  </a:lnTo>
                  <a:lnTo>
                    <a:pt x="40" y="44"/>
                  </a:lnTo>
                  <a:lnTo>
                    <a:pt x="62" y="31"/>
                  </a:lnTo>
                  <a:lnTo>
                    <a:pt x="85" y="20"/>
                  </a:lnTo>
                  <a:lnTo>
                    <a:pt x="108" y="11"/>
                  </a:lnTo>
                  <a:lnTo>
                    <a:pt x="132" y="5"/>
                  </a:lnTo>
                  <a:lnTo>
                    <a:pt x="156" y="1"/>
                  </a:lnTo>
                  <a:lnTo>
                    <a:pt x="182" y="0"/>
                  </a:lnTo>
                  <a:lnTo>
                    <a:pt x="206" y="1"/>
                  </a:lnTo>
                  <a:lnTo>
                    <a:pt x="231" y="4"/>
                  </a:lnTo>
                  <a:lnTo>
                    <a:pt x="255" y="10"/>
                  </a:lnTo>
                  <a:lnTo>
                    <a:pt x="278" y="18"/>
                  </a:lnTo>
                  <a:lnTo>
                    <a:pt x="301" y="28"/>
                  </a:lnTo>
                  <a:lnTo>
                    <a:pt x="324" y="41"/>
                  </a:lnTo>
                  <a:lnTo>
                    <a:pt x="344" y="55"/>
                  </a:lnTo>
                  <a:lnTo>
                    <a:pt x="364" y="72"/>
                  </a:lnTo>
                  <a:lnTo>
                    <a:pt x="0" y="75"/>
                  </a:lnTo>
                  <a:close/>
                </a:path>
              </a:pathLst>
            </a:custGeom>
            <a:solidFill>
              <a:srgbClr val="00987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65" name="Freeform 16"/>
            <p:cNvSpPr>
              <a:spLocks/>
            </p:cNvSpPr>
            <p:nvPr userDrawn="1"/>
          </p:nvSpPr>
          <p:spPr bwMode="auto">
            <a:xfrm>
              <a:off x="5525" y="658"/>
              <a:ext cx="121" cy="25"/>
            </a:xfrm>
            <a:custGeom>
              <a:avLst/>
              <a:gdLst>
                <a:gd name="T0" fmla="*/ 0 w 364"/>
                <a:gd name="T1" fmla="*/ 75 h 75"/>
                <a:gd name="T2" fmla="*/ 0 w 364"/>
                <a:gd name="T3" fmla="*/ 75 h 75"/>
                <a:gd name="T4" fmla="*/ 19 w 364"/>
                <a:gd name="T5" fmla="*/ 58 h 75"/>
                <a:gd name="T6" fmla="*/ 40 w 364"/>
                <a:gd name="T7" fmla="*/ 44 h 75"/>
                <a:gd name="T8" fmla="*/ 62 w 364"/>
                <a:gd name="T9" fmla="*/ 31 h 75"/>
                <a:gd name="T10" fmla="*/ 85 w 364"/>
                <a:gd name="T11" fmla="*/ 20 h 75"/>
                <a:gd name="T12" fmla="*/ 108 w 364"/>
                <a:gd name="T13" fmla="*/ 11 h 75"/>
                <a:gd name="T14" fmla="*/ 132 w 364"/>
                <a:gd name="T15" fmla="*/ 5 h 75"/>
                <a:gd name="T16" fmla="*/ 156 w 364"/>
                <a:gd name="T17" fmla="*/ 1 h 75"/>
                <a:gd name="T18" fmla="*/ 182 w 364"/>
                <a:gd name="T19" fmla="*/ 0 h 75"/>
                <a:gd name="T20" fmla="*/ 206 w 364"/>
                <a:gd name="T21" fmla="*/ 1 h 75"/>
                <a:gd name="T22" fmla="*/ 231 w 364"/>
                <a:gd name="T23" fmla="*/ 4 h 75"/>
                <a:gd name="T24" fmla="*/ 255 w 364"/>
                <a:gd name="T25" fmla="*/ 10 h 75"/>
                <a:gd name="T26" fmla="*/ 278 w 364"/>
                <a:gd name="T27" fmla="*/ 18 h 75"/>
                <a:gd name="T28" fmla="*/ 301 w 364"/>
                <a:gd name="T29" fmla="*/ 28 h 75"/>
                <a:gd name="T30" fmla="*/ 324 w 364"/>
                <a:gd name="T31" fmla="*/ 41 h 75"/>
                <a:gd name="T32" fmla="*/ 344 w 364"/>
                <a:gd name="T33" fmla="*/ 55 h 75"/>
                <a:gd name="T34" fmla="*/ 364 w 364"/>
                <a:gd name="T35" fmla="*/ 7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64" h="75">
                  <a:moveTo>
                    <a:pt x="0" y="75"/>
                  </a:moveTo>
                  <a:lnTo>
                    <a:pt x="0" y="75"/>
                  </a:lnTo>
                  <a:lnTo>
                    <a:pt x="19" y="58"/>
                  </a:lnTo>
                  <a:lnTo>
                    <a:pt x="40" y="44"/>
                  </a:lnTo>
                  <a:lnTo>
                    <a:pt x="62" y="31"/>
                  </a:lnTo>
                  <a:lnTo>
                    <a:pt x="85" y="20"/>
                  </a:lnTo>
                  <a:lnTo>
                    <a:pt x="108" y="11"/>
                  </a:lnTo>
                  <a:lnTo>
                    <a:pt x="132" y="5"/>
                  </a:lnTo>
                  <a:lnTo>
                    <a:pt x="156" y="1"/>
                  </a:lnTo>
                  <a:lnTo>
                    <a:pt x="182" y="0"/>
                  </a:lnTo>
                  <a:lnTo>
                    <a:pt x="206" y="1"/>
                  </a:lnTo>
                  <a:lnTo>
                    <a:pt x="231" y="4"/>
                  </a:lnTo>
                  <a:lnTo>
                    <a:pt x="255" y="10"/>
                  </a:lnTo>
                  <a:lnTo>
                    <a:pt x="278" y="18"/>
                  </a:lnTo>
                  <a:lnTo>
                    <a:pt x="301" y="28"/>
                  </a:lnTo>
                  <a:lnTo>
                    <a:pt x="324" y="41"/>
                  </a:lnTo>
                  <a:lnTo>
                    <a:pt x="344" y="55"/>
                  </a:lnTo>
                  <a:lnTo>
                    <a:pt x="364" y="7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pic>
          <p:nvPicPr>
            <p:cNvPr id="66" name="Picture 17"/>
            <p:cNvPicPr>
              <a:picLocks noChangeAspect="1" noChangeArrowheads="1"/>
            </p:cNvPicPr>
            <p:nvPr userDrawn="1"/>
          </p:nvPicPr>
          <p:blipFill>
            <a:blip r:embed="rId6" cstate="hqprint">
              <a:extLst>
                <a:ext uri="{28A0092B-C50C-407E-A947-70E740481C1C}">
                  <a14:useLocalDpi xmlns:a14="http://schemas.microsoft.com/office/drawing/2010/main" val="0"/>
                </a:ext>
              </a:extLst>
            </a:blip>
            <a:srcRect/>
            <a:stretch>
              <a:fillRect/>
            </a:stretch>
          </p:blipFill>
          <p:spPr bwMode="auto">
            <a:xfrm>
              <a:off x="5478" y="637"/>
              <a:ext cx="282" cy="2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7" name="Freeform 18"/>
            <p:cNvSpPr>
              <a:spLocks noEditPoints="1"/>
            </p:cNvSpPr>
            <p:nvPr userDrawn="1"/>
          </p:nvSpPr>
          <p:spPr bwMode="auto">
            <a:xfrm>
              <a:off x="5510" y="659"/>
              <a:ext cx="160" cy="156"/>
            </a:xfrm>
            <a:custGeom>
              <a:avLst/>
              <a:gdLst>
                <a:gd name="T0" fmla="*/ 478 w 478"/>
                <a:gd name="T1" fmla="*/ 232 h 466"/>
                <a:gd name="T2" fmla="*/ 474 w 478"/>
                <a:gd name="T3" fmla="*/ 279 h 466"/>
                <a:gd name="T4" fmla="*/ 460 w 478"/>
                <a:gd name="T5" fmla="*/ 323 h 466"/>
                <a:gd name="T6" fmla="*/ 437 w 478"/>
                <a:gd name="T7" fmla="*/ 363 h 466"/>
                <a:gd name="T8" fmla="*/ 408 w 478"/>
                <a:gd name="T9" fmla="*/ 398 h 466"/>
                <a:gd name="T10" fmla="*/ 373 w 478"/>
                <a:gd name="T11" fmla="*/ 426 h 466"/>
                <a:gd name="T12" fmla="*/ 332 w 478"/>
                <a:gd name="T13" fmla="*/ 447 h 466"/>
                <a:gd name="T14" fmla="*/ 288 w 478"/>
                <a:gd name="T15" fmla="*/ 460 h 466"/>
                <a:gd name="T16" fmla="*/ 239 w 478"/>
                <a:gd name="T17" fmla="*/ 466 h 466"/>
                <a:gd name="T18" fmla="*/ 215 w 478"/>
                <a:gd name="T19" fmla="*/ 465 h 466"/>
                <a:gd name="T20" fmla="*/ 168 w 478"/>
                <a:gd name="T21" fmla="*/ 455 h 466"/>
                <a:gd name="T22" fmla="*/ 125 w 478"/>
                <a:gd name="T23" fmla="*/ 437 h 466"/>
                <a:gd name="T24" fmla="*/ 88 w 478"/>
                <a:gd name="T25" fmla="*/ 412 h 466"/>
                <a:gd name="T26" fmla="*/ 55 w 478"/>
                <a:gd name="T27" fmla="*/ 380 h 466"/>
                <a:gd name="T28" fmla="*/ 29 w 478"/>
                <a:gd name="T29" fmla="*/ 343 h 466"/>
                <a:gd name="T30" fmla="*/ 12 w 478"/>
                <a:gd name="T31" fmla="*/ 302 h 466"/>
                <a:gd name="T32" fmla="*/ 2 w 478"/>
                <a:gd name="T33" fmla="*/ 256 h 466"/>
                <a:gd name="T34" fmla="*/ 0 w 478"/>
                <a:gd name="T35" fmla="*/ 232 h 466"/>
                <a:gd name="T36" fmla="*/ 5 w 478"/>
                <a:gd name="T37" fmla="*/ 185 h 466"/>
                <a:gd name="T38" fmla="*/ 19 w 478"/>
                <a:gd name="T39" fmla="*/ 141 h 466"/>
                <a:gd name="T40" fmla="*/ 42 w 478"/>
                <a:gd name="T41" fmla="*/ 103 h 466"/>
                <a:gd name="T42" fmla="*/ 70 w 478"/>
                <a:gd name="T43" fmla="*/ 68 h 466"/>
                <a:gd name="T44" fmla="*/ 106 w 478"/>
                <a:gd name="T45" fmla="*/ 40 h 466"/>
                <a:gd name="T46" fmla="*/ 146 w 478"/>
                <a:gd name="T47" fmla="*/ 17 h 466"/>
                <a:gd name="T48" fmla="*/ 191 w 478"/>
                <a:gd name="T49" fmla="*/ 4 h 466"/>
                <a:gd name="T50" fmla="*/ 239 w 478"/>
                <a:gd name="T51" fmla="*/ 0 h 466"/>
                <a:gd name="T52" fmla="*/ 264 w 478"/>
                <a:gd name="T53" fmla="*/ 0 h 466"/>
                <a:gd name="T54" fmla="*/ 311 w 478"/>
                <a:gd name="T55" fmla="*/ 10 h 466"/>
                <a:gd name="T56" fmla="*/ 354 w 478"/>
                <a:gd name="T57" fmla="*/ 27 h 466"/>
                <a:gd name="T58" fmla="*/ 391 w 478"/>
                <a:gd name="T59" fmla="*/ 53 h 466"/>
                <a:gd name="T60" fmla="*/ 424 w 478"/>
                <a:gd name="T61" fmla="*/ 84 h 466"/>
                <a:gd name="T62" fmla="*/ 450 w 478"/>
                <a:gd name="T63" fmla="*/ 121 h 466"/>
                <a:gd name="T64" fmla="*/ 467 w 478"/>
                <a:gd name="T65" fmla="*/ 164 h 466"/>
                <a:gd name="T66" fmla="*/ 477 w 478"/>
                <a:gd name="T67" fmla="*/ 208 h 466"/>
                <a:gd name="T68" fmla="*/ 478 w 478"/>
                <a:gd name="T69" fmla="*/ 232 h 466"/>
                <a:gd name="T70" fmla="*/ 478 w 478"/>
                <a:gd name="T71" fmla="*/ 232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78" h="466">
                  <a:moveTo>
                    <a:pt x="478" y="232"/>
                  </a:moveTo>
                  <a:lnTo>
                    <a:pt x="478" y="232"/>
                  </a:lnTo>
                  <a:lnTo>
                    <a:pt x="477" y="256"/>
                  </a:lnTo>
                  <a:lnTo>
                    <a:pt x="474" y="279"/>
                  </a:lnTo>
                  <a:lnTo>
                    <a:pt x="467" y="302"/>
                  </a:lnTo>
                  <a:lnTo>
                    <a:pt x="460" y="323"/>
                  </a:lnTo>
                  <a:lnTo>
                    <a:pt x="450" y="343"/>
                  </a:lnTo>
                  <a:lnTo>
                    <a:pt x="437" y="363"/>
                  </a:lnTo>
                  <a:lnTo>
                    <a:pt x="424" y="380"/>
                  </a:lnTo>
                  <a:lnTo>
                    <a:pt x="408" y="398"/>
                  </a:lnTo>
                  <a:lnTo>
                    <a:pt x="391" y="412"/>
                  </a:lnTo>
                  <a:lnTo>
                    <a:pt x="373" y="426"/>
                  </a:lnTo>
                  <a:lnTo>
                    <a:pt x="354" y="437"/>
                  </a:lnTo>
                  <a:lnTo>
                    <a:pt x="332" y="447"/>
                  </a:lnTo>
                  <a:lnTo>
                    <a:pt x="311" y="455"/>
                  </a:lnTo>
                  <a:lnTo>
                    <a:pt x="288" y="460"/>
                  </a:lnTo>
                  <a:lnTo>
                    <a:pt x="264" y="465"/>
                  </a:lnTo>
                  <a:lnTo>
                    <a:pt x="239" y="466"/>
                  </a:lnTo>
                  <a:lnTo>
                    <a:pt x="239" y="466"/>
                  </a:lnTo>
                  <a:lnTo>
                    <a:pt x="215" y="465"/>
                  </a:lnTo>
                  <a:lnTo>
                    <a:pt x="191" y="460"/>
                  </a:lnTo>
                  <a:lnTo>
                    <a:pt x="168" y="455"/>
                  </a:lnTo>
                  <a:lnTo>
                    <a:pt x="146" y="447"/>
                  </a:lnTo>
                  <a:lnTo>
                    <a:pt x="125" y="437"/>
                  </a:lnTo>
                  <a:lnTo>
                    <a:pt x="106" y="426"/>
                  </a:lnTo>
                  <a:lnTo>
                    <a:pt x="88" y="412"/>
                  </a:lnTo>
                  <a:lnTo>
                    <a:pt x="70" y="398"/>
                  </a:lnTo>
                  <a:lnTo>
                    <a:pt x="55" y="380"/>
                  </a:lnTo>
                  <a:lnTo>
                    <a:pt x="42" y="363"/>
                  </a:lnTo>
                  <a:lnTo>
                    <a:pt x="29" y="343"/>
                  </a:lnTo>
                  <a:lnTo>
                    <a:pt x="19" y="323"/>
                  </a:lnTo>
                  <a:lnTo>
                    <a:pt x="12" y="302"/>
                  </a:lnTo>
                  <a:lnTo>
                    <a:pt x="5" y="279"/>
                  </a:lnTo>
                  <a:lnTo>
                    <a:pt x="2" y="256"/>
                  </a:lnTo>
                  <a:lnTo>
                    <a:pt x="0" y="232"/>
                  </a:lnTo>
                  <a:lnTo>
                    <a:pt x="0" y="232"/>
                  </a:lnTo>
                  <a:lnTo>
                    <a:pt x="2" y="208"/>
                  </a:lnTo>
                  <a:lnTo>
                    <a:pt x="5" y="185"/>
                  </a:lnTo>
                  <a:lnTo>
                    <a:pt x="12" y="164"/>
                  </a:lnTo>
                  <a:lnTo>
                    <a:pt x="19" y="141"/>
                  </a:lnTo>
                  <a:lnTo>
                    <a:pt x="29" y="121"/>
                  </a:lnTo>
                  <a:lnTo>
                    <a:pt x="42" y="103"/>
                  </a:lnTo>
                  <a:lnTo>
                    <a:pt x="55" y="84"/>
                  </a:lnTo>
                  <a:lnTo>
                    <a:pt x="70" y="68"/>
                  </a:lnTo>
                  <a:lnTo>
                    <a:pt x="88" y="53"/>
                  </a:lnTo>
                  <a:lnTo>
                    <a:pt x="106" y="40"/>
                  </a:lnTo>
                  <a:lnTo>
                    <a:pt x="125" y="27"/>
                  </a:lnTo>
                  <a:lnTo>
                    <a:pt x="146" y="17"/>
                  </a:lnTo>
                  <a:lnTo>
                    <a:pt x="168" y="10"/>
                  </a:lnTo>
                  <a:lnTo>
                    <a:pt x="191" y="4"/>
                  </a:lnTo>
                  <a:lnTo>
                    <a:pt x="215" y="0"/>
                  </a:lnTo>
                  <a:lnTo>
                    <a:pt x="239" y="0"/>
                  </a:lnTo>
                  <a:lnTo>
                    <a:pt x="239" y="0"/>
                  </a:lnTo>
                  <a:lnTo>
                    <a:pt x="264" y="0"/>
                  </a:lnTo>
                  <a:lnTo>
                    <a:pt x="288" y="4"/>
                  </a:lnTo>
                  <a:lnTo>
                    <a:pt x="311" y="10"/>
                  </a:lnTo>
                  <a:lnTo>
                    <a:pt x="332" y="17"/>
                  </a:lnTo>
                  <a:lnTo>
                    <a:pt x="354" y="27"/>
                  </a:lnTo>
                  <a:lnTo>
                    <a:pt x="373" y="40"/>
                  </a:lnTo>
                  <a:lnTo>
                    <a:pt x="391" y="53"/>
                  </a:lnTo>
                  <a:lnTo>
                    <a:pt x="408" y="67"/>
                  </a:lnTo>
                  <a:lnTo>
                    <a:pt x="424" y="84"/>
                  </a:lnTo>
                  <a:lnTo>
                    <a:pt x="437" y="103"/>
                  </a:lnTo>
                  <a:lnTo>
                    <a:pt x="450" y="121"/>
                  </a:lnTo>
                  <a:lnTo>
                    <a:pt x="460" y="141"/>
                  </a:lnTo>
                  <a:lnTo>
                    <a:pt x="467" y="164"/>
                  </a:lnTo>
                  <a:lnTo>
                    <a:pt x="474" y="185"/>
                  </a:lnTo>
                  <a:lnTo>
                    <a:pt x="477" y="208"/>
                  </a:lnTo>
                  <a:lnTo>
                    <a:pt x="478" y="232"/>
                  </a:lnTo>
                  <a:lnTo>
                    <a:pt x="478" y="232"/>
                  </a:lnTo>
                  <a:close/>
                  <a:moveTo>
                    <a:pt x="478" y="232"/>
                  </a:moveTo>
                  <a:lnTo>
                    <a:pt x="478" y="23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68" name="Freeform 19"/>
            <p:cNvSpPr>
              <a:spLocks/>
            </p:cNvSpPr>
            <p:nvPr userDrawn="1"/>
          </p:nvSpPr>
          <p:spPr bwMode="auto">
            <a:xfrm>
              <a:off x="5510" y="659"/>
              <a:ext cx="160" cy="156"/>
            </a:xfrm>
            <a:custGeom>
              <a:avLst/>
              <a:gdLst>
                <a:gd name="T0" fmla="*/ 478 w 478"/>
                <a:gd name="T1" fmla="*/ 232 h 466"/>
                <a:gd name="T2" fmla="*/ 474 w 478"/>
                <a:gd name="T3" fmla="*/ 279 h 466"/>
                <a:gd name="T4" fmla="*/ 460 w 478"/>
                <a:gd name="T5" fmla="*/ 323 h 466"/>
                <a:gd name="T6" fmla="*/ 437 w 478"/>
                <a:gd name="T7" fmla="*/ 363 h 466"/>
                <a:gd name="T8" fmla="*/ 408 w 478"/>
                <a:gd name="T9" fmla="*/ 398 h 466"/>
                <a:gd name="T10" fmla="*/ 373 w 478"/>
                <a:gd name="T11" fmla="*/ 426 h 466"/>
                <a:gd name="T12" fmla="*/ 332 w 478"/>
                <a:gd name="T13" fmla="*/ 447 h 466"/>
                <a:gd name="T14" fmla="*/ 288 w 478"/>
                <a:gd name="T15" fmla="*/ 460 h 466"/>
                <a:gd name="T16" fmla="*/ 239 w 478"/>
                <a:gd name="T17" fmla="*/ 466 h 466"/>
                <a:gd name="T18" fmla="*/ 215 w 478"/>
                <a:gd name="T19" fmla="*/ 465 h 466"/>
                <a:gd name="T20" fmla="*/ 168 w 478"/>
                <a:gd name="T21" fmla="*/ 455 h 466"/>
                <a:gd name="T22" fmla="*/ 125 w 478"/>
                <a:gd name="T23" fmla="*/ 437 h 466"/>
                <a:gd name="T24" fmla="*/ 88 w 478"/>
                <a:gd name="T25" fmla="*/ 412 h 466"/>
                <a:gd name="T26" fmla="*/ 55 w 478"/>
                <a:gd name="T27" fmla="*/ 380 h 466"/>
                <a:gd name="T28" fmla="*/ 29 w 478"/>
                <a:gd name="T29" fmla="*/ 343 h 466"/>
                <a:gd name="T30" fmla="*/ 12 w 478"/>
                <a:gd name="T31" fmla="*/ 302 h 466"/>
                <a:gd name="T32" fmla="*/ 2 w 478"/>
                <a:gd name="T33" fmla="*/ 256 h 466"/>
                <a:gd name="T34" fmla="*/ 0 w 478"/>
                <a:gd name="T35" fmla="*/ 232 h 466"/>
                <a:gd name="T36" fmla="*/ 5 w 478"/>
                <a:gd name="T37" fmla="*/ 185 h 466"/>
                <a:gd name="T38" fmla="*/ 19 w 478"/>
                <a:gd name="T39" fmla="*/ 141 h 466"/>
                <a:gd name="T40" fmla="*/ 42 w 478"/>
                <a:gd name="T41" fmla="*/ 103 h 466"/>
                <a:gd name="T42" fmla="*/ 70 w 478"/>
                <a:gd name="T43" fmla="*/ 68 h 466"/>
                <a:gd name="T44" fmla="*/ 106 w 478"/>
                <a:gd name="T45" fmla="*/ 40 h 466"/>
                <a:gd name="T46" fmla="*/ 146 w 478"/>
                <a:gd name="T47" fmla="*/ 17 h 466"/>
                <a:gd name="T48" fmla="*/ 191 w 478"/>
                <a:gd name="T49" fmla="*/ 4 h 466"/>
                <a:gd name="T50" fmla="*/ 239 w 478"/>
                <a:gd name="T51" fmla="*/ 0 h 466"/>
                <a:gd name="T52" fmla="*/ 264 w 478"/>
                <a:gd name="T53" fmla="*/ 0 h 466"/>
                <a:gd name="T54" fmla="*/ 311 w 478"/>
                <a:gd name="T55" fmla="*/ 10 h 466"/>
                <a:gd name="T56" fmla="*/ 354 w 478"/>
                <a:gd name="T57" fmla="*/ 27 h 466"/>
                <a:gd name="T58" fmla="*/ 391 w 478"/>
                <a:gd name="T59" fmla="*/ 53 h 466"/>
                <a:gd name="T60" fmla="*/ 424 w 478"/>
                <a:gd name="T61" fmla="*/ 84 h 466"/>
                <a:gd name="T62" fmla="*/ 450 w 478"/>
                <a:gd name="T63" fmla="*/ 121 h 466"/>
                <a:gd name="T64" fmla="*/ 467 w 478"/>
                <a:gd name="T65" fmla="*/ 164 h 466"/>
                <a:gd name="T66" fmla="*/ 477 w 478"/>
                <a:gd name="T67" fmla="*/ 208 h 466"/>
                <a:gd name="T68" fmla="*/ 478 w 478"/>
                <a:gd name="T69" fmla="*/ 232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78" h="466">
                  <a:moveTo>
                    <a:pt x="478" y="232"/>
                  </a:moveTo>
                  <a:lnTo>
                    <a:pt x="478" y="232"/>
                  </a:lnTo>
                  <a:lnTo>
                    <a:pt x="477" y="256"/>
                  </a:lnTo>
                  <a:lnTo>
                    <a:pt x="474" y="279"/>
                  </a:lnTo>
                  <a:lnTo>
                    <a:pt x="467" y="302"/>
                  </a:lnTo>
                  <a:lnTo>
                    <a:pt x="460" y="323"/>
                  </a:lnTo>
                  <a:lnTo>
                    <a:pt x="450" y="343"/>
                  </a:lnTo>
                  <a:lnTo>
                    <a:pt x="437" y="363"/>
                  </a:lnTo>
                  <a:lnTo>
                    <a:pt x="424" y="380"/>
                  </a:lnTo>
                  <a:lnTo>
                    <a:pt x="408" y="398"/>
                  </a:lnTo>
                  <a:lnTo>
                    <a:pt x="391" y="412"/>
                  </a:lnTo>
                  <a:lnTo>
                    <a:pt x="373" y="426"/>
                  </a:lnTo>
                  <a:lnTo>
                    <a:pt x="354" y="437"/>
                  </a:lnTo>
                  <a:lnTo>
                    <a:pt x="332" y="447"/>
                  </a:lnTo>
                  <a:lnTo>
                    <a:pt x="311" y="455"/>
                  </a:lnTo>
                  <a:lnTo>
                    <a:pt x="288" y="460"/>
                  </a:lnTo>
                  <a:lnTo>
                    <a:pt x="264" y="465"/>
                  </a:lnTo>
                  <a:lnTo>
                    <a:pt x="239" y="466"/>
                  </a:lnTo>
                  <a:lnTo>
                    <a:pt x="239" y="466"/>
                  </a:lnTo>
                  <a:lnTo>
                    <a:pt x="215" y="465"/>
                  </a:lnTo>
                  <a:lnTo>
                    <a:pt x="191" y="460"/>
                  </a:lnTo>
                  <a:lnTo>
                    <a:pt x="168" y="455"/>
                  </a:lnTo>
                  <a:lnTo>
                    <a:pt x="146" y="447"/>
                  </a:lnTo>
                  <a:lnTo>
                    <a:pt x="125" y="437"/>
                  </a:lnTo>
                  <a:lnTo>
                    <a:pt x="106" y="426"/>
                  </a:lnTo>
                  <a:lnTo>
                    <a:pt x="88" y="412"/>
                  </a:lnTo>
                  <a:lnTo>
                    <a:pt x="70" y="398"/>
                  </a:lnTo>
                  <a:lnTo>
                    <a:pt x="55" y="380"/>
                  </a:lnTo>
                  <a:lnTo>
                    <a:pt x="42" y="363"/>
                  </a:lnTo>
                  <a:lnTo>
                    <a:pt x="29" y="343"/>
                  </a:lnTo>
                  <a:lnTo>
                    <a:pt x="19" y="323"/>
                  </a:lnTo>
                  <a:lnTo>
                    <a:pt x="12" y="302"/>
                  </a:lnTo>
                  <a:lnTo>
                    <a:pt x="5" y="279"/>
                  </a:lnTo>
                  <a:lnTo>
                    <a:pt x="2" y="256"/>
                  </a:lnTo>
                  <a:lnTo>
                    <a:pt x="0" y="232"/>
                  </a:lnTo>
                  <a:lnTo>
                    <a:pt x="0" y="232"/>
                  </a:lnTo>
                  <a:lnTo>
                    <a:pt x="2" y="208"/>
                  </a:lnTo>
                  <a:lnTo>
                    <a:pt x="5" y="185"/>
                  </a:lnTo>
                  <a:lnTo>
                    <a:pt x="12" y="164"/>
                  </a:lnTo>
                  <a:lnTo>
                    <a:pt x="19" y="141"/>
                  </a:lnTo>
                  <a:lnTo>
                    <a:pt x="29" y="121"/>
                  </a:lnTo>
                  <a:lnTo>
                    <a:pt x="42" y="103"/>
                  </a:lnTo>
                  <a:lnTo>
                    <a:pt x="55" y="84"/>
                  </a:lnTo>
                  <a:lnTo>
                    <a:pt x="70" y="68"/>
                  </a:lnTo>
                  <a:lnTo>
                    <a:pt x="88" y="53"/>
                  </a:lnTo>
                  <a:lnTo>
                    <a:pt x="106" y="40"/>
                  </a:lnTo>
                  <a:lnTo>
                    <a:pt x="125" y="27"/>
                  </a:lnTo>
                  <a:lnTo>
                    <a:pt x="146" y="17"/>
                  </a:lnTo>
                  <a:lnTo>
                    <a:pt x="168" y="10"/>
                  </a:lnTo>
                  <a:lnTo>
                    <a:pt x="191" y="4"/>
                  </a:lnTo>
                  <a:lnTo>
                    <a:pt x="215" y="0"/>
                  </a:lnTo>
                  <a:lnTo>
                    <a:pt x="239" y="0"/>
                  </a:lnTo>
                  <a:lnTo>
                    <a:pt x="239" y="0"/>
                  </a:lnTo>
                  <a:lnTo>
                    <a:pt x="264" y="0"/>
                  </a:lnTo>
                  <a:lnTo>
                    <a:pt x="288" y="4"/>
                  </a:lnTo>
                  <a:lnTo>
                    <a:pt x="311" y="10"/>
                  </a:lnTo>
                  <a:lnTo>
                    <a:pt x="332" y="17"/>
                  </a:lnTo>
                  <a:lnTo>
                    <a:pt x="354" y="27"/>
                  </a:lnTo>
                  <a:lnTo>
                    <a:pt x="373" y="40"/>
                  </a:lnTo>
                  <a:lnTo>
                    <a:pt x="391" y="53"/>
                  </a:lnTo>
                  <a:lnTo>
                    <a:pt x="408" y="67"/>
                  </a:lnTo>
                  <a:lnTo>
                    <a:pt x="424" y="84"/>
                  </a:lnTo>
                  <a:lnTo>
                    <a:pt x="437" y="103"/>
                  </a:lnTo>
                  <a:lnTo>
                    <a:pt x="450" y="121"/>
                  </a:lnTo>
                  <a:lnTo>
                    <a:pt x="460" y="141"/>
                  </a:lnTo>
                  <a:lnTo>
                    <a:pt x="467" y="164"/>
                  </a:lnTo>
                  <a:lnTo>
                    <a:pt x="474" y="185"/>
                  </a:lnTo>
                  <a:lnTo>
                    <a:pt x="477" y="208"/>
                  </a:lnTo>
                  <a:lnTo>
                    <a:pt x="478" y="232"/>
                  </a:lnTo>
                  <a:lnTo>
                    <a:pt x="478" y="23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69" name="Line 20"/>
            <p:cNvSpPr>
              <a:spLocks noChangeShapeType="1"/>
            </p:cNvSpPr>
            <p:nvPr userDrawn="1"/>
          </p:nvSpPr>
          <p:spPr bwMode="auto">
            <a:xfrm>
              <a:off x="5670" y="737"/>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pic>
          <p:nvPicPr>
            <p:cNvPr id="70" name="Picture 21"/>
            <p:cNvPicPr>
              <a:picLocks noChangeAspect="1" noChangeArrowheads="1"/>
            </p:cNvPicPr>
            <p:nvPr userDrawn="1"/>
          </p:nvPicPr>
          <p:blipFill>
            <a:blip r:embed="rId7" cstate="hqprint">
              <a:extLst>
                <a:ext uri="{28A0092B-C50C-407E-A947-70E740481C1C}">
                  <a14:useLocalDpi xmlns:a14="http://schemas.microsoft.com/office/drawing/2010/main" val="0"/>
                </a:ext>
              </a:extLst>
            </a:blip>
            <a:srcRect/>
            <a:stretch>
              <a:fillRect/>
            </a:stretch>
          </p:blipFill>
          <p:spPr bwMode="auto">
            <a:xfrm>
              <a:off x="5478" y="637"/>
              <a:ext cx="282" cy="2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 name="Freeform 22"/>
            <p:cNvSpPr>
              <a:spLocks noEditPoints="1"/>
            </p:cNvSpPr>
            <p:nvPr userDrawn="1"/>
          </p:nvSpPr>
          <p:spPr bwMode="auto">
            <a:xfrm>
              <a:off x="5526" y="673"/>
              <a:ext cx="138" cy="139"/>
            </a:xfrm>
            <a:custGeom>
              <a:avLst/>
              <a:gdLst>
                <a:gd name="T0" fmla="*/ 415 w 415"/>
                <a:gd name="T1" fmla="*/ 209 h 417"/>
                <a:gd name="T2" fmla="*/ 411 w 415"/>
                <a:gd name="T3" fmla="*/ 251 h 417"/>
                <a:gd name="T4" fmla="*/ 400 w 415"/>
                <a:gd name="T5" fmla="*/ 291 h 417"/>
                <a:gd name="T6" fmla="*/ 379 w 415"/>
                <a:gd name="T7" fmla="*/ 325 h 417"/>
                <a:gd name="T8" fmla="*/ 355 w 415"/>
                <a:gd name="T9" fmla="*/ 356 h 417"/>
                <a:gd name="T10" fmla="*/ 324 w 415"/>
                <a:gd name="T11" fmla="*/ 382 h 417"/>
                <a:gd name="T12" fmla="*/ 289 w 415"/>
                <a:gd name="T13" fmla="*/ 400 h 417"/>
                <a:gd name="T14" fmla="*/ 249 w 415"/>
                <a:gd name="T15" fmla="*/ 413 h 417"/>
                <a:gd name="T16" fmla="*/ 208 w 415"/>
                <a:gd name="T17" fmla="*/ 417 h 417"/>
                <a:gd name="T18" fmla="*/ 186 w 415"/>
                <a:gd name="T19" fmla="*/ 416 h 417"/>
                <a:gd name="T20" fmla="*/ 146 w 415"/>
                <a:gd name="T21" fmla="*/ 407 h 417"/>
                <a:gd name="T22" fmla="*/ 109 w 415"/>
                <a:gd name="T23" fmla="*/ 392 h 417"/>
                <a:gd name="T24" fmla="*/ 76 w 415"/>
                <a:gd name="T25" fmla="*/ 370 h 417"/>
                <a:gd name="T26" fmla="*/ 47 w 415"/>
                <a:gd name="T27" fmla="*/ 342 h 417"/>
                <a:gd name="T28" fmla="*/ 26 w 415"/>
                <a:gd name="T29" fmla="*/ 308 h 417"/>
                <a:gd name="T30" fmla="*/ 10 w 415"/>
                <a:gd name="T31" fmla="*/ 271 h 417"/>
                <a:gd name="T32" fmla="*/ 2 w 415"/>
                <a:gd name="T33" fmla="*/ 229 h 417"/>
                <a:gd name="T34" fmla="*/ 0 w 415"/>
                <a:gd name="T35" fmla="*/ 209 h 417"/>
                <a:gd name="T36" fmla="*/ 4 w 415"/>
                <a:gd name="T37" fmla="*/ 167 h 417"/>
                <a:gd name="T38" fmla="*/ 16 w 415"/>
                <a:gd name="T39" fmla="*/ 128 h 417"/>
                <a:gd name="T40" fmla="*/ 36 w 415"/>
                <a:gd name="T41" fmla="*/ 93 h 417"/>
                <a:gd name="T42" fmla="*/ 62 w 415"/>
                <a:gd name="T43" fmla="*/ 61 h 417"/>
                <a:gd name="T44" fmla="*/ 92 w 415"/>
                <a:gd name="T45" fmla="*/ 36 h 417"/>
                <a:gd name="T46" fmla="*/ 128 w 415"/>
                <a:gd name="T47" fmla="*/ 17 h 417"/>
                <a:gd name="T48" fmla="*/ 166 w 415"/>
                <a:gd name="T49" fmla="*/ 4 h 417"/>
                <a:gd name="T50" fmla="*/ 208 w 415"/>
                <a:gd name="T51" fmla="*/ 0 h 417"/>
                <a:gd name="T52" fmla="*/ 229 w 415"/>
                <a:gd name="T53" fmla="*/ 1 h 417"/>
                <a:gd name="T54" fmla="*/ 269 w 415"/>
                <a:gd name="T55" fmla="*/ 10 h 417"/>
                <a:gd name="T56" fmla="*/ 306 w 415"/>
                <a:gd name="T57" fmla="*/ 26 h 417"/>
                <a:gd name="T58" fmla="*/ 339 w 415"/>
                <a:gd name="T59" fmla="*/ 48 h 417"/>
                <a:gd name="T60" fmla="*/ 368 w 415"/>
                <a:gd name="T61" fmla="*/ 75 h 417"/>
                <a:gd name="T62" fmla="*/ 391 w 415"/>
                <a:gd name="T63" fmla="*/ 110 h 417"/>
                <a:gd name="T64" fmla="*/ 407 w 415"/>
                <a:gd name="T65" fmla="*/ 147 h 417"/>
                <a:gd name="T66" fmla="*/ 414 w 415"/>
                <a:gd name="T67" fmla="*/ 188 h 417"/>
                <a:gd name="T68" fmla="*/ 415 w 415"/>
                <a:gd name="T69" fmla="*/ 209 h 417"/>
                <a:gd name="T70" fmla="*/ 415 w 415"/>
                <a:gd name="T71" fmla="*/ 209 h 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15" h="417">
                  <a:moveTo>
                    <a:pt x="415" y="209"/>
                  </a:moveTo>
                  <a:lnTo>
                    <a:pt x="415" y="209"/>
                  </a:lnTo>
                  <a:lnTo>
                    <a:pt x="414" y="229"/>
                  </a:lnTo>
                  <a:lnTo>
                    <a:pt x="411" y="251"/>
                  </a:lnTo>
                  <a:lnTo>
                    <a:pt x="407" y="271"/>
                  </a:lnTo>
                  <a:lnTo>
                    <a:pt x="400" y="291"/>
                  </a:lnTo>
                  <a:lnTo>
                    <a:pt x="391" y="308"/>
                  </a:lnTo>
                  <a:lnTo>
                    <a:pt x="379" y="325"/>
                  </a:lnTo>
                  <a:lnTo>
                    <a:pt x="368" y="342"/>
                  </a:lnTo>
                  <a:lnTo>
                    <a:pt x="355" y="356"/>
                  </a:lnTo>
                  <a:lnTo>
                    <a:pt x="339" y="370"/>
                  </a:lnTo>
                  <a:lnTo>
                    <a:pt x="324" y="382"/>
                  </a:lnTo>
                  <a:lnTo>
                    <a:pt x="306" y="392"/>
                  </a:lnTo>
                  <a:lnTo>
                    <a:pt x="289" y="400"/>
                  </a:lnTo>
                  <a:lnTo>
                    <a:pt x="269" y="407"/>
                  </a:lnTo>
                  <a:lnTo>
                    <a:pt x="249" y="413"/>
                  </a:lnTo>
                  <a:lnTo>
                    <a:pt x="229" y="416"/>
                  </a:lnTo>
                  <a:lnTo>
                    <a:pt x="208" y="417"/>
                  </a:lnTo>
                  <a:lnTo>
                    <a:pt x="208" y="417"/>
                  </a:lnTo>
                  <a:lnTo>
                    <a:pt x="186" y="416"/>
                  </a:lnTo>
                  <a:lnTo>
                    <a:pt x="166" y="413"/>
                  </a:lnTo>
                  <a:lnTo>
                    <a:pt x="146" y="407"/>
                  </a:lnTo>
                  <a:lnTo>
                    <a:pt x="128" y="400"/>
                  </a:lnTo>
                  <a:lnTo>
                    <a:pt x="109" y="392"/>
                  </a:lnTo>
                  <a:lnTo>
                    <a:pt x="92" y="382"/>
                  </a:lnTo>
                  <a:lnTo>
                    <a:pt x="76" y="370"/>
                  </a:lnTo>
                  <a:lnTo>
                    <a:pt x="62" y="356"/>
                  </a:lnTo>
                  <a:lnTo>
                    <a:pt x="47" y="342"/>
                  </a:lnTo>
                  <a:lnTo>
                    <a:pt x="36" y="325"/>
                  </a:lnTo>
                  <a:lnTo>
                    <a:pt x="26" y="308"/>
                  </a:lnTo>
                  <a:lnTo>
                    <a:pt x="16" y="291"/>
                  </a:lnTo>
                  <a:lnTo>
                    <a:pt x="10" y="271"/>
                  </a:lnTo>
                  <a:lnTo>
                    <a:pt x="4" y="251"/>
                  </a:lnTo>
                  <a:lnTo>
                    <a:pt x="2" y="229"/>
                  </a:lnTo>
                  <a:lnTo>
                    <a:pt x="0" y="209"/>
                  </a:lnTo>
                  <a:lnTo>
                    <a:pt x="0" y="209"/>
                  </a:lnTo>
                  <a:lnTo>
                    <a:pt x="2" y="188"/>
                  </a:lnTo>
                  <a:lnTo>
                    <a:pt x="4" y="167"/>
                  </a:lnTo>
                  <a:lnTo>
                    <a:pt x="10" y="147"/>
                  </a:lnTo>
                  <a:lnTo>
                    <a:pt x="16" y="128"/>
                  </a:lnTo>
                  <a:lnTo>
                    <a:pt x="26" y="110"/>
                  </a:lnTo>
                  <a:lnTo>
                    <a:pt x="36" y="93"/>
                  </a:lnTo>
                  <a:lnTo>
                    <a:pt x="47" y="75"/>
                  </a:lnTo>
                  <a:lnTo>
                    <a:pt x="62" y="61"/>
                  </a:lnTo>
                  <a:lnTo>
                    <a:pt x="76" y="48"/>
                  </a:lnTo>
                  <a:lnTo>
                    <a:pt x="92" y="36"/>
                  </a:lnTo>
                  <a:lnTo>
                    <a:pt x="109" y="26"/>
                  </a:lnTo>
                  <a:lnTo>
                    <a:pt x="128" y="17"/>
                  </a:lnTo>
                  <a:lnTo>
                    <a:pt x="146" y="10"/>
                  </a:lnTo>
                  <a:lnTo>
                    <a:pt x="166" y="4"/>
                  </a:lnTo>
                  <a:lnTo>
                    <a:pt x="186" y="1"/>
                  </a:lnTo>
                  <a:lnTo>
                    <a:pt x="208" y="0"/>
                  </a:lnTo>
                  <a:lnTo>
                    <a:pt x="208" y="0"/>
                  </a:lnTo>
                  <a:lnTo>
                    <a:pt x="229" y="1"/>
                  </a:lnTo>
                  <a:lnTo>
                    <a:pt x="249" y="4"/>
                  </a:lnTo>
                  <a:lnTo>
                    <a:pt x="269" y="10"/>
                  </a:lnTo>
                  <a:lnTo>
                    <a:pt x="289" y="17"/>
                  </a:lnTo>
                  <a:lnTo>
                    <a:pt x="306" y="26"/>
                  </a:lnTo>
                  <a:lnTo>
                    <a:pt x="324" y="36"/>
                  </a:lnTo>
                  <a:lnTo>
                    <a:pt x="339" y="48"/>
                  </a:lnTo>
                  <a:lnTo>
                    <a:pt x="355" y="61"/>
                  </a:lnTo>
                  <a:lnTo>
                    <a:pt x="368" y="75"/>
                  </a:lnTo>
                  <a:lnTo>
                    <a:pt x="379" y="93"/>
                  </a:lnTo>
                  <a:lnTo>
                    <a:pt x="391" y="110"/>
                  </a:lnTo>
                  <a:lnTo>
                    <a:pt x="400" y="128"/>
                  </a:lnTo>
                  <a:lnTo>
                    <a:pt x="407" y="147"/>
                  </a:lnTo>
                  <a:lnTo>
                    <a:pt x="411" y="167"/>
                  </a:lnTo>
                  <a:lnTo>
                    <a:pt x="414" y="188"/>
                  </a:lnTo>
                  <a:lnTo>
                    <a:pt x="415" y="209"/>
                  </a:lnTo>
                  <a:lnTo>
                    <a:pt x="415" y="209"/>
                  </a:lnTo>
                  <a:close/>
                  <a:moveTo>
                    <a:pt x="415" y="209"/>
                  </a:moveTo>
                  <a:lnTo>
                    <a:pt x="415" y="20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72" name="Freeform 23"/>
            <p:cNvSpPr>
              <a:spLocks/>
            </p:cNvSpPr>
            <p:nvPr userDrawn="1"/>
          </p:nvSpPr>
          <p:spPr bwMode="auto">
            <a:xfrm>
              <a:off x="5526" y="673"/>
              <a:ext cx="138" cy="139"/>
            </a:xfrm>
            <a:custGeom>
              <a:avLst/>
              <a:gdLst>
                <a:gd name="T0" fmla="*/ 415 w 415"/>
                <a:gd name="T1" fmla="*/ 209 h 417"/>
                <a:gd name="T2" fmla="*/ 411 w 415"/>
                <a:gd name="T3" fmla="*/ 251 h 417"/>
                <a:gd name="T4" fmla="*/ 400 w 415"/>
                <a:gd name="T5" fmla="*/ 291 h 417"/>
                <a:gd name="T6" fmla="*/ 379 w 415"/>
                <a:gd name="T7" fmla="*/ 325 h 417"/>
                <a:gd name="T8" fmla="*/ 355 w 415"/>
                <a:gd name="T9" fmla="*/ 356 h 417"/>
                <a:gd name="T10" fmla="*/ 324 w 415"/>
                <a:gd name="T11" fmla="*/ 382 h 417"/>
                <a:gd name="T12" fmla="*/ 289 w 415"/>
                <a:gd name="T13" fmla="*/ 400 h 417"/>
                <a:gd name="T14" fmla="*/ 249 w 415"/>
                <a:gd name="T15" fmla="*/ 413 h 417"/>
                <a:gd name="T16" fmla="*/ 208 w 415"/>
                <a:gd name="T17" fmla="*/ 417 h 417"/>
                <a:gd name="T18" fmla="*/ 186 w 415"/>
                <a:gd name="T19" fmla="*/ 416 h 417"/>
                <a:gd name="T20" fmla="*/ 146 w 415"/>
                <a:gd name="T21" fmla="*/ 407 h 417"/>
                <a:gd name="T22" fmla="*/ 109 w 415"/>
                <a:gd name="T23" fmla="*/ 392 h 417"/>
                <a:gd name="T24" fmla="*/ 76 w 415"/>
                <a:gd name="T25" fmla="*/ 370 h 417"/>
                <a:gd name="T26" fmla="*/ 47 w 415"/>
                <a:gd name="T27" fmla="*/ 342 h 417"/>
                <a:gd name="T28" fmla="*/ 26 w 415"/>
                <a:gd name="T29" fmla="*/ 308 h 417"/>
                <a:gd name="T30" fmla="*/ 10 w 415"/>
                <a:gd name="T31" fmla="*/ 271 h 417"/>
                <a:gd name="T32" fmla="*/ 2 w 415"/>
                <a:gd name="T33" fmla="*/ 229 h 417"/>
                <a:gd name="T34" fmla="*/ 0 w 415"/>
                <a:gd name="T35" fmla="*/ 209 h 417"/>
                <a:gd name="T36" fmla="*/ 4 w 415"/>
                <a:gd name="T37" fmla="*/ 167 h 417"/>
                <a:gd name="T38" fmla="*/ 16 w 415"/>
                <a:gd name="T39" fmla="*/ 128 h 417"/>
                <a:gd name="T40" fmla="*/ 36 w 415"/>
                <a:gd name="T41" fmla="*/ 93 h 417"/>
                <a:gd name="T42" fmla="*/ 62 w 415"/>
                <a:gd name="T43" fmla="*/ 61 h 417"/>
                <a:gd name="T44" fmla="*/ 92 w 415"/>
                <a:gd name="T45" fmla="*/ 36 h 417"/>
                <a:gd name="T46" fmla="*/ 128 w 415"/>
                <a:gd name="T47" fmla="*/ 17 h 417"/>
                <a:gd name="T48" fmla="*/ 166 w 415"/>
                <a:gd name="T49" fmla="*/ 4 h 417"/>
                <a:gd name="T50" fmla="*/ 208 w 415"/>
                <a:gd name="T51" fmla="*/ 0 h 417"/>
                <a:gd name="T52" fmla="*/ 229 w 415"/>
                <a:gd name="T53" fmla="*/ 1 h 417"/>
                <a:gd name="T54" fmla="*/ 269 w 415"/>
                <a:gd name="T55" fmla="*/ 10 h 417"/>
                <a:gd name="T56" fmla="*/ 306 w 415"/>
                <a:gd name="T57" fmla="*/ 26 h 417"/>
                <a:gd name="T58" fmla="*/ 339 w 415"/>
                <a:gd name="T59" fmla="*/ 48 h 417"/>
                <a:gd name="T60" fmla="*/ 368 w 415"/>
                <a:gd name="T61" fmla="*/ 75 h 417"/>
                <a:gd name="T62" fmla="*/ 391 w 415"/>
                <a:gd name="T63" fmla="*/ 110 h 417"/>
                <a:gd name="T64" fmla="*/ 407 w 415"/>
                <a:gd name="T65" fmla="*/ 147 h 417"/>
                <a:gd name="T66" fmla="*/ 414 w 415"/>
                <a:gd name="T67" fmla="*/ 188 h 417"/>
                <a:gd name="T68" fmla="*/ 415 w 415"/>
                <a:gd name="T69" fmla="*/ 209 h 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15" h="417">
                  <a:moveTo>
                    <a:pt x="415" y="209"/>
                  </a:moveTo>
                  <a:lnTo>
                    <a:pt x="415" y="209"/>
                  </a:lnTo>
                  <a:lnTo>
                    <a:pt x="414" y="229"/>
                  </a:lnTo>
                  <a:lnTo>
                    <a:pt x="411" y="251"/>
                  </a:lnTo>
                  <a:lnTo>
                    <a:pt x="407" y="271"/>
                  </a:lnTo>
                  <a:lnTo>
                    <a:pt x="400" y="291"/>
                  </a:lnTo>
                  <a:lnTo>
                    <a:pt x="391" y="308"/>
                  </a:lnTo>
                  <a:lnTo>
                    <a:pt x="379" y="325"/>
                  </a:lnTo>
                  <a:lnTo>
                    <a:pt x="368" y="342"/>
                  </a:lnTo>
                  <a:lnTo>
                    <a:pt x="355" y="356"/>
                  </a:lnTo>
                  <a:lnTo>
                    <a:pt x="339" y="370"/>
                  </a:lnTo>
                  <a:lnTo>
                    <a:pt x="324" y="382"/>
                  </a:lnTo>
                  <a:lnTo>
                    <a:pt x="306" y="392"/>
                  </a:lnTo>
                  <a:lnTo>
                    <a:pt x="289" y="400"/>
                  </a:lnTo>
                  <a:lnTo>
                    <a:pt x="269" y="407"/>
                  </a:lnTo>
                  <a:lnTo>
                    <a:pt x="249" y="413"/>
                  </a:lnTo>
                  <a:lnTo>
                    <a:pt x="229" y="416"/>
                  </a:lnTo>
                  <a:lnTo>
                    <a:pt x="208" y="417"/>
                  </a:lnTo>
                  <a:lnTo>
                    <a:pt x="208" y="417"/>
                  </a:lnTo>
                  <a:lnTo>
                    <a:pt x="186" y="416"/>
                  </a:lnTo>
                  <a:lnTo>
                    <a:pt x="166" y="413"/>
                  </a:lnTo>
                  <a:lnTo>
                    <a:pt x="146" y="407"/>
                  </a:lnTo>
                  <a:lnTo>
                    <a:pt x="128" y="400"/>
                  </a:lnTo>
                  <a:lnTo>
                    <a:pt x="109" y="392"/>
                  </a:lnTo>
                  <a:lnTo>
                    <a:pt x="92" y="382"/>
                  </a:lnTo>
                  <a:lnTo>
                    <a:pt x="76" y="370"/>
                  </a:lnTo>
                  <a:lnTo>
                    <a:pt x="62" y="356"/>
                  </a:lnTo>
                  <a:lnTo>
                    <a:pt x="47" y="342"/>
                  </a:lnTo>
                  <a:lnTo>
                    <a:pt x="36" y="325"/>
                  </a:lnTo>
                  <a:lnTo>
                    <a:pt x="26" y="308"/>
                  </a:lnTo>
                  <a:lnTo>
                    <a:pt x="16" y="291"/>
                  </a:lnTo>
                  <a:lnTo>
                    <a:pt x="10" y="271"/>
                  </a:lnTo>
                  <a:lnTo>
                    <a:pt x="4" y="251"/>
                  </a:lnTo>
                  <a:lnTo>
                    <a:pt x="2" y="229"/>
                  </a:lnTo>
                  <a:lnTo>
                    <a:pt x="0" y="209"/>
                  </a:lnTo>
                  <a:lnTo>
                    <a:pt x="0" y="209"/>
                  </a:lnTo>
                  <a:lnTo>
                    <a:pt x="2" y="188"/>
                  </a:lnTo>
                  <a:lnTo>
                    <a:pt x="4" y="167"/>
                  </a:lnTo>
                  <a:lnTo>
                    <a:pt x="10" y="147"/>
                  </a:lnTo>
                  <a:lnTo>
                    <a:pt x="16" y="128"/>
                  </a:lnTo>
                  <a:lnTo>
                    <a:pt x="26" y="110"/>
                  </a:lnTo>
                  <a:lnTo>
                    <a:pt x="36" y="93"/>
                  </a:lnTo>
                  <a:lnTo>
                    <a:pt x="47" y="75"/>
                  </a:lnTo>
                  <a:lnTo>
                    <a:pt x="62" y="61"/>
                  </a:lnTo>
                  <a:lnTo>
                    <a:pt x="76" y="48"/>
                  </a:lnTo>
                  <a:lnTo>
                    <a:pt x="92" y="36"/>
                  </a:lnTo>
                  <a:lnTo>
                    <a:pt x="109" y="26"/>
                  </a:lnTo>
                  <a:lnTo>
                    <a:pt x="128" y="17"/>
                  </a:lnTo>
                  <a:lnTo>
                    <a:pt x="146" y="10"/>
                  </a:lnTo>
                  <a:lnTo>
                    <a:pt x="166" y="4"/>
                  </a:lnTo>
                  <a:lnTo>
                    <a:pt x="186" y="1"/>
                  </a:lnTo>
                  <a:lnTo>
                    <a:pt x="208" y="0"/>
                  </a:lnTo>
                  <a:lnTo>
                    <a:pt x="208" y="0"/>
                  </a:lnTo>
                  <a:lnTo>
                    <a:pt x="229" y="1"/>
                  </a:lnTo>
                  <a:lnTo>
                    <a:pt x="249" y="4"/>
                  </a:lnTo>
                  <a:lnTo>
                    <a:pt x="269" y="10"/>
                  </a:lnTo>
                  <a:lnTo>
                    <a:pt x="289" y="17"/>
                  </a:lnTo>
                  <a:lnTo>
                    <a:pt x="306" y="26"/>
                  </a:lnTo>
                  <a:lnTo>
                    <a:pt x="324" y="36"/>
                  </a:lnTo>
                  <a:lnTo>
                    <a:pt x="339" y="48"/>
                  </a:lnTo>
                  <a:lnTo>
                    <a:pt x="355" y="61"/>
                  </a:lnTo>
                  <a:lnTo>
                    <a:pt x="368" y="75"/>
                  </a:lnTo>
                  <a:lnTo>
                    <a:pt x="379" y="93"/>
                  </a:lnTo>
                  <a:lnTo>
                    <a:pt x="391" y="110"/>
                  </a:lnTo>
                  <a:lnTo>
                    <a:pt x="400" y="128"/>
                  </a:lnTo>
                  <a:lnTo>
                    <a:pt x="407" y="147"/>
                  </a:lnTo>
                  <a:lnTo>
                    <a:pt x="411" y="167"/>
                  </a:lnTo>
                  <a:lnTo>
                    <a:pt x="414" y="188"/>
                  </a:lnTo>
                  <a:lnTo>
                    <a:pt x="415" y="209"/>
                  </a:lnTo>
                  <a:lnTo>
                    <a:pt x="415" y="20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73" name="Line 24"/>
            <p:cNvSpPr>
              <a:spLocks noChangeShapeType="1"/>
            </p:cNvSpPr>
            <p:nvPr userDrawn="1"/>
          </p:nvSpPr>
          <p:spPr bwMode="auto">
            <a:xfrm>
              <a:off x="5664" y="742"/>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pic>
          <p:nvPicPr>
            <p:cNvPr id="74" name="Picture 25"/>
            <p:cNvPicPr>
              <a:picLocks noChangeAspect="1" noChangeArrowheads="1"/>
            </p:cNvPicPr>
            <p:nvPr userDrawn="1"/>
          </p:nvPicPr>
          <p:blipFill>
            <a:blip r:embed="rId8" cstate="hqprint">
              <a:extLst>
                <a:ext uri="{28A0092B-C50C-407E-A947-70E740481C1C}">
                  <a14:useLocalDpi xmlns:a14="http://schemas.microsoft.com/office/drawing/2010/main" val="0"/>
                </a:ext>
              </a:extLst>
            </a:blip>
            <a:srcRect/>
            <a:stretch>
              <a:fillRect/>
            </a:stretch>
          </p:blipFill>
          <p:spPr bwMode="auto">
            <a:xfrm>
              <a:off x="5478" y="637"/>
              <a:ext cx="282" cy="2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5" name="Freeform 26"/>
            <p:cNvSpPr>
              <a:spLocks noEditPoints="1"/>
            </p:cNvSpPr>
            <p:nvPr userDrawn="1"/>
          </p:nvSpPr>
          <p:spPr bwMode="auto">
            <a:xfrm>
              <a:off x="5563" y="717"/>
              <a:ext cx="44" cy="62"/>
            </a:xfrm>
            <a:custGeom>
              <a:avLst/>
              <a:gdLst>
                <a:gd name="T0" fmla="*/ 6 w 133"/>
                <a:gd name="T1" fmla="*/ 187 h 187"/>
                <a:gd name="T2" fmla="*/ 1 w 133"/>
                <a:gd name="T3" fmla="*/ 179 h 187"/>
                <a:gd name="T4" fmla="*/ 1 w 133"/>
                <a:gd name="T5" fmla="*/ 151 h 187"/>
                <a:gd name="T6" fmla="*/ 6 w 133"/>
                <a:gd name="T7" fmla="*/ 143 h 187"/>
                <a:gd name="T8" fmla="*/ 61 w 133"/>
                <a:gd name="T9" fmla="*/ 144 h 187"/>
                <a:gd name="T10" fmla="*/ 73 w 133"/>
                <a:gd name="T11" fmla="*/ 144 h 187"/>
                <a:gd name="T12" fmla="*/ 87 w 133"/>
                <a:gd name="T13" fmla="*/ 143 h 187"/>
                <a:gd name="T14" fmla="*/ 91 w 133"/>
                <a:gd name="T15" fmla="*/ 136 h 187"/>
                <a:gd name="T16" fmla="*/ 93 w 133"/>
                <a:gd name="T17" fmla="*/ 130 h 187"/>
                <a:gd name="T18" fmla="*/ 90 w 133"/>
                <a:gd name="T19" fmla="*/ 124 h 187"/>
                <a:gd name="T20" fmla="*/ 66 w 133"/>
                <a:gd name="T21" fmla="*/ 114 h 187"/>
                <a:gd name="T22" fmla="*/ 51 w 133"/>
                <a:gd name="T23" fmla="*/ 107 h 187"/>
                <a:gd name="T24" fmla="*/ 30 w 133"/>
                <a:gd name="T25" fmla="*/ 96 h 187"/>
                <a:gd name="T26" fmla="*/ 17 w 133"/>
                <a:gd name="T27" fmla="*/ 83 h 187"/>
                <a:gd name="T28" fmla="*/ 11 w 133"/>
                <a:gd name="T29" fmla="*/ 76 h 187"/>
                <a:gd name="T30" fmla="*/ 7 w 133"/>
                <a:gd name="T31" fmla="*/ 60 h 187"/>
                <a:gd name="T32" fmla="*/ 6 w 133"/>
                <a:gd name="T33" fmla="*/ 52 h 187"/>
                <a:gd name="T34" fmla="*/ 10 w 133"/>
                <a:gd name="T35" fmla="*/ 27 h 187"/>
                <a:gd name="T36" fmla="*/ 24 w 133"/>
                <a:gd name="T37" fmla="*/ 10 h 187"/>
                <a:gd name="T38" fmla="*/ 28 w 133"/>
                <a:gd name="T39" fmla="*/ 8 h 187"/>
                <a:gd name="T40" fmla="*/ 44 w 133"/>
                <a:gd name="T41" fmla="*/ 2 h 187"/>
                <a:gd name="T42" fmla="*/ 73 w 133"/>
                <a:gd name="T43" fmla="*/ 0 h 187"/>
                <a:gd name="T44" fmla="*/ 121 w 133"/>
                <a:gd name="T45" fmla="*/ 0 h 187"/>
                <a:gd name="T46" fmla="*/ 126 w 133"/>
                <a:gd name="T47" fmla="*/ 9 h 187"/>
                <a:gd name="T48" fmla="*/ 126 w 133"/>
                <a:gd name="T49" fmla="*/ 33 h 187"/>
                <a:gd name="T50" fmla="*/ 121 w 133"/>
                <a:gd name="T51" fmla="*/ 42 h 187"/>
                <a:gd name="T52" fmla="*/ 79 w 133"/>
                <a:gd name="T53" fmla="*/ 42 h 187"/>
                <a:gd name="T54" fmla="*/ 54 w 133"/>
                <a:gd name="T55" fmla="*/ 43 h 187"/>
                <a:gd name="T56" fmla="*/ 47 w 133"/>
                <a:gd name="T57" fmla="*/ 46 h 187"/>
                <a:gd name="T58" fmla="*/ 44 w 133"/>
                <a:gd name="T59" fmla="*/ 53 h 187"/>
                <a:gd name="T60" fmla="*/ 46 w 133"/>
                <a:gd name="T61" fmla="*/ 59 h 187"/>
                <a:gd name="T62" fmla="*/ 57 w 133"/>
                <a:gd name="T63" fmla="*/ 69 h 187"/>
                <a:gd name="T64" fmla="*/ 79 w 133"/>
                <a:gd name="T65" fmla="*/ 79 h 187"/>
                <a:gd name="T66" fmla="*/ 86 w 133"/>
                <a:gd name="T67" fmla="*/ 80 h 187"/>
                <a:gd name="T68" fmla="*/ 116 w 133"/>
                <a:gd name="T69" fmla="*/ 93 h 187"/>
                <a:gd name="T70" fmla="*/ 121 w 133"/>
                <a:gd name="T71" fmla="*/ 99 h 187"/>
                <a:gd name="T72" fmla="*/ 130 w 133"/>
                <a:gd name="T73" fmla="*/ 113 h 187"/>
                <a:gd name="T74" fmla="*/ 133 w 133"/>
                <a:gd name="T75" fmla="*/ 132 h 187"/>
                <a:gd name="T76" fmla="*/ 131 w 133"/>
                <a:gd name="T77" fmla="*/ 143 h 187"/>
                <a:gd name="T78" fmla="*/ 123 w 133"/>
                <a:gd name="T79" fmla="*/ 164 h 187"/>
                <a:gd name="T80" fmla="*/ 114 w 133"/>
                <a:gd name="T81" fmla="*/ 173 h 187"/>
                <a:gd name="T82" fmla="*/ 94 w 133"/>
                <a:gd name="T83" fmla="*/ 184 h 187"/>
                <a:gd name="T84" fmla="*/ 69 w 133"/>
                <a:gd name="T85" fmla="*/ 187 h 187"/>
                <a:gd name="T86" fmla="*/ 6 w 133"/>
                <a:gd name="T87"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3" h="187">
                  <a:moveTo>
                    <a:pt x="6" y="187"/>
                  </a:moveTo>
                  <a:lnTo>
                    <a:pt x="6" y="187"/>
                  </a:lnTo>
                  <a:lnTo>
                    <a:pt x="3" y="184"/>
                  </a:lnTo>
                  <a:lnTo>
                    <a:pt x="1" y="179"/>
                  </a:lnTo>
                  <a:lnTo>
                    <a:pt x="0" y="166"/>
                  </a:lnTo>
                  <a:lnTo>
                    <a:pt x="1" y="151"/>
                  </a:lnTo>
                  <a:lnTo>
                    <a:pt x="3" y="147"/>
                  </a:lnTo>
                  <a:lnTo>
                    <a:pt x="6" y="143"/>
                  </a:lnTo>
                  <a:lnTo>
                    <a:pt x="6" y="143"/>
                  </a:lnTo>
                  <a:lnTo>
                    <a:pt x="61" y="144"/>
                  </a:lnTo>
                  <a:lnTo>
                    <a:pt x="61" y="144"/>
                  </a:lnTo>
                  <a:lnTo>
                    <a:pt x="73" y="144"/>
                  </a:lnTo>
                  <a:lnTo>
                    <a:pt x="83" y="144"/>
                  </a:lnTo>
                  <a:lnTo>
                    <a:pt x="87" y="143"/>
                  </a:lnTo>
                  <a:lnTo>
                    <a:pt x="90" y="140"/>
                  </a:lnTo>
                  <a:lnTo>
                    <a:pt x="91" y="136"/>
                  </a:lnTo>
                  <a:lnTo>
                    <a:pt x="93" y="130"/>
                  </a:lnTo>
                  <a:lnTo>
                    <a:pt x="93" y="130"/>
                  </a:lnTo>
                  <a:lnTo>
                    <a:pt x="91" y="127"/>
                  </a:lnTo>
                  <a:lnTo>
                    <a:pt x="90" y="124"/>
                  </a:lnTo>
                  <a:lnTo>
                    <a:pt x="84" y="122"/>
                  </a:lnTo>
                  <a:lnTo>
                    <a:pt x="66" y="114"/>
                  </a:lnTo>
                  <a:lnTo>
                    <a:pt x="51" y="107"/>
                  </a:lnTo>
                  <a:lnTo>
                    <a:pt x="51" y="107"/>
                  </a:lnTo>
                  <a:lnTo>
                    <a:pt x="40" y="102"/>
                  </a:lnTo>
                  <a:lnTo>
                    <a:pt x="30" y="96"/>
                  </a:lnTo>
                  <a:lnTo>
                    <a:pt x="23" y="89"/>
                  </a:lnTo>
                  <a:lnTo>
                    <a:pt x="17" y="83"/>
                  </a:lnTo>
                  <a:lnTo>
                    <a:pt x="17" y="83"/>
                  </a:lnTo>
                  <a:lnTo>
                    <a:pt x="11" y="76"/>
                  </a:lnTo>
                  <a:lnTo>
                    <a:pt x="8" y="69"/>
                  </a:lnTo>
                  <a:lnTo>
                    <a:pt x="7" y="60"/>
                  </a:lnTo>
                  <a:lnTo>
                    <a:pt x="6" y="52"/>
                  </a:lnTo>
                  <a:lnTo>
                    <a:pt x="6" y="52"/>
                  </a:lnTo>
                  <a:lnTo>
                    <a:pt x="7" y="39"/>
                  </a:lnTo>
                  <a:lnTo>
                    <a:pt x="10" y="27"/>
                  </a:lnTo>
                  <a:lnTo>
                    <a:pt x="16" y="19"/>
                  </a:lnTo>
                  <a:lnTo>
                    <a:pt x="24" y="10"/>
                  </a:lnTo>
                  <a:lnTo>
                    <a:pt x="24" y="10"/>
                  </a:lnTo>
                  <a:lnTo>
                    <a:pt x="28" y="8"/>
                  </a:lnTo>
                  <a:lnTo>
                    <a:pt x="33" y="5"/>
                  </a:lnTo>
                  <a:lnTo>
                    <a:pt x="44" y="2"/>
                  </a:lnTo>
                  <a:lnTo>
                    <a:pt x="58" y="0"/>
                  </a:lnTo>
                  <a:lnTo>
                    <a:pt x="73" y="0"/>
                  </a:lnTo>
                  <a:lnTo>
                    <a:pt x="121" y="0"/>
                  </a:lnTo>
                  <a:lnTo>
                    <a:pt x="121" y="0"/>
                  </a:lnTo>
                  <a:lnTo>
                    <a:pt x="124" y="3"/>
                  </a:lnTo>
                  <a:lnTo>
                    <a:pt x="126" y="9"/>
                  </a:lnTo>
                  <a:lnTo>
                    <a:pt x="127" y="20"/>
                  </a:lnTo>
                  <a:lnTo>
                    <a:pt x="126" y="33"/>
                  </a:lnTo>
                  <a:lnTo>
                    <a:pt x="124" y="39"/>
                  </a:lnTo>
                  <a:lnTo>
                    <a:pt x="121" y="42"/>
                  </a:lnTo>
                  <a:lnTo>
                    <a:pt x="79" y="42"/>
                  </a:lnTo>
                  <a:lnTo>
                    <a:pt x="79" y="42"/>
                  </a:lnTo>
                  <a:lnTo>
                    <a:pt x="66" y="42"/>
                  </a:lnTo>
                  <a:lnTo>
                    <a:pt x="54" y="43"/>
                  </a:lnTo>
                  <a:lnTo>
                    <a:pt x="50" y="45"/>
                  </a:lnTo>
                  <a:lnTo>
                    <a:pt x="47" y="46"/>
                  </a:lnTo>
                  <a:lnTo>
                    <a:pt x="46" y="49"/>
                  </a:lnTo>
                  <a:lnTo>
                    <a:pt x="44" y="53"/>
                  </a:lnTo>
                  <a:lnTo>
                    <a:pt x="44" y="53"/>
                  </a:lnTo>
                  <a:lnTo>
                    <a:pt x="46" y="59"/>
                  </a:lnTo>
                  <a:lnTo>
                    <a:pt x="51" y="63"/>
                  </a:lnTo>
                  <a:lnTo>
                    <a:pt x="57" y="69"/>
                  </a:lnTo>
                  <a:lnTo>
                    <a:pt x="64" y="72"/>
                  </a:lnTo>
                  <a:lnTo>
                    <a:pt x="79" y="79"/>
                  </a:lnTo>
                  <a:lnTo>
                    <a:pt x="86" y="80"/>
                  </a:lnTo>
                  <a:lnTo>
                    <a:pt x="86" y="80"/>
                  </a:lnTo>
                  <a:lnTo>
                    <a:pt x="109" y="89"/>
                  </a:lnTo>
                  <a:lnTo>
                    <a:pt x="116" y="93"/>
                  </a:lnTo>
                  <a:lnTo>
                    <a:pt x="121" y="99"/>
                  </a:lnTo>
                  <a:lnTo>
                    <a:pt x="121" y="99"/>
                  </a:lnTo>
                  <a:lnTo>
                    <a:pt x="127" y="104"/>
                  </a:lnTo>
                  <a:lnTo>
                    <a:pt x="130" y="113"/>
                  </a:lnTo>
                  <a:lnTo>
                    <a:pt x="133" y="122"/>
                  </a:lnTo>
                  <a:lnTo>
                    <a:pt x="133" y="132"/>
                  </a:lnTo>
                  <a:lnTo>
                    <a:pt x="133" y="132"/>
                  </a:lnTo>
                  <a:lnTo>
                    <a:pt x="131" y="143"/>
                  </a:lnTo>
                  <a:lnTo>
                    <a:pt x="129" y="154"/>
                  </a:lnTo>
                  <a:lnTo>
                    <a:pt x="123" y="164"/>
                  </a:lnTo>
                  <a:lnTo>
                    <a:pt x="114" y="173"/>
                  </a:lnTo>
                  <a:lnTo>
                    <a:pt x="114" y="173"/>
                  </a:lnTo>
                  <a:lnTo>
                    <a:pt x="104" y="180"/>
                  </a:lnTo>
                  <a:lnTo>
                    <a:pt x="94" y="184"/>
                  </a:lnTo>
                  <a:lnTo>
                    <a:pt x="83" y="187"/>
                  </a:lnTo>
                  <a:lnTo>
                    <a:pt x="69" y="187"/>
                  </a:lnTo>
                  <a:lnTo>
                    <a:pt x="6" y="187"/>
                  </a:lnTo>
                  <a:close/>
                  <a:moveTo>
                    <a:pt x="6" y="187"/>
                  </a:moveTo>
                  <a:lnTo>
                    <a:pt x="6" y="18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76" name="Freeform 27"/>
            <p:cNvSpPr>
              <a:spLocks/>
            </p:cNvSpPr>
            <p:nvPr userDrawn="1"/>
          </p:nvSpPr>
          <p:spPr bwMode="auto">
            <a:xfrm>
              <a:off x="5563" y="717"/>
              <a:ext cx="44" cy="62"/>
            </a:xfrm>
            <a:custGeom>
              <a:avLst/>
              <a:gdLst>
                <a:gd name="T0" fmla="*/ 6 w 133"/>
                <a:gd name="T1" fmla="*/ 187 h 187"/>
                <a:gd name="T2" fmla="*/ 1 w 133"/>
                <a:gd name="T3" fmla="*/ 179 h 187"/>
                <a:gd name="T4" fmla="*/ 1 w 133"/>
                <a:gd name="T5" fmla="*/ 151 h 187"/>
                <a:gd name="T6" fmla="*/ 6 w 133"/>
                <a:gd name="T7" fmla="*/ 143 h 187"/>
                <a:gd name="T8" fmla="*/ 61 w 133"/>
                <a:gd name="T9" fmla="*/ 144 h 187"/>
                <a:gd name="T10" fmla="*/ 73 w 133"/>
                <a:gd name="T11" fmla="*/ 144 h 187"/>
                <a:gd name="T12" fmla="*/ 87 w 133"/>
                <a:gd name="T13" fmla="*/ 143 h 187"/>
                <a:gd name="T14" fmla="*/ 91 w 133"/>
                <a:gd name="T15" fmla="*/ 136 h 187"/>
                <a:gd name="T16" fmla="*/ 93 w 133"/>
                <a:gd name="T17" fmla="*/ 130 h 187"/>
                <a:gd name="T18" fmla="*/ 90 w 133"/>
                <a:gd name="T19" fmla="*/ 124 h 187"/>
                <a:gd name="T20" fmla="*/ 66 w 133"/>
                <a:gd name="T21" fmla="*/ 114 h 187"/>
                <a:gd name="T22" fmla="*/ 51 w 133"/>
                <a:gd name="T23" fmla="*/ 107 h 187"/>
                <a:gd name="T24" fmla="*/ 30 w 133"/>
                <a:gd name="T25" fmla="*/ 96 h 187"/>
                <a:gd name="T26" fmla="*/ 17 w 133"/>
                <a:gd name="T27" fmla="*/ 83 h 187"/>
                <a:gd name="T28" fmla="*/ 11 w 133"/>
                <a:gd name="T29" fmla="*/ 76 h 187"/>
                <a:gd name="T30" fmla="*/ 7 w 133"/>
                <a:gd name="T31" fmla="*/ 60 h 187"/>
                <a:gd name="T32" fmla="*/ 6 w 133"/>
                <a:gd name="T33" fmla="*/ 52 h 187"/>
                <a:gd name="T34" fmla="*/ 10 w 133"/>
                <a:gd name="T35" fmla="*/ 27 h 187"/>
                <a:gd name="T36" fmla="*/ 24 w 133"/>
                <a:gd name="T37" fmla="*/ 10 h 187"/>
                <a:gd name="T38" fmla="*/ 28 w 133"/>
                <a:gd name="T39" fmla="*/ 8 h 187"/>
                <a:gd name="T40" fmla="*/ 44 w 133"/>
                <a:gd name="T41" fmla="*/ 2 h 187"/>
                <a:gd name="T42" fmla="*/ 73 w 133"/>
                <a:gd name="T43" fmla="*/ 0 h 187"/>
                <a:gd name="T44" fmla="*/ 121 w 133"/>
                <a:gd name="T45" fmla="*/ 0 h 187"/>
                <a:gd name="T46" fmla="*/ 126 w 133"/>
                <a:gd name="T47" fmla="*/ 9 h 187"/>
                <a:gd name="T48" fmla="*/ 126 w 133"/>
                <a:gd name="T49" fmla="*/ 33 h 187"/>
                <a:gd name="T50" fmla="*/ 121 w 133"/>
                <a:gd name="T51" fmla="*/ 42 h 187"/>
                <a:gd name="T52" fmla="*/ 79 w 133"/>
                <a:gd name="T53" fmla="*/ 42 h 187"/>
                <a:gd name="T54" fmla="*/ 54 w 133"/>
                <a:gd name="T55" fmla="*/ 43 h 187"/>
                <a:gd name="T56" fmla="*/ 47 w 133"/>
                <a:gd name="T57" fmla="*/ 46 h 187"/>
                <a:gd name="T58" fmla="*/ 44 w 133"/>
                <a:gd name="T59" fmla="*/ 53 h 187"/>
                <a:gd name="T60" fmla="*/ 46 w 133"/>
                <a:gd name="T61" fmla="*/ 59 h 187"/>
                <a:gd name="T62" fmla="*/ 57 w 133"/>
                <a:gd name="T63" fmla="*/ 69 h 187"/>
                <a:gd name="T64" fmla="*/ 79 w 133"/>
                <a:gd name="T65" fmla="*/ 79 h 187"/>
                <a:gd name="T66" fmla="*/ 86 w 133"/>
                <a:gd name="T67" fmla="*/ 80 h 187"/>
                <a:gd name="T68" fmla="*/ 116 w 133"/>
                <a:gd name="T69" fmla="*/ 93 h 187"/>
                <a:gd name="T70" fmla="*/ 121 w 133"/>
                <a:gd name="T71" fmla="*/ 99 h 187"/>
                <a:gd name="T72" fmla="*/ 130 w 133"/>
                <a:gd name="T73" fmla="*/ 113 h 187"/>
                <a:gd name="T74" fmla="*/ 133 w 133"/>
                <a:gd name="T75" fmla="*/ 132 h 187"/>
                <a:gd name="T76" fmla="*/ 131 w 133"/>
                <a:gd name="T77" fmla="*/ 143 h 187"/>
                <a:gd name="T78" fmla="*/ 123 w 133"/>
                <a:gd name="T79" fmla="*/ 164 h 187"/>
                <a:gd name="T80" fmla="*/ 114 w 133"/>
                <a:gd name="T81" fmla="*/ 173 h 187"/>
                <a:gd name="T82" fmla="*/ 94 w 133"/>
                <a:gd name="T83" fmla="*/ 184 h 187"/>
                <a:gd name="T84" fmla="*/ 69 w 133"/>
                <a:gd name="T85"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33" h="187">
                  <a:moveTo>
                    <a:pt x="6" y="187"/>
                  </a:moveTo>
                  <a:lnTo>
                    <a:pt x="6" y="187"/>
                  </a:lnTo>
                  <a:lnTo>
                    <a:pt x="3" y="184"/>
                  </a:lnTo>
                  <a:lnTo>
                    <a:pt x="1" y="179"/>
                  </a:lnTo>
                  <a:lnTo>
                    <a:pt x="0" y="166"/>
                  </a:lnTo>
                  <a:lnTo>
                    <a:pt x="1" y="151"/>
                  </a:lnTo>
                  <a:lnTo>
                    <a:pt x="3" y="147"/>
                  </a:lnTo>
                  <a:lnTo>
                    <a:pt x="6" y="143"/>
                  </a:lnTo>
                  <a:lnTo>
                    <a:pt x="6" y="143"/>
                  </a:lnTo>
                  <a:lnTo>
                    <a:pt x="61" y="144"/>
                  </a:lnTo>
                  <a:lnTo>
                    <a:pt x="61" y="144"/>
                  </a:lnTo>
                  <a:lnTo>
                    <a:pt x="73" y="144"/>
                  </a:lnTo>
                  <a:lnTo>
                    <a:pt x="83" y="144"/>
                  </a:lnTo>
                  <a:lnTo>
                    <a:pt x="87" y="143"/>
                  </a:lnTo>
                  <a:lnTo>
                    <a:pt x="90" y="140"/>
                  </a:lnTo>
                  <a:lnTo>
                    <a:pt x="91" y="136"/>
                  </a:lnTo>
                  <a:lnTo>
                    <a:pt x="93" y="130"/>
                  </a:lnTo>
                  <a:lnTo>
                    <a:pt x="93" y="130"/>
                  </a:lnTo>
                  <a:lnTo>
                    <a:pt x="91" y="127"/>
                  </a:lnTo>
                  <a:lnTo>
                    <a:pt x="90" y="124"/>
                  </a:lnTo>
                  <a:lnTo>
                    <a:pt x="84" y="122"/>
                  </a:lnTo>
                  <a:lnTo>
                    <a:pt x="66" y="114"/>
                  </a:lnTo>
                  <a:lnTo>
                    <a:pt x="51" y="107"/>
                  </a:lnTo>
                  <a:lnTo>
                    <a:pt x="51" y="107"/>
                  </a:lnTo>
                  <a:lnTo>
                    <a:pt x="40" y="102"/>
                  </a:lnTo>
                  <a:lnTo>
                    <a:pt x="30" y="96"/>
                  </a:lnTo>
                  <a:lnTo>
                    <a:pt x="23" y="89"/>
                  </a:lnTo>
                  <a:lnTo>
                    <a:pt x="17" y="83"/>
                  </a:lnTo>
                  <a:lnTo>
                    <a:pt x="17" y="83"/>
                  </a:lnTo>
                  <a:lnTo>
                    <a:pt x="11" y="76"/>
                  </a:lnTo>
                  <a:lnTo>
                    <a:pt x="8" y="69"/>
                  </a:lnTo>
                  <a:lnTo>
                    <a:pt x="7" y="60"/>
                  </a:lnTo>
                  <a:lnTo>
                    <a:pt x="6" y="52"/>
                  </a:lnTo>
                  <a:lnTo>
                    <a:pt x="6" y="52"/>
                  </a:lnTo>
                  <a:lnTo>
                    <a:pt x="7" y="39"/>
                  </a:lnTo>
                  <a:lnTo>
                    <a:pt x="10" y="27"/>
                  </a:lnTo>
                  <a:lnTo>
                    <a:pt x="16" y="19"/>
                  </a:lnTo>
                  <a:lnTo>
                    <a:pt x="24" y="10"/>
                  </a:lnTo>
                  <a:lnTo>
                    <a:pt x="24" y="10"/>
                  </a:lnTo>
                  <a:lnTo>
                    <a:pt x="28" y="8"/>
                  </a:lnTo>
                  <a:lnTo>
                    <a:pt x="33" y="5"/>
                  </a:lnTo>
                  <a:lnTo>
                    <a:pt x="44" y="2"/>
                  </a:lnTo>
                  <a:lnTo>
                    <a:pt x="58" y="0"/>
                  </a:lnTo>
                  <a:lnTo>
                    <a:pt x="73" y="0"/>
                  </a:lnTo>
                  <a:lnTo>
                    <a:pt x="121" y="0"/>
                  </a:lnTo>
                  <a:lnTo>
                    <a:pt x="121" y="0"/>
                  </a:lnTo>
                  <a:lnTo>
                    <a:pt x="124" y="3"/>
                  </a:lnTo>
                  <a:lnTo>
                    <a:pt x="126" y="9"/>
                  </a:lnTo>
                  <a:lnTo>
                    <a:pt x="127" y="20"/>
                  </a:lnTo>
                  <a:lnTo>
                    <a:pt x="126" y="33"/>
                  </a:lnTo>
                  <a:lnTo>
                    <a:pt x="124" y="39"/>
                  </a:lnTo>
                  <a:lnTo>
                    <a:pt x="121" y="42"/>
                  </a:lnTo>
                  <a:lnTo>
                    <a:pt x="79" y="42"/>
                  </a:lnTo>
                  <a:lnTo>
                    <a:pt x="79" y="42"/>
                  </a:lnTo>
                  <a:lnTo>
                    <a:pt x="66" y="42"/>
                  </a:lnTo>
                  <a:lnTo>
                    <a:pt x="54" y="43"/>
                  </a:lnTo>
                  <a:lnTo>
                    <a:pt x="50" y="45"/>
                  </a:lnTo>
                  <a:lnTo>
                    <a:pt x="47" y="46"/>
                  </a:lnTo>
                  <a:lnTo>
                    <a:pt x="46" y="49"/>
                  </a:lnTo>
                  <a:lnTo>
                    <a:pt x="44" y="53"/>
                  </a:lnTo>
                  <a:lnTo>
                    <a:pt x="44" y="53"/>
                  </a:lnTo>
                  <a:lnTo>
                    <a:pt x="46" y="59"/>
                  </a:lnTo>
                  <a:lnTo>
                    <a:pt x="51" y="63"/>
                  </a:lnTo>
                  <a:lnTo>
                    <a:pt x="57" y="69"/>
                  </a:lnTo>
                  <a:lnTo>
                    <a:pt x="64" y="72"/>
                  </a:lnTo>
                  <a:lnTo>
                    <a:pt x="79" y="79"/>
                  </a:lnTo>
                  <a:lnTo>
                    <a:pt x="86" y="80"/>
                  </a:lnTo>
                  <a:lnTo>
                    <a:pt x="86" y="80"/>
                  </a:lnTo>
                  <a:lnTo>
                    <a:pt x="109" y="89"/>
                  </a:lnTo>
                  <a:lnTo>
                    <a:pt x="116" y="93"/>
                  </a:lnTo>
                  <a:lnTo>
                    <a:pt x="121" y="99"/>
                  </a:lnTo>
                  <a:lnTo>
                    <a:pt x="121" y="99"/>
                  </a:lnTo>
                  <a:lnTo>
                    <a:pt x="127" y="104"/>
                  </a:lnTo>
                  <a:lnTo>
                    <a:pt x="130" y="113"/>
                  </a:lnTo>
                  <a:lnTo>
                    <a:pt x="133" y="122"/>
                  </a:lnTo>
                  <a:lnTo>
                    <a:pt x="133" y="132"/>
                  </a:lnTo>
                  <a:lnTo>
                    <a:pt x="133" y="132"/>
                  </a:lnTo>
                  <a:lnTo>
                    <a:pt x="131" y="143"/>
                  </a:lnTo>
                  <a:lnTo>
                    <a:pt x="129" y="154"/>
                  </a:lnTo>
                  <a:lnTo>
                    <a:pt x="123" y="164"/>
                  </a:lnTo>
                  <a:lnTo>
                    <a:pt x="114" y="173"/>
                  </a:lnTo>
                  <a:lnTo>
                    <a:pt x="114" y="173"/>
                  </a:lnTo>
                  <a:lnTo>
                    <a:pt x="104" y="180"/>
                  </a:lnTo>
                  <a:lnTo>
                    <a:pt x="94" y="184"/>
                  </a:lnTo>
                  <a:lnTo>
                    <a:pt x="83" y="187"/>
                  </a:lnTo>
                  <a:lnTo>
                    <a:pt x="69" y="187"/>
                  </a:lnTo>
                  <a:lnTo>
                    <a:pt x="6" y="18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77" name="Line 28"/>
            <p:cNvSpPr>
              <a:spLocks noChangeShapeType="1"/>
            </p:cNvSpPr>
            <p:nvPr userDrawn="1"/>
          </p:nvSpPr>
          <p:spPr bwMode="auto">
            <a:xfrm>
              <a:off x="5565" y="779"/>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78" name="Freeform 29"/>
            <p:cNvSpPr>
              <a:spLocks noEditPoints="1"/>
            </p:cNvSpPr>
            <p:nvPr userDrawn="1"/>
          </p:nvSpPr>
          <p:spPr bwMode="auto">
            <a:xfrm>
              <a:off x="5671" y="717"/>
              <a:ext cx="80" cy="63"/>
            </a:xfrm>
            <a:custGeom>
              <a:avLst/>
              <a:gdLst>
                <a:gd name="T0" fmla="*/ 0 w 242"/>
                <a:gd name="T1" fmla="*/ 0 h 191"/>
                <a:gd name="T2" fmla="*/ 198 w 242"/>
                <a:gd name="T3" fmla="*/ 0 h 191"/>
                <a:gd name="T4" fmla="*/ 218 w 242"/>
                <a:gd name="T5" fmla="*/ 3 h 191"/>
                <a:gd name="T6" fmla="*/ 231 w 242"/>
                <a:gd name="T7" fmla="*/ 12 h 191"/>
                <a:gd name="T8" fmla="*/ 239 w 242"/>
                <a:gd name="T9" fmla="*/ 27 h 191"/>
                <a:gd name="T10" fmla="*/ 242 w 242"/>
                <a:gd name="T11" fmla="*/ 52 h 191"/>
                <a:gd name="T12" fmla="*/ 242 w 242"/>
                <a:gd name="T13" fmla="*/ 186 h 191"/>
                <a:gd name="T14" fmla="*/ 234 w 242"/>
                <a:gd name="T15" fmla="*/ 190 h 191"/>
                <a:gd name="T16" fmla="*/ 221 w 242"/>
                <a:gd name="T17" fmla="*/ 191 h 191"/>
                <a:gd name="T18" fmla="*/ 209 w 242"/>
                <a:gd name="T19" fmla="*/ 190 h 191"/>
                <a:gd name="T20" fmla="*/ 201 w 242"/>
                <a:gd name="T21" fmla="*/ 186 h 191"/>
                <a:gd name="T22" fmla="*/ 201 w 242"/>
                <a:gd name="T23" fmla="*/ 66 h 191"/>
                <a:gd name="T24" fmla="*/ 198 w 242"/>
                <a:gd name="T25" fmla="*/ 55 h 191"/>
                <a:gd name="T26" fmla="*/ 191 w 242"/>
                <a:gd name="T27" fmla="*/ 46 h 191"/>
                <a:gd name="T28" fmla="*/ 182 w 242"/>
                <a:gd name="T29" fmla="*/ 42 h 191"/>
                <a:gd name="T30" fmla="*/ 161 w 242"/>
                <a:gd name="T31" fmla="*/ 40 h 191"/>
                <a:gd name="T32" fmla="*/ 142 w 242"/>
                <a:gd name="T33" fmla="*/ 43 h 191"/>
                <a:gd name="T34" fmla="*/ 142 w 242"/>
                <a:gd name="T35" fmla="*/ 186 h 191"/>
                <a:gd name="T36" fmla="*/ 133 w 242"/>
                <a:gd name="T37" fmla="*/ 190 h 191"/>
                <a:gd name="T38" fmla="*/ 122 w 242"/>
                <a:gd name="T39" fmla="*/ 191 h 191"/>
                <a:gd name="T40" fmla="*/ 109 w 242"/>
                <a:gd name="T41" fmla="*/ 190 h 191"/>
                <a:gd name="T42" fmla="*/ 101 w 242"/>
                <a:gd name="T43" fmla="*/ 186 h 191"/>
                <a:gd name="T44" fmla="*/ 101 w 242"/>
                <a:gd name="T45" fmla="*/ 67 h 191"/>
                <a:gd name="T46" fmla="*/ 98 w 242"/>
                <a:gd name="T47" fmla="*/ 55 h 191"/>
                <a:gd name="T48" fmla="*/ 92 w 242"/>
                <a:gd name="T49" fmla="*/ 46 h 191"/>
                <a:gd name="T50" fmla="*/ 82 w 242"/>
                <a:gd name="T51" fmla="*/ 42 h 191"/>
                <a:gd name="T52" fmla="*/ 60 w 242"/>
                <a:gd name="T53" fmla="*/ 40 h 191"/>
                <a:gd name="T54" fmla="*/ 43 w 242"/>
                <a:gd name="T55" fmla="*/ 43 h 191"/>
                <a:gd name="T56" fmla="*/ 43 w 242"/>
                <a:gd name="T57" fmla="*/ 186 h 191"/>
                <a:gd name="T58" fmla="*/ 33 w 242"/>
                <a:gd name="T59" fmla="*/ 190 h 191"/>
                <a:gd name="T60" fmla="*/ 22 w 242"/>
                <a:gd name="T61" fmla="*/ 191 h 191"/>
                <a:gd name="T62" fmla="*/ 9 w 242"/>
                <a:gd name="T63" fmla="*/ 190 h 191"/>
                <a:gd name="T64" fmla="*/ 0 w 242"/>
                <a:gd name="T65" fmla="*/ 186 h 191"/>
                <a:gd name="T66" fmla="*/ 0 w 242"/>
                <a:gd name="T67" fmla="*/ 186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42" h="191">
                  <a:moveTo>
                    <a:pt x="0" y="186"/>
                  </a:moveTo>
                  <a:lnTo>
                    <a:pt x="0" y="0"/>
                  </a:lnTo>
                  <a:lnTo>
                    <a:pt x="198" y="0"/>
                  </a:lnTo>
                  <a:lnTo>
                    <a:pt x="198" y="0"/>
                  </a:lnTo>
                  <a:lnTo>
                    <a:pt x="208" y="0"/>
                  </a:lnTo>
                  <a:lnTo>
                    <a:pt x="218" y="3"/>
                  </a:lnTo>
                  <a:lnTo>
                    <a:pt x="225" y="6"/>
                  </a:lnTo>
                  <a:lnTo>
                    <a:pt x="231" y="12"/>
                  </a:lnTo>
                  <a:lnTo>
                    <a:pt x="237" y="19"/>
                  </a:lnTo>
                  <a:lnTo>
                    <a:pt x="239" y="27"/>
                  </a:lnTo>
                  <a:lnTo>
                    <a:pt x="242" y="39"/>
                  </a:lnTo>
                  <a:lnTo>
                    <a:pt x="242" y="52"/>
                  </a:lnTo>
                  <a:lnTo>
                    <a:pt x="242" y="186"/>
                  </a:lnTo>
                  <a:lnTo>
                    <a:pt x="242" y="186"/>
                  </a:lnTo>
                  <a:lnTo>
                    <a:pt x="239" y="189"/>
                  </a:lnTo>
                  <a:lnTo>
                    <a:pt x="234" y="190"/>
                  </a:lnTo>
                  <a:lnTo>
                    <a:pt x="228" y="191"/>
                  </a:lnTo>
                  <a:lnTo>
                    <a:pt x="221" y="191"/>
                  </a:lnTo>
                  <a:lnTo>
                    <a:pt x="215" y="191"/>
                  </a:lnTo>
                  <a:lnTo>
                    <a:pt x="209" y="190"/>
                  </a:lnTo>
                  <a:lnTo>
                    <a:pt x="204" y="189"/>
                  </a:lnTo>
                  <a:lnTo>
                    <a:pt x="201" y="186"/>
                  </a:lnTo>
                  <a:lnTo>
                    <a:pt x="201" y="66"/>
                  </a:lnTo>
                  <a:lnTo>
                    <a:pt x="201" y="66"/>
                  </a:lnTo>
                  <a:lnTo>
                    <a:pt x="199" y="60"/>
                  </a:lnTo>
                  <a:lnTo>
                    <a:pt x="198" y="55"/>
                  </a:lnTo>
                  <a:lnTo>
                    <a:pt x="195" y="50"/>
                  </a:lnTo>
                  <a:lnTo>
                    <a:pt x="191" y="46"/>
                  </a:lnTo>
                  <a:lnTo>
                    <a:pt x="186" y="43"/>
                  </a:lnTo>
                  <a:lnTo>
                    <a:pt x="182" y="42"/>
                  </a:lnTo>
                  <a:lnTo>
                    <a:pt x="171" y="40"/>
                  </a:lnTo>
                  <a:lnTo>
                    <a:pt x="161" y="40"/>
                  </a:lnTo>
                  <a:lnTo>
                    <a:pt x="152" y="40"/>
                  </a:lnTo>
                  <a:lnTo>
                    <a:pt x="142" y="43"/>
                  </a:lnTo>
                  <a:lnTo>
                    <a:pt x="142" y="186"/>
                  </a:lnTo>
                  <a:lnTo>
                    <a:pt x="142" y="186"/>
                  </a:lnTo>
                  <a:lnTo>
                    <a:pt x="139" y="189"/>
                  </a:lnTo>
                  <a:lnTo>
                    <a:pt x="133" y="190"/>
                  </a:lnTo>
                  <a:lnTo>
                    <a:pt x="128" y="191"/>
                  </a:lnTo>
                  <a:lnTo>
                    <a:pt x="122" y="191"/>
                  </a:lnTo>
                  <a:lnTo>
                    <a:pt x="115" y="191"/>
                  </a:lnTo>
                  <a:lnTo>
                    <a:pt x="109" y="190"/>
                  </a:lnTo>
                  <a:lnTo>
                    <a:pt x="103" y="189"/>
                  </a:lnTo>
                  <a:lnTo>
                    <a:pt x="101" y="186"/>
                  </a:lnTo>
                  <a:lnTo>
                    <a:pt x="101" y="67"/>
                  </a:lnTo>
                  <a:lnTo>
                    <a:pt x="101" y="67"/>
                  </a:lnTo>
                  <a:lnTo>
                    <a:pt x="99" y="60"/>
                  </a:lnTo>
                  <a:lnTo>
                    <a:pt x="98" y="55"/>
                  </a:lnTo>
                  <a:lnTo>
                    <a:pt x="95" y="50"/>
                  </a:lnTo>
                  <a:lnTo>
                    <a:pt x="92" y="46"/>
                  </a:lnTo>
                  <a:lnTo>
                    <a:pt x="88" y="43"/>
                  </a:lnTo>
                  <a:lnTo>
                    <a:pt x="82" y="42"/>
                  </a:lnTo>
                  <a:lnTo>
                    <a:pt x="72" y="40"/>
                  </a:lnTo>
                  <a:lnTo>
                    <a:pt x="60" y="40"/>
                  </a:lnTo>
                  <a:lnTo>
                    <a:pt x="52" y="40"/>
                  </a:lnTo>
                  <a:lnTo>
                    <a:pt x="43" y="43"/>
                  </a:lnTo>
                  <a:lnTo>
                    <a:pt x="43" y="186"/>
                  </a:lnTo>
                  <a:lnTo>
                    <a:pt x="43" y="186"/>
                  </a:lnTo>
                  <a:lnTo>
                    <a:pt x="39" y="189"/>
                  </a:lnTo>
                  <a:lnTo>
                    <a:pt x="33" y="190"/>
                  </a:lnTo>
                  <a:lnTo>
                    <a:pt x="28" y="191"/>
                  </a:lnTo>
                  <a:lnTo>
                    <a:pt x="22" y="191"/>
                  </a:lnTo>
                  <a:lnTo>
                    <a:pt x="15" y="191"/>
                  </a:lnTo>
                  <a:lnTo>
                    <a:pt x="9" y="190"/>
                  </a:lnTo>
                  <a:lnTo>
                    <a:pt x="5" y="189"/>
                  </a:lnTo>
                  <a:lnTo>
                    <a:pt x="0" y="186"/>
                  </a:lnTo>
                  <a:lnTo>
                    <a:pt x="0" y="186"/>
                  </a:lnTo>
                  <a:close/>
                  <a:moveTo>
                    <a:pt x="0" y="186"/>
                  </a:moveTo>
                  <a:lnTo>
                    <a:pt x="0" y="18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79" name="Freeform 30"/>
            <p:cNvSpPr>
              <a:spLocks/>
            </p:cNvSpPr>
            <p:nvPr userDrawn="1"/>
          </p:nvSpPr>
          <p:spPr bwMode="auto">
            <a:xfrm>
              <a:off x="5671" y="717"/>
              <a:ext cx="80" cy="63"/>
            </a:xfrm>
            <a:custGeom>
              <a:avLst/>
              <a:gdLst>
                <a:gd name="T0" fmla="*/ 0 w 242"/>
                <a:gd name="T1" fmla="*/ 0 h 191"/>
                <a:gd name="T2" fmla="*/ 198 w 242"/>
                <a:gd name="T3" fmla="*/ 0 h 191"/>
                <a:gd name="T4" fmla="*/ 218 w 242"/>
                <a:gd name="T5" fmla="*/ 3 h 191"/>
                <a:gd name="T6" fmla="*/ 231 w 242"/>
                <a:gd name="T7" fmla="*/ 12 h 191"/>
                <a:gd name="T8" fmla="*/ 239 w 242"/>
                <a:gd name="T9" fmla="*/ 27 h 191"/>
                <a:gd name="T10" fmla="*/ 242 w 242"/>
                <a:gd name="T11" fmla="*/ 52 h 191"/>
                <a:gd name="T12" fmla="*/ 242 w 242"/>
                <a:gd name="T13" fmla="*/ 186 h 191"/>
                <a:gd name="T14" fmla="*/ 234 w 242"/>
                <a:gd name="T15" fmla="*/ 190 h 191"/>
                <a:gd name="T16" fmla="*/ 221 w 242"/>
                <a:gd name="T17" fmla="*/ 191 h 191"/>
                <a:gd name="T18" fmla="*/ 209 w 242"/>
                <a:gd name="T19" fmla="*/ 190 h 191"/>
                <a:gd name="T20" fmla="*/ 201 w 242"/>
                <a:gd name="T21" fmla="*/ 186 h 191"/>
                <a:gd name="T22" fmla="*/ 201 w 242"/>
                <a:gd name="T23" fmla="*/ 66 h 191"/>
                <a:gd name="T24" fmla="*/ 198 w 242"/>
                <a:gd name="T25" fmla="*/ 55 h 191"/>
                <a:gd name="T26" fmla="*/ 191 w 242"/>
                <a:gd name="T27" fmla="*/ 46 h 191"/>
                <a:gd name="T28" fmla="*/ 182 w 242"/>
                <a:gd name="T29" fmla="*/ 42 h 191"/>
                <a:gd name="T30" fmla="*/ 161 w 242"/>
                <a:gd name="T31" fmla="*/ 40 h 191"/>
                <a:gd name="T32" fmla="*/ 142 w 242"/>
                <a:gd name="T33" fmla="*/ 43 h 191"/>
                <a:gd name="T34" fmla="*/ 142 w 242"/>
                <a:gd name="T35" fmla="*/ 186 h 191"/>
                <a:gd name="T36" fmla="*/ 133 w 242"/>
                <a:gd name="T37" fmla="*/ 190 h 191"/>
                <a:gd name="T38" fmla="*/ 122 w 242"/>
                <a:gd name="T39" fmla="*/ 191 h 191"/>
                <a:gd name="T40" fmla="*/ 109 w 242"/>
                <a:gd name="T41" fmla="*/ 190 h 191"/>
                <a:gd name="T42" fmla="*/ 101 w 242"/>
                <a:gd name="T43" fmla="*/ 186 h 191"/>
                <a:gd name="T44" fmla="*/ 101 w 242"/>
                <a:gd name="T45" fmla="*/ 67 h 191"/>
                <a:gd name="T46" fmla="*/ 98 w 242"/>
                <a:gd name="T47" fmla="*/ 55 h 191"/>
                <a:gd name="T48" fmla="*/ 92 w 242"/>
                <a:gd name="T49" fmla="*/ 46 h 191"/>
                <a:gd name="T50" fmla="*/ 82 w 242"/>
                <a:gd name="T51" fmla="*/ 42 h 191"/>
                <a:gd name="T52" fmla="*/ 60 w 242"/>
                <a:gd name="T53" fmla="*/ 40 h 191"/>
                <a:gd name="T54" fmla="*/ 43 w 242"/>
                <a:gd name="T55" fmla="*/ 43 h 191"/>
                <a:gd name="T56" fmla="*/ 43 w 242"/>
                <a:gd name="T57" fmla="*/ 186 h 191"/>
                <a:gd name="T58" fmla="*/ 33 w 242"/>
                <a:gd name="T59" fmla="*/ 190 h 191"/>
                <a:gd name="T60" fmla="*/ 22 w 242"/>
                <a:gd name="T61" fmla="*/ 191 h 191"/>
                <a:gd name="T62" fmla="*/ 9 w 242"/>
                <a:gd name="T63" fmla="*/ 190 h 191"/>
                <a:gd name="T64" fmla="*/ 0 w 242"/>
                <a:gd name="T65" fmla="*/ 186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2" h="191">
                  <a:moveTo>
                    <a:pt x="0" y="186"/>
                  </a:moveTo>
                  <a:lnTo>
                    <a:pt x="0" y="0"/>
                  </a:lnTo>
                  <a:lnTo>
                    <a:pt x="198" y="0"/>
                  </a:lnTo>
                  <a:lnTo>
                    <a:pt x="198" y="0"/>
                  </a:lnTo>
                  <a:lnTo>
                    <a:pt x="208" y="0"/>
                  </a:lnTo>
                  <a:lnTo>
                    <a:pt x="218" y="3"/>
                  </a:lnTo>
                  <a:lnTo>
                    <a:pt x="225" y="6"/>
                  </a:lnTo>
                  <a:lnTo>
                    <a:pt x="231" y="12"/>
                  </a:lnTo>
                  <a:lnTo>
                    <a:pt x="237" y="19"/>
                  </a:lnTo>
                  <a:lnTo>
                    <a:pt x="239" y="27"/>
                  </a:lnTo>
                  <a:lnTo>
                    <a:pt x="242" y="39"/>
                  </a:lnTo>
                  <a:lnTo>
                    <a:pt x="242" y="52"/>
                  </a:lnTo>
                  <a:lnTo>
                    <a:pt x="242" y="186"/>
                  </a:lnTo>
                  <a:lnTo>
                    <a:pt x="242" y="186"/>
                  </a:lnTo>
                  <a:lnTo>
                    <a:pt x="239" y="189"/>
                  </a:lnTo>
                  <a:lnTo>
                    <a:pt x="234" y="190"/>
                  </a:lnTo>
                  <a:lnTo>
                    <a:pt x="228" y="191"/>
                  </a:lnTo>
                  <a:lnTo>
                    <a:pt x="221" y="191"/>
                  </a:lnTo>
                  <a:lnTo>
                    <a:pt x="215" y="191"/>
                  </a:lnTo>
                  <a:lnTo>
                    <a:pt x="209" y="190"/>
                  </a:lnTo>
                  <a:lnTo>
                    <a:pt x="204" y="189"/>
                  </a:lnTo>
                  <a:lnTo>
                    <a:pt x="201" y="186"/>
                  </a:lnTo>
                  <a:lnTo>
                    <a:pt x="201" y="66"/>
                  </a:lnTo>
                  <a:lnTo>
                    <a:pt x="201" y="66"/>
                  </a:lnTo>
                  <a:lnTo>
                    <a:pt x="199" y="60"/>
                  </a:lnTo>
                  <a:lnTo>
                    <a:pt x="198" y="55"/>
                  </a:lnTo>
                  <a:lnTo>
                    <a:pt x="195" y="50"/>
                  </a:lnTo>
                  <a:lnTo>
                    <a:pt x="191" y="46"/>
                  </a:lnTo>
                  <a:lnTo>
                    <a:pt x="186" y="43"/>
                  </a:lnTo>
                  <a:lnTo>
                    <a:pt x="182" y="42"/>
                  </a:lnTo>
                  <a:lnTo>
                    <a:pt x="171" y="40"/>
                  </a:lnTo>
                  <a:lnTo>
                    <a:pt x="161" y="40"/>
                  </a:lnTo>
                  <a:lnTo>
                    <a:pt x="152" y="40"/>
                  </a:lnTo>
                  <a:lnTo>
                    <a:pt x="142" y="43"/>
                  </a:lnTo>
                  <a:lnTo>
                    <a:pt x="142" y="186"/>
                  </a:lnTo>
                  <a:lnTo>
                    <a:pt x="142" y="186"/>
                  </a:lnTo>
                  <a:lnTo>
                    <a:pt x="139" y="189"/>
                  </a:lnTo>
                  <a:lnTo>
                    <a:pt x="133" y="190"/>
                  </a:lnTo>
                  <a:lnTo>
                    <a:pt x="128" y="191"/>
                  </a:lnTo>
                  <a:lnTo>
                    <a:pt x="122" y="191"/>
                  </a:lnTo>
                  <a:lnTo>
                    <a:pt x="115" y="191"/>
                  </a:lnTo>
                  <a:lnTo>
                    <a:pt x="109" y="190"/>
                  </a:lnTo>
                  <a:lnTo>
                    <a:pt x="103" y="189"/>
                  </a:lnTo>
                  <a:lnTo>
                    <a:pt x="101" y="186"/>
                  </a:lnTo>
                  <a:lnTo>
                    <a:pt x="101" y="67"/>
                  </a:lnTo>
                  <a:lnTo>
                    <a:pt x="101" y="67"/>
                  </a:lnTo>
                  <a:lnTo>
                    <a:pt x="99" y="60"/>
                  </a:lnTo>
                  <a:lnTo>
                    <a:pt x="98" y="55"/>
                  </a:lnTo>
                  <a:lnTo>
                    <a:pt x="95" y="50"/>
                  </a:lnTo>
                  <a:lnTo>
                    <a:pt x="92" y="46"/>
                  </a:lnTo>
                  <a:lnTo>
                    <a:pt x="88" y="43"/>
                  </a:lnTo>
                  <a:lnTo>
                    <a:pt x="82" y="42"/>
                  </a:lnTo>
                  <a:lnTo>
                    <a:pt x="72" y="40"/>
                  </a:lnTo>
                  <a:lnTo>
                    <a:pt x="60" y="40"/>
                  </a:lnTo>
                  <a:lnTo>
                    <a:pt x="52" y="40"/>
                  </a:lnTo>
                  <a:lnTo>
                    <a:pt x="43" y="43"/>
                  </a:lnTo>
                  <a:lnTo>
                    <a:pt x="43" y="186"/>
                  </a:lnTo>
                  <a:lnTo>
                    <a:pt x="43" y="186"/>
                  </a:lnTo>
                  <a:lnTo>
                    <a:pt x="39" y="189"/>
                  </a:lnTo>
                  <a:lnTo>
                    <a:pt x="33" y="190"/>
                  </a:lnTo>
                  <a:lnTo>
                    <a:pt x="28" y="191"/>
                  </a:lnTo>
                  <a:lnTo>
                    <a:pt x="22" y="191"/>
                  </a:lnTo>
                  <a:lnTo>
                    <a:pt x="15" y="191"/>
                  </a:lnTo>
                  <a:lnTo>
                    <a:pt x="9" y="190"/>
                  </a:lnTo>
                  <a:lnTo>
                    <a:pt x="5" y="189"/>
                  </a:lnTo>
                  <a:lnTo>
                    <a:pt x="0" y="186"/>
                  </a:lnTo>
                  <a:lnTo>
                    <a:pt x="0" y="18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80" name="Line 31"/>
            <p:cNvSpPr>
              <a:spLocks noChangeShapeType="1"/>
            </p:cNvSpPr>
            <p:nvPr userDrawn="1"/>
          </p:nvSpPr>
          <p:spPr bwMode="auto">
            <a:xfrm>
              <a:off x="5671" y="779"/>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81" name="Freeform 32"/>
            <p:cNvSpPr>
              <a:spLocks noEditPoints="1"/>
            </p:cNvSpPr>
            <p:nvPr userDrawn="1"/>
          </p:nvSpPr>
          <p:spPr bwMode="auto">
            <a:xfrm>
              <a:off x="5615" y="717"/>
              <a:ext cx="45" cy="63"/>
            </a:xfrm>
            <a:custGeom>
              <a:avLst/>
              <a:gdLst>
                <a:gd name="T0" fmla="*/ 93 w 135"/>
                <a:gd name="T1" fmla="*/ 109 h 191"/>
                <a:gd name="T2" fmla="*/ 93 w 135"/>
                <a:gd name="T3" fmla="*/ 42 h 191"/>
                <a:gd name="T4" fmla="*/ 93 w 135"/>
                <a:gd name="T5" fmla="*/ 42 h 191"/>
                <a:gd name="T6" fmla="*/ 86 w 135"/>
                <a:gd name="T7" fmla="*/ 40 h 191"/>
                <a:gd name="T8" fmla="*/ 78 w 135"/>
                <a:gd name="T9" fmla="*/ 39 h 191"/>
                <a:gd name="T10" fmla="*/ 68 w 135"/>
                <a:gd name="T11" fmla="*/ 37 h 191"/>
                <a:gd name="T12" fmla="*/ 59 w 135"/>
                <a:gd name="T13" fmla="*/ 40 h 191"/>
                <a:gd name="T14" fmla="*/ 55 w 135"/>
                <a:gd name="T15" fmla="*/ 42 h 191"/>
                <a:gd name="T16" fmla="*/ 50 w 135"/>
                <a:gd name="T17" fmla="*/ 45 h 191"/>
                <a:gd name="T18" fmla="*/ 48 w 135"/>
                <a:gd name="T19" fmla="*/ 49 h 191"/>
                <a:gd name="T20" fmla="*/ 45 w 135"/>
                <a:gd name="T21" fmla="*/ 53 h 191"/>
                <a:gd name="T22" fmla="*/ 43 w 135"/>
                <a:gd name="T23" fmla="*/ 59 h 191"/>
                <a:gd name="T24" fmla="*/ 42 w 135"/>
                <a:gd name="T25" fmla="*/ 67 h 191"/>
                <a:gd name="T26" fmla="*/ 42 w 135"/>
                <a:gd name="T27" fmla="*/ 109 h 191"/>
                <a:gd name="T28" fmla="*/ 93 w 135"/>
                <a:gd name="T29" fmla="*/ 109 h 191"/>
                <a:gd name="T30" fmla="*/ 42 w 135"/>
                <a:gd name="T31" fmla="*/ 144 h 191"/>
                <a:gd name="T32" fmla="*/ 42 w 135"/>
                <a:gd name="T33" fmla="*/ 186 h 191"/>
                <a:gd name="T34" fmla="*/ 42 w 135"/>
                <a:gd name="T35" fmla="*/ 186 h 191"/>
                <a:gd name="T36" fmla="*/ 39 w 135"/>
                <a:gd name="T37" fmla="*/ 189 h 191"/>
                <a:gd name="T38" fmla="*/ 35 w 135"/>
                <a:gd name="T39" fmla="*/ 190 h 191"/>
                <a:gd name="T40" fmla="*/ 27 w 135"/>
                <a:gd name="T41" fmla="*/ 191 h 191"/>
                <a:gd name="T42" fmla="*/ 22 w 135"/>
                <a:gd name="T43" fmla="*/ 191 h 191"/>
                <a:gd name="T44" fmla="*/ 15 w 135"/>
                <a:gd name="T45" fmla="*/ 191 h 191"/>
                <a:gd name="T46" fmla="*/ 9 w 135"/>
                <a:gd name="T47" fmla="*/ 190 h 191"/>
                <a:gd name="T48" fmla="*/ 3 w 135"/>
                <a:gd name="T49" fmla="*/ 189 h 191"/>
                <a:gd name="T50" fmla="*/ 0 w 135"/>
                <a:gd name="T51" fmla="*/ 186 h 191"/>
                <a:gd name="T52" fmla="*/ 0 w 135"/>
                <a:gd name="T53" fmla="*/ 0 h 191"/>
                <a:gd name="T54" fmla="*/ 102 w 135"/>
                <a:gd name="T55" fmla="*/ 0 h 191"/>
                <a:gd name="T56" fmla="*/ 102 w 135"/>
                <a:gd name="T57" fmla="*/ 0 h 191"/>
                <a:gd name="T58" fmla="*/ 110 w 135"/>
                <a:gd name="T59" fmla="*/ 0 h 191"/>
                <a:gd name="T60" fmla="*/ 118 w 135"/>
                <a:gd name="T61" fmla="*/ 3 h 191"/>
                <a:gd name="T62" fmla="*/ 123 w 135"/>
                <a:gd name="T63" fmla="*/ 6 h 191"/>
                <a:gd name="T64" fmla="*/ 128 w 135"/>
                <a:gd name="T65" fmla="*/ 12 h 191"/>
                <a:gd name="T66" fmla="*/ 132 w 135"/>
                <a:gd name="T67" fmla="*/ 19 h 191"/>
                <a:gd name="T68" fmla="*/ 133 w 135"/>
                <a:gd name="T69" fmla="*/ 27 h 191"/>
                <a:gd name="T70" fmla="*/ 135 w 135"/>
                <a:gd name="T71" fmla="*/ 39 h 191"/>
                <a:gd name="T72" fmla="*/ 135 w 135"/>
                <a:gd name="T73" fmla="*/ 52 h 191"/>
                <a:gd name="T74" fmla="*/ 135 w 135"/>
                <a:gd name="T75" fmla="*/ 186 h 191"/>
                <a:gd name="T76" fmla="*/ 135 w 135"/>
                <a:gd name="T77" fmla="*/ 186 h 191"/>
                <a:gd name="T78" fmla="*/ 132 w 135"/>
                <a:gd name="T79" fmla="*/ 189 h 191"/>
                <a:gd name="T80" fmla="*/ 128 w 135"/>
                <a:gd name="T81" fmla="*/ 190 h 191"/>
                <a:gd name="T82" fmla="*/ 121 w 135"/>
                <a:gd name="T83" fmla="*/ 191 h 191"/>
                <a:gd name="T84" fmla="*/ 115 w 135"/>
                <a:gd name="T85" fmla="*/ 191 h 191"/>
                <a:gd name="T86" fmla="*/ 108 w 135"/>
                <a:gd name="T87" fmla="*/ 191 h 191"/>
                <a:gd name="T88" fmla="*/ 102 w 135"/>
                <a:gd name="T89" fmla="*/ 190 h 191"/>
                <a:gd name="T90" fmla="*/ 96 w 135"/>
                <a:gd name="T91" fmla="*/ 189 h 191"/>
                <a:gd name="T92" fmla="*/ 93 w 135"/>
                <a:gd name="T93" fmla="*/ 186 h 191"/>
                <a:gd name="T94" fmla="*/ 93 w 135"/>
                <a:gd name="T95" fmla="*/ 144 h 191"/>
                <a:gd name="T96" fmla="*/ 110 w 135"/>
                <a:gd name="T97" fmla="*/ 144 h 191"/>
                <a:gd name="T98" fmla="*/ 42 w 135"/>
                <a:gd name="T99" fmla="*/ 144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35" h="191">
                  <a:moveTo>
                    <a:pt x="93" y="109"/>
                  </a:moveTo>
                  <a:lnTo>
                    <a:pt x="93" y="42"/>
                  </a:lnTo>
                  <a:lnTo>
                    <a:pt x="93" y="42"/>
                  </a:lnTo>
                  <a:lnTo>
                    <a:pt x="86" y="40"/>
                  </a:lnTo>
                  <a:lnTo>
                    <a:pt x="78" y="39"/>
                  </a:lnTo>
                  <a:lnTo>
                    <a:pt x="68" y="37"/>
                  </a:lnTo>
                  <a:lnTo>
                    <a:pt x="59" y="40"/>
                  </a:lnTo>
                  <a:lnTo>
                    <a:pt x="55" y="42"/>
                  </a:lnTo>
                  <a:lnTo>
                    <a:pt x="50" y="45"/>
                  </a:lnTo>
                  <a:lnTo>
                    <a:pt x="48" y="49"/>
                  </a:lnTo>
                  <a:lnTo>
                    <a:pt x="45" y="53"/>
                  </a:lnTo>
                  <a:lnTo>
                    <a:pt x="43" y="59"/>
                  </a:lnTo>
                  <a:lnTo>
                    <a:pt x="42" y="67"/>
                  </a:lnTo>
                  <a:lnTo>
                    <a:pt x="42" y="109"/>
                  </a:lnTo>
                  <a:lnTo>
                    <a:pt x="93" y="109"/>
                  </a:lnTo>
                  <a:close/>
                  <a:moveTo>
                    <a:pt x="42" y="144"/>
                  </a:moveTo>
                  <a:lnTo>
                    <a:pt x="42" y="186"/>
                  </a:lnTo>
                  <a:lnTo>
                    <a:pt x="42" y="186"/>
                  </a:lnTo>
                  <a:lnTo>
                    <a:pt x="39" y="189"/>
                  </a:lnTo>
                  <a:lnTo>
                    <a:pt x="35" y="190"/>
                  </a:lnTo>
                  <a:lnTo>
                    <a:pt x="27" y="191"/>
                  </a:lnTo>
                  <a:lnTo>
                    <a:pt x="22" y="191"/>
                  </a:lnTo>
                  <a:lnTo>
                    <a:pt x="15" y="191"/>
                  </a:lnTo>
                  <a:lnTo>
                    <a:pt x="9" y="190"/>
                  </a:lnTo>
                  <a:lnTo>
                    <a:pt x="3" y="189"/>
                  </a:lnTo>
                  <a:lnTo>
                    <a:pt x="0" y="186"/>
                  </a:lnTo>
                  <a:lnTo>
                    <a:pt x="0" y="0"/>
                  </a:lnTo>
                  <a:lnTo>
                    <a:pt x="102" y="0"/>
                  </a:lnTo>
                  <a:lnTo>
                    <a:pt x="102" y="0"/>
                  </a:lnTo>
                  <a:lnTo>
                    <a:pt x="110" y="0"/>
                  </a:lnTo>
                  <a:lnTo>
                    <a:pt x="118" y="3"/>
                  </a:lnTo>
                  <a:lnTo>
                    <a:pt x="123" y="6"/>
                  </a:lnTo>
                  <a:lnTo>
                    <a:pt x="128" y="12"/>
                  </a:lnTo>
                  <a:lnTo>
                    <a:pt x="132" y="19"/>
                  </a:lnTo>
                  <a:lnTo>
                    <a:pt x="133" y="27"/>
                  </a:lnTo>
                  <a:lnTo>
                    <a:pt x="135" y="39"/>
                  </a:lnTo>
                  <a:lnTo>
                    <a:pt x="135" y="52"/>
                  </a:lnTo>
                  <a:lnTo>
                    <a:pt x="135" y="186"/>
                  </a:lnTo>
                  <a:lnTo>
                    <a:pt x="135" y="186"/>
                  </a:lnTo>
                  <a:lnTo>
                    <a:pt x="132" y="189"/>
                  </a:lnTo>
                  <a:lnTo>
                    <a:pt x="128" y="190"/>
                  </a:lnTo>
                  <a:lnTo>
                    <a:pt x="121" y="191"/>
                  </a:lnTo>
                  <a:lnTo>
                    <a:pt x="115" y="191"/>
                  </a:lnTo>
                  <a:lnTo>
                    <a:pt x="108" y="191"/>
                  </a:lnTo>
                  <a:lnTo>
                    <a:pt x="102" y="190"/>
                  </a:lnTo>
                  <a:lnTo>
                    <a:pt x="96" y="189"/>
                  </a:lnTo>
                  <a:lnTo>
                    <a:pt x="93" y="186"/>
                  </a:lnTo>
                  <a:lnTo>
                    <a:pt x="93" y="144"/>
                  </a:lnTo>
                  <a:lnTo>
                    <a:pt x="110" y="144"/>
                  </a:lnTo>
                  <a:lnTo>
                    <a:pt x="42" y="14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82" name="Freeform 33"/>
            <p:cNvSpPr>
              <a:spLocks/>
            </p:cNvSpPr>
            <p:nvPr userDrawn="1"/>
          </p:nvSpPr>
          <p:spPr bwMode="auto">
            <a:xfrm>
              <a:off x="5629" y="729"/>
              <a:ext cx="17" cy="24"/>
            </a:xfrm>
            <a:custGeom>
              <a:avLst/>
              <a:gdLst>
                <a:gd name="T0" fmla="*/ 51 w 51"/>
                <a:gd name="T1" fmla="*/ 72 h 72"/>
                <a:gd name="T2" fmla="*/ 51 w 51"/>
                <a:gd name="T3" fmla="*/ 5 h 72"/>
                <a:gd name="T4" fmla="*/ 51 w 51"/>
                <a:gd name="T5" fmla="*/ 5 h 72"/>
                <a:gd name="T6" fmla="*/ 44 w 51"/>
                <a:gd name="T7" fmla="*/ 3 h 72"/>
                <a:gd name="T8" fmla="*/ 36 w 51"/>
                <a:gd name="T9" fmla="*/ 2 h 72"/>
                <a:gd name="T10" fmla="*/ 26 w 51"/>
                <a:gd name="T11" fmla="*/ 0 h 72"/>
                <a:gd name="T12" fmla="*/ 17 w 51"/>
                <a:gd name="T13" fmla="*/ 3 h 72"/>
                <a:gd name="T14" fmla="*/ 13 w 51"/>
                <a:gd name="T15" fmla="*/ 5 h 72"/>
                <a:gd name="T16" fmla="*/ 8 w 51"/>
                <a:gd name="T17" fmla="*/ 8 h 72"/>
                <a:gd name="T18" fmla="*/ 6 w 51"/>
                <a:gd name="T19" fmla="*/ 12 h 72"/>
                <a:gd name="T20" fmla="*/ 3 w 51"/>
                <a:gd name="T21" fmla="*/ 16 h 72"/>
                <a:gd name="T22" fmla="*/ 1 w 51"/>
                <a:gd name="T23" fmla="*/ 22 h 72"/>
                <a:gd name="T24" fmla="*/ 0 w 51"/>
                <a:gd name="T25" fmla="*/ 30 h 72"/>
                <a:gd name="T26" fmla="*/ 0 w 51"/>
                <a:gd name="T27"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1" h="72">
                  <a:moveTo>
                    <a:pt x="51" y="72"/>
                  </a:moveTo>
                  <a:lnTo>
                    <a:pt x="51" y="5"/>
                  </a:lnTo>
                  <a:lnTo>
                    <a:pt x="51" y="5"/>
                  </a:lnTo>
                  <a:lnTo>
                    <a:pt x="44" y="3"/>
                  </a:lnTo>
                  <a:lnTo>
                    <a:pt x="36" y="2"/>
                  </a:lnTo>
                  <a:lnTo>
                    <a:pt x="26" y="0"/>
                  </a:lnTo>
                  <a:lnTo>
                    <a:pt x="17" y="3"/>
                  </a:lnTo>
                  <a:lnTo>
                    <a:pt x="13" y="5"/>
                  </a:lnTo>
                  <a:lnTo>
                    <a:pt x="8" y="8"/>
                  </a:lnTo>
                  <a:lnTo>
                    <a:pt x="6" y="12"/>
                  </a:lnTo>
                  <a:lnTo>
                    <a:pt x="3" y="16"/>
                  </a:lnTo>
                  <a:lnTo>
                    <a:pt x="1" y="22"/>
                  </a:lnTo>
                  <a:lnTo>
                    <a:pt x="0" y="30"/>
                  </a:lnTo>
                  <a:lnTo>
                    <a:pt x="0" y="7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83" name="Freeform 34"/>
            <p:cNvSpPr>
              <a:spLocks/>
            </p:cNvSpPr>
            <p:nvPr userDrawn="1"/>
          </p:nvSpPr>
          <p:spPr bwMode="auto">
            <a:xfrm>
              <a:off x="5615" y="717"/>
              <a:ext cx="45" cy="63"/>
            </a:xfrm>
            <a:custGeom>
              <a:avLst/>
              <a:gdLst>
                <a:gd name="T0" fmla="*/ 42 w 135"/>
                <a:gd name="T1" fmla="*/ 144 h 191"/>
                <a:gd name="T2" fmla="*/ 42 w 135"/>
                <a:gd name="T3" fmla="*/ 186 h 191"/>
                <a:gd name="T4" fmla="*/ 42 w 135"/>
                <a:gd name="T5" fmla="*/ 186 h 191"/>
                <a:gd name="T6" fmla="*/ 39 w 135"/>
                <a:gd name="T7" fmla="*/ 189 h 191"/>
                <a:gd name="T8" fmla="*/ 35 w 135"/>
                <a:gd name="T9" fmla="*/ 190 h 191"/>
                <a:gd name="T10" fmla="*/ 27 w 135"/>
                <a:gd name="T11" fmla="*/ 191 h 191"/>
                <a:gd name="T12" fmla="*/ 22 w 135"/>
                <a:gd name="T13" fmla="*/ 191 h 191"/>
                <a:gd name="T14" fmla="*/ 15 w 135"/>
                <a:gd name="T15" fmla="*/ 191 h 191"/>
                <a:gd name="T16" fmla="*/ 9 w 135"/>
                <a:gd name="T17" fmla="*/ 190 h 191"/>
                <a:gd name="T18" fmla="*/ 3 w 135"/>
                <a:gd name="T19" fmla="*/ 189 h 191"/>
                <a:gd name="T20" fmla="*/ 0 w 135"/>
                <a:gd name="T21" fmla="*/ 186 h 191"/>
                <a:gd name="T22" fmla="*/ 0 w 135"/>
                <a:gd name="T23" fmla="*/ 0 h 191"/>
                <a:gd name="T24" fmla="*/ 102 w 135"/>
                <a:gd name="T25" fmla="*/ 0 h 191"/>
                <a:gd name="T26" fmla="*/ 102 w 135"/>
                <a:gd name="T27" fmla="*/ 0 h 191"/>
                <a:gd name="T28" fmla="*/ 110 w 135"/>
                <a:gd name="T29" fmla="*/ 0 h 191"/>
                <a:gd name="T30" fmla="*/ 118 w 135"/>
                <a:gd name="T31" fmla="*/ 3 h 191"/>
                <a:gd name="T32" fmla="*/ 123 w 135"/>
                <a:gd name="T33" fmla="*/ 6 h 191"/>
                <a:gd name="T34" fmla="*/ 128 w 135"/>
                <a:gd name="T35" fmla="*/ 12 h 191"/>
                <a:gd name="T36" fmla="*/ 132 w 135"/>
                <a:gd name="T37" fmla="*/ 19 h 191"/>
                <a:gd name="T38" fmla="*/ 133 w 135"/>
                <a:gd name="T39" fmla="*/ 27 h 191"/>
                <a:gd name="T40" fmla="*/ 135 w 135"/>
                <a:gd name="T41" fmla="*/ 39 h 191"/>
                <a:gd name="T42" fmla="*/ 135 w 135"/>
                <a:gd name="T43" fmla="*/ 52 h 191"/>
                <a:gd name="T44" fmla="*/ 135 w 135"/>
                <a:gd name="T45" fmla="*/ 186 h 191"/>
                <a:gd name="T46" fmla="*/ 135 w 135"/>
                <a:gd name="T47" fmla="*/ 186 h 191"/>
                <a:gd name="T48" fmla="*/ 132 w 135"/>
                <a:gd name="T49" fmla="*/ 189 h 191"/>
                <a:gd name="T50" fmla="*/ 128 w 135"/>
                <a:gd name="T51" fmla="*/ 190 h 191"/>
                <a:gd name="T52" fmla="*/ 121 w 135"/>
                <a:gd name="T53" fmla="*/ 191 h 191"/>
                <a:gd name="T54" fmla="*/ 115 w 135"/>
                <a:gd name="T55" fmla="*/ 191 h 191"/>
                <a:gd name="T56" fmla="*/ 108 w 135"/>
                <a:gd name="T57" fmla="*/ 191 h 191"/>
                <a:gd name="T58" fmla="*/ 102 w 135"/>
                <a:gd name="T59" fmla="*/ 190 h 191"/>
                <a:gd name="T60" fmla="*/ 96 w 135"/>
                <a:gd name="T61" fmla="*/ 189 h 191"/>
                <a:gd name="T62" fmla="*/ 93 w 135"/>
                <a:gd name="T63" fmla="*/ 186 h 191"/>
                <a:gd name="T64" fmla="*/ 93 w 135"/>
                <a:gd name="T65" fmla="*/ 144 h 191"/>
                <a:gd name="T66" fmla="*/ 110 w 135"/>
                <a:gd name="T67" fmla="*/ 144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5" h="191">
                  <a:moveTo>
                    <a:pt x="42" y="144"/>
                  </a:moveTo>
                  <a:lnTo>
                    <a:pt x="42" y="186"/>
                  </a:lnTo>
                  <a:lnTo>
                    <a:pt x="42" y="186"/>
                  </a:lnTo>
                  <a:lnTo>
                    <a:pt x="39" y="189"/>
                  </a:lnTo>
                  <a:lnTo>
                    <a:pt x="35" y="190"/>
                  </a:lnTo>
                  <a:lnTo>
                    <a:pt x="27" y="191"/>
                  </a:lnTo>
                  <a:lnTo>
                    <a:pt x="22" y="191"/>
                  </a:lnTo>
                  <a:lnTo>
                    <a:pt x="15" y="191"/>
                  </a:lnTo>
                  <a:lnTo>
                    <a:pt x="9" y="190"/>
                  </a:lnTo>
                  <a:lnTo>
                    <a:pt x="3" y="189"/>
                  </a:lnTo>
                  <a:lnTo>
                    <a:pt x="0" y="186"/>
                  </a:lnTo>
                  <a:lnTo>
                    <a:pt x="0" y="0"/>
                  </a:lnTo>
                  <a:lnTo>
                    <a:pt x="102" y="0"/>
                  </a:lnTo>
                  <a:lnTo>
                    <a:pt x="102" y="0"/>
                  </a:lnTo>
                  <a:lnTo>
                    <a:pt x="110" y="0"/>
                  </a:lnTo>
                  <a:lnTo>
                    <a:pt x="118" y="3"/>
                  </a:lnTo>
                  <a:lnTo>
                    <a:pt x="123" y="6"/>
                  </a:lnTo>
                  <a:lnTo>
                    <a:pt x="128" y="12"/>
                  </a:lnTo>
                  <a:lnTo>
                    <a:pt x="132" y="19"/>
                  </a:lnTo>
                  <a:lnTo>
                    <a:pt x="133" y="27"/>
                  </a:lnTo>
                  <a:lnTo>
                    <a:pt x="135" y="39"/>
                  </a:lnTo>
                  <a:lnTo>
                    <a:pt x="135" y="52"/>
                  </a:lnTo>
                  <a:lnTo>
                    <a:pt x="135" y="186"/>
                  </a:lnTo>
                  <a:lnTo>
                    <a:pt x="135" y="186"/>
                  </a:lnTo>
                  <a:lnTo>
                    <a:pt x="132" y="189"/>
                  </a:lnTo>
                  <a:lnTo>
                    <a:pt x="128" y="190"/>
                  </a:lnTo>
                  <a:lnTo>
                    <a:pt x="121" y="191"/>
                  </a:lnTo>
                  <a:lnTo>
                    <a:pt x="115" y="191"/>
                  </a:lnTo>
                  <a:lnTo>
                    <a:pt x="108" y="191"/>
                  </a:lnTo>
                  <a:lnTo>
                    <a:pt x="102" y="190"/>
                  </a:lnTo>
                  <a:lnTo>
                    <a:pt x="96" y="189"/>
                  </a:lnTo>
                  <a:lnTo>
                    <a:pt x="93" y="186"/>
                  </a:lnTo>
                  <a:lnTo>
                    <a:pt x="93" y="144"/>
                  </a:lnTo>
                  <a:lnTo>
                    <a:pt x="110" y="14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sp>
        <p:nvSpPr>
          <p:cNvPr id="117" name="Textfeld 116"/>
          <p:cNvSpPr txBox="1"/>
          <p:nvPr userDrawn="1"/>
        </p:nvSpPr>
        <p:spPr>
          <a:xfrm>
            <a:off x="10029282" y="1249779"/>
            <a:ext cx="1320124" cy="461665"/>
          </a:xfrm>
          <a:prstGeom prst="rect">
            <a:avLst/>
          </a:prstGeom>
          <a:noFill/>
        </p:spPr>
        <p:txBody>
          <a:bodyPr wrap="square" rtlCol="0">
            <a:spAutoFit/>
          </a:bodyPr>
          <a:lstStyle/>
          <a:p>
            <a:pPr algn="l">
              <a:lnSpc>
                <a:spcPct val="100000"/>
              </a:lnSpc>
              <a:spcAft>
                <a:spcPts val="167"/>
              </a:spcAft>
            </a:pPr>
            <a:r>
              <a:rPr lang="de-DE" sz="600" b="0" spc="0" baseline="0" dirty="0">
                <a:solidFill>
                  <a:schemeClr val="tx1"/>
                </a:solidFill>
                <a:latin typeface="+mj-lt"/>
              </a:rPr>
              <a:t>FACHGEBIET SYSTEMZUVERLÄSSIGKEIT, ADAPTRONIK UND MASCHINENAKUSTIK</a:t>
            </a:r>
          </a:p>
        </p:txBody>
      </p:sp>
      <p:pic>
        <p:nvPicPr>
          <p:cNvPr id="49" name="Picture 5"/>
          <p:cNvPicPr>
            <a:picLocks/>
          </p:cNvPicPr>
          <p:nvPr userDrawn="1"/>
        </p:nvPicPr>
        <p:blipFill>
          <a:blip r:embed="rId9" cstate="print">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a:xfrm flipH="1">
            <a:off x="680913" y="2604700"/>
            <a:ext cx="4407215" cy="2925377"/>
          </a:xfrm>
          <a:prstGeom prst="rect">
            <a:avLst/>
          </a:prstGeom>
          <a:noFill/>
          <a:ln w="19050">
            <a:noFill/>
            <a:miter lim="800000"/>
            <a:headEnd/>
            <a:tailEnd/>
          </a:ln>
          <a:effectLst/>
        </p:spPr>
      </p:pic>
      <p:pic>
        <p:nvPicPr>
          <p:cNvPr id="2" name="Grafik 1"/>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1170428" y="2364229"/>
            <a:ext cx="4177800" cy="3178055"/>
          </a:xfrm>
          <a:prstGeom prst="rect">
            <a:avLst/>
          </a:prstGeom>
        </p:spPr>
      </p:pic>
    </p:spTree>
    <p:extLst>
      <p:ext uri="{BB962C8B-B14F-4D97-AF65-F5344CB8AC3E}">
        <p14:creationId xmlns:p14="http://schemas.microsoft.com/office/powerpoint/2010/main" val="459624022"/>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7_Titelfolie">
    <p:spTree>
      <p:nvGrpSpPr>
        <p:cNvPr id="1" name=""/>
        <p:cNvGrpSpPr/>
        <p:nvPr/>
      </p:nvGrpSpPr>
      <p:grpSpPr>
        <a:xfrm>
          <a:off x="0" y="0"/>
          <a:ext cx="0" cy="0"/>
          <a:chOff x="0" y="0"/>
          <a:chExt cx="0" cy="0"/>
        </a:xfrm>
      </p:grpSpPr>
      <p:sp>
        <p:nvSpPr>
          <p:cNvPr id="14" name="Rechteck 13"/>
          <p:cNvSpPr/>
          <p:nvPr/>
        </p:nvSpPr>
        <p:spPr>
          <a:xfrm>
            <a:off x="87" y="5141"/>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sp>
        <p:nvSpPr>
          <p:cNvPr id="12" name="Titel 11"/>
          <p:cNvSpPr>
            <a:spLocks noGrp="1"/>
          </p:cNvSpPr>
          <p:nvPr>
            <p:ph type="title" hasCustomPrompt="1"/>
          </p:nvPr>
        </p:nvSpPr>
        <p:spPr>
          <a:xfrm>
            <a:off x="672001" y="480000"/>
            <a:ext cx="9120000" cy="480000"/>
          </a:xfrm>
        </p:spPr>
        <p:txBody>
          <a:bodyPr/>
          <a:lstStyle>
            <a:lvl1pPr>
              <a:defRPr sz="3200">
                <a:solidFill>
                  <a:schemeClr val="tx2"/>
                </a:solidFill>
              </a:defRPr>
            </a:lvl1pPr>
          </a:lstStyle>
          <a:p>
            <a:r>
              <a:rPr lang="de-DE" dirty="0"/>
              <a:t>TITELMASTERFORMAT DURCH KLICKEN</a:t>
            </a:r>
          </a:p>
        </p:txBody>
      </p:sp>
      <p:pic>
        <p:nvPicPr>
          <p:cNvPr id="15" name="Bild 14"/>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676262" y="5747403"/>
            <a:ext cx="11192933" cy="609600"/>
          </a:xfrm>
          <a:prstGeom prst="rect">
            <a:avLst/>
          </a:prstGeom>
        </p:spPr>
      </p:pic>
      <p:sp>
        <p:nvSpPr>
          <p:cNvPr id="9" name="Titel 2"/>
          <p:cNvSpPr txBox="1">
            <a:spLocks/>
          </p:cNvSpPr>
          <p:nvPr/>
        </p:nvSpPr>
        <p:spPr bwMode="auto">
          <a:xfrm>
            <a:off x="2596318" y="5384375"/>
            <a:ext cx="1812295" cy="1117600"/>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lvl1pPr algn="l" rtl="0" eaLnBrk="1" fontAlgn="base" hangingPunct="1">
              <a:spcBef>
                <a:spcPct val="0"/>
              </a:spcBef>
              <a:spcAft>
                <a:spcPct val="0"/>
              </a:spcAft>
              <a:defRPr sz="2800" b="1" i="0">
                <a:solidFill>
                  <a:srgbClr val="FDCA00"/>
                </a:solidFill>
                <a:latin typeface="+mj-lt"/>
                <a:ea typeface="Verdana" charset="0"/>
                <a:cs typeface="Verdana" charset="0"/>
              </a:defRPr>
            </a:lvl1pPr>
            <a:lvl2pPr algn="l" rtl="0" eaLnBrk="1" fontAlgn="base" hangingPunct="1">
              <a:spcBef>
                <a:spcPct val="0"/>
              </a:spcBef>
              <a:spcAft>
                <a:spcPct val="0"/>
              </a:spcAft>
              <a:defRPr sz="2400" b="1">
                <a:solidFill>
                  <a:schemeClr val="tx1"/>
                </a:solidFill>
                <a:latin typeface="Arial" charset="0"/>
              </a:defRPr>
            </a:lvl2pPr>
            <a:lvl3pPr algn="l" rtl="0" eaLnBrk="1" fontAlgn="base" hangingPunct="1">
              <a:spcBef>
                <a:spcPct val="0"/>
              </a:spcBef>
              <a:spcAft>
                <a:spcPct val="0"/>
              </a:spcAft>
              <a:defRPr sz="2400" b="1">
                <a:solidFill>
                  <a:schemeClr val="tx1"/>
                </a:solidFill>
                <a:latin typeface="Arial" charset="0"/>
              </a:defRPr>
            </a:lvl3pPr>
            <a:lvl4pPr algn="l" rtl="0" eaLnBrk="1" fontAlgn="base" hangingPunct="1">
              <a:spcBef>
                <a:spcPct val="0"/>
              </a:spcBef>
              <a:spcAft>
                <a:spcPct val="0"/>
              </a:spcAft>
              <a:defRPr sz="2400" b="1">
                <a:solidFill>
                  <a:schemeClr val="tx1"/>
                </a:solidFill>
                <a:latin typeface="Arial" charset="0"/>
              </a:defRPr>
            </a:lvl4pPr>
            <a:lvl5pPr algn="l" rtl="0" eaLnBrk="1" fontAlgn="base" hangingPunct="1">
              <a:spcBef>
                <a:spcPct val="0"/>
              </a:spcBef>
              <a:spcAft>
                <a:spcPct val="0"/>
              </a:spcAft>
              <a:defRPr sz="2400" b="1">
                <a:solidFill>
                  <a:schemeClr val="tx1"/>
                </a:solidFill>
                <a:latin typeface="Arial" charset="0"/>
              </a:defRPr>
            </a:lvl5pPr>
            <a:lvl6pPr marL="457200" algn="l" rtl="0" eaLnBrk="1" fontAlgn="base" hangingPunct="1">
              <a:spcBef>
                <a:spcPct val="0"/>
              </a:spcBef>
              <a:spcAft>
                <a:spcPct val="0"/>
              </a:spcAft>
              <a:defRPr sz="2400" b="1">
                <a:solidFill>
                  <a:schemeClr val="tx1"/>
                </a:solidFill>
                <a:latin typeface="Arial" charset="0"/>
              </a:defRPr>
            </a:lvl6pPr>
            <a:lvl7pPr marL="914400" algn="l" rtl="0" eaLnBrk="1" fontAlgn="base" hangingPunct="1">
              <a:spcBef>
                <a:spcPct val="0"/>
              </a:spcBef>
              <a:spcAft>
                <a:spcPct val="0"/>
              </a:spcAft>
              <a:defRPr sz="2400" b="1">
                <a:solidFill>
                  <a:schemeClr val="tx1"/>
                </a:solidFill>
                <a:latin typeface="Arial" charset="0"/>
              </a:defRPr>
            </a:lvl7pPr>
            <a:lvl8pPr marL="1371600" algn="l" rtl="0" eaLnBrk="1" fontAlgn="base" hangingPunct="1">
              <a:spcBef>
                <a:spcPct val="0"/>
              </a:spcBef>
              <a:spcAft>
                <a:spcPct val="0"/>
              </a:spcAft>
              <a:defRPr sz="2400" b="1">
                <a:solidFill>
                  <a:schemeClr val="tx1"/>
                </a:solidFill>
                <a:latin typeface="Arial" charset="0"/>
              </a:defRPr>
            </a:lvl8pPr>
            <a:lvl9pPr marL="1828800" algn="l" rtl="0" eaLnBrk="1" fontAlgn="base" hangingPunct="1">
              <a:spcBef>
                <a:spcPct val="0"/>
              </a:spcBef>
              <a:spcAft>
                <a:spcPct val="0"/>
              </a:spcAft>
              <a:defRPr sz="2400" b="1">
                <a:solidFill>
                  <a:schemeClr val="tx1"/>
                </a:solidFill>
                <a:latin typeface="Arial" charset="0"/>
              </a:defRPr>
            </a:lvl9pPr>
          </a:lstStyle>
          <a:p>
            <a:endParaRPr lang="de-DE" sz="4533" b="0" kern="0" dirty="0">
              <a:solidFill>
                <a:schemeClr val="tx2"/>
              </a:solidFill>
              <a:latin typeface="+mj-lt"/>
            </a:endParaRPr>
          </a:p>
        </p:txBody>
      </p:sp>
      <p:sp>
        <p:nvSpPr>
          <p:cNvPr id="50" name="Rectangle 4"/>
          <p:cNvSpPr>
            <a:spLocks noGrp="1" noChangeArrowheads="1"/>
          </p:cNvSpPr>
          <p:nvPr>
            <p:ph type="subTitle" idx="1"/>
          </p:nvPr>
        </p:nvSpPr>
        <p:spPr>
          <a:xfrm>
            <a:off x="671076" y="1152001"/>
            <a:ext cx="9120000" cy="789519"/>
          </a:xfrm>
        </p:spPr>
        <p:txBody>
          <a:bodyPr lIns="0" tIns="0" rIns="0" bIns="0"/>
          <a:lstStyle>
            <a:lvl1pPr marL="0" indent="0">
              <a:spcBef>
                <a:spcPct val="0"/>
              </a:spcBef>
              <a:buFont typeface="Wingdings" pitchFamily="2" charset="2"/>
              <a:buNone/>
              <a:defRPr sz="2200" b="0" i="0">
                <a:solidFill>
                  <a:schemeClr val="tx2"/>
                </a:solidFill>
                <a:latin typeface="+mj-lt"/>
                <a:ea typeface="Verdana" charset="0"/>
                <a:cs typeface="Verdana" charset="0"/>
              </a:defRPr>
            </a:lvl1pPr>
          </a:lstStyle>
          <a:p>
            <a:r>
              <a:rPr lang="de-DE" dirty="0"/>
              <a:t>Master-Untertitelformat bearbeiten</a:t>
            </a:r>
          </a:p>
        </p:txBody>
      </p:sp>
      <p:sp>
        <p:nvSpPr>
          <p:cNvPr id="51" name="Textfeld 50"/>
          <p:cNvSpPr txBox="1"/>
          <p:nvPr userDrawn="1"/>
        </p:nvSpPr>
        <p:spPr>
          <a:xfrm>
            <a:off x="5375999" y="2838156"/>
            <a:ext cx="6144000" cy="2575770"/>
          </a:xfrm>
          <a:prstGeom prst="rect">
            <a:avLst/>
          </a:prstGeom>
          <a:noFill/>
        </p:spPr>
        <p:txBody>
          <a:bodyPr wrap="square" rtlCol="0">
            <a:spAutoFit/>
          </a:bodyPr>
          <a:lstStyle/>
          <a:p>
            <a:pPr marL="0" indent="0">
              <a:lnSpc>
                <a:spcPct val="100000"/>
              </a:lnSpc>
              <a:spcBef>
                <a:spcPts val="0"/>
              </a:spcBef>
              <a:spcAft>
                <a:spcPts val="0"/>
              </a:spcAft>
              <a:buNone/>
            </a:pPr>
            <a:r>
              <a:rPr lang="de-DE" sz="1467" dirty="0">
                <a:solidFill>
                  <a:schemeClr val="tx2"/>
                </a:solidFill>
              </a:rPr>
              <a:t>Prof. Tobias </a:t>
            </a:r>
            <a:r>
              <a:rPr lang="de-DE" sz="1467" dirty="0" err="1">
                <a:solidFill>
                  <a:schemeClr val="tx2"/>
                </a:solidFill>
              </a:rPr>
              <a:t>Melz</a:t>
            </a:r>
            <a:endParaRPr lang="de-DE" sz="1467" dirty="0">
              <a:solidFill>
                <a:schemeClr val="tx2"/>
              </a:solidFill>
            </a:endParaRPr>
          </a:p>
          <a:p>
            <a:pPr marL="0" indent="0">
              <a:lnSpc>
                <a:spcPct val="100000"/>
              </a:lnSpc>
              <a:spcBef>
                <a:spcPts val="0"/>
              </a:spcBef>
              <a:spcAft>
                <a:spcPts val="0"/>
              </a:spcAft>
              <a:buNone/>
            </a:pPr>
            <a:endParaRPr lang="de-DE" sz="1467" dirty="0">
              <a:solidFill>
                <a:schemeClr val="tx2"/>
              </a:solidFill>
            </a:endParaRPr>
          </a:p>
          <a:p>
            <a:pPr marL="0" indent="0">
              <a:lnSpc>
                <a:spcPct val="100000"/>
              </a:lnSpc>
              <a:spcBef>
                <a:spcPts val="0"/>
              </a:spcBef>
              <a:spcAft>
                <a:spcPts val="0"/>
              </a:spcAft>
              <a:buNone/>
            </a:pPr>
            <a:r>
              <a:rPr lang="de-DE" sz="1467" dirty="0">
                <a:solidFill>
                  <a:schemeClr val="tx2"/>
                </a:solidFill>
              </a:rPr>
              <a:t>Technische Universität Darmstadt</a:t>
            </a:r>
          </a:p>
          <a:p>
            <a:pPr marL="0" indent="0">
              <a:lnSpc>
                <a:spcPct val="100000"/>
              </a:lnSpc>
              <a:spcBef>
                <a:spcPts val="0"/>
              </a:spcBef>
              <a:spcAft>
                <a:spcPts val="0"/>
              </a:spcAft>
              <a:buNone/>
            </a:pPr>
            <a:r>
              <a:rPr lang="de-DE" sz="1467" dirty="0">
                <a:solidFill>
                  <a:schemeClr val="tx2"/>
                </a:solidFill>
              </a:rPr>
              <a:t>Fachgebiet Systemzuverlässigkeit, </a:t>
            </a:r>
            <a:r>
              <a:rPr lang="de-DE" sz="1467" dirty="0" err="1">
                <a:solidFill>
                  <a:schemeClr val="tx2"/>
                </a:solidFill>
              </a:rPr>
              <a:t>Adaptronik</a:t>
            </a:r>
            <a:r>
              <a:rPr lang="de-DE" sz="1467" dirty="0">
                <a:solidFill>
                  <a:schemeClr val="tx2"/>
                </a:solidFill>
              </a:rPr>
              <a:t> und Maschinenakustik SAM</a:t>
            </a:r>
          </a:p>
          <a:p>
            <a:pPr marL="0" indent="0">
              <a:lnSpc>
                <a:spcPct val="100000"/>
              </a:lnSpc>
              <a:spcBef>
                <a:spcPts val="0"/>
              </a:spcBef>
              <a:spcAft>
                <a:spcPts val="0"/>
              </a:spcAft>
              <a:buNone/>
            </a:pPr>
            <a:r>
              <a:rPr lang="de-DE" sz="1467" dirty="0">
                <a:solidFill>
                  <a:schemeClr val="tx2"/>
                </a:solidFill>
              </a:rPr>
              <a:t>Otto-Berndt-Straße 2, Gebäude L1|01</a:t>
            </a:r>
          </a:p>
          <a:p>
            <a:pPr marL="0" indent="0">
              <a:lnSpc>
                <a:spcPct val="100000"/>
              </a:lnSpc>
              <a:spcBef>
                <a:spcPts val="0"/>
              </a:spcBef>
              <a:spcAft>
                <a:spcPts val="0"/>
              </a:spcAft>
              <a:buNone/>
            </a:pPr>
            <a:r>
              <a:rPr lang="de-DE" sz="1467" dirty="0">
                <a:solidFill>
                  <a:schemeClr val="tx2"/>
                </a:solidFill>
              </a:rPr>
              <a:t>64287 Darmstadt</a:t>
            </a:r>
          </a:p>
          <a:p>
            <a:pPr marL="0" indent="0">
              <a:lnSpc>
                <a:spcPct val="100000"/>
              </a:lnSpc>
              <a:spcBef>
                <a:spcPts val="0"/>
              </a:spcBef>
              <a:spcAft>
                <a:spcPts val="0"/>
              </a:spcAft>
              <a:buNone/>
            </a:pPr>
            <a:r>
              <a:rPr lang="de-DE" sz="1467" dirty="0">
                <a:solidFill>
                  <a:schemeClr val="tx2"/>
                </a:solidFill>
              </a:rPr>
              <a:t>Tel.: 06151 16-23510</a:t>
            </a:r>
          </a:p>
          <a:p>
            <a:pPr marL="0" indent="0">
              <a:lnSpc>
                <a:spcPct val="100000"/>
              </a:lnSpc>
              <a:spcBef>
                <a:spcPts val="0"/>
              </a:spcBef>
              <a:spcAft>
                <a:spcPts val="0"/>
              </a:spcAft>
              <a:buNone/>
            </a:pPr>
            <a:r>
              <a:rPr lang="de-DE" sz="1467" dirty="0">
                <a:solidFill>
                  <a:schemeClr val="tx2"/>
                </a:solidFill>
              </a:rPr>
              <a:t>tobias.melz@lbf.fraunhofer.de</a:t>
            </a:r>
          </a:p>
          <a:p>
            <a:pPr marL="0" indent="0">
              <a:lnSpc>
                <a:spcPct val="100000"/>
              </a:lnSpc>
              <a:spcBef>
                <a:spcPts val="0"/>
              </a:spcBef>
              <a:spcAft>
                <a:spcPts val="0"/>
              </a:spcAft>
              <a:buNone/>
            </a:pPr>
            <a:r>
              <a:rPr lang="de-DE" sz="1467" dirty="0">
                <a:solidFill>
                  <a:schemeClr val="tx2"/>
                </a:solidFill>
              </a:rPr>
              <a:t>www.sam.tu-darmstadt.de </a:t>
            </a:r>
            <a:br>
              <a:rPr lang="de-DE" sz="1467" dirty="0">
                <a:solidFill>
                  <a:schemeClr val="tx2"/>
                </a:solidFill>
              </a:rPr>
            </a:br>
            <a:r>
              <a:rPr lang="de-DE" sz="1467" dirty="0">
                <a:solidFill>
                  <a:schemeClr val="tx2"/>
                </a:solidFill>
              </a:rPr>
              <a:t>www.lbf.fraunhofer.de</a:t>
            </a:r>
          </a:p>
        </p:txBody>
      </p:sp>
      <p:grpSp>
        <p:nvGrpSpPr>
          <p:cNvPr id="84" name="Gruppierung 9"/>
          <p:cNvGrpSpPr/>
          <p:nvPr userDrawn="1"/>
        </p:nvGrpSpPr>
        <p:grpSpPr>
          <a:xfrm>
            <a:off x="9887088" y="477223"/>
            <a:ext cx="2304912" cy="870205"/>
            <a:chOff x="7415316" y="357917"/>
            <a:chExt cx="1728684" cy="652654"/>
          </a:xfrm>
          <a:solidFill>
            <a:schemeClr val="bg1"/>
          </a:solidFill>
        </p:grpSpPr>
        <p:sp>
          <p:nvSpPr>
            <p:cNvPr id="85" name="Rechteck 84"/>
            <p:cNvSpPr/>
            <p:nvPr/>
          </p:nvSpPr>
          <p:spPr>
            <a:xfrm>
              <a:off x="7415316" y="357917"/>
              <a:ext cx="1728684" cy="65265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86" name="Picture 9" descr="tud_logo"/>
            <p:cNvPicPr>
              <a:picLocks noChangeAspect="1" noChangeArrowheads="1"/>
            </p:cNvPicPr>
            <p:nvPr/>
          </p:nvPicPr>
          <p:blipFill rotWithShape="1">
            <a:blip r:embed="rId3" cstate="print">
              <a:clrChange>
                <a:clrFrom>
                  <a:srgbClr val="FDFDFD"/>
                </a:clrFrom>
                <a:clrTo>
                  <a:srgbClr val="FDFDFD">
                    <a:alpha val="0"/>
                  </a:srgbClr>
                </a:clrTo>
              </a:clrChange>
              <a:extLst>
                <a:ext uri="{28A0092B-C50C-407E-A947-70E740481C1C}">
                  <a14:useLocalDpi xmlns:a14="http://schemas.microsoft.com/office/drawing/2010/main"/>
                </a:ext>
              </a:extLst>
            </a:blip>
            <a:srcRect l="7733" t="6878" r="5453" b="9546"/>
            <a:stretch/>
          </p:blipFill>
          <p:spPr bwMode="auto">
            <a:xfrm>
              <a:off x="7608875" y="407299"/>
              <a:ext cx="1404584" cy="540631"/>
            </a:xfrm>
            <a:prstGeom prst="rect">
              <a:avLst/>
            </a:prstGeom>
            <a:grpFill/>
            <a:ln w="9525">
              <a:noFill/>
              <a:miter lim="800000"/>
              <a:headEnd/>
              <a:tailEnd/>
            </a:ln>
          </p:spPr>
        </p:pic>
      </p:grpSp>
      <p:sp>
        <p:nvSpPr>
          <p:cNvPr id="46" name="Rechteck 45"/>
          <p:cNvSpPr/>
          <p:nvPr userDrawn="1"/>
        </p:nvSpPr>
        <p:spPr>
          <a:xfrm>
            <a:off x="9887088" y="1345096"/>
            <a:ext cx="2304912" cy="429605"/>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47" name="Group 4"/>
          <p:cNvGrpSpPr>
            <a:grpSpLocks noChangeAspect="1"/>
          </p:cNvGrpSpPr>
          <p:nvPr userDrawn="1"/>
        </p:nvGrpSpPr>
        <p:grpSpPr bwMode="auto">
          <a:xfrm>
            <a:off x="11268361" y="1286959"/>
            <a:ext cx="601441" cy="445749"/>
            <a:chOff x="5478" y="637"/>
            <a:chExt cx="282" cy="209"/>
          </a:xfrm>
        </p:grpSpPr>
        <p:sp>
          <p:nvSpPr>
            <p:cNvPr id="49" name="AutoShape 3"/>
            <p:cNvSpPr>
              <a:spLocks noChangeAspect="1" noChangeArrowheads="1" noTextEdit="1"/>
            </p:cNvSpPr>
            <p:nvPr userDrawn="1"/>
          </p:nvSpPr>
          <p:spPr bwMode="auto">
            <a:xfrm>
              <a:off x="5478" y="637"/>
              <a:ext cx="282" cy="2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pic>
          <p:nvPicPr>
            <p:cNvPr id="52" name="Picture 5"/>
            <p:cNvPicPr>
              <a:picLocks noChangeAspect="1" noChangeArrowheads="1"/>
            </p:cNvPicPr>
            <p:nvPr userDrawn="1"/>
          </p:nvPicPr>
          <p:blipFill>
            <a:blip r:embed="rId4" cstate="hqprint">
              <a:extLst>
                <a:ext uri="{28A0092B-C50C-407E-A947-70E740481C1C}">
                  <a14:useLocalDpi xmlns:a14="http://schemas.microsoft.com/office/drawing/2010/main" val="0"/>
                </a:ext>
              </a:extLst>
            </a:blip>
            <a:srcRect/>
            <a:stretch>
              <a:fillRect/>
            </a:stretch>
          </p:blipFill>
          <p:spPr bwMode="auto">
            <a:xfrm>
              <a:off x="5478" y="637"/>
              <a:ext cx="282" cy="2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3" name="Freeform 6"/>
            <p:cNvSpPr>
              <a:spLocks noEditPoints="1"/>
            </p:cNvSpPr>
            <p:nvPr userDrawn="1"/>
          </p:nvSpPr>
          <p:spPr bwMode="auto">
            <a:xfrm>
              <a:off x="5486" y="647"/>
              <a:ext cx="185" cy="183"/>
            </a:xfrm>
            <a:custGeom>
              <a:avLst/>
              <a:gdLst>
                <a:gd name="T0" fmla="*/ 554 w 554"/>
                <a:gd name="T1" fmla="*/ 275 h 550"/>
                <a:gd name="T2" fmla="*/ 549 w 554"/>
                <a:gd name="T3" fmla="*/ 331 h 550"/>
                <a:gd name="T4" fmla="*/ 533 w 554"/>
                <a:gd name="T5" fmla="*/ 382 h 550"/>
                <a:gd name="T6" fmla="*/ 507 w 554"/>
                <a:gd name="T7" fmla="*/ 429 h 550"/>
                <a:gd name="T8" fmla="*/ 473 w 554"/>
                <a:gd name="T9" fmla="*/ 470 h 550"/>
                <a:gd name="T10" fmla="*/ 433 w 554"/>
                <a:gd name="T11" fmla="*/ 503 h 550"/>
                <a:gd name="T12" fmla="*/ 385 w 554"/>
                <a:gd name="T13" fmla="*/ 529 h 550"/>
                <a:gd name="T14" fmla="*/ 334 w 554"/>
                <a:gd name="T15" fmla="*/ 544 h 550"/>
                <a:gd name="T16" fmla="*/ 278 w 554"/>
                <a:gd name="T17" fmla="*/ 550 h 550"/>
                <a:gd name="T18" fmla="*/ 249 w 554"/>
                <a:gd name="T19" fmla="*/ 549 h 550"/>
                <a:gd name="T20" fmla="*/ 195 w 554"/>
                <a:gd name="T21" fmla="*/ 539 h 550"/>
                <a:gd name="T22" fmla="*/ 145 w 554"/>
                <a:gd name="T23" fmla="*/ 517 h 550"/>
                <a:gd name="T24" fmla="*/ 102 w 554"/>
                <a:gd name="T25" fmla="*/ 487 h 550"/>
                <a:gd name="T26" fmla="*/ 63 w 554"/>
                <a:gd name="T27" fmla="*/ 450 h 550"/>
                <a:gd name="T28" fmla="*/ 33 w 554"/>
                <a:gd name="T29" fmla="*/ 406 h 550"/>
                <a:gd name="T30" fmla="*/ 13 w 554"/>
                <a:gd name="T31" fmla="*/ 358 h 550"/>
                <a:gd name="T32" fmla="*/ 2 w 554"/>
                <a:gd name="T33" fmla="*/ 303 h 550"/>
                <a:gd name="T34" fmla="*/ 0 w 554"/>
                <a:gd name="T35" fmla="*/ 275 h 550"/>
                <a:gd name="T36" fmla="*/ 6 w 554"/>
                <a:gd name="T37" fmla="*/ 219 h 550"/>
                <a:gd name="T38" fmla="*/ 22 w 554"/>
                <a:gd name="T39" fmla="*/ 168 h 550"/>
                <a:gd name="T40" fmla="*/ 48 w 554"/>
                <a:gd name="T41" fmla="*/ 121 h 550"/>
                <a:gd name="T42" fmla="*/ 82 w 554"/>
                <a:gd name="T43" fmla="*/ 80 h 550"/>
                <a:gd name="T44" fmla="*/ 122 w 554"/>
                <a:gd name="T45" fmla="*/ 47 h 550"/>
                <a:gd name="T46" fmla="*/ 169 w 554"/>
                <a:gd name="T47" fmla="*/ 21 h 550"/>
                <a:gd name="T48" fmla="*/ 222 w 554"/>
                <a:gd name="T49" fmla="*/ 6 h 550"/>
                <a:gd name="T50" fmla="*/ 278 w 554"/>
                <a:gd name="T51" fmla="*/ 0 h 550"/>
                <a:gd name="T52" fmla="*/ 305 w 554"/>
                <a:gd name="T53" fmla="*/ 1 h 550"/>
                <a:gd name="T54" fmla="*/ 360 w 554"/>
                <a:gd name="T55" fmla="*/ 11 h 550"/>
                <a:gd name="T56" fmla="*/ 410 w 554"/>
                <a:gd name="T57" fmla="*/ 33 h 550"/>
                <a:gd name="T58" fmla="*/ 454 w 554"/>
                <a:gd name="T59" fmla="*/ 63 h 550"/>
                <a:gd name="T60" fmla="*/ 491 w 554"/>
                <a:gd name="T61" fmla="*/ 100 h 550"/>
                <a:gd name="T62" fmla="*/ 521 w 554"/>
                <a:gd name="T63" fmla="*/ 144 h 550"/>
                <a:gd name="T64" fmla="*/ 541 w 554"/>
                <a:gd name="T65" fmla="*/ 192 h 550"/>
                <a:gd name="T66" fmla="*/ 553 w 554"/>
                <a:gd name="T67" fmla="*/ 246 h 550"/>
                <a:gd name="T68" fmla="*/ 554 w 554"/>
                <a:gd name="T69" fmla="*/ 275 h 550"/>
                <a:gd name="T70" fmla="*/ 554 w 554"/>
                <a:gd name="T71" fmla="*/ 275 h 5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54" h="550">
                  <a:moveTo>
                    <a:pt x="554" y="275"/>
                  </a:moveTo>
                  <a:lnTo>
                    <a:pt x="554" y="275"/>
                  </a:lnTo>
                  <a:lnTo>
                    <a:pt x="553" y="303"/>
                  </a:lnTo>
                  <a:lnTo>
                    <a:pt x="549" y="331"/>
                  </a:lnTo>
                  <a:lnTo>
                    <a:pt x="541" y="358"/>
                  </a:lnTo>
                  <a:lnTo>
                    <a:pt x="533" y="382"/>
                  </a:lnTo>
                  <a:lnTo>
                    <a:pt x="521" y="406"/>
                  </a:lnTo>
                  <a:lnTo>
                    <a:pt x="507" y="429"/>
                  </a:lnTo>
                  <a:lnTo>
                    <a:pt x="491" y="450"/>
                  </a:lnTo>
                  <a:lnTo>
                    <a:pt x="473" y="470"/>
                  </a:lnTo>
                  <a:lnTo>
                    <a:pt x="454" y="487"/>
                  </a:lnTo>
                  <a:lnTo>
                    <a:pt x="433" y="503"/>
                  </a:lnTo>
                  <a:lnTo>
                    <a:pt x="410" y="517"/>
                  </a:lnTo>
                  <a:lnTo>
                    <a:pt x="385" y="529"/>
                  </a:lnTo>
                  <a:lnTo>
                    <a:pt x="360" y="539"/>
                  </a:lnTo>
                  <a:lnTo>
                    <a:pt x="334" y="544"/>
                  </a:lnTo>
                  <a:lnTo>
                    <a:pt x="305" y="549"/>
                  </a:lnTo>
                  <a:lnTo>
                    <a:pt x="278" y="550"/>
                  </a:lnTo>
                  <a:lnTo>
                    <a:pt x="278" y="550"/>
                  </a:lnTo>
                  <a:lnTo>
                    <a:pt x="249" y="549"/>
                  </a:lnTo>
                  <a:lnTo>
                    <a:pt x="222" y="544"/>
                  </a:lnTo>
                  <a:lnTo>
                    <a:pt x="195" y="539"/>
                  </a:lnTo>
                  <a:lnTo>
                    <a:pt x="169" y="529"/>
                  </a:lnTo>
                  <a:lnTo>
                    <a:pt x="145" y="517"/>
                  </a:lnTo>
                  <a:lnTo>
                    <a:pt x="122" y="503"/>
                  </a:lnTo>
                  <a:lnTo>
                    <a:pt x="102" y="487"/>
                  </a:lnTo>
                  <a:lnTo>
                    <a:pt x="82" y="470"/>
                  </a:lnTo>
                  <a:lnTo>
                    <a:pt x="63" y="450"/>
                  </a:lnTo>
                  <a:lnTo>
                    <a:pt x="48" y="429"/>
                  </a:lnTo>
                  <a:lnTo>
                    <a:pt x="33" y="406"/>
                  </a:lnTo>
                  <a:lnTo>
                    <a:pt x="22" y="382"/>
                  </a:lnTo>
                  <a:lnTo>
                    <a:pt x="13" y="358"/>
                  </a:lnTo>
                  <a:lnTo>
                    <a:pt x="6" y="331"/>
                  </a:lnTo>
                  <a:lnTo>
                    <a:pt x="2" y="303"/>
                  </a:lnTo>
                  <a:lnTo>
                    <a:pt x="0" y="275"/>
                  </a:lnTo>
                  <a:lnTo>
                    <a:pt x="0" y="275"/>
                  </a:lnTo>
                  <a:lnTo>
                    <a:pt x="2" y="246"/>
                  </a:lnTo>
                  <a:lnTo>
                    <a:pt x="6" y="219"/>
                  </a:lnTo>
                  <a:lnTo>
                    <a:pt x="13" y="192"/>
                  </a:lnTo>
                  <a:lnTo>
                    <a:pt x="22" y="168"/>
                  </a:lnTo>
                  <a:lnTo>
                    <a:pt x="33" y="144"/>
                  </a:lnTo>
                  <a:lnTo>
                    <a:pt x="48" y="121"/>
                  </a:lnTo>
                  <a:lnTo>
                    <a:pt x="63" y="100"/>
                  </a:lnTo>
                  <a:lnTo>
                    <a:pt x="82" y="80"/>
                  </a:lnTo>
                  <a:lnTo>
                    <a:pt x="102" y="63"/>
                  </a:lnTo>
                  <a:lnTo>
                    <a:pt x="122" y="47"/>
                  </a:lnTo>
                  <a:lnTo>
                    <a:pt x="145" y="33"/>
                  </a:lnTo>
                  <a:lnTo>
                    <a:pt x="169" y="21"/>
                  </a:lnTo>
                  <a:lnTo>
                    <a:pt x="195" y="11"/>
                  </a:lnTo>
                  <a:lnTo>
                    <a:pt x="222" y="6"/>
                  </a:lnTo>
                  <a:lnTo>
                    <a:pt x="249" y="1"/>
                  </a:lnTo>
                  <a:lnTo>
                    <a:pt x="278" y="0"/>
                  </a:lnTo>
                  <a:lnTo>
                    <a:pt x="278" y="0"/>
                  </a:lnTo>
                  <a:lnTo>
                    <a:pt x="305" y="1"/>
                  </a:lnTo>
                  <a:lnTo>
                    <a:pt x="334" y="6"/>
                  </a:lnTo>
                  <a:lnTo>
                    <a:pt x="360" y="11"/>
                  </a:lnTo>
                  <a:lnTo>
                    <a:pt x="385" y="21"/>
                  </a:lnTo>
                  <a:lnTo>
                    <a:pt x="410" y="33"/>
                  </a:lnTo>
                  <a:lnTo>
                    <a:pt x="433" y="47"/>
                  </a:lnTo>
                  <a:lnTo>
                    <a:pt x="454" y="63"/>
                  </a:lnTo>
                  <a:lnTo>
                    <a:pt x="473" y="80"/>
                  </a:lnTo>
                  <a:lnTo>
                    <a:pt x="491" y="100"/>
                  </a:lnTo>
                  <a:lnTo>
                    <a:pt x="507" y="121"/>
                  </a:lnTo>
                  <a:lnTo>
                    <a:pt x="521" y="144"/>
                  </a:lnTo>
                  <a:lnTo>
                    <a:pt x="533" y="168"/>
                  </a:lnTo>
                  <a:lnTo>
                    <a:pt x="541" y="192"/>
                  </a:lnTo>
                  <a:lnTo>
                    <a:pt x="549" y="219"/>
                  </a:lnTo>
                  <a:lnTo>
                    <a:pt x="553" y="246"/>
                  </a:lnTo>
                  <a:lnTo>
                    <a:pt x="554" y="275"/>
                  </a:lnTo>
                  <a:lnTo>
                    <a:pt x="554" y="275"/>
                  </a:lnTo>
                  <a:close/>
                  <a:moveTo>
                    <a:pt x="554" y="275"/>
                  </a:moveTo>
                  <a:lnTo>
                    <a:pt x="554" y="275"/>
                  </a:lnTo>
                  <a:close/>
                </a:path>
              </a:pathLst>
            </a:custGeom>
            <a:solidFill>
              <a:srgbClr val="B61F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4" name="Freeform 7"/>
            <p:cNvSpPr>
              <a:spLocks/>
            </p:cNvSpPr>
            <p:nvPr userDrawn="1"/>
          </p:nvSpPr>
          <p:spPr bwMode="auto">
            <a:xfrm>
              <a:off x="5486" y="647"/>
              <a:ext cx="185" cy="183"/>
            </a:xfrm>
            <a:custGeom>
              <a:avLst/>
              <a:gdLst>
                <a:gd name="T0" fmla="*/ 554 w 554"/>
                <a:gd name="T1" fmla="*/ 275 h 550"/>
                <a:gd name="T2" fmla="*/ 549 w 554"/>
                <a:gd name="T3" fmla="*/ 331 h 550"/>
                <a:gd name="T4" fmla="*/ 533 w 554"/>
                <a:gd name="T5" fmla="*/ 382 h 550"/>
                <a:gd name="T6" fmla="*/ 507 w 554"/>
                <a:gd name="T7" fmla="*/ 429 h 550"/>
                <a:gd name="T8" fmla="*/ 473 w 554"/>
                <a:gd name="T9" fmla="*/ 470 h 550"/>
                <a:gd name="T10" fmla="*/ 433 w 554"/>
                <a:gd name="T11" fmla="*/ 503 h 550"/>
                <a:gd name="T12" fmla="*/ 385 w 554"/>
                <a:gd name="T13" fmla="*/ 529 h 550"/>
                <a:gd name="T14" fmla="*/ 334 w 554"/>
                <a:gd name="T15" fmla="*/ 544 h 550"/>
                <a:gd name="T16" fmla="*/ 278 w 554"/>
                <a:gd name="T17" fmla="*/ 550 h 550"/>
                <a:gd name="T18" fmla="*/ 249 w 554"/>
                <a:gd name="T19" fmla="*/ 549 h 550"/>
                <a:gd name="T20" fmla="*/ 195 w 554"/>
                <a:gd name="T21" fmla="*/ 539 h 550"/>
                <a:gd name="T22" fmla="*/ 145 w 554"/>
                <a:gd name="T23" fmla="*/ 517 h 550"/>
                <a:gd name="T24" fmla="*/ 102 w 554"/>
                <a:gd name="T25" fmla="*/ 487 h 550"/>
                <a:gd name="T26" fmla="*/ 63 w 554"/>
                <a:gd name="T27" fmla="*/ 450 h 550"/>
                <a:gd name="T28" fmla="*/ 33 w 554"/>
                <a:gd name="T29" fmla="*/ 406 h 550"/>
                <a:gd name="T30" fmla="*/ 13 w 554"/>
                <a:gd name="T31" fmla="*/ 358 h 550"/>
                <a:gd name="T32" fmla="*/ 2 w 554"/>
                <a:gd name="T33" fmla="*/ 303 h 550"/>
                <a:gd name="T34" fmla="*/ 0 w 554"/>
                <a:gd name="T35" fmla="*/ 275 h 550"/>
                <a:gd name="T36" fmla="*/ 6 w 554"/>
                <a:gd name="T37" fmla="*/ 219 h 550"/>
                <a:gd name="T38" fmla="*/ 22 w 554"/>
                <a:gd name="T39" fmla="*/ 168 h 550"/>
                <a:gd name="T40" fmla="*/ 48 w 554"/>
                <a:gd name="T41" fmla="*/ 121 h 550"/>
                <a:gd name="T42" fmla="*/ 82 w 554"/>
                <a:gd name="T43" fmla="*/ 80 h 550"/>
                <a:gd name="T44" fmla="*/ 122 w 554"/>
                <a:gd name="T45" fmla="*/ 47 h 550"/>
                <a:gd name="T46" fmla="*/ 169 w 554"/>
                <a:gd name="T47" fmla="*/ 21 h 550"/>
                <a:gd name="T48" fmla="*/ 222 w 554"/>
                <a:gd name="T49" fmla="*/ 6 h 550"/>
                <a:gd name="T50" fmla="*/ 278 w 554"/>
                <a:gd name="T51" fmla="*/ 0 h 550"/>
                <a:gd name="T52" fmla="*/ 305 w 554"/>
                <a:gd name="T53" fmla="*/ 1 h 550"/>
                <a:gd name="T54" fmla="*/ 360 w 554"/>
                <a:gd name="T55" fmla="*/ 11 h 550"/>
                <a:gd name="T56" fmla="*/ 410 w 554"/>
                <a:gd name="T57" fmla="*/ 33 h 550"/>
                <a:gd name="T58" fmla="*/ 454 w 554"/>
                <a:gd name="T59" fmla="*/ 63 h 550"/>
                <a:gd name="T60" fmla="*/ 491 w 554"/>
                <a:gd name="T61" fmla="*/ 100 h 550"/>
                <a:gd name="T62" fmla="*/ 521 w 554"/>
                <a:gd name="T63" fmla="*/ 144 h 550"/>
                <a:gd name="T64" fmla="*/ 541 w 554"/>
                <a:gd name="T65" fmla="*/ 192 h 550"/>
                <a:gd name="T66" fmla="*/ 553 w 554"/>
                <a:gd name="T67" fmla="*/ 246 h 550"/>
                <a:gd name="T68" fmla="*/ 554 w 554"/>
                <a:gd name="T69" fmla="*/ 275 h 5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54" h="550">
                  <a:moveTo>
                    <a:pt x="554" y="275"/>
                  </a:moveTo>
                  <a:lnTo>
                    <a:pt x="554" y="275"/>
                  </a:lnTo>
                  <a:lnTo>
                    <a:pt x="553" y="303"/>
                  </a:lnTo>
                  <a:lnTo>
                    <a:pt x="549" y="331"/>
                  </a:lnTo>
                  <a:lnTo>
                    <a:pt x="541" y="358"/>
                  </a:lnTo>
                  <a:lnTo>
                    <a:pt x="533" y="382"/>
                  </a:lnTo>
                  <a:lnTo>
                    <a:pt x="521" y="406"/>
                  </a:lnTo>
                  <a:lnTo>
                    <a:pt x="507" y="429"/>
                  </a:lnTo>
                  <a:lnTo>
                    <a:pt x="491" y="450"/>
                  </a:lnTo>
                  <a:lnTo>
                    <a:pt x="473" y="470"/>
                  </a:lnTo>
                  <a:lnTo>
                    <a:pt x="454" y="487"/>
                  </a:lnTo>
                  <a:lnTo>
                    <a:pt x="433" y="503"/>
                  </a:lnTo>
                  <a:lnTo>
                    <a:pt x="410" y="517"/>
                  </a:lnTo>
                  <a:lnTo>
                    <a:pt x="385" y="529"/>
                  </a:lnTo>
                  <a:lnTo>
                    <a:pt x="360" y="539"/>
                  </a:lnTo>
                  <a:lnTo>
                    <a:pt x="334" y="544"/>
                  </a:lnTo>
                  <a:lnTo>
                    <a:pt x="305" y="549"/>
                  </a:lnTo>
                  <a:lnTo>
                    <a:pt x="278" y="550"/>
                  </a:lnTo>
                  <a:lnTo>
                    <a:pt x="278" y="550"/>
                  </a:lnTo>
                  <a:lnTo>
                    <a:pt x="249" y="549"/>
                  </a:lnTo>
                  <a:lnTo>
                    <a:pt x="222" y="544"/>
                  </a:lnTo>
                  <a:lnTo>
                    <a:pt x="195" y="539"/>
                  </a:lnTo>
                  <a:lnTo>
                    <a:pt x="169" y="529"/>
                  </a:lnTo>
                  <a:lnTo>
                    <a:pt x="145" y="517"/>
                  </a:lnTo>
                  <a:lnTo>
                    <a:pt x="122" y="503"/>
                  </a:lnTo>
                  <a:lnTo>
                    <a:pt x="102" y="487"/>
                  </a:lnTo>
                  <a:lnTo>
                    <a:pt x="82" y="470"/>
                  </a:lnTo>
                  <a:lnTo>
                    <a:pt x="63" y="450"/>
                  </a:lnTo>
                  <a:lnTo>
                    <a:pt x="48" y="429"/>
                  </a:lnTo>
                  <a:lnTo>
                    <a:pt x="33" y="406"/>
                  </a:lnTo>
                  <a:lnTo>
                    <a:pt x="22" y="382"/>
                  </a:lnTo>
                  <a:lnTo>
                    <a:pt x="13" y="358"/>
                  </a:lnTo>
                  <a:lnTo>
                    <a:pt x="6" y="331"/>
                  </a:lnTo>
                  <a:lnTo>
                    <a:pt x="2" y="303"/>
                  </a:lnTo>
                  <a:lnTo>
                    <a:pt x="0" y="275"/>
                  </a:lnTo>
                  <a:lnTo>
                    <a:pt x="0" y="275"/>
                  </a:lnTo>
                  <a:lnTo>
                    <a:pt x="2" y="246"/>
                  </a:lnTo>
                  <a:lnTo>
                    <a:pt x="6" y="219"/>
                  </a:lnTo>
                  <a:lnTo>
                    <a:pt x="13" y="192"/>
                  </a:lnTo>
                  <a:lnTo>
                    <a:pt x="22" y="168"/>
                  </a:lnTo>
                  <a:lnTo>
                    <a:pt x="33" y="144"/>
                  </a:lnTo>
                  <a:lnTo>
                    <a:pt x="48" y="121"/>
                  </a:lnTo>
                  <a:lnTo>
                    <a:pt x="63" y="100"/>
                  </a:lnTo>
                  <a:lnTo>
                    <a:pt x="82" y="80"/>
                  </a:lnTo>
                  <a:lnTo>
                    <a:pt x="102" y="63"/>
                  </a:lnTo>
                  <a:lnTo>
                    <a:pt x="122" y="47"/>
                  </a:lnTo>
                  <a:lnTo>
                    <a:pt x="145" y="33"/>
                  </a:lnTo>
                  <a:lnTo>
                    <a:pt x="169" y="21"/>
                  </a:lnTo>
                  <a:lnTo>
                    <a:pt x="195" y="11"/>
                  </a:lnTo>
                  <a:lnTo>
                    <a:pt x="222" y="6"/>
                  </a:lnTo>
                  <a:lnTo>
                    <a:pt x="249" y="1"/>
                  </a:lnTo>
                  <a:lnTo>
                    <a:pt x="278" y="0"/>
                  </a:lnTo>
                  <a:lnTo>
                    <a:pt x="278" y="0"/>
                  </a:lnTo>
                  <a:lnTo>
                    <a:pt x="305" y="1"/>
                  </a:lnTo>
                  <a:lnTo>
                    <a:pt x="334" y="6"/>
                  </a:lnTo>
                  <a:lnTo>
                    <a:pt x="360" y="11"/>
                  </a:lnTo>
                  <a:lnTo>
                    <a:pt x="385" y="21"/>
                  </a:lnTo>
                  <a:lnTo>
                    <a:pt x="410" y="33"/>
                  </a:lnTo>
                  <a:lnTo>
                    <a:pt x="433" y="47"/>
                  </a:lnTo>
                  <a:lnTo>
                    <a:pt x="454" y="63"/>
                  </a:lnTo>
                  <a:lnTo>
                    <a:pt x="473" y="80"/>
                  </a:lnTo>
                  <a:lnTo>
                    <a:pt x="491" y="100"/>
                  </a:lnTo>
                  <a:lnTo>
                    <a:pt x="507" y="121"/>
                  </a:lnTo>
                  <a:lnTo>
                    <a:pt x="521" y="144"/>
                  </a:lnTo>
                  <a:lnTo>
                    <a:pt x="533" y="168"/>
                  </a:lnTo>
                  <a:lnTo>
                    <a:pt x="541" y="192"/>
                  </a:lnTo>
                  <a:lnTo>
                    <a:pt x="549" y="219"/>
                  </a:lnTo>
                  <a:lnTo>
                    <a:pt x="553" y="246"/>
                  </a:lnTo>
                  <a:lnTo>
                    <a:pt x="554" y="275"/>
                  </a:lnTo>
                  <a:lnTo>
                    <a:pt x="554" y="27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5" name="Line 8"/>
            <p:cNvSpPr>
              <a:spLocks noChangeShapeType="1"/>
            </p:cNvSpPr>
            <p:nvPr userDrawn="1"/>
          </p:nvSpPr>
          <p:spPr bwMode="auto">
            <a:xfrm>
              <a:off x="5671" y="739"/>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6" name="Freeform 9"/>
            <p:cNvSpPr>
              <a:spLocks/>
            </p:cNvSpPr>
            <p:nvPr userDrawn="1"/>
          </p:nvSpPr>
          <p:spPr bwMode="auto">
            <a:xfrm>
              <a:off x="5486" y="647"/>
              <a:ext cx="185" cy="183"/>
            </a:xfrm>
            <a:custGeom>
              <a:avLst/>
              <a:gdLst>
                <a:gd name="T0" fmla="*/ 554 w 554"/>
                <a:gd name="T1" fmla="*/ 275 h 550"/>
                <a:gd name="T2" fmla="*/ 549 w 554"/>
                <a:gd name="T3" fmla="*/ 331 h 550"/>
                <a:gd name="T4" fmla="*/ 533 w 554"/>
                <a:gd name="T5" fmla="*/ 382 h 550"/>
                <a:gd name="T6" fmla="*/ 507 w 554"/>
                <a:gd name="T7" fmla="*/ 429 h 550"/>
                <a:gd name="T8" fmla="*/ 473 w 554"/>
                <a:gd name="T9" fmla="*/ 470 h 550"/>
                <a:gd name="T10" fmla="*/ 433 w 554"/>
                <a:gd name="T11" fmla="*/ 503 h 550"/>
                <a:gd name="T12" fmla="*/ 385 w 554"/>
                <a:gd name="T13" fmla="*/ 529 h 550"/>
                <a:gd name="T14" fmla="*/ 334 w 554"/>
                <a:gd name="T15" fmla="*/ 544 h 550"/>
                <a:gd name="T16" fmla="*/ 278 w 554"/>
                <a:gd name="T17" fmla="*/ 550 h 550"/>
                <a:gd name="T18" fmla="*/ 249 w 554"/>
                <a:gd name="T19" fmla="*/ 549 h 550"/>
                <a:gd name="T20" fmla="*/ 195 w 554"/>
                <a:gd name="T21" fmla="*/ 539 h 550"/>
                <a:gd name="T22" fmla="*/ 145 w 554"/>
                <a:gd name="T23" fmla="*/ 517 h 550"/>
                <a:gd name="T24" fmla="*/ 102 w 554"/>
                <a:gd name="T25" fmla="*/ 487 h 550"/>
                <a:gd name="T26" fmla="*/ 63 w 554"/>
                <a:gd name="T27" fmla="*/ 450 h 550"/>
                <a:gd name="T28" fmla="*/ 33 w 554"/>
                <a:gd name="T29" fmla="*/ 406 h 550"/>
                <a:gd name="T30" fmla="*/ 13 w 554"/>
                <a:gd name="T31" fmla="*/ 358 h 550"/>
                <a:gd name="T32" fmla="*/ 2 w 554"/>
                <a:gd name="T33" fmla="*/ 303 h 550"/>
                <a:gd name="T34" fmla="*/ 0 w 554"/>
                <a:gd name="T35" fmla="*/ 275 h 550"/>
                <a:gd name="T36" fmla="*/ 6 w 554"/>
                <a:gd name="T37" fmla="*/ 219 h 550"/>
                <a:gd name="T38" fmla="*/ 22 w 554"/>
                <a:gd name="T39" fmla="*/ 168 h 550"/>
                <a:gd name="T40" fmla="*/ 48 w 554"/>
                <a:gd name="T41" fmla="*/ 121 h 550"/>
                <a:gd name="T42" fmla="*/ 82 w 554"/>
                <a:gd name="T43" fmla="*/ 80 h 550"/>
                <a:gd name="T44" fmla="*/ 122 w 554"/>
                <a:gd name="T45" fmla="*/ 47 h 550"/>
                <a:gd name="T46" fmla="*/ 169 w 554"/>
                <a:gd name="T47" fmla="*/ 21 h 550"/>
                <a:gd name="T48" fmla="*/ 222 w 554"/>
                <a:gd name="T49" fmla="*/ 6 h 550"/>
                <a:gd name="T50" fmla="*/ 278 w 554"/>
                <a:gd name="T51" fmla="*/ 0 h 550"/>
                <a:gd name="T52" fmla="*/ 305 w 554"/>
                <a:gd name="T53" fmla="*/ 1 h 550"/>
                <a:gd name="T54" fmla="*/ 360 w 554"/>
                <a:gd name="T55" fmla="*/ 11 h 550"/>
                <a:gd name="T56" fmla="*/ 410 w 554"/>
                <a:gd name="T57" fmla="*/ 33 h 550"/>
                <a:gd name="T58" fmla="*/ 454 w 554"/>
                <a:gd name="T59" fmla="*/ 63 h 550"/>
                <a:gd name="T60" fmla="*/ 491 w 554"/>
                <a:gd name="T61" fmla="*/ 100 h 550"/>
                <a:gd name="T62" fmla="*/ 521 w 554"/>
                <a:gd name="T63" fmla="*/ 144 h 550"/>
                <a:gd name="T64" fmla="*/ 541 w 554"/>
                <a:gd name="T65" fmla="*/ 192 h 550"/>
                <a:gd name="T66" fmla="*/ 553 w 554"/>
                <a:gd name="T67" fmla="*/ 246 h 550"/>
                <a:gd name="T68" fmla="*/ 554 w 554"/>
                <a:gd name="T69" fmla="*/ 275 h 5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54" h="550">
                  <a:moveTo>
                    <a:pt x="554" y="275"/>
                  </a:moveTo>
                  <a:lnTo>
                    <a:pt x="554" y="275"/>
                  </a:lnTo>
                  <a:lnTo>
                    <a:pt x="553" y="303"/>
                  </a:lnTo>
                  <a:lnTo>
                    <a:pt x="549" y="331"/>
                  </a:lnTo>
                  <a:lnTo>
                    <a:pt x="541" y="358"/>
                  </a:lnTo>
                  <a:lnTo>
                    <a:pt x="533" y="382"/>
                  </a:lnTo>
                  <a:lnTo>
                    <a:pt x="521" y="406"/>
                  </a:lnTo>
                  <a:lnTo>
                    <a:pt x="507" y="429"/>
                  </a:lnTo>
                  <a:lnTo>
                    <a:pt x="491" y="450"/>
                  </a:lnTo>
                  <a:lnTo>
                    <a:pt x="473" y="470"/>
                  </a:lnTo>
                  <a:lnTo>
                    <a:pt x="454" y="487"/>
                  </a:lnTo>
                  <a:lnTo>
                    <a:pt x="433" y="503"/>
                  </a:lnTo>
                  <a:lnTo>
                    <a:pt x="410" y="517"/>
                  </a:lnTo>
                  <a:lnTo>
                    <a:pt x="385" y="529"/>
                  </a:lnTo>
                  <a:lnTo>
                    <a:pt x="360" y="539"/>
                  </a:lnTo>
                  <a:lnTo>
                    <a:pt x="334" y="544"/>
                  </a:lnTo>
                  <a:lnTo>
                    <a:pt x="305" y="549"/>
                  </a:lnTo>
                  <a:lnTo>
                    <a:pt x="278" y="550"/>
                  </a:lnTo>
                  <a:lnTo>
                    <a:pt x="278" y="550"/>
                  </a:lnTo>
                  <a:lnTo>
                    <a:pt x="249" y="549"/>
                  </a:lnTo>
                  <a:lnTo>
                    <a:pt x="222" y="544"/>
                  </a:lnTo>
                  <a:lnTo>
                    <a:pt x="195" y="539"/>
                  </a:lnTo>
                  <a:lnTo>
                    <a:pt x="169" y="529"/>
                  </a:lnTo>
                  <a:lnTo>
                    <a:pt x="145" y="517"/>
                  </a:lnTo>
                  <a:lnTo>
                    <a:pt x="122" y="503"/>
                  </a:lnTo>
                  <a:lnTo>
                    <a:pt x="102" y="487"/>
                  </a:lnTo>
                  <a:lnTo>
                    <a:pt x="82" y="470"/>
                  </a:lnTo>
                  <a:lnTo>
                    <a:pt x="63" y="450"/>
                  </a:lnTo>
                  <a:lnTo>
                    <a:pt x="48" y="429"/>
                  </a:lnTo>
                  <a:lnTo>
                    <a:pt x="33" y="406"/>
                  </a:lnTo>
                  <a:lnTo>
                    <a:pt x="22" y="382"/>
                  </a:lnTo>
                  <a:lnTo>
                    <a:pt x="13" y="358"/>
                  </a:lnTo>
                  <a:lnTo>
                    <a:pt x="6" y="331"/>
                  </a:lnTo>
                  <a:lnTo>
                    <a:pt x="2" y="303"/>
                  </a:lnTo>
                  <a:lnTo>
                    <a:pt x="0" y="275"/>
                  </a:lnTo>
                  <a:lnTo>
                    <a:pt x="0" y="275"/>
                  </a:lnTo>
                  <a:lnTo>
                    <a:pt x="2" y="246"/>
                  </a:lnTo>
                  <a:lnTo>
                    <a:pt x="6" y="219"/>
                  </a:lnTo>
                  <a:lnTo>
                    <a:pt x="13" y="192"/>
                  </a:lnTo>
                  <a:lnTo>
                    <a:pt x="22" y="168"/>
                  </a:lnTo>
                  <a:lnTo>
                    <a:pt x="33" y="144"/>
                  </a:lnTo>
                  <a:lnTo>
                    <a:pt x="48" y="121"/>
                  </a:lnTo>
                  <a:lnTo>
                    <a:pt x="63" y="100"/>
                  </a:lnTo>
                  <a:lnTo>
                    <a:pt x="82" y="80"/>
                  </a:lnTo>
                  <a:lnTo>
                    <a:pt x="102" y="63"/>
                  </a:lnTo>
                  <a:lnTo>
                    <a:pt x="122" y="47"/>
                  </a:lnTo>
                  <a:lnTo>
                    <a:pt x="145" y="33"/>
                  </a:lnTo>
                  <a:lnTo>
                    <a:pt x="169" y="21"/>
                  </a:lnTo>
                  <a:lnTo>
                    <a:pt x="195" y="11"/>
                  </a:lnTo>
                  <a:lnTo>
                    <a:pt x="222" y="6"/>
                  </a:lnTo>
                  <a:lnTo>
                    <a:pt x="249" y="1"/>
                  </a:lnTo>
                  <a:lnTo>
                    <a:pt x="278" y="0"/>
                  </a:lnTo>
                  <a:lnTo>
                    <a:pt x="278" y="0"/>
                  </a:lnTo>
                  <a:lnTo>
                    <a:pt x="305" y="1"/>
                  </a:lnTo>
                  <a:lnTo>
                    <a:pt x="334" y="6"/>
                  </a:lnTo>
                  <a:lnTo>
                    <a:pt x="360" y="11"/>
                  </a:lnTo>
                  <a:lnTo>
                    <a:pt x="385" y="21"/>
                  </a:lnTo>
                  <a:lnTo>
                    <a:pt x="410" y="33"/>
                  </a:lnTo>
                  <a:lnTo>
                    <a:pt x="433" y="47"/>
                  </a:lnTo>
                  <a:lnTo>
                    <a:pt x="454" y="63"/>
                  </a:lnTo>
                  <a:lnTo>
                    <a:pt x="473" y="80"/>
                  </a:lnTo>
                  <a:lnTo>
                    <a:pt x="491" y="100"/>
                  </a:lnTo>
                  <a:lnTo>
                    <a:pt x="507" y="121"/>
                  </a:lnTo>
                  <a:lnTo>
                    <a:pt x="521" y="144"/>
                  </a:lnTo>
                  <a:lnTo>
                    <a:pt x="533" y="168"/>
                  </a:lnTo>
                  <a:lnTo>
                    <a:pt x="541" y="192"/>
                  </a:lnTo>
                  <a:lnTo>
                    <a:pt x="549" y="219"/>
                  </a:lnTo>
                  <a:lnTo>
                    <a:pt x="553" y="246"/>
                  </a:lnTo>
                  <a:lnTo>
                    <a:pt x="554" y="275"/>
                  </a:lnTo>
                  <a:lnTo>
                    <a:pt x="554" y="275"/>
                  </a:lnTo>
                </a:path>
              </a:pathLst>
            </a:custGeom>
            <a:noFill/>
            <a:ln w="1588">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57" name="Line 10"/>
            <p:cNvSpPr>
              <a:spLocks noChangeShapeType="1"/>
            </p:cNvSpPr>
            <p:nvPr userDrawn="1"/>
          </p:nvSpPr>
          <p:spPr bwMode="auto">
            <a:xfrm>
              <a:off x="5671" y="739"/>
              <a:ext cx="0" cy="0"/>
            </a:xfrm>
            <a:prstGeom prst="line">
              <a:avLst/>
            </a:prstGeom>
            <a:noFill/>
            <a:ln w="1588">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58" name="Freeform 11"/>
            <p:cNvSpPr>
              <a:spLocks noEditPoints="1"/>
            </p:cNvSpPr>
            <p:nvPr userDrawn="1"/>
          </p:nvSpPr>
          <p:spPr bwMode="auto">
            <a:xfrm>
              <a:off x="5497" y="659"/>
              <a:ext cx="170" cy="170"/>
            </a:xfrm>
            <a:custGeom>
              <a:avLst/>
              <a:gdLst>
                <a:gd name="T0" fmla="*/ 510 w 510"/>
                <a:gd name="T1" fmla="*/ 257 h 511"/>
                <a:gd name="T2" fmla="*/ 504 w 510"/>
                <a:gd name="T3" fmla="*/ 309 h 511"/>
                <a:gd name="T4" fmla="*/ 490 w 510"/>
                <a:gd name="T5" fmla="*/ 356 h 511"/>
                <a:gd name="T6" fmla="*/ 465 w 510"/>
                <a:gd name="T7" fmla="*/ 399 h 511"/>
                <a:gd name="T8" fmla="*/ 434 w 510"/>
                <a:gd name="T9" fmla="*/ 437 h 511"/>
                <a:gd name="T10" fmla="*/ 397 w 510"/>
                <a:gd name="T11" fmla="*/ 467 h 511"/>
                <a:gd name="T12" fmla="*/ 354 w 510"/>
                <a:gd name="T13" fmla="*/ 491 h 511"/>
                <a:gd name="T14" fmla="*/ 307 w 510"/>
                <a:gd name="T15" fmla="*/ 505 h 511"/>
                <a:gd name="T16" fmla="*/ 255 w 510"/>
                <a:gd name="T17" fmla="*/ 511 h 511"/>
                <a:gd name="T18" fmla="*/ 229 w 510"/>
                <a:gd name="T19" fmla="*/ 510 h 511"/>
                <a:gd name="T20" fmla="*/ 179 w 510"/>
                <a:gd name="T21" fmla="*/ 500 h 511"/>
                <a:gd name="T22" fmla="*/ 133 w 510"/>
                <a:gd name="T23" fmla="*/ 480 h 511"/>
                <a:gd name="T24" fmla="*/ 93 w 510"/>
                <a:gd name="T25" fmla="*/ 453 h 511"/>
                <a:gd name="T26" fmla="*/ 59 w 510"/>
                <a:gd name="T27" fmla="*/ 419 h 511"/>
                <a:gd name="T28" fmla="*/ 30 w 510"/>
                <a:gd name="T29" fmla="*/ 379 h 511"/>
                <a:gd name="T30" fmla="*/ 12 w 510"/>
                <a:gd name="T31" fmla="*/ 333 h 511"/>
                <a:gd name="T32" fmla="*/ 2 w 510"/>
                <a:gd name="T33" fmla="*/ 283 h 511"/>
                <a:gd name="T34" fmla="*/ 0 w 510"/>
                <a:gd name="T35" fmla="*/ 257 h 511"/>
                <a:gd name="T36" fmla="*/ 6 w 510"/>
                <a:gd name="T37" fmla="*/ 206 h 511"/>
                <a:gd name="T38" fmla="*/ 20 w 510"/>
                <a:gd name="T39" fmla="*/ 158 h 511"/>
                <a:gd name="T40" fmla="*/ 43 w 510"/>
                <a:gd name="T41" fmla="*/ 115 h 511"/>
                <a:gd name="T42" fmla="*/ 75 w 510"/>
                <a:gd name="T43" fmla="*/ 77 h 511"/>
                <a:gd name="T44" fmla="*/ 112 w 510"/>
                <a:gd name="T45" fmla="*/ 44 h 511"/>
                <a:gd name="T46" fmla="*/ 156 w 510"/>
                <a:gd name="T47" fmla="*/ 21 h 511"/>
                <a:gd name="T48" fmla="*/ 204 w 510"/>
                <a:gd name="T49" fmla="*/ 5 h 511"/>
                <a:gd name="T50" fmla="*/ 255 w 510"/>
                <a:gd name="T51" fmla="*/ 0 h 511"/>
                <a:gd name="T52" fmla="*/ 284 w 510"/>
                <a:gd name="T53" fmla="*/ 1 h 511"/>
                <a:gd name="T54" fmla="*/ 337 w 510"/>
                <a:gd name="T55" fmla="*/ 11 h 511"/>
                <a:gd name="T56" fmla="*/ 384 w 510"/>
                <a:gd name="T57" fmla="*/ 31 h 511"/>
                <a:gd name="T58" fmla="*/ 424 w 510"/>
                <a:gd name="T59" fmla="*/ 59 h 511"/>
                <a:gd name="T60" fmla="*/ 457 w 510"/>
                <a:gd name="T61" fmla="*/ 95 h 511"/>
                <a:gd name="T62" fmla="*/ 481 w 510"/>
                <a:gd name="T63" fmla="*/ 136 h 511"/>
                <a:gd name="T64" fmla="*/ 500 w 510"/>
                <a:gd name="T65" fmla="*/ 182 h 511"/>
                <a:gd name="T66" fmla="*/ 508 w 510"/>
                <a:gd name="T67" fmla="*/ 232 h 511"/>
                <a:gd name="T68" fmla="*/ 510 w 510"/>
                <a:gd name="T69" fmla="*/ 257 h 511"/>
                <a:gd name="T70" fmla="*/ 510 w 510"/>
                <a:gd name="T71" fmla="*/ 257 h 5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0" h="511">
                  <a:moveTo>
                    <a:pt x="510" y="257"/>
                  </a:moveTo>
                  <a:lnTo>
                    <a:pt x="510" y="257"/>
                  </a:lnTo>
                  <a:lnTo>
                    <a:pt x="508" y="283"/>
                  </a:lnTo>
                  <a:lnTo>
                    <a:pt x="504" y="309"/>
                  </a:lnTo>
                  <a:lnTo>
                    <a:pt x="498" y="333"/>
                  </a:lnTo>
                  <a:lnTo>
                    <a:pt x="490" y="356"/>
                  </a:lnTo>
                  <a:lnTo>
                    <a:pt x="478" y="379"/>
                  </a:lnTo>
                  <a:lnTo>
                    <a:pt x="465" y="399"/>
                  </a:lnTo>
                  <a:lnTo>
                    <a:pt x="451" y="419"/>
                  </a:lnTo>
                  <a:lnTo>
                    <a:pt x="434" y="437"/>
                  </a:lnTo>
                  <a:lnTo>
                    <a:pt x="417" y="453"/>
                  </a:lnTo>
                  <a:lnTo>
                    <a:pt x="397" y="467"/>
                  </a:lnTo>
                  <a:lnTo>
                    <a:pt x="377" y="480"/>
                  </a:lnTo>
                  <a:lnTo>
                    <a:pt x="354" y="491"/>
                  </a:lnTo>
                  <a:lnTo>
                    <a:pt x="331" y="500"/>
                  </a:lnTo>
                  <a:lnTo>
                    <a:pt x="307" y="505"/>
                  </a:lnTo>
                  <a:lnTo>
                    <a:pt x="281" y="510"/>
                  </a:lnTo>
                  <a:lnTo>
                    <a:pt x="255" y="511"/>
                  </a:lnTo>
                  <a:lnTo>
                    <a:pt x="255" y="511"/>
                  </a:lnTo>
                  <a:lnTo>
                    <a:pt x="229" y="510"/>
                  </a:lnTo>
                  <a:lnTo>
                    <a:pt x="204" y="505"/>
                  </a:lnTo>
                  <a:lnTo>
                    <a:pt x="179" y="500"/>
                  </a:lnTo>
                  <a:lnTo>
                    <a:pt x="156" y="491"/>
                  </a:lnTo>
                  <a:lnTo>
                    <a:pt x="133" y="480"/>
                  </a:lnTo>
                  <a:lnTo>
                    <a:pt x="112" y="467"/>
                  </a:lnTo>
                  <a:lnTo>
                    <a:pt x="93" y="453"/>
                  </a:lnTo>
                  <a:lnTo>
                    <a:pt x="75" y="437"/>
                  </a:lnTo>
                  <a:lnTo>
                    <a:pt x="59" y="419"/>
                  </a:lnTo>
                  <a:lnTo>
                    <a:pt x="43" y="399"/>
                  </a:lnTo>
                  <a:lnTo>
                    <a:pt x="30" y="379"/>
                  </a:lnTo>
                  <a:lnTo>
                    <a:pt x="20" y="356"/>
                  </a:lnTo>
                  <a:lnTo>
                    <a:pt x="12" y="333"/>
                  </a:lnTo>
                  <a:lnTo>
                    <a:pt x="6" y="309"/>
                  </a:lnTo>
                  <a:lnTo>
                    <a:pt x="2" y="283"/>
                  </a:lnTo>
                  <a:lnTo>
                    <a:pt x="0" y="257"/>
                  </a:lnTo>
                  <a:lnTo>
                    <a:pt x="0" y="257"/>
                  </a:lnTo>
                  <a:lnTo>
                    <a:pt x="2" y="232"/>
                  </a:lnTo>
                  <a:lnTo>
                    <a:pt x="6" y="206"/>
                  </a:lnTo>
                  <a:lnTo>
                    <a:pt x="12" y="182"/>
                  </a:lnTo>
                  <a:lnTo>
                    <a:pt x="20" y="158"/>
                  </a:lnTo>
                  <a:lnTo>
                    <a:pt x="30" y="136"/>
                  </a:lnTo>
                  <a:lnTo>
                    <a:pt x="43" y="115"/>
                  </a:lnTo>
                  <a:lnTo>
                    <a:pt x="59" y="95"/>
                  </a:lnTo>
                  <a:lnTo>
                    <a:pt x="75" y="77"/>
                  </a:lnTo>
                  <a:lnTo>
                    <a:pt x="93" y="59"/>
                  </a:lnTo>
                  <a:lnTo>
                    <a:pt x="112" y="44"/>
                  </a:lnTo>
                  <a:lnTo>
                    <a:pt x="133" y="31"/>
                  </a:lnTo>
                  <a:lnTo>
                    <a:pt x="156" y="21"/>
                  </a:lnTo>
                  <a:lnTo>
                    <a:pt x="179" y="11"/>
                  </a:lnTo>
                  <a:lnTo>
                    <a:pt x="204" y="5"/>
                  </a:lnTo>
                  <a:lnTo>
                    <a:pt x="229" y="1"/>
                  </a:lnTo>
                  <a:lnTo>
                    <a:pt x="255" y="0"/>
                  </a:lnTo>
                  <a:lnTo>
                    <a:pt x="255" y="0"/>
                  </a:lnTo>
                  <a:lnTo>
                    <a:pt x="284" y="1"/>
                  </a:lnTo>
                  <a:lnTo>
                    <a:pt x="311" y="5"/>
                  </a:lnTo>
                  <a:lnTo>
                    <a:pt x="337" y="11"/>
                  </a:lnTo>
                  <a:lnTo>
                    <a:pt x="361" y="21"/>
                  </a:lnTo>
                  <a:lnTo>
                    <a:pt x="384" y="31"/>
                  </a:lnTo>
                  <a:lnTo>
                    <a:pt x="404" y="44"/>
                  </a:lnTo>
                  <a:lnTo>
                    <a:pt x="424" y="59"/>
                  </a:lnTo>
                  <a:lnTo>
                    <a:pt x="441" y="77"/>
                  </a:lnTo>
                  <a:lnTo>
                    <a:pt x="457" y="95"/>
                  </a:lnTo>
                  <a:lnTo>
                    <a:pt x="470" y="115"/>
                  </a:lnTo>
                  <a:lnTo>
                    <a:pt x="481" y="136"/>
                  </a:lnTo>
                  <a:lnTo>
                    <a:pt x="491" y="158"/>
                  </a:lnTo>
                  <a:lnTo>
                    <a:pt x="500" y="182"/>
                  </a:lnTo>
                  <a:lnTo>
                    <a:pt x="504" y="206"/>
                  </a:lnTo>
                  <a:lnTo>
                    <a:pt x="508" y="232"/>
                  </a:lnTo>
                  <a:lnTo>
                    <a:pt x="510" y="257"/>
                  </a:lnTo>
                  <a:lnTo>
                    <a:pt x="510" y="257"/>
                  </a:lnTo>
                  <a:close/>
                  <a:moveTo>
                    <a:pt x="510" y="257"/>
                  </a:moveTo>
                  <a:lnTo>
                    <a:pt x="510" y="257"/>
                  </a:lnTo>
                  <a:close/>
                </a:path>
              </a:pathLst>
            </a:custGeom>
            <a:solidFill>
              <a:srgbClr val="00987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9" name="Freeform 12"/>
            <p:cNvSpPr>
              <a:spLocks/>
            </p:cNvSpPr>
            <p:nvPr userDrawn="1"/>
          </p:nvSpPr>
          <p:spPr bwMode="auto">
            <a:xfrm>
              <a:off x="5497" y="659"/>
              <a:ext cx="170" cy="170"/>
            </a:xfrm>
            <a:custGeom>
              <a:avLst/>
              <a:gdLst>
                <a:gd name="T0" fmla="*/ 510 w 510"/>
                <a:gd name="T1" fmla="*/ 257 h 511"/>
                <a:gd name="T2" fmla="*/ 504 w 510"/>
                <a:gd name="T3" fmla="*/ 309 h 511"/>
                <a:gd name="T4" fmla="*/ 490 w 510"/>
                <a:gd name="T5" fmla="*/ 356 h 511"/>
                <a:gd name="T6" fmla="*/ 465 w 510"/>
                <a:gd name="T7" fmla="*/ 399 h 511"/>
                <a:gd name="T8" fmla="*/ 434 w 510"/>
                <a:gd name="T9" fmla="*/ 437 h 511"/>
                <a:gd name="T10" fmla="*/ 397 w 510"/>
                <a:gd name="T11" fmla="*/ 467 h 511"/>
                <a:gd name="T12" fmla="*/ 354 w 510"/>
                <a:gd name="T13" fmla="*/ 491 h 511"/>
                <a:gd name="T14" fmla="*/ 307 w 510"/>
                <a:gd name="T15" fmla="*/ 505 h 511"/>
                <a:gd name="T16" fmla="*/ 255 w 510"/>
                <a:gd name="T17" fmla="*/ 511 h 511"/>
                <a:gd name="T18" fmla="*/ 229 w 510"/>
                <a:gd name="T19" fmla="*/ 510 h 511"/>
                <a:gd name="T20" fmla="*/ 179 w 510"/>
                <a:gd name="T21" fmla="*/ 500 h 511"/>
                <a:gd name="T22" fmla="*/ 133 w 510"/>
                <a:gd name="T23" fmla="*/ 480 h 511"/>
                <a:gd name="T24" fmla="*/ 93 w 510"/>
                <a:gd name="T25" fmla="*/ 453 h 511"/>
                <a:gd name="T26" fmla="*/ 59 w 510"/>
                <a:gd name="T27" fmla="*/ 419 h 511"/>
                <a:gd name="T28" fmla="*/ 30 w 510"/>
                <a:gd name="T29" fmla="*/ 379 h 511"/>
                <a:gd name="T30" fmla="*/ 12 w 510"/>
                <a:gd name="T31" fmla="*/ 333 h 511"/>
                <a:gd name="T32" fmla="*/ 2 w 510"/>
                <a:gd name="T33" fmla="*/ 283 h 511"/>
                <a:gd name="T34" fmla="*/ 0 w 510"/>
                <a:gd name="T35" fmla="*/ 257 h 511"/>
                <a:gd name="T36" fmla="*/ 6 w 510"/>
                <a:gd name="T37" fmla="*/ 206 h 511"/>
                <a:gd name="T38" fmla="*/ 20 w 510"/>
                <a:gd name="T39" fmla="*/ 158 h 511"/>
                <a:gd name="T40" fmla="*/ 43 w 510"/>
                <a:gd name="T41" fmla="*/ 115 h 511"/>
                <a:gd name="T42" fmla="*/ 75 w 510"/>
                <a:gd name="T43" fmla="*/ 77 h 511"/>
                <a:gd name="T44" fmla="*/ 112 w 510"/>
                <a:gd name="T45" fmla="*/ 44 h 511"/>
                <a:gd name="T46" fmla="*/ 156 w 510"/>
                <a:gd name="T47" fmla="*/ 21 h 511"/>
                <a:gd name="T48" fmla="*/ 204 w 510"/>
                <a:gd name="T49" fmla="*/ 5 h 511"/>
                <a:gd name="T50" fmla="*/ 255 w 510"/>
                <a:gd name="T51" fmla="*/ 0 h 511"/>
                <a:gd name="T52" fmla="*/ 284 w 510"/>
                <a:gd name="T53" fmla="*/ 1 h 511"/>
                <a:gd name="T54" fmla="*/ 337 w 510"/>
                <a:gd name="T55" fmla="*/ 11 h 511"/>
                <a:gd name="T56" fmla="*/ 384 w 510"/>
                <a:gd name="T57" fmla="*/ 31 h 511"/>
                <a:gd name="T58" fmla="*/ 424 w 510"/>
                <a:gd name="T59" fmla="*/ 59 h 511"/>
                <a:gd name="T60" fmla="*/ 457 w 510"/>
                <a:gd name="T61" fmla="*/ 95 h 511"/>
                <a:gd name="T62" fmla="*/ 481 w 510"/>
                <a:gd name="T63" fmla="*/ 136 h 511"/>
                <a:gd name="T64" fmla="*/ 500 w 510"/>
                <a:gd name="T65" fmla="*/ 182 h 511"/>
                <a:gd name="T66" fmla="*/ 508 w 510"/>
                <a:gd name="T67" fmla="*/ 232 h 511"/>
                <a:gd name="T68" fmla="*/ 510 w 510"/>
                <a:gd name="T69" fmla="*/ 257 h 5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0" h="511">
                  <a:moveTo>
                    <a:pt x="510" y="257"/>
                  </a:moveTo>
                  <a:lnTo>
                    <a:pt x="510" y="257"/>
                  </a:lnTo>
                  <a:lnTo>
                    <a:pt x="508" y="283"/>
                  </a:lnTo>
                  <a:lnTo>
                    <a:pt x="504" y="309"/>
                  </a:lnTo>
                  <a:lnTo>
                    <a:pt x="498" y="333"/>
                  </a:lnTo>
                  <a:lnTo>
                    <a:pt x="490" y="356"/>
                  </a:lnTo>
                  <a:lnTo>
                    <a:pt x="478" y="379"/>
                  </a:lnTo>
                  <a:lnTo>
                    <a:pt x="465" y="399"/>
                  </a:lnTo>
                  <a:lnTo>
                    <a:pt x="451" y="419"/>
                  </a:lnTo>
                  <a:lnTo>
                    <a:pt x="434" y="437"/>
                  </a:lnTo>
                  <a:lnTo>
                    <a:pt x="417" y="453"/>
                  </a:lnTo>
                  <a:lnTo>
                    <a:pt x="397" y="467"/>
                  </a:lnTo>
                  <a:lnTo>
                    <a:pt x="377" y="480"/>
                  </a:lnTo>
                  <a:lnTo>
                    <a:pt x="354" y="491"/>
                  </a:lnTo>
                  <a:lnTo>
                    <a:pt x="331" y="500"/>
                  </a:lnTo>
                  <a:lnTo>
                    <a:pt x="307" y="505"/>
                  </a:lnTo>
                  <a:lnTo>
                    <a:pt x="281" y="510"/>
                  </a:lnTo>
                  <a:lnTo>
                    <a:pt x="255" y="511"/>
                  </a:lnTo>
                  <a:lnTo>
                    <a:pt x="255" y="511"/>
                  </a:lnTo>
                  <a:lnTo>
                    <a:pt x="229" y="510"/>
                  </a:lnTo>
                  <a:lnTo>
                    <a:pt x="204" y="505"/>
                  </a:lnTo>
                  <a:lnTo>
                    <a:pt x="179" y="500"/>
                  </a:lnTo>
                  <a:lnTo>
                    <a:pt x="156" y="491"/>
                  </a:lnTo>
                  <a:lnTo>
                    <a:pt x="133" y="480"/>
                  </a:lnTo>
                  <a:lnTo>
                    <a:pt x="112" y="467"/>
                  </a:lnTo>
                  <a:lnTo>
                    <a:pt x="93" y="453"/>
                  </a:lnTo>
                  <a:lnTo>
                    <a:pt x="75" y="437"/>
                  </a:lnTo>
                  <a:lnTo>
                    <a:pt x="59" y="419"/>
                  </a:lnTo>
                  <a:lnTo>
                    <a:pt x="43" y="399"/>
                  </a:lnTo>
                  <a:lnTo>
                    <a:pt x="30" y="379"/>
                  </a:lnTo>
                  <a:lnTo>
                    <a:pt x="20" y="356"/>
                  </a:lnTo>
                  <a:lnTo>
                    <a:pt x="12" y="333"/>
                  </a:lnTo>
                  <a:lnTo>
                    <a:pt x="6" y="309"/>
                  </a:lnTo>
                  <a:lnTo>
                    <a:pt x="2" y="283"/>
                  </a:lnTo>
                  <a:lnTo>
                    <a:pt x="0" y="257"/>
                  </a:lnTo>
                  <a:lnTo>
                    <a:pt x="0" y="257"/>
                  </a:lnTo>
                  <a:lnTo>
                    <a:pt x="2" y="232"/>
                  </a:lnTo>
                  <a:lnTo>
                    <a:pt x="6" y="206"/>
                  </a:lnTo>
                  <a:lnTo>
                    <a:pt x="12" y="182"/>
                  </a:lnTo>
                  <a:lnTo>
                    <a:pt x="20" y="158"/>
                  </a:lnTo>
                  <a:lnTo>
                    <a:pt x="30" y="136"/>
                  </a:lnTo>
                  <a:lnTo>
                    <a:pt x="43" y="115"/>
                  </a:lnTo>
                  <a:lnTo>
                    <a:pt x="59" y="95"/>
                  </a:lnTo>
                  <a:lnTo>
                    <a:pt x="75" y="77"/>
                  </a:lnTo>
                  <a:lnTo>
                    <a:pt x="93" y="59"/>
                  </a:lnTo>
                  <a:lnTo>
                    <a:pt x="112" y="44"/>
                  </a:lnTo>
                  <a:lnTo>
                    <a:pt x="133" y="31"/>
                  </a:lnTo>
                  <a:lnTo>
                    <a:pt x="156" y="21"/>
                  </a:lnTo>
                  <a:lnTo>
                    <a:pt x="179" y="11"/>
                  </a:lnTo>
                  <a:lnTo>
                    <a:pt x="204" y="5"/>
                  </a:lnTo>
                  <a:lnTo>
                    <a:pt x="229" y="1"/>
                  </a:lnTo>
                  <a:lnTo>
                    <a:pt x="255" y="0"/>
                  </a:lnTo>
                  <a:lnTo>
                    <a:pt x="255" y="0"/>
                  </a:lnTo>
                  <a:lnTo>
                    <a:pt x="284" y="1"/>
                  </a:lnTo>
                  <a:lnTo>
                    <a:pt x="311" y="5"/>
                  </a:lnTo>
                  <a:lnTo>
                    <a:pt x="337" y="11"/>
                  </a:lnTo>
                  <a:lnTo>
                    <a:pt x="361" y="21"/>
                  </a:lnTo>
                  <a:lnTo>
                    <a:pt x="384" y="31"/>
                  </a:lnTo>
                  <a:lnTo>
                    <a:pt x="404" y="44"/>
                  </a:lnTo>
                  <a:lnTo>
                    <a:pt x="424" y="59"/>
                  </a:lnTo>
                  <a:lnTo>
                    <a:pt x="441" y="77"/>
                  </a:lnTo>
                  <a:lnTo>
                    <a:pt x="457" y="95"/>
                  </a:lnTo>
                  <a:lnTo>
                    <a:pt x="470" y="115"/>
                  </a:lnTo>
                  <a:lnTo>
                    <a:pt x="481" y="136"/>
                  </a:lnTo>
                  <a:lnTo>
                    <a:pt x="491" y="158"/>
                  </a:lnTo>
                  <a:lnTo>
                    <a:pt x="500" y="182"/>
                  </a:lnTo>
                  <a:lnTo>
                    <a:pt x="504" y="206"/>
                  </a:lnTo>
                  <a:lnTo>
                    <a:pt x="508" y="232"/>
                  </a:lnTo>
                  <a:lnTo>
                    <a:pt x="510" y="257"/>
                  </a:lnTo>
                  <a:lnTo>
                    <a:pt x="510" y="25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60" name="Line 13"/>
            <p:cNvSpPr>
              <a:spLocks noChangeShapeType="1"/>
            </p:cNvSpPr>
            <p:nvPr userDrawn="1"/>
          </p:nvSpPr>
          <p:spPr bwMode="auto">
            <a:xfrm>
              <a:off x="5667" y="745"/>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pic>
          <p:nvPicPr>
            <p:cNvPr id="61" name="Picture 14"/>
            <p:cNvPicPr>
              <a:picLocks noChangeAspect="1" noChangeArrowheads="1"/>
            </p:cNvPicPr>
            <p:nvPr userDrawn="1"/>
          </p:nvPicPr>
          <p:blipFill>
            <a:blip r:embed="rId5" cstate="hqprint">
              <a:extLst>
                <a:ext uri="{28A0092B-C50C-407E-A947-70E740481C1C}">
                  <a14:useLocalDpi xmlns:a14="http://schemas.microsoft.com/office/drawing/2010/main" val="0"/>
                </a:ext>
              </a:extLst>
            </a:blip>
            <a:srcRect/>
            <a:stretch>
              <a:fillRect/>
            </a:stretch>
          </p:blipFill>
          <p:spPr bwMode="auto">
            <a:xfrm>
              <a:off x="5478" y="637"/>
              <a:ext cx="282" cy="2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2" name="Freeform 15"/>
            <p:cNvSpPr>
              <a:spLocks/>
            </p:cNvSpPr>
            <p:nvPr userDrawn="1"/>
          </p:nvSpPr>
          <p:spPr bwMode="auto">
            <a:xfrm>
              <a:off x="5525" y="658"/>
              <a:ext cx="121" cy="25"/>
            </a:xfrm>
            <a:custGeom>
              <a:avLst/>
              <a:gdLst>
                <a:gd name="T0" fmla="*/ 0 w 364"/>
                <a:gd name="T1" fmla="*/ 75 h 75"/>
                <a:gd name="T2" fmla="*/ 0 w 364"/>
                <a:gd name="T3" fmla="*/ 75 h 75"/>
                <a:gd name="T4" fmla="*/ 19 w 364"/>
                <a:gd name="T5" fmla="*/ 58 h 75"/>
                <a:gd name="T6" fmla="*/ 40 w 364"/>
                <a:gd name="T7" fmla="*/ 44 h 75"/>
                <a:gd name="T8" fmla="*/ 62 w 364"/>
                <a:gd name="T9" fmla="*/ 31 h 75"/>
                <a:gd name="T10" fmla="*/ 85 w 364"/>
                <a:gd name="T11" fmla="*/ 20 h 75"/>
                <a:gd name="T12" fmla="*/ 108 w 364"/>
                <a:gd name="T13" fmla="*/ 11 h 75"/>
                <a:gd name="T14" fmla="*/ 132 w 364"/>
                <a:gd name="T15" fmla="*/ 5 h 75"/>
                <a:gd name="T16" fmla="*/ 156 w 364"/>
                <a:gd name="T17" fmla="*/ 1 h 75"/>
                <a:gd name="T18" fmla="*/ 182 w 364"/>
                <a:gd name="T19" fmla="*/ 0 h 75"/>
                <a:gd name="T20" fmla="*/ 206 w 364"/>
                <a:gd name="T21" fmla="*/ 1 h 75"/>
                <a:gd name="T22" fmla="*/ 231 w 364"/>
                <a:gd name="T23" fmla="*/ 4 h 75"/>
                <a:gd name="T24" fmla="*/ 255 w 364"/>
                <a:gd name="T25" fmla="*/ 10 h 75"/>
                <a:gd name="T26" fmla="*/ 278 w 364"/>
                <a:gd name="T27" fmla="*/ 18 h 75"/>
                <a:gd name="T28" fmla="*/ 301 w 364"/>
                <a:gd name="T29" fmla="*/ 28 h 75"/>
                <a:gd name="T30" fmla="*/ 324 w 364"/>
                <a:gd name="T31" fmla="*/ 41 h 75"/>
                <a:gd name="T32" fmla="*/ 344 w 364"/>
                <a:gd name="T33" fmla="*/ 55 h 75"/>
                <a:gd name="T34" fmla="*/ 364 w 364"/>
                <a:gd name="T35" fmla="*/ 72 h 75"/>
                <a:gd name="T36" fmla="*/ 0 w 364"/>
                <a:gd name="T37"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4" h="75">
                  <a:moveTo>
                    <a:pt x="0" y="75"/>
                  </a:moveTo>
                  <a:lnTo>
                    <a:pt x="0" y="75"/>
                  </a:lnTo>
                  <a:lnTo>
                    <a:pt x="19" y="58"/>
                  </a:lnTo>
                  <a:lnTo>
                    <a:pt x="40" y="44"/>
                  </a:lnTo>
                  <a:lnTo>
                    <a:pt x="62" y="31"/>
                  </a:lnTo>
                  <a:lnTo>
                    <a:pt x="85" y="20"/>
                  </a:lnTo>
                  <a:lnTo>
                    <a:pt x="108" y="11"/>
                  </a:lnTo>
                  <a:lnTo>
                    <a:pt x="132" y="5"/>
                  </a:lnTo>
                  <a:lnTo>
                    <a:pt x="156" y="1"/>
                  </a:lnTo>
                  <a:lnTo>
                    <a:pt x="182" y="0"/>
                  </a:lnTo>
                  <a:lnTo>
                    <a:pt x="206" y="1"/>
                  </a:lnTo>
                  <a:lnTo>
                    <a:pt x="231" y="4"/>
                  </a:lnTo>
                  <a:lnTo>
                    <a:pt x="255" y="10"/>
                  </a:lnTo>
                  <a:lnTo>
                    <a:pt x="278" y="18"/>
                  </a:lnTo>
                  <a:lnTo>
                    <a:pt x="301" y="28"/>
                  </a:lnTo>
                  <a:lnTo>
                    <a:pt x="324" y="41"/>
                  </a:lnTo>
                  <a:lnTo>
                    <a:pt x="344" y="55"/>
                  </a:lnTo>
                  <a:lnTo>
                    <a:pt x="364" y="72"/>
                  </a:lnTo>
                  <a:lnTo>
                    <a:pt x="0" y="75"/>
                  </a:lnTo>
                  <a:close/>
                </a:path>
              </a:pathLst>
            </a:custGeom>
            <a:solidFill>
              <a:srgbClr val="00987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63" name="Freeform 16"/>
            <p:cNvSpPr>
              <a:spLocks/>
            </p:cNvSpPr>
            <p:nvPr userDrawn="1"/>
          </p:nvSpPr>
          <p:spPr bwMode="auto">
            <a:xfrm>
              <a:off x="5525" y="658"/>
              <a:ext cx="121" cy="25"/>
            </a:xfrm>
            <a:custGeom>
              <a:avLst/>
              <a:gdLst>
                <a:gd name="T0" fmla="*/ 0 w 364"/>
                <a:gd name="T1" fmla="*/ 75 h 75"/>
                <a:gd name="T2" fmla="*/ 0 w 364"/>
                <a:gd name="T3" fmla="*/ 75 h 75"/>
                <a:gd name="T4" fmla="*/ 19 w 364"/>
                <a:gd name="T5" fmla="*/ 58 h 75"/>
                <a:gd name="T6" fmla="*/ 40 w 364"/>
                <a:gd name="T7" fmla="*/ 44 h 75"/>
                <a:gd name="T8" fmla="*/ 62 w 364"/>
                <a:gd name="T9" fmla="*/ 31 h 75"/>
                <a:gd name="T10" fmla="*/ 85 w 364"/>
                <a:gd name="T11" fmla="*/ 20 h 75"/>
                <a:gd name="T12" fmla="*/ 108 w 364"/>
                <a:gd name="T13" fmla="*/ 11 h 75"/>
                <a:gd name="T14" fmla="*/ 132 w 364"/>
                <a:gd name="T15" fmla="*/ 5 h 75"/>
                <a:gd name="T16" fmla="*/ 156 w 364"/>
                <a:gd name="T17" fmla="*/ 1 h 75"/>
                <a:gd name="T18" fmla="*/ 182 w 364"/>
                <a:gd name="T19" fmla="*/ 0 h 75"/>
                <a:gd name="T20" fmla="*/ 206 w 364"/>
                <a:gd name="T21" fmla="*/ 1 h 75"/>
                <a:gd name="T22" fmla="*/ 231 w 364"/>
                <a:gd name="T23" fmla="*/ 4 h 75"/>
                <a:gd name="T24" fmla="*/ 255 w 364"/>
                <a:gd name="T25" fmla="*/ 10 h 75"/>
                <a:gd name="T26" fmla="*/ 278 w 364"/>
                <a:gd name="T27" fmla="*/ 18 h 75"/>
                <a:gd name="T28" fmla="*/ 301 w 364"/>
                <a:gd name="T29" fmla="*/ 28 h 75"/>
                <a:gd name="T30" fmla="*/ 324 w 364"/>
                <a:gd name="T31" fmla="*/ 41 h 75"/>
                <a:gd name="T32" fmla="*/ 344 w 364"/>
                <a:gd name="T33" fmla="*/ 55 h 75"/>
                <a:gd name="T34" fmla="*/ 364 w 364"/>
                <a:gd name="T35" fmla="*/ 7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64" h="75">
                  <a:moveTo>
                    <a:pt x="0" y="75"/>
                  </a:moveTo>
                  <a:lnTo>
                    <a:pt x="0" y="75"/>
                  </a:lnTo>
                  <a:lnTo>
                    <a:pt x="19" y="58"/>
                  </a:lnTo>
                  <a:lnTo>
                    <a:pt x="40" y="44"/>
                  </a:lnTo>
                  <a:lnTo>
                    <a:pt x="62" y="31"/>
                  </a:lnTo>
                  <a:lnTo>
                    <a:pt x="85" y="20"/>
                  </a:lnTo>
                  <a:lnTo>
                    <a:pt x="108" y="11"/>
                  </a:lnTo>
                  <a:lnTo>
                    <a:pt x="132" y="5"/>
                  </a:lnTo>
                  <a:lnTo>
                    <a:pt x="156" y="1"/>
                  </a:lnTo>
                  <a:lnTo>
                    <a:pt x="182" y="0"/>
                  </a:lnTo>
                  <a:lnTo>
                    <a:pt x="206" y="1"/>
                  </a:lnTo>
                  <a:lnTo>
                    <a:pt x="231" y="4"/>
                  </a:lnTo>
                  <a:lnTo>
                    <a:pt x="255" y="10"/>
                  </a:lnTo>
                  <a:lnTo>
                    <a:pt x="278" y="18"/>
                  </a:lnTo>
                  <a:lnTo>
                    <a:pt x="301" y="28"/>
                  </a:lnTo>
                  <a:lnTo>
                    <a:pt x="324" y="41"/>
                  </a:lnTo>
                  <a:lnTo>
                    <a:pt x="344" y="55"/>
                  </a:lnTo>
                  <a:lnTo>
                    <a:pt x="364" y="7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pic>
          <p:nvPicPr>
            <p:cNvPr id="64" name="Picture 17"/>
            <p:cNvPicPr>
              <a:picLocks noChangeAspect="1" noChangeArrowheads="1"/>
            </p:cNvPicPr>
            <p:nvPr userDrawn="1"/>
          </p:nvPicPr>
          <p:blipFill>
            <a:blip r:embed="rId6" cstate="hqprint">
              <a:extLst>
                <a:ext uri="{28A0092B-C50C-407E-A947-70E740481C1C}">
                  <a14:useLocalDpi xmlns:a14="http://schemas.microsoft.com/office/drawing/2010/main" val="0"/>
                </a:ext>
              </a:extLst>
            </a:blip>
            <a:srcRect/>
            <a:stretch>
              <a:fillRect/>
            </a:stretch>
          </p:blipFill>
          <p:spPr bwMode="auto">
            <a:xfrm>
              <a:off x="5478" y="637"/>
              <a:ext cx="282" cy="2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5" name="Freeform 18"/>
            <p:cNvSpPr>
              <a:spLocks noEditPoints="1"/>
            </p:cNvSpPr>
            <p:nvPr userDrawn="1"/>
          </p:nvSpPr>
          <p:spPr bwMode="auto">
            <a:xfrm>
              <a:off x="5510" y="659"/>
              <a:ext cx="160" cy="156"/>
            </a:xfrm>
            <a:custGeom>
              <a:avLst/>
              <a:gdLst>
                <a:gd name="T0" fmla="*/ 478 w 478"/>
                <a:gd name="T1" fmla="*/ 232 h 466"/>
                <a:gd name="T2" fmla="*/ 474 w 478"/>
                <a:gd name="T3" fmla="*/ 279 h 466"/>
                <a:gd name="T4" fmla="*/ 460 w 478"/>
                <a:gd name="T5" fmla="*/ 323 h 466"/>
                <a:gd name="T6" fmla="*/ 437 w 478"/>
                <a:gd name="T7" fmla="*/ 363 h 466"/>
                <a:gd name="T8" fmla="*/ 408 w 478"/>
                <a:gd name="T9" fmla="*/ 398 h 466"/>
                <a:gd name="T10" fmla="*/ 373 w 478"/>
                <a:gd name="T11" fmla="*/ 426 h 466"/>
                <a:gd name="T12" fmla="*/ 332 w 478"/>
                <a:gd name="T13" fmla="*/ 447 h 466"/>
                <a:gd name="T14" fmla="*/ 288 w 478"/>
                <a:gd name="T15" fmla="*/ 460 h 466"/>
                <a:gd name="T16" fmla="*/ 239 w 478"/>
                <a:gd name="T17" fmla="*/ 466 h 466"/>
                <a:gd name="T18" fmla="*/ 215 w 478"/>
                <a:gd name="T19" fmla="*/ 465 h 466"/>
                <a:gd name="T20" fmla="*/ 168 w 478"/>
                <a:gd name="T21" fmla="*/ 455 h 466"/>
                <a:gd name="T22" fmla="*/ 125 w 478"/>
                <a:gd name="T23" fmla="*/ 437 h 466"/>
                <a:gd name="T24" fmla="*/ 88 w 478"/>
                <a:gd name="T25" fmla="*/ 412 h 466"/>
                <a:gd name="T26" fmla="*/ 55 w 478"/>
                <a:gd name="T27" fmla="*/ 380 h 466"/>
                <a:gd name="T28" fmla="*/ 29 w 478"/>
                <a:gd name="T29" fmla="*/ 343 h 466"/>
                <a:gd name="T30" fmla="*/ 12 w 478"/>
                <a:gd name="T31" fmla="*/ 302 h 466"/>
                <a:gd name="T32" fmla="*/ 2 w 478"/>
                <a:gd name="T33" fmla="*/ 256 h 466"/>
                <a:gd name="T34" fmla="*/ 0 w 478"/>
                <a:gd name="T35" fmla="*/ 232 h 466"/>
                <a:gd name="T36" fmla="*/ 5 w 478"/>
                <a:gd name="T37" fmla="*/ 185 h 466"/>
                <a:gd name="T38" fmla="*/ 19 w 478"/>
                <a:gd name="T39" fmla="*/ 141 h 466"/>
                <a:gd name="T40" fmla="*/ 42 w 478"/>
                <a:gd name="T41" fmla="*/ 103 h 466"/>
                <a:gd name="T42" fmla="*/ 70 w 478"/>
                <a:gd name="T43" fmla="*/ 68 h 466"/>
                <a:gd name="T44" fmla="*/ 106 w 478"/>
                <a:gd name="T45" fmla="*/ 40 h 466"/>
                <a:gd name="T46" fmla="*/ 146 w 478"/>
                <a:gd name="T47" fmla="*/ 17 h 466"/>
                <a:gd name="T48" fmla="*/ 191 w 478"/>
                <a:gd name="T49" fmla="*/ 4 h 466"/>
                <a:gd name="T50" fmla="*/ 239 w 478"/>
                <a:gd name="T51" fmla="*/ 0 h 466"/>
                <a:gd name="T52" fmla="*/ 264 w 478"/>
                <a:gd name="T53" fmla="*/ 0 h 466"/>
                <a:gd name="T54" fmla="*/ 311 w 478"/>
                <a:gd name="T55" fmla="*/ 10 h 466"/>
                <a:gd name="T56" fmla="*/ 354 w 478"/>
                <a:gd name="T57" fmla="*/ 27 h 466"/>
                <a:gd name="T58" fmla="*/ 391 w 478"/>
                <a:gd name="T59" fmla="*/ 53 h 466"/>
                <a:gd name="T60" fmla="*/ 424 w 478"/>
                <a:gd name="T61" fmla="*/ 84 h 466"/>
                <a:gd name="T62" fmla="*/ 450 w 478"/>
                <a:gd name="T63" fmla="*/ 121 h 466"/>
                <a:gd name="T64" fmla="*/ 467 w 478"/>
                <a:gd name="T65" fmla="*/ 164 h 466"/>
                <a:gd name="T66" fmla="*/ 477 w 478"/>
                <a:gd name="T67" fmla="*/ 208 h 466"/>
                <a:gd name="T68" fmla="*/ 478 w 478"/>
                <a:gd name="T69" fmla="*/ 232 h 466"/>
                <a:gd name="T70" fmla="*/ 478 w 478"/>
                <a:gd name="T71" fmla="*/ 232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78" h="466">
                  <a:moveTo>
                    <a:pt x="478" y="232"/>
                  </a:moveTo>
                  <a:lnTo>
                    <a:pt x="478" y="232"/>
                  </a:lnTo>
                  <a:lnTo>
                    <a:pt x="477" y="256"/>
                  </a:lnTo>
                  <a:lnTo>
                    <a:pt x="474" y="279"/>
                  </a:lnTo>
                  <a:lnTo>
                    <a:pt x="467" y="302"/>
                  </a:lnTo>
                  <a:lnTo>
                    <a:pt x="460" y="323"/>
                  </a:lnTo>
                  <a:lnTo>
                    <a:pt x="450" y="343"/>
                  </a:lnTo>
                  <a:lnTo>
                    <a:pt x="437" y="363"/>
                  </a:lnTo>
                  <a:lnTo>
                    <a:pt x="424" y="380"/>
                  </a:lnTo>
                  <a:lnTo>
                    <a:pt x="408" y="398"/>
                  </a:lnTo>
                  <a:lnTo>
                    <a:pt x="391" y="412"/>
                  </a:lnTo>
                  <a:lnTo>
                    <a:pt x="373" y="426"/>
                  </a:lnTo>
                  <a:lnTo>
                    <a:pt x="354" y="437"/>
                  </a:lnTo>
                  <a:lnTo>
                    <a:pt x="332" y="447"/>
                  </a:lnTo>
                  <a:lnTo>
                    <a:pt x="311" y="455"/>
                  </a:lnTo>
                  <a:lnTo>
                    <a:pt x="288" y="460"/>
                  </a:lnTo>
                  <a:lnTo>
                    <a:pt x="264" y="465"/>
                  </a:lnTo>
                  <a:lnTo>
                    <a:pt x="239" y="466"/>
                  </a:lnTo>
                  <a:lnTo>
                    <a:pt x="239" y="466"/>
                  </a:lnTo>
                  <a:lnTo>
                    <a:pt x="215" y="465"/>
                  </a:lnTo>
                  <a:lnTo>
                    <a:pt x="191" y="460"/>
                  </a:lnTo>
                  <a:lnTo>
                    <a:pt x="168" y="455"/>
                  </a:lnTo>
                  <a:lnTo>
                    <a:pt x="146" y="447"/>
                  </a:lnTo>
                  <a:lnTo>
                    <a:pt x="125" y="437"/>
                  </a:lnTo>
                  <a:lnTo>
                    <a:pt x="106" y="426"/>
                  </a:lnTo>
                  <a:lnTo>
                    <a:pt x="88" y="412"/>
                  </a:lnTo>
                  <a:lnTo>
                    <a:pt x="70" y="398"/>
                  </a:lnTo>
                  <a:lnTo>
                    <a:pt x="55" y="380"/>
                  </a:lnTo>
                  <a:lnTo>
                    <a:pt x="42" y="363"/>
                  </a:lnTo>
                  <a:lnTo>
                    <a:pt x="29" y="343"/>
                  </a:lnTo>
                  <a:lnTo>
                    <a:pt x="19" y="323"/>
                  </a:lnTo>
                  <a:lnTo>
                    <a:pt x="12" y="302"/>
                  </a:lnTo>
                  <a:lnTo>
                    <a:pt x="5" y="279"/>
                  </a:lnTo>
                  <a:lnTo>
                    <a:pt x="2" y="256"/>
                  </a:lnTo>
                  <a:lnTo>
                    <a:pt x="0" y="232"/>
                  </a:lnTo>
                  <a:lnTo>
                    <a:pt x="0" y="232"/>
                  </a:lnTo>
                  <a:lnTo>
                    <a:pt x="2" y="208"/>
                  </a:lnTo>
                  <a:lnTo>
                    <a:pt x="5" y="185"/>
                  </a:lnTo>
                  <a:lnTo>
                    <a:pt x="12" y="164"/>
                  </a:lnTo>
                  <a:lnTo>
                    <a:pt x="19" y="141"/>
                  </a:lnTo>
                  <a:lnTo>
                    <a:pt x="29" y="121"/>
                  </a:lnTo>
                  <a:lnTo>
                    <a:pt x="42" y="103"/>
                  </a:lnTo>
                  <a:lnTo>
                    <a:pt x="55" y="84"/>
                  </a:lnTo>
                  <a:lnTo>
                    <a:pt x="70" y="68"/>
                  </a:lnTo>
                  <a:lnTo>
                    <a:pt x="88" y="53"/>
                  </a:lnTo>
                  <a:lnTo>
                    <a:pt x="106" y="40"/>
                  </a:lnTo>
                  <a:lnTo>
                    <a:pt x="125" y="27"/>
                  </a:lnTo>
                  <a:lnTo>
                    <a:pt x="146" y="17"/>
                  </a:lnTo>
                  <a:lnTo>
                    <a:pt x="168" y="10"/>
                  </a:lnTo>
                  <a:lnTo>
                    <a:pt x="191" y="4"/>
                  </a:lnTo>
                  <a:lnTo>
                    <a:pt x="215" y="0"/>
                  </a:lnTo>
                  <a:lnTo>
                    <a:pt x="239" y="0"/>
                  </a:lnTo>
                  <a:lnTo>
                    <a:pt x="239" y="0"/>
                  </a:lnTo>
                  <a:lnTo>
                    <a:pt x="264" y="0"/>
                  </a:lnTo>
                  <a:lnTo>
                    <a:pt x="288" y="4"/>
                  </a:lnTo>
                  <a:lnTo>
                    <a:pt x="311" y="10"/>
                  </a:lnTo>
                  <a:lnTo>
                    <a:pt x="332" y="17"/>
                  </a:lnTo>
                  <a:lnTo>
                    <a:pt x="354" y="27"/>
                  </a:lnTo>
                  <a:lnTo>
                    <a:pt x="373" y="40"/>
                  </a:lnTo>
                  <a:lnTo>
                    <a:pt x="391" y="53"/>
                  </a:lnTo>
                  <a:lnTo>
                    <a:pt x="408" y="67"/>
                  </a:lnTo>
                  <a:lnTo>
                    <a:pt x="424" y="84"/>
                  </a:lnTo>
                  <a:lnTo>
                    <a:pt x="437" y="103"/>
                  </a:lnTo>
                  <a:lnTo>
                    <a:pt x="450" y="121"/>
                  </a:lnTo>
                  <a:lnTo>
                    <a:pt x="460" y="141"/>
                  </a:lnTo>
                  <a:lnTo>
                    <a:pt x="467" y="164"/>
                  </a:lnTo>
                  <a:lnTo>
                    <a:pt x="474" y="185"/>
                  </a:lnTo>
                  <a:lnTo>
                    <a:pt x="477" y="208"/>
                  </a:lnTo>
                  <a:lnTo>
                    <a:pt x="478" y="232"/>
                  </a:lnTo>
                  <a:lnTo>
                    <a:pt x="478" y="232"/>
                  </a:lnTo>
                  <a:close/>
                  <a:moveTo>
                    <a:pt x="478" y="232"/>
                  </a:moveTo>
                  <a:lnTo>
                    <a:pt x="478" y="23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66" name="Freeform 19"/>
            <p:cNvSpPr>
              <a:spLocks/>
            </p:cNvSpPr>
            <p:nvPr userDrawn="1"/>
          </p:nvSpPr>
          <p:spPr bwMode="auto">
            <a:xfrm>
              <a:off x="5510" y="659"/>
              <a:ext cx="160" cy="156"/>
            </a:xfrm>
            <a:custGeom>
              <a:avLst/>
              <a:gdLst>
                <a:gd name="T0" fmla="*/ 478 w 478"/>
                <a:gd name="T1" fmla="*/ 232 h 466"/>
                <a:gd name="T2" fmla="*/ 474 w 478"/>
                <a:gd name="T3" fmla="*/ 279 h 466"/>
                <a:gd name="T4" fmla="*/ 460 w 478"/>
                <a:gd name="T5" fmla="*/ 323 h 466"/>
                <a:gd name="T6" fmla="*/ 437 w 478"/>
                <a:gd name="T7" fmla="*/ 363 h 466"/>
                <a:gd name="T8" fmla="*/ 408 w 478"/>
                <a:gd name="T9" fmla="*/ 398 h 466"/>
                <a:gd name="T10" fmla="*/ 373 w 478"/>
                <a:gd name="T11" fmla="*/ 426 h 466"/>
                <a:gd name="T12" fmla="*/ 332 w 478"/>
                <a:gd name="T13" fmla="*/ 447 h 466"/>
                <a:gd name="T14" fmla="*/ 288 w 478"/>
                <a:gd name="T15" fmla="*/ 460 h 466"/>
                <a:gd name="T16" fmla="*/ 239 w 478"/>
                <a:gd name="T17" fmla="*/ 466 h 466"/>
                <a:gd name="T18" fmla="*/ 215 w 478"/>
                <a:gd name="T19" fmla="*/ 465 h 466"/>
                <a:gd name="T20" fmla="*/ 168 w 478"/>
                <a:gd name="T21" fmla="*/ 455 h 466"/>
                <a:gd name="T22" fmla="*/ 125 w 478"/>
                <a:gd name="T23" fmla="*/ 437 h 466"/>
                <a:gd name="T24" fmla="*/ 88 w 478"/>
                <a:gd name="T25" fmla="*/ 412 h 466"/>
                <a:gd name="T26" fmla="*/ 55 w 478"/>
                <a:gd name="T27" fmla="*/ 380 h 466"/>
                <a:gd name="T28" fmla="*/ 29 w 478"/>
                <a:gd name="T29" fmla="*/ 343 h 466"/>
                <a:gd name="T30" fmla="*/ 12 w 478"/>
                <a:gd name="T31" fmla="*/ 302 h 466"/>
                <a:gd name="T32" fmla="*/ 2 w 478"/>
                <a:gd name="T33" fmla="*/ 256 h 466"/>
                <a:gd name="T34" fmla="*/ 0 w 478"/>
                <a:gd name="T35" fmla="*/ 232 h 466"/>
                <a:gd name="T36" fmla="*/ 5 w 478"/>
                <a:gd name="T37" fmla="*/ 185 h 466"/>
                <a:gd name="T38" fmla="*/ 19 w 478"/>
                <a:gd name="T39" fmla="*/ 141 h 466"/>
                <a:gd name="T40" fmla="*/ 42 w 478"/>
                <a:gd name="T41" fmla="*/ 103 h 466"/>
                <a:gd name="T42" fmla="*/ 70 w 478"/>
                <a:gd name="T43" fmla="*/ 68 h 466"/>
                <a:gd name="T44" fmla="*/ 106 w 478"/>
                <a:gd name="T45" fmla="*/ 40 h 466"/>
                <a:gd name="T46" fmla="*/ 146 w 478"/>
                <a:gd name="T47" fmla="*/ 17 h 466"/>
                <a:gd name="T48" fmla="*/ 191 w 478"/>
                <a:gd name="T49" fmla="*/ 4 h 466"/>
                <a:gd name="T50" fmla="*/ 239 w 478"/>
                <a:gd name="T51" fmla="*/ 0 h 466"/>
                <a:gd name="T52" fmla="*/ 264 w 478"/>
                <a:gd name="T53" fmla="*/ 0 h 466"/>
                <a:gd name="T54" fmla="*/ 311 w 478"/>
                <a:gd name="T55" fmla="*/ 10 h 466"/>
                <a:gd name="T56" fmla="*/ 354 w 478"/>
                <a:gd name="T57" fmla="*/ 27 h 466"/>
                <a:gd name="T58" fmla="*/ 391 w 478"/>
                <a:gd name="T59" fmla="*/ 53 h 466"/>
                <a:gd name="T60" fmla="*/ 424 w 478"/>
                <a:gd name="T61" fmla="*/ 84 h 466"/>
                <a:gd name="T62" fmla="*/ 450 w 478"/>
                <a:gd name="T63" fmla="*/ 121 h 466"/>
                <a:gd name="T64" fmla="*/ 467 w 478"/>
                <a:gd name="T65" fmla="*/ 164 h 466"/>
                <a:gd name="T66" fmla="*/ 477 w 478"/>
                <a:gd name="T67" fmla="*/ 208 h 466"/>
                <a:gd name="T68" fmla="*/ 478 w 478"/>
                <a:gd name="T69" fmla="*/ 232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78" h="466">
                  <a:moveTo>
                    <a:pt x="478" y="232"/>
                  </a:moveTo>
                  <a:lnTo>
                    <a:pt x="478" y="232"/>
                  </a:lnTo>
                  <a:lnTo>
                    <a:pt x="477" y="256"/>
                  </a:lnTo>
                  <a:lnTo>
                    <a:pt x="474" y="279"/>
                  </a:lnTo>
                  <a:lnTo>
                    <a:pt x="467" y="302"/>
                  </a:lnTo>
                  <a:lnTo>
                    <a:pt x="460" y="323"/>
                  </a:lnTo>
                  <a:lnTo>
                    <a:pt x="450" y="343"/>
                  </a:lnTo>
                  <a:lnTo>
                    <a:pt x="437" y="363"/>
                  </a:lnTo>
                  <a:lnTo>
                    <a:pt x="424" y="380"/>
                  </a:lnTo>
                  <a:lnTo>
                    <a:pt x="408" y="398"/>
                  </a:lnTo>
                  <a:lnTo>
                    <a:pt x="391" y="412"/>
                  </a:lnTo>
                  <a:lnTo>
                    <a:pt x="373" y="426"/>
                  </a:lnTo>
                  <a:lnTo>
                    <a:pt x="354" y="437"/>
                  </a:lnTo>
                  <a:lnTo>
                    <a:pt x="332" y="447"/>
                  </a:lnTo>
                  <a:lnTo>
                    <a:pt x="311" y="455"/>
                  </a:lnTo>
                  <a:lnTo>
                    <a:pt x="288" y="460"/>
                  </a:lnTo>
                  <a:lnTo>
                    <a:pt x="264" y="465"/>
                  </a:lnTo>
                  <a:lnTo>
                    <a:pt x="239" y="466"/>
                  </a:lnTo>
                  <a:lnTo>
                    <a:pt x="239" y="466"/>
                  </a:lnTo>
                  <a:lnTo>
                    <a:pt x="215" y="465"/>
                  </a:lnTo>
                  <a:lnTo>
                    <a:pt x="191" y="460"/>
                  </a:lnTo>
                  <a:lnTo>
                    <a:pt x="168" y="455"/>
                  </a:lnTo>
                  <a:lnTo>
                    <a:pt x="146" y="447"/>
                  </a:lnTo>
                  <a:lnTo>
                    <a:pt x="125" y="437"/>
                  </a:lnTo>
                  <a:lnTo>
                    <a:pt x="106" y="426"/>
                  </a:lnTo>
                  <a:lnTo>
                    <a:pt x="88" y="412"/>
                  </a:lnTo>
                  <a:lnTo>
                    <a:pt x="70" y="398"/>
                  </a:lnTo>
                  <a:lnTo>
                    <a:pt x="55" y="380"/>
                  </a:lnTo>
                  <a:lnTo>
                    <a:pt x="42" y="363"/>
                  </a:lnTo>
                  <a:lnTo>
                    <a:pt x="29" y="343"/>
                  </a:lnTo>
                  <a:lnTo>
                    <a:pt x="19" y="323"/>
                  </a:lnTo>
                  <a:lnTo>
                    <a:pt x="12" y="302"/>
                  </a:lnTo>
                  <a:lnTo>
                    <a:pt x="5" y="279"/>
                  </a:lnTo>
                  <a:lnTo>
                    <a:pt x="2" y="256"/>
                  </a:lnTo>
                  <a:lnTo>
                    <a:pt x="0" y="232"/>
                  </a:lnTo>
                  <a:lnTo>
                    <a:pt x="0" y="232"/>
                  </a:lnTo>
                  <a:lnTo>
                    <a:pt x="2" y="208"/>
                  </a:lnTo>
                  <a:lnTo>
                    <a:pt x="5" y="185"/>
                  </a:lnTo>
                  <a:lnTo>
                    <a:pt x="12" y="164"/>
                  </a:lnTo>
                  <a:lnTo>
                    <a:pt x="19" y="141"/>
                  </a:lnTo>
                  <a:lnTo>
                    <a:pt x="29" y="121"/>
                  </a:lnTo>
                  <a:lnTo>
                    <a:pt x="42" y="103"/>
                  </a:lnTo>
                  <a:lnTo>
                    <a:pt x="55" y="84"/>
                  </a:lnTo>
                  <a:lnTo>
                    <a:pt x="70" y="68"/>
                  </a:lnTo>
                  <a:lnTo>
                    <a:pt x="88" y="53"/>
                  </a:lnTo>
                  <a:lnTo>
                    <a:pt x="106" y="40"/>
                  </a:lnTo>
                  <a:lnTo>
                    <a:pt x="125" y="27"/>
                  </a:lnTo>
                  <a:lnTo>
                    <a:pt x="146" y="17"/>
                  </a:lnTo>
                  <a:lnTo>
                    <a:pt x="168" y="10"/>
                  </a:lnTo>
                  <a:lnTo>
                    <a:pt x="191" y="4"/>
                  </a:lnTo>
                  <a:lnTo>
                    <a:pt x="215" y="0"/>
                  </a:lnTo>
                  <a:lnTo>
                    <a:pt x="239" y="0"/>
                  </a:lnTo>
                  <a:lnTo>
                    <a:pt x="239" y="0"/>
                  </a:lnTo>
                  <a:lnTo>
                    <a:pt x="264" y="0"/>
                  </a:lnTo>
                  <a:lnTo>
                    <a:pt x="288" y="4"/>
                  </a:lnTo>
                  <a:lnTo>
                    <a:pt x="311" y="10"/>
                  </a:lnTo>
                  <a:lnTo>
                    <a:pt x="332" y="17"/>
                  </a:lnTo>
                  <a:lnTo>
                    <a:pt x="354" y="27"/>
                  </a:lnTo>
                  <a:lnTo>
                    <a:pt x="373" y="40"/>
                  </a:lnTo>
                  <a:lnTo>
                    <a:pt x="391" y="53"/>
                  </a:lnTo>
                  <a:lnTo>
                    <a:pt x="408" y="67"/>
                  </a:lnTo>
                  <a:lnTo>
                    <a:pt x="424" y="84"/>
                  </a:lnTo>
                  <a:lnTo>
                    <a:pt x="437" y="103"/>
                  </a:lnTo>
                  <a:lnTo>
                    <a:pt x="450" y="121"/>
                  </a:lnTo>
                  <a:lnTo>
                    <a:pt x="460" y="141"/>
                  </a:lnTo>
                  <a:lnTo>
                    <a:pt x="467" y="164"/>
                  </a:lnTo>
                  <a:lnTo>
                    <a:pt x="474" y="185"/>
                  </a:lnTo>
                  <a:lnTo>
                    <a:pt x="477" y="208"/>
                  </a:lnTo>
                  <a:lnTo>
                    <a:pt x="478" y="232"/>
                  </a:lnTo>
                  <a:lnTo>
                    <a:pt x="478" y="23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67" name="Line 20"/>
            <p:cNvSpPr>
              <a:spLocks noChangeShapeType="1"/>
            </p:cNvSpPr>
            <p:nvPr userDrawn="1"/>
          </p:nvSpPr>
          <p:spPr bwMode="auto">
            <a:xfrm>
              <a:off x="5670" y="737"/>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pic>
          <p:nvPicPr>
            <p:cNvPr id="68" name="Picture 21"/>
            <p:cNvPicPr>
              <a:picLocks noChangeAspect="1" noChangeArrowheads="1"/>
            </p:cNvPicPr>
            <p:nvPr userDrawn="1"/>
          </p:nvPicPr>
          <p:blipFill>
            <a:blip r:embed="rId7" cstate="hqprint">
              <a:extLst>
                <a:ext uri="{28A0092B-C50C-407E-A947-70E740481C1C}">
                  <a14:useLocalDpi xmlns:a14="http://schemas.microsoft.com/office/drawing/2010/main" val="0"/>
                </a:ext>
              </a:extLst>
            </a:blip>
            <a:srcRect/>
            <a:stretch>
              <a:fillRect/>
            </a:stretch>
          </p:blipFill>
          <p:spPr bwMode="auto">
            <a:xfrm>
              <a:off x="5478" y="637"/>
              <a:ext cx="282" cy="2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9" name="Freeform 22"/>
            <p:cNvSpPr>
              <a:spLocks noEditPoints="1"/>
            </p:cNvSpPr>
            <p:nvPr userDrawn="1"/>
          </p:nvSpPr>
          <p:spPr bwMode="auto">
            <a:xfrm>
              <a:off x="5526" y="673"/>
              <a:ext cx="138" cy="139"/>
            </a:xfrm>
            <a:custGeom>
              <a:avLst/>
              <a:gdLst>
                <a:gd name="T0" fmla="*/ 415 w 415"/>
                <a:gd name="T1" fmla="*/ 209 h 417"/>
                <a:gd name="T2" fmla="*/ 411 w 415"/>
                <a:gd name="T3" fmla="*/ 251 h 417"/>
                <a:gd name="T4" fmla="*/ 400 w 415"/>
                <a:gd name="T5" fmla="*/ 291 h 417"/>
                <a:gd name="T6" fmla="*/ 379 w 415"/>
                <a:gd name="T7" fmla="*/ 325 h 417"/>
                <a:gd name="T8" fmla="*/ 355 w 415"/>
                <a:gd name="T9" fmla="*/ 356 h 417"/>
                <a:gd name="T10" fmla="*/ 324 w 415"/>
                <a:gd name="T11" fmla="*/ 382 h 417"/>
                <a:gd name="T12" fmla="*/ 289 w 415"/>
                <a:gd name="T13" fmla="*/ 400 h 417"/>
                <a:gd name="T14" fmla="*/ 249 w 415"/>
                <a:gd name="T15" fmla="*/ 413 h 417"/>
                <a:gd name="T16" fmla="*/ 208 w 415"/>
                <a:gd name="T17" fmla="*/ 417 h 417"/>
                <a:gd name="T18" fmla="*/ 186 w 415"/>
                <a:gd name="T19" fmla="*/ 416 h 417"/>
                <a:gd name="T20" fmla="*/ 146 w 415"/>
                <a:gd name="T21" fmla="*/ 407 h 417"/>
                <a:gd name="T22" fmla="*/ 109 w 415"/>
                <a:gd name="T23" fmla="*/ 392 h 417"/>
                <a:gd name="T24" fmla="*/ 76 w 415"/>
                <a:gd name="T25" fmla="*/ 370 h 417"/>
                <a:gd name="T26" fmla="*/ 47 w 415"/>
                <a:gd name="T27" fmla="*/ 342 h 417"/>
                <a:gd name="T28" fmla="*/ 26 w 415"/>
                <a:gd name="T29" fmla="*/ 308 h 417"/>
                <a:gd name="T30" fmla="*/ 10 w 415"/>
                <a:gd name="T31" fmla="*/ 271 h 417"/>
                <a:gd name="T32" fmla="*/ 2 w 415"/>
                <a:gd name="T33" fmla="*/ 229 h 417"/>
                <a:gd name="T34" fmla="*/ 0 w 415"/>
                <a:gd name="T35" fmla="*/ 209 h 417"/>
                <a:gd name="T36" fmla="*/ 4 w 415"/>
                <a:gd name="T37" fmla="*/ 167 h 417"/>
                <a:gd name="T38" fmla="*/ 16 w 415"/>
                <a:gd name="T39" fmla="*/ 128 h 417"/>
                <a:gd name="T40" fmla="*/ 36 w 415"/>
                <a:gd name="T41" fmla="*/ 93 h 417"/>
                <a:gd name="T42" fmla="*/ 62 w 415"/>
                <a:gd name="T43" fmla="*/ 61 h 417"/>
                <a:gd name="T44" fmla="*/ 92 w 415"/>
                <a:gd name="T45" fmla="*/ 36 h 417"/>
                <a:gd name="T46" fmla="*/ 128 w 415"/>
                <a:gd name="T47" fmla="*/ 17 h 417"/>
                <a:gd name="T48" fmla="*/ 166 w 415"/>
                <a:gd name="T49" fmla="*/ 4 h 417"/>
                <a:gd name="T50" fmla="*/ 208 w 415"/>
                <a:gd name="T51" fmla="*/ 0 h 417"/>
                <a:gd name="T52" fmla="*/ 229 w 415"/>
                <a:gd name="T53" fmla="*/ 1 h 417"/>
                <a:gd name="T54" fmla="*/ 269 w 415"/>
                <a:gd name="T55" fmla="*/ 10 h 417"/>
                <a:gd name="T56" fmla="*/ 306 w 415"/>
                <a:gd name="T57" fmla="*/ 26 h 417"/>
                <a:gd name="T58" fmla="*/ 339 w 415"/>
                <a:gd name="T59" fmla="*/ 48 h 417"/>
                <a:gd name="T60" fmla="*/ 368 w 415"/>
                <a:gd name="T61" fmla="*/ 75 h 417"/>
                <a:gd name="T62" fmla="*/ 391 w 415"/>
                <a:gd name="T63" fmla="*/ 110 h 417"/>
                <a:gd name="T64" fmla="*/ 407 w 415"/>
                <a:gd name="T65" fmla="*/ 147 h 417"/>
                <a:gd name="T66" fmla="*/ 414 w 415"/>
                <a:gd name="T67" fmla="*/ 188 h 417"/>
                <a:gd name="T68" fmla="*/ 415 w 415"/>
                <a:gd name="T69" fmla="*/ 209 h 417"/>
                <a:gd name="T70" fmla="*/ 415 w 415"/>
                <a:gd name="T71" fmla="*/ 209 h 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15" h="417">
                  <a:moveTo>
                    <a:pt x="415" y="209"/>
                  </a:moveTo>
                  <a:lnTo>
                    <a:pt x="415" y="209"/>
                  </a:lnTo>
                  <a:lnTo>
                    <a:pt x="414" y="229"/>
                  </a:lnTo>
                  <a:lnTo>
                    <a:pt x="411" y="251"/>
                  </a:lnTo>
                  <a:lnTo>
                    <a:pt x="407" y="271"/>
                  </a:lnTo>
                  <a:lnTo>
                    <a:pt x="400" y="291"/>
                  </a:lnTo>
                  <a:lnTo>
                    <a:pt x="391" y="308"/>
                  </a:lnTo>
                  <a:lnTo>
                    <a:pt x="379" y="325"/>
                  </a:lnTo>
                  <a:lnTo>
                    <a:pt x="368" y="342"/>
                  </a:lnTo>
                  <a:lnTo>
                    <a:pt x="355" y="356"/>
                  </a:lnTo>
                  <a:lnTo>
                    <a:pt x="339" y="370"/>
                  </a:lnTo>
                  <a:lnTo>
                    <a:pt x="324" y="382"/>
                  </a:lnTo>
                  <a:lnTo>
                    <a:pt x="306" y="392"/>
                  </a:lnTo>
                  <a:lnTo>
                    <a:pt x="289" y="400"/>
                  </a:lnTo>
                  <a:lnTo>
                    <a:pt x="269" y="407"/>
                  </a:lnTo>
                  <a:lnTo>
                    <a:pt x="249" y="413"/>
                  </a:lnTo>
                  <a:lnTo>
                    <a:pt x="229" y="416"/>
                  </a:lnTo>
                  <a:lnTo>
                    <a:pt x="208" y="417"/>
                  </a:lnTo>
                  <a:lnTo>
                    <a:pt x="208" y="417"/>
                  </a:lnTo>
                  <a:lnTo>
                    <a:pt x="186" y="416"/>
                  </a:lnTo>
                  <a:lnTo>
                    <a:pt x="166" y="413"/>
                  </a:lnTo>
                  <a:lnTo>
                    <a:pt x="146" y="407"/>
                  </a:lnTo>
                  <a:lnTo>
                    <a:pt x="128" y="400"/>
                  </a:lnTo>
                  <a:lnTo>
                    <a:pt x="109" y="392"/>
                  </a:lnTo>
                  <a:lnTo>
                    <a:pt x="92" y="382"/>
                  </a:lnTo>
                  <a:lnTo>
                    <a:pt x="76" y="370"/>
                  </a:lnTo>
                  <a:lnTo>
                    <a:pt x="62" y="356"/>
                  </a:lnTo>
                  <a:lnTo>
                    <a:pt x="47" y="342"/>
                  </a:lnTo>
                  <a:lnTo>
                    <a:pt x="36" y="325"/>
                  </a:lnTo>
                  <a:lnTo>
                    <a:pt x="26" y="308"/>
                  </a:lnTo>
                  <a:lnTo>
                    <a:pt x="16" y="291"/>
                  </a:lnTo>
                  <a:lnTo>
                    <a:pt x="10" y="271"/>
                  </a:lnTo>
                  <a:lnTo>
                    <a:pt x="4" y="251"/>
                  </a:lnTo>
                  <a:lnTo>
                    <a:pt x="2" y="229"/>
                  </a:lnTo>
                  <a:lnTo>
                    <a:pt x="0" y="209"/>
                  </a:lnTo>
                  <a:lnTo>
                    <a:pt x="0" y="209"/>
                  </a:lnTo>
                  <a:lnTo>
                    <a:pt x="2" y="188"/>
                  </a:lnTo>
                  <a:lnTo>
                    <a:pt x="4" y="167"/>
                  </a:lnTo>
                  <a:lnTo>
                    <a:pt x="10" y="147"/>
                  </a:lnTo>
                  <a:lnTo>
                    <a:pt x="16" y="128"/>
                  </a:lnTo>
                  <a:lnTo>
                    <a:pt x="26" y="110"/>
                  </a:lnTo>
                  <a:lnTo>
                    <a:pt x="36" y="93"/>
                  </a:lnTo>
                  <a:lnTo>
                    <a:pt x="47" y="75"/>
                  </a:lnTo>
                  <a:lnTo>
                    <a:pt x="62" y="61"/>
                  </a:lnTo>
                  <a:lnTo>
                    <a:pt x="76" y="48"/>
                  </a:lnTo>
                  <a:lnTo>
                    <a:pt x="92" y="36"/>
                  </a:lnTo>
                  <a:lnTo>
                    <a:pt x="109" y="26"/>
                  </a:lnTo>
                  <a:lnTo>
                    <a:pt x="128" y="17"/>
                  </a:lnTo>
                  <a:lnTo>
                    <a:pt x="146" y="10"/>
                  </a:lnTo>
                  <a:lnTo>
                    <a:pt x="166" y="4"/>
                  </a:lnTo>
                  <a:lnTo>
                    <a:pt x="186" y="1"/>
                  </a:lnTo>
                  <a:lnTo>
                    <a:pt x="208" y="0"/>
                  </a:lnTo>
                  <a:lnTo>
                    <a:pt x="208" y="0"/>
                  </a:lnTo>
                  <a:lnTo>
                    <a:pt x="229" y="1"/>
                  </a:lnTo>
                  <a:lnTo>
                    <a:pt x="249" y="4"/>
                  </a:lnTo>
                  <a:lnTo>
                    <a:pt x="269" y="10"/>
                  </a:lnTo>
                  <a:lnTo>
                    <a:pt x="289" y="17"/>
                  </a:lnTo>
                  <a:lnTo>
                    <a:pt x="306" y="26"/>
                  </a:lnTo>
                  <a:lnTo>
                    <a:pt x="324" y="36"/>
                  </a:lnTo>
                  <a:lnTo>
                    <a:pt x="339" y="48"/>
                  </a:lnTo>
                  <a:lnTo>
                    <a:pt x="355" y="61"/>
                  </a:lnTo>
                  <a:lnTo>
                    <a:pt x="368" y="75"/>
                  </a:lnTo>
                  <a:lnTo>
                    <a:pt x="379" y="93"/>
                  </a:lnTo>
                  <a:lnTo>
                    <a:pt x="391" y="110"/>
                  </a:lnTo>
                  <a:lnTo>
                    <a:pt x="400" y="128"/>
                  </a:lnTo>
                  <a:lnTo>
                    <a:pt x="407" y="147"/>
                  </a:lnTo>
                  <a:lnTo>
                    <a:pt x="411" y="167"/>
                  </a:lnTo>
                  <a:lnTo>
                    <a:pt x="414" y="188"/>
                  </a:lnTo>
                  <a:lnTo>
                    <a:pt x="415" y="209"/>
                  </a:lnTo>
                  <a:lnTo>
                    <a:pt x="415" y="209"/>
                  </a:lnTo>
                  <a:close/>
                  <a:moveTo>
                    <a:pt x="415" y="209"/>
                  </a:moveTo>
                  <a:lnTo>
                    <a:pt x="415" y="20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70" name="Freeform 23"/>
            <p:cNvSpPr>
              <a:spLocks/>
            </p:cNvSpPr>
            <p:nvPr userDrawn="1"/>
          </p:nvSpPr>
          <p:spPr bwMode="auto">
            <a:xfrm>
              <a:off x="5526" y="673"/>
              <a:ext cx="138" cy="139"/>
            </a:xfrm>
            <a:custGeom>
              <a:avLst/>
              <a:gdLst>
                <a:gd name="T0" fmla="*/ 415 w 415"/>
                <a:gd name="T1" fmla="*/ 209 h 417"/>
                <a:gd name="T2" fmla="*/ 411 w 415"/>
                <a:gd name="T3" fmla="*/ 251 h 417"/>
                <a:gd name="T4" fmla="*/ 400 w 415"/>
                <a:gd name="T5" fmla="*/ 291 h 417"/>
                <a:gd name="T6" fmla="*/ 379 w 415"/>
                <a:gd name="T7" fmla="*/ 325 h 417"/>
                <a:gd name="T8" fmla="*/ 355 w 415"/>
                <a:gd name="T9" fmla="*/ 356 h 417"/>
                <a:gd name="T10" fmla="*/ 324 w 415"/>
                <a:gd name="T11" fmla="*/ 382 h 417"/>
                <a:gd name="T12" fmla="*/ 289 w 415"/>
                <a:gd name="T13" fmla="*/ 400 h 417"/>
                <a:gd name="T14" fmla="*/ 249 w 415"/>
                <a:gd name="T15" fmla="*/ 413 h 417"/>
                <a:gd name="T16" fmla="*/ 208 w 415"/>
                <a:gd name="T17" fmla="*/ 417 h 417"/>
                <a:gd name="T18" fmla="*/ 186 w 415"/>
                <a:gd name="T19" fmla="*/ 416 h 417"/>
                <a:gd name="T20" fmla="*/ 146 w 415"/>
                <a:gd name="T21" fmla="*/ 407 h 417"/>
                <a:gd name="T22" fmla="*/ 109 w 415"/>
                <a:gd name="T23" fmla="*/ 392 h 417"/>
                <a:gd name="T24" fmla="*/ 76 w 415"/>
                <a:gd name="T25" fmla="*/ 370 h 417"/>
                <a:gd name="T26" fmla="*/ 47 w 415"/>
                <a:gd name="T27" fmla="*/ 342 h 417"/>
                <a:gd name="T28" fmla="*/ 26 w 415"/>
                <a:gd name="T29" fmla="*/ 308 h 417"/>
                <a:gd name="T30" fmla="*/ 10 w 415"/>
                <a:gd name="T31" fmla="*/ 271 h 417"/>
                <a:gd name="T32" fmla="*/ 2 w 415"/>
                <a:gd name="T33" fmla="*/ 229 h 417"/>
                <a:gd name="T34" fmla="*/ 0 w 415"/>
                <a:gd name="T35" fmla="*/ 209 h 417"/>
                <a:gd name="T36" fmla="*/ 4 w 415"/>
                <a:gd name="T37" fmla="*/ 167 h 417"/>
                <a:gd name="T38" fmla="*/ 16 w 415"/>
                <a:gd name="T39" fmla="*/ 128 h 417"/>
                <a:gd name="T40" fmla="*/ 36 w 415"/>
                <a:gd name="T41" fmla="*/ 93 h 417"/>
                <a:gd name="T42" fmla="*/ 62 w 415"/>
                <a:gd name="T43" fmla="*/ 61 h 417"/>
                <a:gd name="T44" fmla="*/ 92 w 415"/>
                <a:gd name="T45" fmla="*/ 36 h 417"/>
                <a:gd name="T46" fmla="*/ 128 w 415"/>
                <a:gd name="T47" fmla="*/ 17 h 417"/>
                <a:gd name="T48" fmla="*/ 166 w 415"/>
                <a:gd name="T49" fmla="*/ 4 h 417"/>
                <a:gd name="T50" fmla="*/ 208 w 415"/>
                <a:gd name="T51" fmla="*/ 0 h 417"/>
                <a:gd name="T52" fmla="*/ 229 w 415"/>
                <a:gd name="T53" fmla="*/ 1 h 417"/>
                <a:gd name="T54" fmla="*/ 269 w 415"/>
                <a:gd name="T55" fmla="*/ 10 h 417"/>
                <a:gd name="T56" fmla="*/ 306 w 415"/>
                <a:gd name="T57" fmla="*/ 26 h 417"/>
                <a:gd name="T58" fmla="*/ 339 w 415"/>
                <a:gd name="T59" fmla="*/ 48 h 417"/>
                <a:gd name="T60" fmla="*/ 368 w 415"/>
                <a:gd name="T61" fmla="*/ 75 h 417"/>
                <a:gd name="T62" fmla="*/ 391 w 415"/>
                <a:gd name="T63" fmla="*/ 110 h 417"/>
                <a:gd name="T64" fmla="*/ 407 w 415"/>
                <a:gd name="T65" fmla="*/ 147 h 417"/>
                <a:gd name="T66" fmla="*/ 414 w 415"/>
                <a:gd name="T67" fmla="*/ 188 h 417"/>
                <a:gd name="T68" fmla="*/ 415 w 415"/>
                <a:gd name="T69" fmla="*/ 209 h 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15" h="417">
                  <a:moveTo>
                    <a:pt x="415" y="209"/>
                  </a:moveTo>
                  <a:lnTo>
                    <a:pt x="415" y="209"/>
                  </a:lnTo>
                  <a:lnTo>
                    <a:pt x="414" y="229"/>
                  </a:lnTo>
                  <a:lnTo>
                    <a:pt x="411" y="251"/>
                  </a:lnTo>
                  <a:lnTo>
                    <a:pt x="407" y="271"/>
                  </a:lnTo>
                  <a:lnTo>
                    <a:pt x="400" y="291"/>
                  </a:lnTo>
                  <a:lnTo>
                    <a:pt x="391" y="308"/>
                  </a:lnTo>
                  <a:lnTo>
                    <a:pt x="379" y="325"/>
                  </a:lnTo>
                  <a:lnTo>
                    <a:pt x="368" y="342"/>
                  </a:lnTo>
                  <a:lnTo>
                    <a:pt x="355" y="356"/>
                  </a:lnTo>
                  <a:lnTo>
                    <a:pt x="339" y="370"/>
                  </a:lnTo>
                  <a:lnTo>
                    <a:pt x="324" y="382"/>
                  </a:lnTo>
                  <a:lnTo>
                    <a:pt x="306" y="392"/>
                  </a:lnTo>
                  <a:lnTo>
                    <a:pt x="289" y="400"/>
                  </a:lnTo>
                  <a:lnTo>
                    <a:pt x="269" y="407"/>
                  </a:lnTo>
                  <a:lnTo>
                    <a:pt x="249" y="413"/>
                  </a:lnTo>
                  <a:lnTo>
                    <a:pt x="229" y="416"/>
                  </a:lnTo>
                  <a:lnTo>
                    <a:pt x="208" y="417"/>
                  </a:lnTo>
                  <a:lnTo>
                    <a:pt x="208" y="417"/>
                  </a:lnTo>
                  <a:lnTo>
                    <a:pt x="186" y="416"/>
                  </a:lnTo>
                  <a:lnTo>
                    <a:pt x="166" y="413"/>
                  </a:lnTo>
                  <a:lnTo>
                    <a:pt x="146" y="407"/>
                  </a:lnTo>
                  <a:lnTo>
                    <a:pt x="128" y="400"/>
                  </a:lnTo>
                  <a:lnTo>
                    <a:pt x="109" y="392"/>
                  </a:lnTo>
                  <a:lnTo>
                    <a:pt x="92" y="382"/>
                  </a:lnTo>
                  <a:lnTo>
                    <a:pt x="76" y="370"/>
                  </a:lnTo>
                  <a:lnTo>
                    <a:pt x="62" y="356"/>
                  </a:lnTo>
                  <a:lnTo>
                    <a:pt x="47" y="342"/>
                  </a:lnTo>
                  <a:lnTo>
                    <a:pt x="36" y="325"/>
                  </a:lnTo>
                  <a:lnTo>
                    <a:pt x="26" y="308"/>
                  </a:lnTo>
                  <a:lnTo>
                    <a:pt x="16" y="291"/>
                  </a:lnTo>
                  <a:lnTo>
                    <a:pt x="10" y="271"/>
                  </a:lnTo>
                  <a:lnTo>
                    <a:pt x="4" y="251"/>
                  </a:lnTo>
                  <a:lnTo>
                    <a:pt x="2" y="229"/>
                  </a:lnTo>
                  <a:lnTo>
                    <a:pt x="0" y="209"/>
                  </a:lnTo>
                  <a:lnTo>
                    <a:pt x="0" y="209"/>
                  </a:lnTo>
                  <a:lnTo>
                    <a:pt x="2" y="188"/>
                  </a:lnTo>
                  <a:lnTo>
                    <a:pt x="4" y="167"/>
                  </a:lnTo>
                  <a:lnTo>
                    <a:pt x="10" y="147"/>
                  </a:lnTo>
                  <a:lnTo>
                    <a:pt x="16" y="128"/>
                  </a:lnTo>
                  <a:lnTo>
                    <a:pt x="26" y="110"/>
                  </a:lnTo>
                  <a:lnTo>
                    <a:pt x="36" y="93"/>
                  </a:lnTo>
                  <a:lnTo>
                    <a:pt x="47" y="75"/>
                  </a:lnTo>
                  <a:lnTo>
                    <a:pt x="62" y="61"/>
                  </a:lnTo>
                  <a:lnTo>
                    <a:pt x="76" y="48"/>
                  </a:lnTo>
                  <a:lnTo>
                    <a:pt x="92" y="36"/>
                  </a:lnTo>
                  <a:lnTo>
                    <a:pt x="109" y="26"/>
                  </a:lnTo>
                  <a:lnTo>
                    <a:pt x="128" y="17"/>
                  </a:lnTo>
                  <a:lnTo>
                    <a:pt x="146" y="10"/>
                  </a:lnTo>
                  <a:lnTo>
                    <a:pt x="166" y="4"/>
                  </a:lnTo>
                  <a:lnTo>
                    <a:pt x="186" y="1"/>
                  </a:lnTo>
                  <a:lnTo>
                    <a:pt x="208" y="0"/>
                  </a:lnTo>
                  <a:lnTo>
                    <a:pt x="208" y="0"/>
                  </a:lnTo>
                  <a:lnTo>
                    <a:pt x="229" y="1"/>
                  </a:lnTo>
                  <a:lnTo>
                    <a:pt x="249" y="4"/>
                  </a:lnTo>
                  <a:lnTo>
                    <a:pt x="269" y="10"/>
                  </a:lnTo>
                  <a:lnTo>
                    <a:pt x="289" y="17"/>
                  </a:lnTo>
                  <a:lnTo>
                    <a:pt x="306" y="26"/>
                  </a:lnTo>
                  <a:lnTo>
                    <a:pt x="324" y="36"/>
                  </a:lnTo>
                  <a:lnTo>
                    <a:pt x="339" y="48"/>
                  </a:lnTo>
                  <a:lnTo>
                    <a:pt x="355" y="61"/>
                  </a:lnTo>
                  <a:lnTo>
                    <a:pt x="368" y="75"/>
                  </a:lnTo>
                  <a:lnTo>
                    <a:pt x="379" y="93"/>
                  </a:lnTo>
                  <a:lnTo>
                    <a:pt x="391" y="110"/>
                  </a:lnTo>
                  <a:lnTo>
                    <a:pt x="400" y="128"/>
                  </a:lnTo>
                  <a:lnTo>
                    <a:pt x="407" y="147"/>
                  </a:lnTo>
                  <a:lnTo>
                    <a:pt x="411" y="167"/>
                  </a:lnTo>
                  <a:lnTo>
                    <a:pt x="414" y="188"/>
                  </a:lnTo>
                  <a:lnTo>
                    <a:pt x="415" y="209"/>
                  </a:lnTo>
                  <a:lnTo>
                    <a:pt x="415" y="20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71" name="Line 24"/>
            <p:cNvSpPr>
              <a:spLocks noChangeShapeType="1"/>
            </p:cNvSpPr>
            <p:nvPr userDrawn="1"/>
          </p:nvSpPr>
          <p:spPr bwMode="auto">
            <a:xfrm>
              <a:off x="5664" y="742"/>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pic>
          <p:nvPicPr>
            <p:cNvPr id="72" name="Picture 25"/>
            <p:cNvPicPr>
              <a:picLocks noChangeAspect="1" noChangeArrowheads="1"/>
            </p:cNvPicPr>
            <p:nvPr userDrawn="1"/>
          </p:nvPicPr>
          <p:blipFill>
            <a:blip r:embed="rId8" cstate="hqprint">
              <a:extLst>
                <a:ext uri="{28A0092B-C50C-407E-A947-70E740481C1C}">
                  <a14:useLocalDpi xmlns:a14="http://schemas.microsoft.com/office/drawing/2010/main" val="0"/>
                </a:ext>
              </a:extLst>
            </a:blip>
            <a:srcRect/>
            <a:stretch>
              <a:fillRect/>
            </a:stretch>
          </p:blipFill>
          <p:spPr bwMode="auto">
            <a:xfrm>
              <a:off x="5478" y="637"/>
              <a:ext cx="282" cy="2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3" name="Freeform 26"/>
            <p:cNvSpPr>
              <a:spLocks noEditPoints="1"/>
            </p:cNvSpPr>
            <p:nvPr userDrawn="1"/>
          </p:nvSpPr>
          <p:spPr bwMode="auto">
            <a:xfrm>
              <a:off x="5563" y="717"/>
              <a:ext cx="44" cy="62"/>
            </a:xfrm>
            <a:custGeom>
              <a:avLst/>
              <a:gdLst>
                <a:gd name="T0" fmla="*/ 6 w 133"/>
                <a:gd name="T1" fmla="*/ 187 h 187"/>
                <a:gd name="T2" fmla="*/ 1 w 133"/>
                <a:gd name="T3" fmla="*/ 179 h 187"/>
                <a:gd name="T4" fmla="*/ 1 w 133"/>
                <a:gd name="T5" fmla="*/ 151 h 187"/>
                <a:gd name="T6" fmla="*/ 6 w 133"/>
                <a:gd name="T7" fmla="*/ 143 h 187"/>
                <a:gd name="T8" fmla="*/ 61 w 133"/>
                <a:gd name="T9" fmla="*/ 144 h 187"/>
                <a:gd name="T10" fmla="*/ 73 w 133"/>
                <a:gd name="T11" fmla="*/ 144 h 187"/>
                <a:gd name="T12" fmla="*/ 87 w 133"/>
                <a:gd name="T13" fmla="*/ 143 h 187"/>
                <a:gd name="T14" fmla="*/ 91 w 133"/>
                <a:gd name="T15" fmla="*/ 136 h 187"/>
                <a:gd name="T16" fmla="*/ 93 w 133"/>
                <a:gd name="T17" fmla="*/ 130 h 187"/>
                <a:gd name="T18" fmla="*/ 90 w 133"/>
                <a:gd name="T19" fmla="*/ 124 h 187"/>
                <a:gd name="T20" fmla="*/ 66 w 133"/>
                <a:gd name="T21" fmla="*/ 114 h 187"/>
                <a:gd name="T22" fmla="*/ 51 w 133"/>
                <a:gd name="T23" fmla="*/ 107 h 187"/>
                <a:gd name="T24" fmla="*/ 30 w 133"/>
                <a:gd name="T25" fmla="*/ 96 h 187"/>
                <a:gd name="T26" fmla="*/ 17 w 133"/>
                <a:gd name="T27" fmla="*/ 83 h 187"/>
                <a:gd name="T28" fmla="*/ 11 w 133"/>
                <a:gd name="T29" fmla="*/ 76 h 187"/>
                <a:gd name="T30" fmla="*/ 7 w 133"/>
                <a:gd name="T31" fmla="*/ 60 h 187"/>
                <a:gd name="T32" fmla="*/ 6 w 133"/>
                <a:gd name="T33" fmla="*/ 52 h 187"/>
                <a:gd name="T34" fmla="*/ 10 w 133"/>
                <a:gd name="T35" fmla="*/ 27 h 187"/>
                <a:gd name="T36" fmla="*/ 24 w 133"/>
                <a:gd name="T37" fmla="*/ 10 h 187"/>
                <a:gd name="T38" fmla="*/ 28 w 133"/>
                <a:gd name="T39" fmla="*/ 8 h 187"/>
                <a:gd name="T40" fmla="*/ 44 w 133"/>
                <a:gd name="T41" fmla="*/ 2 h 187"/>
                <a:gd name="T42" fmla="*/ 73 w 133"/>
                <a:gd name="T43" fmla="*/ 0 h 187"/>
                <a:gd name="T44" fmla="*/ 121 w 133"/>
                <a:gd name="T45" fmla="*/ 0 h 187"/>
                <a:gd name="T46" fmla="*/ 126 w 133"/>
                <a:gd name="T47" fmla="*/ 9 h 187"/>
                <a:gd name="T48" fmla="*/ 126 w 133"/>
                <a:gd name="T49" fmla="*/ 33 h 187"/>
                <a:gd name="T50" fmla="*/ 121 w 133"/>
                <a:gd name="T51" fmla="*/ 42 h 187"/>
                <a:gd name="T52" fmla="*/ 79 w 133"/>
                <a:gd name="T53" fmla="*/ 42 h 187"/>
                <a:gd name="T54" fmla="*/ 54 w 133"/>
                <a:gd name="T55" fmla="*/ 43 h 187"/>
                <a:gd name="T56" fmla="*/ 47 w 133"/>
                <a:gd name="T57" fmla="*/ 46 h 187"/>
                <a:gd name="T58" fmla="*/ 44 w 133"/>
                <a:gd name="T59" fmla="*/ 53 h 187"/>
                <a:gd name="T60" fmla="*/ 46 w 133"/>
                <a:gd name="T61" fmla="*/ 59 h 187"/>
                <a:gd name="T62" fmla="*/ 57 w 133"/>
                <a:gd name="T63" fmla="*/ 69 h 187"/>
                <a:gd name="T64" fmla="*/ 79 w 133"/>
                <a:gd name="T65" fmla="*/ 79 h 187"/>
                <a:gd name="T66" fmla="*/ 86 w 133"/>
                <a:gd name="T67" fmla="*/ 80 h 187"/>
                <a:gd name="T68" fmla="*/ 116 w 133"/>
                <a:gd name="T69" fmla="*/ 93 h 187"/>
                <a:gd name="T70" fmla="*/ 121 w 133"/>
                <a:gd name="T71" fmla="*/ 99 h 187"/>
                <a:gd name="T72" fmla="*/ 130 w 133"/>
                <a:gd name="T73" fmla="*/ 113 h 187"/>
                <a:gd name="T74" fmla="*/ 133 w 133"/>
                <a:gd name="T75" fmla="*/ 132 h 187"/>
                <a:gd name="T76" fmla="*/ 131 w 133"/>
                <a:gd name="T77" fmla="*/ 143 h 187"/>
                <a:gd name="T78" fmla="*/ 123 w 133"/>
                <a:gd name="T79" fmla="*/ 164 h 187"/>
                <a:gd name="T80" fmla="*/ 114 w 133"/>
                <a:gd name="T81" fmla="*/ 173 h 187"/>
                <a:gd name="T82" fmla="*/ 94 w 133"/>
                <a:gd name="T83" fmla="*/ 184 h 187"/>
                <a:gd name="T84" fmla="*/ 69 w 133"/>
                <a:gd name="T85" fmla="*/ 187 h 187"/>
                <a:gd name="T86" fmla="*/ 6 w 133"/>
                <a:gd name="T87"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3" h="187">
                  <a:moveTo>
                    <a:pt x="6" y="187"/>
                  </a:moveTo>
                  <a:lnTo>
                    <a:pt x="6" y="187"/>
                  </a:lnTo>
                  <a:lnTo>
                    <a:pt x="3" y="184"/>
                  </a:lnTo>
                  <a:lnTo>
                    <a:pt x="1" y="179"/>
                  </a:lnTo>
                  <a:lnTo>
                    <a:pt x="0" y="166"/>
                  </a:lnTo>
                  <a:lnTo>
                    <a:pt x="1" y="151"/>
                  </a:lnTo>
                  <a:lnTo>
                    <a:pt x="3" y="147"/>
                  </a:lnTo>
                  <a:lnTo>
                    <a:pt x="6" y="143"/>
                  </a:lnTo>
                  <a:lnTo>
                    <a:pt x="6" y="143"/>
                  </a:lnTo>
                  <a:lnTo>
                    <a:pt x="61" y="144"/>
                  </a:lnTo>
                  <a:lnTo>
                    <a:pt x="61" y="144"/>
                  </a:lnTo>
                  <a:lnTo>
                    <a:pt x="73" y="144"/>
                  </a:lnTo>
                  <a:lnTo>
                    <a:pt x="83" y="144"/>
                  </a:lnTo>
                  <a:lnTo>
                    <a:pt x="87" y="143"/>
                  </a:lnTo>
                  <a:lnTo>
                    <a:pt x="90" y="140"/>
                  </a:lnTo>
                  <a:lnTo>
                    <a:pt x="91" y="136"/>
                  </a:lnTo>
                  <a:lnTo>
                    <a:pt x="93" y="130"/>
                  </a:lnTo>
                  <a:lnTo>
                    <a:pt x="93" y="130"/>
                  </a:lnTo>
                  <a:lnTo>
                    <a:pt x="91" y="127"/>
                  </a:lnTo>
                  <a:lnTo>
                    <a:pt x="90" y="124"/>
                  </a:lnTo>
                  <a:lnTo>
                    <a:pt x="84" y="122"/>
                  </a:lnTo>
                  <a:lnTo>
                    <a:pt x="66" y="114"/>
                  </a:lnTo>
                  <a:lnTo>
                    <a:pt x="51" y="107"/>
                  </a:lnTo>
                  <a:lnTo>
                    <a:pt x="51" y="107"/>
                  </a:lnTo>
                  <a:lnTo>
                    <a:pt x="40" y="102"/>
                  </a:lnTo>
                  <a:lnTo>
                    <a:pt x="30" y="96"/>
                  </a:lnTo>
                  <a:lnTo>
                    <a:pt x="23" y="89"/>
                  </a:lnTo>
                  <a:lnTo>
                    <a:pt x="17" y="83"/>
                  </a:lnTo>
                  <a:lnTo>
                    <a:pt x="17" y="83"/>
                  </a:lnTo>
                  <a:lnTo>
                    <a:pt x="11" y="76"/>
                  </a:lnTo>
                  <a:lnTo>
                    <a:pt x="8" y="69"/>
                  </a:lnTo>
                  <a:lnTo>
                    <a:pt x="7" y="60"/>
                  </a:lnTo>
                  <a:lnTo>
                    <a:pt x="6" y="52"/>
                  </a:lnTo>
                  <a:lnTo>
                    <a:pt x="6" y="52"/>
                  </a:lnTo>
                  <a:lnTo>
                    <a:pt x="7" y="39"/>
                  </a:lnTo>
                  <a:lnTo>
                    <a:pt x="10" y="27"/>
                  </a:lnTo>
                  <a:lnTo>
                    <a:pt x="16" y="19"/>
                  </a:lnTo>
                  <a:lnTo>
                    <a:pt x="24" y="10"/>
                  </a:lnTo>
                  <a:lnTo>
                    <a:pt x="24" y="10"/>
                  </a:lnTo>
                  <a:lnTo>
                    <a:pt x="28" y="8"/>
                  </a:lnTo>
                  <a:lnTo>
                    <a:pt x="33" y="5"/>
                  </a:lnTo>
                  <a:lnTo>
                    <a:pt x="44" y="2"/>
                  </a:lnTo>
                  <a:lnTo>
                    <a:pt x="58" y="0"/>
                  </a:lnTo>
                  <a:lnTo>
                    <a:pt x="73" y="0"/>
                  </a:lnTo>
                  <a:lnTo>
                    <a:pt x="121" y="0"/>
                  </a:lnTo>
                  <a:lnTo>
                    <a:pt x="121" y="0"/>
                  </a:lnTo>
                  <a:lnTo>
                    <a:pt x="124" y="3"/>
                  </a:lnTo>
                  <a:lnTo>
                    <a:pt x="126" y="9"/>
                  </a:lnTo>
                  <a:lnTo>
                    <a:pt x="127" y="20"/>
                  </a:lnTo>
                  <a:lnTo>
                    <a:pt x="126" y="33"/>
                  </a:lnTo>
                  <a:lnTo>
                    <a:pt x="124" y="39"/>
                  </a:lnTo>
                  <a:lnTo>
                    <a:pt x="121" y="42"/>
                  </a:lnTo>
                  <a:lnTo>
                    <a:pt x="79" y="42"/>
                  </a:lnTo>
                  <a:lnTo>
                    <a:pt x="79" y="42"/>
                  </a:lnTo>
                  <a:lnTo>
                    <a:pt x="66" y="42"/>
                  </a:lnTo>
                  <a:lnTo>
                    <a:pt x="54" y="43"/>
                  </a:lnTo>
                  <a:lnTo>
                    <a:pt x="50" y="45"/>
                  </a:lnTo>
                  <a:lnTo>
                    <a:pt x="47" y="46"/>
                  </a:lnTo>
                  <a:lnTo>
                    <a:pt x="46" y="49"/>
                  </a:lnTo>
                  <a:lnTo>
                    <a:pt x="44" y="53"/>
                  </a:lnTo>
                  <a:lnTo>
                    <a:pt x="44" y="53"/>
                  </a:lnTo>
                  <a:lnTo>
                    <a:pt x="46" y="59"/>
                  </a:lnTo>
                  <a:lnTo>
                    <a:pt x="51" y="63"/>
                  </a:lnTo>
                  <a:lnTo>
                    <a:pt x="57" y="69"/>
                  </a:lnTo>
                  <a:lnTo>
                    <a:pt x="64" y="72"/>
                  </a:lnTo>
                  <a:lnTo>
                    <a:pt x="79" y="79"/>
                  </a:lnTo>
                  <a:lnTo>
                    <a:pt x="86" y="80"/>
                  </a:lnTo>
                  <a:lnTo>
                    <a:pt x="86" y="80"/>
                  </a:lnTo>
                  <a:lnTo>
                    <a:pt x="109" y="89"/>
                  </a:lnTo>
                  <a:lnTo>
                    <a:pt x="116" y="93"/>
                  </a:lnTo>
                  <a:lnTo>
                    <a:pt x="121" y="99"/>
                  </a:lnTo>
                  <a:lnTo>
                    <a:pt x="121" y="99"/>
                  </a:lnTo>
                  <a:lnTo>
                    <a:pt x="127" y="104"/>
                  </a:lnTo>
                  <a:lnTo>
                    <a:pt x="130" y="113"/>
                  </a:lnTo>
                  <a:lnTo>
                    <a:pt x="133" y="122"/>
                  </a:lnTo>
                  <a:lnTo>
                    <a:pt x="133" y="132"/>
                  </a:lnTo>
                  <a:lnTo>
                    <a:pt x="133" y="132"/>
                  </a:lnTo>
                  <a:lnTo>
                    <a:pt x="131" y="143"/>
                  </a:lnTo>
                  <a:lnTo>
                    <a:pt x="129" y="154"/>
                  </a:lnTo>
                  <a:lnTo>
                    <a:pt x="123" y="164"/>
                  </a:lnTo>
                  <a:lnTo>
                    <a:pt x="114" y="173"/>
                  </a:lnTo>
                  <a:lnTo>
                    <a:pt x="114" y="173"/>
                  </a:lnTo>
                  <a:lnTo>
                    <a:pt x="104" y="180"/>
                  </a:lnTo>
                  <a:lnTo>
                    <a:pt x="94" y="184"/>
                  </a:lnTo>
                  <a:lnTo>
                    <a:pt x="83" y="187"/>
                  </a:lnTo>
                  <a:lnTo>
                    <a:pt x="69" y="187"/>
                  </a:lnTo>
                  <a:lnTo>
                    <a:pt x="6" y="187"/>
                  </a:lnTo>
                  <a:close/>
                  <a:moveTo>
                    <a:pt x="6" y="187"/>
                  </a:moveTo>
                  <a:lnTo>
                    <a:pt x="6" y="18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74" name="Freeform 27"/>
            <p:cNvSpPr>
              <a:spLocks/>
            </p:cNvSpPr>
            <p:nvPr userDrawn="1"/>
          </p:nvSpPr>
          <p:spPr bwMode="auto">
            <a:xfrm>
              <a:off x="5563" y="717"/>
              <a:ext cx="44" cy="62"/>
            </a:xfrm>
            <a:custGeom>
              <a:avLst/>
              <a:gdLst>
                <a:gd name="T0" fmla="*/ 6 w 133"/>
                <a:gd name="T1" fmla="*/ 187 h 187"/>
                <a:gd name="T2" fmla="*/ 1 w 133"/>
                <a:gd name="T3" fmla="*/ 179 h 187"/>
                <a:gd name="T4" fmla="*/ 1 w 133"/>
                <a:gd name="T5" fmla="*/ 151 h 187"/>
                <a:gd name="T6" fmla="*/ 6 w 133"/>
                <a:gd name="T7" fmla="*/ 143 h 187"/>
                <a:gd name="T8" fmla="*/ 61 w 133"/>
                <a:gd name="T9" fmla="*/ 144 h 187"/>
                <a:gd name="T10" fmla="*/ 73 w 133"/>
                <a:gd name="T11" fmla="*/ 144 h 187"/>
                <a:gd name="T12" fmla="*/ 87 w 133"/>
                <a:gd name="T13" fmla="*/ 143 h 187"/>
                <a:gd name="T14" fmla="*/ 91 w 133"/>
                <a:gd name="T15" fmla="*/ 136 h 187"/>
                <a:gd name="T16" fmla="*/ 93 w 133"/>
                <a:gd name="T17" fmla="*/ 130 h 187"/>
                <a:gd name="T18" fmla="*/ 90 w 133"/>
                <a:gd name="T19" fmla="*/ 124 h 187"/>
                <a:gd name="T20" fmla="*/ 66 w 133"/>
                <a:gd name="T21" fmla="*/ 114 h 187"/>
                <a:gd name="T22" fmla="*/ 51 w 133"/>
                <a:gd name="T23" fmla="*/ 107 h 187"/>
                <a:gd name="T24" fmla="*/ 30 w 133"/>
                <a:gd name="T25" fmla="*/ 96 h 187"/>
                <a:gd name="T26" fmla="*/ 17 w 133"/>
                <a:gd name="T27" fmla="*/ 83 h 187"/>
                <a:gd name="T28" fmla="*/ 11 w 133"/>
                <a:gd name="T29" fmla="*/ 76 h 187"/>
                <a:gd name="T30" fmla="*/ 7 w 133"/>
                <a:gd name="T31" fmla="*/ 60 h 187"/>
                <a:gd name="T32" fmla="*/ 6 w 133"/>
                <a:gd name="T33" fmla="*/ 52 h 187"/>
                <a:gd name="T34" fmla="*/ 10 w 133"/>
                <a:gd name="T35" fmla="*/ 27 h 187"/>
                <a:gd name="T36" fmla="*/ 24 w 133"/>
                <a:gd name="T37" fmla="*/ 10 h 187"/>
                <a:gd name="T38" fmla="*/ 28 w 133"/>
                <a:gd name="T39" fmla="*/ 8 h 187"/>
                <a:gd name="T40" fmla="*/ 44 w 133"/>
                <a:gd name="T41" fmla="*/ 2 h 187"/>
                <a:gd name="T42" fmla="*/ 73 w 133"/>
                <a:gd name="T43" fmla="*/ 0 h 187"/>
                <a:gd name="T44" fmla="*/ 121 w 133"/>
                <a:gd name="T45" fmla="*/ 0 h 187"/>
                <a:gd name="T46" fmla="*/ 126 w 133"/>
                <a:gd name="T47" fmla="*/ 9 h 187"/>
                <a:gd name="T48" fmla="*/ 126 w 133"/>
                <a:gd name="T49" fmla="*/ 33 h 187"/>
                <a:gd name="T50" fmla="*/ 121 w 133"/>
                <a:gd name="T51" fmla="*/ 42 h 187"/>
                <a:gd name="T52" fmla="*/ 79 w 133"/>
                <a:gd name="T53" fmla="*/ 42 h 187"/>
                <a:gd name="T54" fmla="*/ 54 w 133"/>
                <a:gd name="T55" fmla="*/ 43 h 187"/>
                <a:gd name="T56" fmla="*/ 47 w 133"/>
                <a:gd name="T57" fmla="*/ 46 h 187"/>
                <a:gd name="T58" fmla="*/ 44 w 133"/>
                <a:gd name="T59" fmla="*/ 53 h 187"/>
                <a:gd name="T60" fmla="*/ 46 w 133"/>
                <a:gd name="T61" fmla="*/ 59 h 187"/>
                <a:gd name="T62" fmla="*/ 57 w 133"/>
                <a:gd name="T63" fmla="*/ 69 h 187"/>
                <a:gd name="T64" fmla="*/ 79 w 133"/>
                <a:gd name="T65" fmla="*/ 79 h 187"/>
                <a:gd name="T66" fmla="*/ 86 w 133"/>
                <a:gd name="T67" fmla="*/ 80 h 187"/>
                <a:gd name="T68" fmla="*/ 116 w 133"/>
                <a:gd name="T69" fmla="*/ 93 h 187"/>
                <a:gd name="T70" fmla="*/ 121 w 133"/>
                <a:gd name="T71" fmla="*/ 99 h 187"/>
                <a:gd name="T72" fmla="*/ 130 w 133"/>
                <a:gd name="T73" fmla="*/ 113 h 187"/>
                <a:gd name="T74" fmla="*/ 133 w 133"/>
                <a:gd name="T75" fmla="*/ 132 h 187"/>
                <a:gd name="T76" fmla="*/ 131 w 133"/>
                <a:gd name="T77" fmla="*/ 143 h 187"/>
                <a:gd name="T78" fmla="*/ 123 w 133"/>
                <a:gd name="T79" fmla="*/ 164 h 187"/>
                <a:gd name="T80" fmla="*/ 114 w 133"/>
                <a:gd name="T81" fmla="*/ 173 h 187"/>
                <a:gd name="T82" fmla="*/ 94 w 133"/>
                <a:gd name="T83" fmla="*/ 184 h 187"/>
                <a:gd name="T84" fmla="*/ 69 w 133"/>
                <a:gd name="T85"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33" h="187">
                  <a:moveTo>
                    <a:pt x="6" y="187"/>
                  </a:moveTo>
                  <a:lnTo>
                    <a:pt x="6" y="187"/>
                  </a:lnTo>
                  <a:lnTo>
                    <a:pt x="3" y="184"/>
                  </a:lnTo>
                  <a:lnTo>
                    <a:pt x="1" y="179"/>
                  </a:lnTo>
                  <a:lnTo>
                    <a:pt x="0" y="166"/>
                  </a:lnTo>
                  <a:lnTo>
                    <a:pt x="1" y="151"/>
                  </a:lnTo>
                  <a:lnTo>
                    <a:pt x="3" y="147"/>
                  </a:lnTo>
                  <a:lnTo>
                    <a:pt x="6" y="143"/>
                  </a:lnTo>
                  <a:lnTo>
                    <a:pt x="6" y="143"/>
                  </a:lnTo>
                  <a:lnTo>
                    <a:pt x="61" y="144"/>
                  </a:lnTo>
                  <a:lnTo>
                    <a:pt x="61" y="144"/>
                  </a:lnTo>
                  <a:lnTo>
                    <a:pt x="73" y="144"/>
                  </a:lnTo>
                  <a:lnTo>
                    <a:pt x="83" y="144"/>
                  </a:lnTo>
                  <a:lnTo>
                    <a:pt x="87" y="143"/>
                  </a:lnTo>
                  <a:lnTo>
                    <a:pt x="90" y="140"/>
                  </a:lnTo>
                  <a:lnTo>
                    <a:pt x="91" y="136"/>
                  </a:lnTo>
                  <a:lnTo>
                    <a:pt x="93" y="130"/>
                  </a:lnTo>
                  <a:lnTo>
                    <a:pt x="93" y="130"/>
                  </a:lnTo>
                  <a:lnTo>
                    <a:pt x="91" y="127"/>
                  </a:lnTo>
                  <a:lnTo>
                    <a:pt x="90" y="124"/>
                  </a:lnTo>
                  <a:lnTo>
                    <a:pt x="84" y="122"/>
                  </a:lnTo>
                  <a:lnTo>
                    <a:pt x="66" y="114"/>
                  </a:lnTo>
                  <a:lnTo>
                    <a:pt x="51" y="107"/>
                  </a:lnTo>
                  <a:lnTo>
                    <a:pt x="51" y="107"/>
                  </a:lnTo>
                  <a:lnTo>
                    <a:pt x="40" y="102"/>
                  </a:lnTo>
                  <a:lnTo>
                    <a:pt x="30" y="96"/>
                  </a:lnTo>
                  <a:lnTo>
                    <a:pt x="23" y="89"/>
                  </a:lnTo>
                  <a:lnTo>
                    <a:pt x="17" y="83"/>
                  </a:lnTo>
                  <a:lnTo>
                    <a:pt x="17" y="83"/>
                  </a:lnTo>
                  <a:lnTo>
                    <a:pt x="11" y="76"/>
                  </a:lnTo>
                  <a:lnTo>
                    <a:pt x="8" y="69"/>
                  </a:lnTo>
                  <a:lnTo>
                    <a:pt x="7" y="60"/>
                  </a:lnTo>
                  <a:lnTo>
                    <a:pt x="6" y="52"/>
                  </a:lnTo>
                  <a:lnTo>
                    <a:pt x="6" y="52"/>
                  </a:lnTo>
                  <a:lnTo>
                    <a:pt x="7" y="39"/>
                  </a:lnTo>
                  <a:lnTo>
                    <a:pt x="10" y="27"/>
                  </a:lnTo>
                  <a:lnTo>
                    <a:pt x="16" y="19"/>
                  </a:lnTo>
                  <a:lnTo>
                    <a:pt x="24" y="10"/>
                  </a:lnTo>
                  <a:lnTo>
                    <a:pt x="24" y="10"/>
                  </a:lnTo>
                  <a:lnTo>
                    <a:pt x="28" y="8"/>
                  </a:lnTo>
                  <a:lnTo>
                    <a:pt x="33" y="5"/>
                  </a:lnTo>
                  <a:lnTo>
                    <a:pt x="44" y="2"/>
                  </a:lnTo>
                  <a:lnTo>
                    <a:pt x="58" y="0"/>
                  </a:lnTo>
                  <a:lnTo>
                    <a:pt x="73" y="0"/>
                  </a:lnTo>
                  <a:lnTo>
                    <a:pt x="121" y="0"/>
                  </a:lnTo>
                  <a:lnTo>
                    <a:pt x="121" y="0"/>
                  </a:lnTo>
                  <a:lnTo>
                    <a:pt x="124" y="3"/>
                  </a:lnTo>
                  <a:lnTo>
                    <a:pt x="126" y="9"/>
                  </a:lnTo>
                  <a:lnTo>
                    <a:pt x="127" y="20"/>
                  </a:lnTo>
                  <a:lnTo>
                    <a:pt x="126" y="33"/>
                  </a:lnTo>
                  <a:lnTo>
                    <a:pt x="124" y="39"/>
                  </a:lnTo>
                  <a:lnTo>
                    <a:pt x="121" y="42"/>
                  </a:lnTo>
                  <a:lnTo>
                    <a:pt x="79" y="42"/>
                  </a:lnTo>
                  <a:lnTo>
                    <a:pt x="79" y="42"/>
                  </a:lnTo>
                  <a:lnTo>
                    <a:pt x="66" y="42"/>
                  </a:lnTo>
                  <a:lnTo>
                    <a:pt x="54" y="43"/>
                  </a:lnTo>
                  <a:lnTo>
                    <a:pt x="50" y="45"/>
                  </a:lnTo>
                  <a:lnTo>
                    <a:pt x="47" y="46"/>
                  </a:lnTo>
                  <a:lnTo>
                    <a:pt x="46" y="49"/>
                  </a:lnTo>
                  <a:lnTo>
                    <a:pt x="44" y="53"/>
                  </a:lnTo>
                  <a:lnTo>
                    <a:pt x="44" y="53"/>
                  </a:lnTo>
                  <a:lnTo>
                    <a:pt x="46" y="59"/>
                  </a:lnTo>
                  <a:lnTo>
                    <a:pt x="51" y="63"/>
                  </a:lnTo>
                  <a:lnTo>
                    <a:pt x="57" y="69"/>
                  </a:lnTo>
                  <a:lnTo>
                    <a:pt x="64" y="72"/>
                  </a:lnTo>
                  <a:lnTo>
                    <a:pt x="79" y="79"/>
                  </a:lnTo>
                  <a:lnTo>
                    <a:pt x="86" y="80"/>
                  </a:lnTo>
                  <a:lnTo>
                    <a:pt x="86" y="80"/>
                  </a:lnTo>
                  <a:lnTo>
                    <a:pt x="109" y="89"/>
                  </a:lnTo>
                  <a:lnTo>
                    <a:pt x="116" y="93"/>
                  </a:lnTo>
                  <a:lnTo>
                    <a:pt x="121" y="99"/>
                  </a:lnTo>
                  <a:lnTo>
                    <a:pt x="121" y="99"/>
                  </a:lnTo>
                  <a:lnTo>
                    <a:pt x="127" y="104"/>
                  </a:lnTo>
                  <a:lnTo>
                    <a:pt x="130" y="113"/>
                  </a:lnTo>
                  <a:lnTo>
                    <a:pt x="133" y="122"/>
                  </a:lnTo>
                  <a:lnTo>
                    <a:pt x="133" y="132"/>
                  </a:lnTo>
                  <a:lnTo>
                    <a:pt x="133" y="132"/>
                  </a:lnTo>
                  <a:lnTo>
                    <a:pt x="131" y="143"/>
                  </a:lnTo>
                  <a:lnTo>
                    <a:pt x="129" y="154"/>
                  </a:lnTo>
                  <a:lnTo>
                    <a:pt x="123" y="164"/>
                  </a:lnTo>
                  <a:lnTo>
                    <a:pt x="114" y="173"/>
                  </a:lnTo>
                  <a:lnTo>
                    <a:pt x="114" y="173"/>
                  </a:lnTo>
                  <a:lnTo>
                    <a:pt x="104" y="180"/>
                  </a:lnTo>
                  <a:lnTo>
                    <a:pt x="94" y="184"/>
                  </a:lnTo>
                  <a:lnTo>
                    <a:pt x="83" y="187"/>
                  </a:lnTo>
                  <a:lnTo>
                    <a:pt x="69" y="187"/>
                  </a:lnTo>
                  <a:lnTo>
                    <a:pt x="6" y="18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75" name="Line 28"/>
            <p:cNvSpPr>
              <a:spLocks noChangeShapeType="1"/>
            </p:cNvSpPr>
            <p:nvPr userDrawn="1"/>
          </p:nvSpPr>
          <p:spPr bwMode="auto">
            <a:xfrm>
              <a:off x="5565" y="779"/>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76" name="Freeform 29"/>
            <p:cNvSpPr>
              <a:spLocks noEditPoints="1"/>
            </p:cNvSpPr>
            <p:nvPr userDrawn="1"/>
          </p:nvSpPr>
          <p:spPr bwMode="auto">
            <a:xfrm>
              <a:off x="5671" y="717"/>
              <a:ext cx="80" cy="63"/>
            </a:xfrm>
            <a:custGeom>
              <a:avLst/>
              <a:gdLst>
                <a:gd name="T0" fmla="*/ 0 w 242"/>
                <a:gd name="T1" fmla="*/ 0 h 191"/>
                <a:gd name="T2" fmla="*/ 198 w 242"/>
                <a:gd name="T3" fmla="*/ 0 h 191"/>
                <a:gd name="T4" fmla="*/ 218 w 242"/>
                <a:gd name="T5" fmla="*/ 3 h 191"/>
                <a:gd name="T6" fmla="*/ 231 w 242"/>
                <a:gd name="T7" fmla="*/ 12 h 191"/>
                <a:gd name="T8" fmla="*/ 239 w 242"/>
                <a:gd name="T9" fmla="*/ 27 h 191"/>
                <a:gd name="T10" fmla="*/ 242 w 242"/>
                <a:gd name="T11" fmla="*/ 52 h 191"/>
                <a:gd name="T12" fmla="*/ 242 w 242"/>
                <a:gd name="T13" fmla="*/ 186 h 191"/>
                <a:gd name="T14" fmla="*/ 234 w 242"/>
                <a:gd name="T15" fmla="*/ 190 h 191"/>
                <a:gd name="T16" fmla="*/ 221 w 242"/>
                <a:gd name="T17" fmla="*/ 191 h 191"/>
                <a:gd name="T18" fmla="*/ 209 w 242"/>
                <a:gd name="T19" fmla="*/ 190 h 191"/>
                <a:gd name="T20" fmla="*/ 201 w 242"/>
                <a:gd name="T21" fmla="*/ 186 h 191"/>
                <a:gd name="T22" fmla="*/ 201 w 242"/>
                <a:gd name="T23" fmla="*/ 66 h 191"/>
                <a:gd name="T24" fmla="*/ 198 w 242"/>
                <a:gd name="T25" fmla="*/ 55 h 191"/>
                <a:gd name="T26" fmla="*/ 191 w 242"/>
                <a:gd name="T27" fmla="*/ 46 h 191"/>
                <a:gd name="T28" fmla="*/ 182 w 242"/>
                <a:gd name="T29" fmla="*/ 42 h 191"/>
                <a:gd name="T30" fmla="*/ 161 w 242"/>
                <a:gd name="T31" fmla="*/ 40 h 191"/>
                <a:gd name="T32" fmla="*/ 142 w 242"/>
                <a:gd name="T33" fmla="*/ 43 h 191"/>
                <a:gd name="T34" fmla="*/ 142 w 242"/>
                <a:gd name="T35" fmla="*/ 186 h 191"/>
                <a:gd name="T36" fmla="*/ 133 w 242"/>
                <a:gd name="T37" fmla="*/ 190 h 191"/>
                <a:gd name="T38" fmla="*/ 122 w 242"/>
                <a:gd name="T39" fmla="*/ 191 h 191"/>
                <a:gd name="T40" fmla="*/ 109 w 242"/>
                <a:gd name="T41" fmla="*/ 190 h 191"/>
                <a:gd name="T42" fmla="*/ 101 w 242"/>
                <a:gd name="T43" fmla="*/ 186 h 191"/>
                <a:gd name="T44" fmla="*/ 101 w 242"/>
                <a:gd name="T45" fmla="*/ 67 h 191"/>
                <a:gd name="T46" fmla="*/ 98 w 242"/>
                <a:gd name="T47" fmla="*/ 55 h 191"/>
                <a:gd name="T48" fmla="*/ 92 w 242"/>
                <a:gd name="T49" fmla="*/ 46 h 191"/>
                <a:gd name="T50" fmla="*/ 82 w 242"/>
                <a:gd name="T51" fmla="*/ 42 h 191"/>
                <a:gd name="T52" fmla="*/ 60 w 242"/>
                <a:gd name="T53" fmla="*/ 40 h 191"/>
                <a:gd name="T54" fmla="*/ 43 w 242"/>
                <a:gd name="T55" fmla="*/ 43 h 191"/>
                <a:gd name="T56" fmla="*/ 43 w 242"/>
                <a:gd name="T57" fmla="*/ 186 h 191"/>
                <a:gd name="T58" fmla="*/ 33 w 242"/>
                <a:gd name="T59" fmla="*/ 190 h 191"/>
                <a:gd name="T60" fmla="*/ 22 w 242"/>
                <a:gd name="T61" fmla="*/ 191 h 191"/>
                <a:gd name="T62" fmla="*/ 9 w 242"/>
                <a:gd name="T63" fmla="*/ 190 h 191"/>
                <a:gd name="T64" fmla="*/ 0 w 242"/>
                <a:gd name="T65" fmla="*/ 186 h 191"/>
                <a:gd name="T66" fmla="*/ 0 w 242"/>
                <a:gd name="T67" fmla="*/ 186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42" h="191">
                  <a:moveTo>
                    <a:pt x="0" y="186"/>
                  </a:moveTo>
                  <a:lnTo>
                    <a:pt x="0" y="0"/>
                  </a:lnTo>
                  <a:lnTo>
                    <a:pt x="198" y="0"/>
                  </a:lnTo>
                  <a:lnTo>
                    <a:pt x="198" y="0"/>
                  </a:lnTo>
                  <a:lnTo>
                    <a:pt x="208" y="0"/>
                  </a:lnTo>
                  <a:lnTo>
                    <a:pt x="218" y="3"/>
                  </a:lnTo>
                  <a:lnTo>
                    <a:pt x="225" y="6"/>
                  </a:lnTo>
                  <a:lnTo>
                    <a:pt x="231" y="12"/>
                  </a:lnTo>
                  <a:lnTo>
                    <a:pt x="237" y="19"/>
                  </a:lnTo>
                  <a:lnTo>
                    <a:pt x="239" y="27"/>
                  </a:lnTo>
                  <a:lnTo>
                    <a:pt x="242" y="39"/>
                  </a:lnTo>
                  <a:lnTo>
                    <a:pt x="242" y="52"/>
                  </a:lnTo>
                  <a:lnTo>
                    <a:pt x="242" y="186"/>
                  </a:lnTo>
                  <a:lnTo>
                    <a:pt x="242" y="186"/>
                  </a:lnTo>
                  <a:lnTo>
                    <a:pt x="239" y="189"/>
                  </a:lnTo>
                  <a:lnTo>
                    <a:pt x="234" y="190"/>
                  </a:lnTo>
                  <a:lnTo>
                    <a:pt x="228" y="191"/>
                  </a:lnTo>
                  <a:lnTo>
                    <a:pt x="221" y="191"/>
                  </a:lnTo>
                  <a:lnTo>
                    <a:pt x="215" y="191"/>
                  </a:lnTo>
                  <a:lnTo>
                    <a:pt x="209" y="190"/>
                  </a:lnTo>
                  <a:lnTo>
                    <a:pt x="204" y="189"/>
                  </a:lnTo>
                  <a:lnTo>
                    <a:pt x="201" y="186"/>
                  </a:lnTo>
                  <a:lnTo>
                    <a:pt x="201" y="66"/>
                  </a:lnTo>
                  <a:lnTo>
                    <a:pt x="201" y="66"/>
                  </a:lnTo>
                  <a:lnTo>
                    <a:pt x="199" y="60"/>
                  </a:lnTo>
                  <a:lnTo>
                    <a:pt x="198" y="55"/>
                  </a:lnTo>
                  <a:lnTo>
                    <a:pt x="195" y="50"/>
                  </a:lnTo>
                  <a:lnTo>
                    <a:pt x="191" y="46"/>
                  </a:lnTo>
                  <a:lnTo>
                    <a:pt x="186" y="43"/>
                  </a:lnTo>
                  <a:lnTo>
                    <a:pt x="182" y="42"/>
                  </a:lnTo>
                  <a:lnTo>
                    <a:pt x="171" y="40"/>
                  </a:lnTo>
                  <a:lnTo>
                    <a:pt x="161" y="40"/>
                  </a:lnTo>
                  <a:lnTo>
                    <a:pt x="152" y="40"/>
                  </a:lnTo>
                  <a:lnTo>
                    <a:pt x="142" y="43"/>
                  </a:lnTo>
                  <a:lnTo>
                    <a:pt x="142" y="186"/>
                  </a:lnTo>
                  <a:lnTo>
                    <a:pt x="142" y="186"/>
                  </a:lnTo>
                  <a:lnTo>
                    <a:pt x="139" y="189"/>
                  </a:lnTo>
                  <a:lnTo>
                    <a:pt x="133" y="190"/>
                  </a:lnTo>
                  <a:lnTo>
                    <a:pt x="128" y="191"/>
                  </a:lnTo>
                  <a:lnTo>
                    <a:pt x="122" y="191"/>
                  </a:lnTo>
                  <a:lnTo>
                    <a:pt x="115" y="191"/>
                  </a:lnTo>
                  <a:lnTo>
                    <a:pt x="109" y="190"/>
                  </a:lnTo>
                  <a:lnTo>
                    <a:pt x="103" y="189"/>
                  </a:lnTo>
                  <a:lnTo>
                    <a:pt x="101" y="186"/>
                  </a:lnTo>
                  <a:lnTo>
                    <a:pt x="101" y="67"/>
                  </a:lnTo>
                  <a:lnTo>
                    <a:pt x="101" y="67"/>
                  </a:lnTo>
                  <a:lnTo>
                    <a:pt x="99" y="60"/>
                  </a:lnTo>
                  <a:lnTo>
                    <a:pt x="98" y="55"/>
                  </a:lnTo>
                  <a:lnTo>
                    <a:pt x="95" y="50"/>
                  </a:lnTo>
                  <a:lnTo>
                    <a:pt x="92" y="46"/>
                  </a:lnTo>
                  <a:lnTo>
                    <a:pt x="88" y="43"/>
                  </a:lnTo>
                  <a:lnTo>
                    <a:pt x="82" y="42"/>
                  </a:lnTo>
                  <a:lnTo>
                    <a:pt x="72" y="40"/>
                  </a:lnTo>
                  <a:lnTo>
                    <a:pt x="60" y="40"/>
                  </a:lnTo>
                  <a:lnTo>
                    <a:pt x="52" y="40"/>
                  </a:lnTo>
                  <a:lnTo>
                    <a:pt x="43" y="43"/>
                  </a:lnTo>
                  <a:lnTo>
                    <a:pt x="43" y="186"/>
                  </a:lnTo>
                  <a:lnTo>
                    <a:pt x="43" y="186"/>
                  </a:lnTo>
                  <a:lnTo>
                    <a:pt x="39" y="189"/>
                  </a:lnTo>
                  <a:lnTo>
                    <a:pt x="33" y="190"/>
                  </a:lnTo>
                  <a:lnTo>
                    <a:pt x="28" y="191"/>
                  </a:lnTo>
                  <a:lnTo>
                    <a:pt x="22" y="191"/>
                  </a:lnTo>
                  <a:lnTo>
                    <a:pt x="15" y="191"/>
                  </a:lnTo>
                  <a:lnTo>
                    <a:pt x="9" y="190"/>
                  </a:lnTo>
                  <a:lnTo>
                    <a:pt x="5" y="189"/>
                  </a:lnTo>
                  <a:lnTo>
                    <a:pt x="0" y="186"/>
                  </a:lnTo>
                  <a:lnTo>
                    <a:pt x="0" y="186"/>
                  </a:lnTo>
                  <a:close/>
                  <a:moveTo>
                    <a:pt x="0" y="186"/>
                  </a:moveTo>
                  <a:lnTo>
                    <a:pt x="0" y="18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77" name="Freeform 30"/>
            <p:cNvSpPr>
              <a:spLocks/>
            </p:cNvSpPr>
            <p:nvPr userDrawn="1"/>
          </p:nvSpPr>
          <p:spPr bwMode="auto">
            <a:xfrm>
              <a:off x="5671" y="717"/>
              <a:ext cx="80" cy="63"/>
            </a:xfrm>
            <a:custGeom>
              <a:avLst/>
              <a:gdLst>
                <a:gd name="T0" fmla="*/ 0 w 242"/>
                <a:gd name="T1" fmla="*/ 0 h 191"/>
                <a:gd name="T2" fmla="*/ 198 w 242"/>
                <a:gd name="T3" fmla="*/ 0 h 191"/>
                <a:gd name="T4" fmla="*/ 218 w 242"/>
                <a:gd name="T5" fmla="*/ 3 h 191"/>
                <a:gd name="T6" fmla="*/ 231 w 242"/>
                <a:gd name="T7" fmla="*/ 12 h 191"/>
                <a:gd name="T8" fmla="*/ 239 w 242"/>
                <a:gd name="T9" fmla="*/ 27 h 191"/>
                <a:gd name="T10" fmla="*/ 242 w 242"/>
                <a:gd name="T11" fmla="*/ 52 h 191"/>
                <a:gd name="T12" fmla="*/ 242 w 242"/>
                <a:gd name="T13" fmla="*/ 186 h 191"/>
                <a:gd name="T14" fmla="*/ 234 w 242"/>
                <a:gd name="T15" fmla="*/ 190 h 191"/>
                <a:gd name="T16" fmla="*/ 221 w 242"/>
                <a:gd name="T17" fmla="*/ 191 h 191"/>
                <a:gd name="T18" fmla="*/ 209 w 242"/>
                <a:gd name="T19" fmla="*/ 190 h 191"/>
                <a:gd name="T20" fmla="*/ 201 w 242"/>
                <a:gd name="T21" fmla="*/ 186 h 191"/>
                <a:gd name="T22" fmla="*/ 201 w 242"/>
                <a:gd name="T23" fmla="*/ 66 h 191"/>
                <a:gd name="T24" fmla="*/ 198 w 242"/>
                <a:gd name="T25" fmla="*/ 55 h 191"/>
                <a:gd name="T26" fmla="*/ 191 w 242"/>
                <a:gd name="T27" fmla="*/ 46 h 191"/>
                <a:gd name="T28" fmla="*/ 182 w 242"/>
                <a:gd name="T29" fmla="*/ 42 h 191"/>
                <a:gd name="T30" fmla="*/ 161 w 242"/>
                <a:gd name="T31" fmla="*/ 40 h 191"/>
                <a:gd name="T32" fmla="*/ 142 w 242"/>
                <a:gd name="T33" fmla="*/ 43 h 191"/>
                <a:gd name="T34" fmla="*/ 142 w 242"/>
                <a:gd name="T35" fmla="*/ 186 h 191"/>
                <a:gd name="T36" fmla="*/ 133 w 242"/>
                <a:gd name="T37" fmla="*/ 190 h 191"/>
                <a:gd name="T38" fmla="*/ 122 w 242"/>
                <a:gd name="T39" fmla="*/ 191 h 191"/>
                <a:gd name="T40" fmla="*/ 109 w 242"/>
                <a:gd name="T41" fmla="*/ 190 h 191"/>
                <a:gd name="T42" fmla="*/ 101 w 242"/>
                <a:gd name="T43" fmla="*/ 186 h 191"/>
                <a:gd name="T44" fmla="*/ 101 w 242"/>
                <a:gd name="T45" fmla="*/ 67 h 191"/>
                <a:gd name="T46" fmla="*/ 98 w 242"/>
                <a:gd name="T47" fmla="*/ 55 h 191"/>
                <a:gd name="T48" fmla="*/ 92 w 242"/>
                <a:gd name="T49" fmla="*/ 46 h 191"/>
                <a:gd name="T50" fmla="*/ 82 w 242"/>
                <a:gd name="T51" fmla="*/ 42 h 191"/>
                <a:gd name="T52" fmla="*/ 60 w 242"/>
                <a:gd name="T53" fmla="*/ 40 h 191"/>
                <a:gd name="T54" fmla="*/ 43 w 242"/>
                <a:gd name="T55" fmla="*/ 43 h 191"/>
                <a:gd name="T56" fmla="*/ 43 w 242"/>
                <a:gd name="T57" fmla="*/ 186 h 191"/>
                <a:gd name="T58" fmla="*/ 33 w 242"/>
                <a:gd name="T59" fmla="*/ 190 h 191"/>
                <a:gd name="T60" fmla="*/ 22 w 242"/>
                <a:gd name="T61" fmla="*/ 191 h 191"/>
                <a:gd name="T62" fmla="*/ 9 w 242"/>
                <a:gd name="T63" fmla="*/ 190 h 191"/>
                <a:gd name="T64" fmla="*/ 0 w 242"/>
                <a:gd name="T65" fmla="*/ 186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2" h="191">
                  <a:moveTo>
                    <a:pt x="0" y="186"/>
                  </a:moveTo>
                  <a:lnTo>
                    <a:pt x="0" y="0"/>
                  </a:lnTo>
                  <a:lnTo>
                    <a:pt x="198" y="0"/>
                  </a:lnTo>
                  <a:lnTo>
                    <a:pt x="198" y="0"/>
                  </a:lnTo>
                  <a:lnTo>
                    <a:pt x="208" y="0"/>
                  </a:lnTo>
                  <a:lnTo>
                    <a:pt x="218" y="3"/>
                  </a:lnTo>
                  <a:lnTo>
                    <a:pt x="225" y="6"/>
                  </a:lnTo>
                  <a:lnTo>
                    <a:pt x="231" y="12"/>
                  </a:lnTo>
                  <a:lnTo>
                    <a:pt x="237" y="19"/>
                  </a:lnTo>
                  <a:lnTo>
                    <a:pt x="239" y="27"/>
                  </a:lnTo>
                  <a:lnTo>
                    <a:pt x="242" y="39"/>
                  </a:lnTo>
                  <a:lnTo>
                    <a:pt x="242" y="52"/>
                  </a:lnTo>
                  <a:lnTo>
                    <a:pt x="242" y="186"/>
                  </a:lnTo>
                  <a:lnTo>
                    <a:pt x="242" y="186"/>
                  </a:lnTo>
                  <a:lnTo>
                    <a:pt x="239" y="189"/>
                  </a:lnTo>
                  <a:lnTo>
                    <a:pt x="234" y="190"/>
                  </a:lnTo>
                  <a:lnTo>
                    <a:pt x="228" y="191"/>
                  </a:lnTo>
                  <a:lnTo>
                    <a:pt x="221" y="191"/>
                  </a:lnTo>
                  <a:lnTo>
                    <a:pt x="215" y="191"/>
                  </a:lnTo>
                  <a:lnTo>
                    <a:pt x="209" y="190"/>
                  </a:lnTo>
                  <a:lnTo>
                    <a:pt x="204" y="189"/>
                  </a:lnTo>
                  <a:lnTo>
                    <a:pt x="201" y="186"/>
                  </a:lnTo>
                  <a:lnTo>
                    <a:pt x="201" y="66"/>
                  </a:lnTo>
                  <a:lnTo>
                    <a:pt x="201" y="66"/>
                  </a:lnTo>
                  <a:lnTo>
                    <a:pt x="199" y="60"/>
                  </a:lnTo>
                  <a:lnTo>
                    <a:pt x="198" y="55"/>
                  </a:lnTo>
                  <a:lnTo>
                    <a:pt x="195" y="50"/>
                  </a:lnTo>
                  <a:lnTo>
                    <a:pt x="191" y="46"/>
                  </a:lnTo>
                  <a:lnTo>
                    <a:pt x="186" y="43"/>
                  </a:lnTo>
                  <a:lnTo>
                    <a:pt x="182" y="42"/>
                  </a:lnTo>
                  <a:lnTo>
                    <a:pt x="171" y="40"/>
                  </a:lnTo>
                  <a:lnTo>
                    <a:pt x="161" y="40"/>
                  </a:lnTo>
                  <a:lnTo>
                    <a:pt x="152" y="40"/>
                  </a:lnTo>
                  <a:lnTo>
                    <a:pt x="142" y="43"/>
                  </a:lnTo>
                  <a:lnTo>
                    <a:pt x="142" y="186"/>
                  </a:lnTo>
                  <a:lnTo>
                    <a:pt x="142" y="186"/>
                  </a:lnTo>
                  <a:lnTo>
                    <a:pt x="139" y="189"/>
                  </a:lnTo>
                  <a:lnTo>
                    <a:pt x="133" y="190"/>
                  </a:lnTo>
                  <a:lnTo>
                    <a:pt x="128" y="191"/>
                  </a:lnTo>
                  <a:lnTo>
                    <a:pt x="122" y="191"/>
                  </a:lnTo>
                  <a:lnTo>
                    <a:pt x="115" y="191"/>
                  </a:lnTo>
                  <a:lnTo>
                    <a:pt x="109" y="190"/>
                  </a:lnTo>
                  <a:lnTo>
                    <a:pt x="103" y="189"/>
                  </a:lnTo>
                  <a:lnTo>
                    <a:pt x="101" y="186"/>
                  </a:lnTo>
                  <a:lnTo>
                    <a:pt x="101" y="67"/>
                  </a:lnTo>
                  <a:lnTo>
                    <a:pt x="101" y="67"/>
                  </a:lnTo>
                  <a:lnTo>
                    <a:pt x="99" y="60"/>
                  </a:lnTo>
                  <a:lnTo>
                    <a:pt x="98" y="55"/>
                  </a:lnTo>
                  <a:lnTo>
                    <a:pt x="95" y="50"/>
                  </a:lnTo>
                  <a:lnTo>
                    <a:pt x="92" y="46"/>
                  </a:lnTo>
                  <a:lnTo>
                    <a:pt x="88" y="43"/>
                  </a:lnTo>
                  <a:lnTo>
                    <a:pt x="82" y="42"/>
                  </a:lnTo>
                  <a:lnTo>
                    <a:pt x="72" y="40"/>
                  </a:lnTo>
                  <a:lnTo>
                    <a:pt x="60" y="40"/>
                  </a:lnTo>
                  <a:lnTo>
                    <a:pt x="52" y="40"/>
                  </a:lnTo>
                  <a:lnTo>
                    <a:pt x="43" y="43"/>
                  </a:lnTo>
                  <a:lnTo>
                    <a:pt x="43" y="186"/>
                  </a:lnTo>
                  <a:lnTo>
                    <a:pt x="43" y="186"/>
                  </a:lnTo>
                  <a:lnTo>
                    <a:pt x="39" y="189"/>
                  </a:lnTo>
                  <a:lnTo>
                    <a:pt x="33" y="190"/>
                  </a:lnTo>
                  <a:lnTo>
                    <a:pt x="28" y="191"/>
                  </a:lnTo>
                  <a:lnTo>
                    <a:pt x="22" y="191"/>
                  </a:lnTo>
                  <a:lnTo>
                    <a:pt x="15" y="191"/>
                  </a:lnTo>
                  <a:lnTo>
                    <a:pt x="9" y="190"/>
                  </a:lnTo>
                  <a:lnTo>
                    <a:pt x="5" y="189"/>
                  </a:lnTo>
                  <a:lnTo>
                    <a:pt x="0" y="186"/>
                  </a:lnTo>
                  <a:lnTo>
                    <a:pt x="0" y="18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78" name="Line 31"/>
            <p:cNvSpPr>
              <a:spLocks noChangeShapeType="1"/>
            </p:cNvSpPr>
            <p:nvPr userDrawn="1"/>
          </p:nvSpPr>
          <p:spPr bwMode="auto">
            <a:xfrm>
              <a:off x="5671" y="779"/>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79" name="Freeform 32"/>
            <p:cNvSpPr>
              <a:spLocks noEditPoints="1"/>
            </p:cNvSpPr>
            <p:nvPr userDrawn="1"/>
          </p:nvSpPr>
          <p:spPr bwMode="auto">
            <a:xfrm>
              <a:off x="5615" y="717"/>
              <a:ext cx="45" cy="63"/>
            </a:xfrm>
            <a:custGeom>
              <a:avLst/>
              <a:gdLst>
                <a:gd name="T0" fmla="*/ 93 w 135"/>
                <a:gd name="T1" fmla="*/ 109 h 191"/>
                <a:gd name="T2" fmla="*/ 93 w 135"/>
                <a:gd name="T3" fmla="*/ 42 h 191"/>
                <a:gd name="T4" fmla="*/ 93 w 135"/>
                <a:gd name="T5" fmla="*/ 42 h 191"/>
                <a:gd name="T6" fmla="*/ 86 w 135"/>
                <a:gd name="T7" fmla="*/ 40 h 191"/>
                <a:gd name="T8" fmla="*/ 78 w 135"/>
                <a:gd name="T9" fmla="*/ 39 h 191"/>
                <a:gd name="T10" fmla="*/ 68 w 135"/>
                <a:gd name="T11" fmla="*/ 37 h 191"/>
                <a:gd name="T12" fmla="*/ 59 w 135"/>
                <a:gd name="T13" fmla="*/ 40 h 191"/>
                <a:gd name="T14" fmla="*/ 55 w 135"/>
                <a:gd name="T15" fmla="*/ 42 h 191"/>
                <a:gd name="T16" fmla="*/ 50 w 135"/>
                <a:gd name="T17" fmla="*/ 45 h 191"/>
                <a:gd name="T18" fmla="*/ 48 w 135"/>
                <a:gd name="T19" fmla="*/ 49 h 191"/>
                <a:gd name="T20" fmla="*/ 45 w 135"/>
                <a:gd name="T21" fmla="*/ 53 h 191"/>
                <a:gd name="T22" fmla="*/ 43 w 135"/>
                <a:gd name="T23" fmla="*/ 59 h 191"/>
                <a:gd name="T24" fmla="*/ 42 w 135"/>
                <a:gd name="T25" fmla="*/ 67 h 191"/>
                <a:gd name="T26" fmla="*/ 42 w 135"/>
                <a:gd name="T27" fmla="*/ 109 h 191"/>
                <a:gd name="T28" fmla="*/ 93 w 135"/>
                <a:gd name="T29" fmla="*/ 109 h 191"/>
                <a:gd name="T30" fmla="*/ 42 w 135"/>
                <a:gd name="T31" fmla="*/ 144 h 191"/>
                <a:gd name="T32" fmla="*/ 42 w 135"/>
                <a:gd name="T33" fmla="*/ 186 h 191"/>
                <a:gd name="T34" fmla="*/ 42 w 135"/>
                <a:gd name="T35" fmla="*/ 186 h 191"/>
                <a:gd name="T36" fmla="*/ 39 w 135"/>
                <a:gd name="T37" fmla="*/ 189 h 191"/>
                <a:gd name="T38" fmla="*/ 35 w 135"/>
                <a:gd name="T39" fmla="*/ 190 h 191"/>
                <a:gd name="T40" fmla="*/ 27 w 135"/>
                <a:gd name="T41" fmla="*/ 191 h 191"/>
                <a:gd name="T42" fmla="*/ 22 w 135"/>
                <a:gd name="T43" fmla="*/ 191 h 191"/>
                <a:gd name="T44" fmla="*/ 15 w 135"/>
                <a:gd name="T45" fmla="*/ 191 h 191"/>
                <a:gd name="T46" fmla="*/ 9 w 135"/>
                <a:gd name="T47" fmla="*/ 190 h 191"/>
                <a:gd name="T48" fmla="*/ 3 w 135"/>
                <a:gd name="T49" fmla="*/ 189 h 191"/>
                <a:gd name="T50" fmla="*/ 0 w 135"/>
                <a:gd name="T51" fmla="*/ 186 h 191"/>
                <a:gd name="T52" fmla="*/ 0 w 135"/>
                <a:gd name="T53" fmla="*/ 0 h 191"/>
                <a:gd name="T54" fmla="*/ 102 w 135"/>
                <a:gd name="T55" fmla="*/ 0 h 191"/>
                <a:gd name="T56" fmla="*/ 102 w 135"/>
                <a:gd name="T57" fmla="*/ 0 h 191"/>
                <a:gd name="T58" fmla="*/ 110 w 135"/>
                <a:gd name="T59" fmla="*/ 0 h 191"/>
                <a:gd name="T60" fmla="*/ 118 w 135"/>
                <a:gd name="T61" fmla="*/ 3 h 191"/>
                <a:gd name="T62" fmla="*/ 123 w 135"/>
                <a:gd name="T63" fmla="*/ 6 h 191"/>
                <a:gd name="T64" fmla="*/ 128 w 135"/>
                <a:gd name="T65" fmla="*/ 12 h 191"/>
                <a:gd name="T66" fmla="*/ 132 w 135"/>
                <a:gd name="T67" fmla="*/ 19 h 191"/>
                <a:gd name="T68" fmla="*/ 133 w 135"/>
                <a:gd name="T69" fmla="*/ 27 h 191"/>
                <a:gd name="T70" fmla="*/ 135 w 135"/>
                <a:gd name="T71" fmla="*/ 39 h 191"/>
                <a:gd name="T72" fmla="*/ 135 w 135"/>
                <a:gd name="T73" fmla="*/ 52 h 191"/>
                <a:gd name="T74" fmla="*/ 135 w 135"/>
                <a:gd name="T75" fmla="*/ 186 h 191"/>
                <a:gd name="T76" fmla="*/ 135 w 135"/>
                <a:gd name="T77" fmla="*/ 186 h 191"/>
                <a:gd name="T78" fmla="*/ 132 w 135"/>
                <a:gd name="T79" fmla="*/ 189 h 191"/>
                <a:gd name="T80" fmla="*/ 128 w 135"/>
                <a:gd name="T81" fmla="*/ 190 h 191"/>
                <a:gd name="T82" fmla="*/ 121 w 135"/>
                <a:gd name="T83" fmla="*/ 191 h 191"/>
                <a:gd name="T84" fmla="*/ 115 w 135"/>
                <a:gd name="T85" fmla="*/ 191 h 191"/>
                <a:gd name="T86" fmla="*/ 108 w 135"/>
                <a:gd name="T87" fmla="*/ 191 h 191"/>
                <a:gd name="T88" fmla="*/ 102 w 135"/>
                <a:gd name="T89" fmla="*/ 190 h 191"/>
                <a:gd name="T90" fmla="*/ 96 w 135"/>
                <a:gd name="T91" fmla="*/ 189 h 191"/>
                <a:gd name="T92" fmla="*/ 93 w 135"/>
                <a:gd name="T93" fmla="*/ 186 h 191"/>
                <a:gd name="T94" fmla="*/ 93 w 135"/>
                <a:gd name="T95" fmla="*/ 144 h 191"/>
                <a:gd name="T96" fmla="*/ 110 w 135"/>
                <a:gd name="T97" fmla="*/ 144 h 191"/>
                <a:gd name="T98" fmla="*/ 42 w 135"/>
                <a:gd name="T99" fmla="*/ 144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35" h="191">
                  <a:moveTo>
                    <a:pt x="93" y="109"/>
                  </a:moveTo>
                  <a:lnTo>
                    <a:pt x="93" y="42"/>
                  </a:lnTo>
                  <a:lnTo>
                    <a:pt x="93" y="42"/>
                  </a:lnTo>
                  <a:lnTo>
                    <a:pt x="86" y="40"/>
                  </a:lnTo>
                  <a:lnTo>
                    <a:pt x="78" y="39"/>
                  </a:lnTo>
                  <a:lnTo>
                    <a:pt x="68" y="37"/>
                  </a:lnTo>
                  <a:lnTo>
                    <a:pt x="59" y="40"/>
                  </a:lnTo>
                  <a:lnTo>
                    <a:pt x="55" y="42"/>
                  </a:lnTo>
                  <a:lnTo>
                    <a:pt x="50" y="45"/>
                  </a:lnTo>
                  <a:lnTo>
                    <a:pt x="48" y="49"/>
                  </a:lnTo>
                  <a:lnTo>
                    <a:pt x="45" y="53"/>
                  </a:lnTo>
                  <a:lnTo>
                    <a:pt x="43" y="59"/>
                  </a:lnTo>
                  <a:lnTo>
                    <a:pt x="42" y="67"/>
                  </a:lnTo>
                  <a:lnTo>
                    <a:pt x="42" y="109"/>
                  </a:lnTo>
                  <a:lnTo>
                    <a:pt x="93" y="109"/>
                  </a:lnTo>
                  <a:close/>
                  <a:moveTo>
                    <a:pt x="42" y="144"/>
                  </a:moveTo>
                  <a:lnTo>
                    <a:pt x="42" y="186"/>
                  </a:lnTo>
                  <a:lnTo>
                    <a:pt x="42" y="186"/>
                  </a:lnTo>
                  <a:lnTo>
                    <a:pt x="39" y="189"/>
                  </a:lnTo>
                  <a:lnTo>
                    <a:pt x="35" y="190"/>
                  </a:lnTo>
                  <a:lnTo>
                    <a:pt x="27" y="191"/>
                  </a:lnTo>
                  <a:lnTo>
                    <a:pt x="22" y="191"/>
                  </a:lnTo>
                  <a:lnTo>
                    <a:pt x="15" y="191"/>
                  </a:lnTo>
                  <a:lnTo>
                    <a:pt x="9" y="190"/>
                  </a:lnTo>
                  <a:lnTo>
                    <a:pt x="3" y="189"/>
                  </a:lnTo>
                  <a:lnTo>
                    <a:pt x="0" y="186"/>
                  </a:lnTo>
                  <a:lnTo>
                    <a:pt x="0" y="0"/>
                  </a:lnTo>
                  <a:lnTo>
                    <a:pt x="102" y="0"/>
                  </a:lnTo>
                  <a:lnTo>
                    <a:pt x="102" y="0"/>
                  </a:lnTo>
                  <a:lnTo>
                    <a:pt x="110" y="0"/>
                  </a:lnTo>
                  <a:lnTo>
                    <a:pt x="118" y="3"/>
                  </a:lnTo>
                  <a:lnTo>
                    <a:pt x="123" y="6"/>
                  </a:lnTo>
                  <a:lnTo>
                    <a:pt x="128" y="12"/>
                  </a:lnTo>
                  <a:lnTo>
                    <a:pt x="132" y="19"/>
                  </a:lnTo>
                  <a:lnTo>
                    <a:pt x="133" y="27"/>
                  </a:lnTo>
                  <a:lnTo>
                    <a:pt x="135" y="39"/>
                  </a:lnTo>
                  <a:lnTo>
                    <a:pt x="135" y="52"/>
                  </a:lnTo>
                  <a:lnTo>
                    <a:pt x="135" y="186"/>
                  </a:lnTo>
                  <a:lnTo>
                    <a:pt x="135" y="186"/>
                  </a:lnTo>
                  <a:lnTo>
                    <a:pt x="132" y="189"/>
                  </a:lnTo>
                  <a:lnTo>
                    <a:pt x="128" y="190"/>
                  </a:lnTo>
                  <a:lnTo>
                    <a:pt x="121" y="191"/>
                  </a:lnTo>
                  <a:lnTo>
                    <a:pt x="115" y="191"/>
                  </a:lnTo>
                  <a:lnTo>
                    <a:pt x="108" y="191"/>
                  </a:lnTo>
                  <a:lnTo>
                    <a:pt x="102" y="190"/>
                  </a:lnTo>
                  <a:lnTo>
                    <a:pt x="96" y="189"/>
                  </a:lnTo>
                  <a:lnTo>
                    <a:pt x="93" y="186"/>
                  </a:lnTo>
                  <a:lnTo>
                    <a:pt x="93" y="144"/>
                  </a:lnTo>
                  <a:lnTo>
                    <a:pt x="110" y="144"/>
                  </a:lnTo>
                  <a:lnTo>
                    <a:pt x="42" y="14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80" name="Freeform 33"/>
            <p:cNvSpPr>
              <a:spLocks/>
            </p:cNvSpPr>
            <p:nvPr userDrawn="1"/>
          </p:nvSpPr>
          <p:spPr bwMode="auto">
            <a:xfrm>
              <a:off x="5629" y="729"/>
              <a:ext cx="17" cy="24"/>
            </a:xfrm>
            <a:custGeom>
              <a:avLst/>
              <a:gdLst>
                <a:gd name="T0" fmla="*/ 51 w 51"/>
                <a:gd name="T1" fmla="*/ 72 h 72"/>
                <a:gd name="T2" fmla="*/ 51 w 51"/>
                <a:gd name="T3" fmla="*/ 5 h 72"/>
                <a:gd name="T4" fmla="*/ 51 w 51"/>
                <a:gd name="T5" fmla="*/ 5 h 72"/>
                <a:gd name="T6" fmla="*/ 44 w 51"/>
                <a:gd name="T7" fmla="*/ 3 h 72"/>
                <a:gd name="T8" fmla="*/ 36 w 51"/>
                <a:gd name="T9" fmla="*/ 2 h 72"/>
                <a:gd name="T10" fmla="*/ 26 w 51"/>
                <a:gd name="T11" fmla="*/ 0 h 72"/>
                <a:gd name="T12" fmla="*/ 17 w 51"/>
                <a:gd name="T13" fmla="*/ 3 h 72"/>
                <a:gd name="T14" fmla="*/ 13 w 51"/>
                <a:gd name="T15" fmla="*/ 5 h 72"/>
                <a:gd name="T16" fmla="*/ 8 w 51"/>
                <a:gd name="T17" fmla="*/ 8 h 72"/>
                <a:gd name="T18" fmla="*/ 6 w 51"/>
                <a:gd name="T19" fmla="*/ 12 h 72"/>
                <a:gd name="T20" fmla="*/ 3 w 51"/>
                <a:gd name="T21" fmla="*/ 16 h 72"/>
                <a:gd name="T22" fmla="*/ 1 w 51"/>
                <a:gd name="T23" fmla="*/ 22 h 72"/>
                <a:gd name="T24" fmla="*/ 0 w 51"/>
                <a:gd name="T25" fmla="*/ 30 h 72"/>
                <a:gd name="T26" fmla="*/ 0 w 51"/>
                <a:gd name="T27"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1" h="72">
                  <a:moveTo>
                    <a:pt x="51" y="72"/>
                  </a:moveTo>
                  <a:lnTo>
                    <a:pt x="51" y="5"/>
                  </a:lnTo>
                  <a:lnTo>
                    <a:pt x="51" y="5"/>
                  </a:lnTo>
                  <a:lnTo>
                    <a:pt x="44" y="3"/>
                  </a:lnTo>
                  <a:lnTo>
                    <a:pt x="36" y="2"/>
                  </a:lnTo>
                  <a:lnTo>
                    <a:pt x="26" y="0"/>
                  </a:lnTo>
                  <a:lnTo>
                    <a:pt x="17" y="3"/>
                  </a:lnTo>
                  <a:lnTo>
                    <a:pt x="13" y="5"/>
                  </a:lnTo>
                  <a:lnTo>
                    <a:pt x="8" y="8"/>
                  </a:lnTo>
                  <a:lnTo>
                    <a:pt x="6" y="12"/>
                  </a:lnTo>
                  <a:lnTo>
                    <a:pt x="3" y="16"/>
                  </a:lnTo>
                  <a:lnTo>
                    <a:pt x="1" y="22"/>
                  </a:lnTo>
                  <a:lnTo>
                    <a:pt x="0" y="30"/>
                  </a:lnTo>
                  <a:lnTo>
                    <a:pt x="0" y="7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81" name="Freeform 34"/>
            <p:cNvSpPr>
              <a:spLocks/>
            </p:cNvSpPr>
            <p:nvPr userDrawn="1"/>
          </p:nvSpPr>
          <p:spPr bwMode="auto">
            <a:xfrm>
              <a:off x="5615" y="717"/>
              <a:ext cx="45" cy="63"/>
            </a:xfrm>
            <a:custGeom>
              <a:avLst/>
              <a:gdLst>
                <a:gd name="T0" fmla="*/ 42 w 135"/>
                <a:gd name="T1" fmla="*/ 144 h 191"/>
                <a:gd name="T2" fmla="*/ 42 w 135"/>
                <a:gd name="T3" fmla="*/ 186 h 191"/>
                <a:gd name="T4" fmla="*/ 42 w 135"/>
                <a:gd name="T5" fmla="*/ 186 h 191"/>
                <a:gd name="T6" fmla="*/ 39 w 135"/>
                <a:gd name="T7" fmla="*/ 189 h 191"/>
                <a:gd name="T8" fmla="*/ 35 w 135"/>
                <a:gd name="T9" fmla="*/ 190 h 191"/>
                <a:gd name="T10" fmla="*/ 27 w 135"/>
                <a:gd name="T11" fmla="*/ 191 h 191"/>
                <a:gd name="T12" fmla="*/ 22 w 135"/>
                <a:gd name="T13" fmla="*/ 191 h 191"/>
                <a:gd name="T14" fmla="*/ 15 w 135"/>
                <a:gd name="T15" fmla="*/ 191 h 191"/>
                <a:gd name="T16" fmla="*/ 9 w 135"/>
                <a:gd name="T17" fmla="*/ 190 h 191"/>
                <a:gd name="T18" fmla="*/ 3 w 135"/>
                <a:gd name="T19" fmla="*/ 189 h 191"/>
                <a:gd name="T20" fmla="*/ 0 w 135"/>
                <a:gd name="T21" fmla="*/ 186 h 191"/>
                <a:gd name="T22" fmla="*/ 0 w 135"/>
                <a:gd name="T23" fmla="*/ 0 h 191"/>
                <a:gd name="T24" fmla="*/ 102 w 135"/>
                <a:gd name="T25" fmla="*/ 0 h 191"/>
                <a:gd name="T26" fmla="*/ 102 w 135"/>
                <a:gd name="T27" fmla="*/ 0 h 191"/>
                <a:gd name="T28" fmla="*/ 110 w 135"/>
                <a:gd name="T29" fmla="*/ 0 h 191"/>
                <a:gd name="T30" fmla="*/ 118 w 135"/>
                <a:gd name="T31" fmla="*/ 3 h 191"/>
                <a:gd name="T32" fmla="*/ 123 w 135"/>
                <a:gd name="T33" fmla="*/ 6 h 191"/>
                <a:gd name="T34" fmla="*/ 128 w 135"/>
                <a:gd name="T35" fmla="*/ 12 h 191"/>
                <a:gd name="T36" fmla="*/ 132 w 135"/>
                <a:gd name="T37" fmla="*/ 19 h 191"/>
                <a:gd name="T38" fmla="*/ 133 w 135"/>
                <a:gd name="T39" fmla="*/ 27 h 191"/>
                <a:gd name="T40" fmla="*/ 135 w 135"/>
                <a:gd name="T41" fmla="*/ 39 h 191"/>
                <a:gd name="T42" fmla="*/ 135 w 135"/>
                <a:gd name="T43" fmla="*/ 52 h 191"/>
                <a:gd name="T44" fmla="*/ 135 w 135"/>
                <a:gd name="T45" fmla="*/ 186 h 191"/>
                <a:gd name="T46" fmla="*/ 135 w 135"/>
                <a:gd name="T47" fmla="*/ 186 h 191"/>
                <a:gd name="T48" fmla="*/ 132 w 135"/>
                <a:gd name="T49" fmla="*/ 189 h 191"/>
                <a:gd name="T50" fmla="*/ 128 w 135"/>
                <a:gd name="T51" fmla="*/ 190 h 191"/>
                <a:gd name="T52" fmla="*/ 121 w 135"/>
                <a:gd name="T53" fmla="*/ 191 h 191"/>
                <a:gd name="T54" fmla="*/ 115 w 135"/>
                <a:gd name="T55" fmla="*/ 191 h 191"/>
                <a:gd name="T56" fmla="*/ 108 w 135"/>
                <a:gd name="T57" fmla="*/ 191 h 191"/>
                <a:gd name="T58" fmla="*/ 102 w 135"/>
                <a:gd name="T59" fmla="*/ 190 h 191"/>
                <a:gd name="T60" fmla="*/ 96 w 135"/>
                <a:gd name="T61" fmla="*/ 189 h 191"/>
                <a:gd name="T62" fmla="*/ 93 w 135"/>
                <a:gd name="T63" fmla="*/ 186 h 191"/>
                <a:gd name="T64" fmla="*/ 93 w 135"/>
                <a:gd name="T65" fmla="*/ 144 h 191"/>
                <a:gd name="T66" fmla="*/ 110 w 135"/>
                <a:gd name="T67" fmla="*/ 144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5" h="191">
                  <a:moveTo>
                    <a:pt x="42" y="144"/>
                  </a:moveTo>
                  <a:lnTo>
                    <a:pt x="42" y="186"/>
                  </a:lnTo>
                  <a:lnTo>
                    <a:pt x="42" y="186"/>
                  </a:lnTo>
                  <a:lnTo>
                    <a:pt x="39" y="189"/>
                  </a:lnTo>
                  <a:lnTo>
                    <a:pt x="35" y="190"/>
                  </a:lnTo>
                  <a:lnTo>
                    <a:pt x="27" y="191"/>
                  </a:lnTo>
                  <a:lnTo>
                    <a:pt x="22" y="191"/>
                  </a:lnTo>
                  <a:lnTo>
                    <a:pt x="15" y="191"/>
                  </a:lnTo>
                  <a:lnTo>
                    <a:pt x="9" y="190"/>
                  </a:lnTo>
                  <a:lnTo>
                    <a:pt x="3" y="189"/>
                  </a:lnTo>
                  <a:lnTo>
                    <a:pt x="0" y="186"/>
                  </a:lnTo>
                  <a:lnTo>
                    <a:pt x="0" y="0"/>
                  </a:lnTo>
                  <a:lnTo>
                    <a:pt x="102" y="0"/>
                  </a:lnTo>
                  <a:lnTo>
                    <a:pt x="102" y="0"/>
                  </a:lnTo>
                  <a:lnTo>
                    <a:pt x="110" y="0"/>
                  </a:lnTo>
                  <a:lnTo>
                    <a:pt x="118" y="3"/>
                  </a:lnTo>
                  <a:lnTo>
                    <a:pt x="123" y="6"/>
                  </a:lnTo>
                  <a:lnTo>
                    <a:pt x="128" y="12"/>
                  </a:lnTo>
                  <a:lnTo>
                    <a:pt x="132" y="19"/>
                  </a:lnTo>
                  <a:lnTo>
                    <a:pt x="133" y="27"/>
                  </a:lnTo>
                  <a:lnTo>
                    <a:pt x="135" y="39"/>
                  </a:lnTo>
                  <a:lnTo>
                    <a:pt x="135" y="52"/>
                  </a:lnTo>
                  <a:lnTo>
                    <a:pt x="135" y="186"/>
                  </a:lnTo>
                  <a:lnTo>
                    <a:pt x="135" y="186"/>
                  </a:lnTo>
                  <a:lnTo>
                    <a:pt x="132" y="189"/>
                  </a:lnTo>
                  <a:lnTo>
                    <a:pt x="128" y="190"/>
                  </a:lnTo>
                  <a:lnTo>
                    <a:pt x="121" y="191"/>
                  </a:lnTo>
                  <a:lnTo>
                    <a:pt x="115" y="191"/>
                  </a:lnTo>
                  <a:lnTo>
                    <a:pt x="108" y="191"/>
                  </a:lnTo>
                  <a:lnTo>
                    <a:pt x="102" y="190"/>
                  </a:lnTo>
                  <a:lnTo>
                    <a:pt x="96" y="189"/>
                  </a:lnTo>
                  <a:lnTo>
                    <a:pt x="93" y="186"/>
                  </a:lnTo>
                  <a:lnTo>
                    <a:pt x="93" y="144"/>
                  </a:lnTo>
                  <a:lnTo>
                    <a:pt x="110" y="14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sp>
        <p:nvSpPr>
          <p:cNvPr id="82" name="Textfeld 81"/>
          <p:cNvSpPr txBox="1"/>
          <p:nvPr userDrawn="1"/>
        </p:nvSpPr>
        <p:spPr>
          <a:xfrm>
            <a:off x="10029282" y="1249779"/>
            <a:ext cx="1320124" cy="461665"/>
          </a:xfrm>
          <a:prstGeom prst="rect">
            <a:avLst/>
          </a:prstGeom>
          <a:noFill/>
        </p:spPr>
        <p:txBody>
          <a:bodyPr wrap="square" rtlCol="0">
            <a:spAutoFit/>
          </a:bodyPr>
          <a:lstStyle/>
          <a:p>
            <a:pPr algn="l">
              <a:lnSpc>
                <a:spcPct val="100000"/>
              </a:lnSpc>
              <a:spcAft>
                <a:spcPts val="167"/>
              </a:spcAft>
            </a:pPr>
            <a:r>
              <a:rPr lang="de-DE" sz="600" b="0" spc="0" baseline="0" dirty="0">
                <a:solidFill>
                  <a:schemeClr val="tx1"/>
                </a:solidFill>
                <a:latin typeface="+mj-lt"/>
              </a:rPr>
              <a:t>FACHGEBIET SYSTEMZUVERLÄSSIGKEIT, ADAPTRONIK UND MASCHINENAKUSTIK</a:t>
            </a:r>
          </a:p>
        </p:txBody>
      </p:sp>
      <p:pic>
        <p:nvPicPr>
          <p:cNvPr id="48" name="Picture 5"/>
          <p:cNvPicPr>
            <a:picLocks/>
          </p:cNvPicPr>
          <p:nvPr userDrawn="1"/>
        </p:nvPicPr>
        <p:blipFill>
          <a:blip r:embed="rId9" cstate="print">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a:xfrm flipH="1">
            <a:off x="680914" y="2604700"/>
            <a:ext cx="4407215" cy="2925377"/>
          </a:xfrm>
          <a:prstGeom prst="rect">
            <a:avLst/>
          </a:prstGeom>
          <a:noFill/>
          <a:ln w="19050">
            <a:noFill/>
            <a:miter lim="800000"/>
            <a:headEnd/>
            <a:tailEnd/>
          </a:ln>
          <a:effectLst/>
        </p:spPr>
      </p:pic>
      <p:pic>
        <p:nvPicPr>
          <p:cNvPr id="2" name="Grafik 1"/>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1168357" y="2366993"/>
            <a:ext cx="4177800" cy="3173991"/>
          </a:xfrm>
          <a:prstGeom prst="rect">
            <a:avLst/>
          </a:prstGeom>
        </p:spPr>
      </p:pic>
    </p:spTree>
    <p:extLst>
      <p:ext uri="{BB962C8B-B14F-4D97-AF65-F5344CB8AC3E}">
        <p14:creationId xmlns:p14="http://schemas.microsoft.com/office/powerpoint/2010/main" val="208168090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1_Leer">
    <p:spTree>
      <p:nvGrpSpPr>
        <p:cNvPr id="1" name=""/>
        <p:cNvGrpSpPr/>
        <p:nvPr/>
      </p:nvGrpSpPr>
      <p:grpSpPr>
        <a:xfrm>
          <a:off x="0" y="0"/>
          <a:ext cx="0" cy="0"/>
          <a:chOff x="0" y="0"/>
          <a:chExt cx="0" cy="0"/>
        </a:xfrm>
      </p:grpSpPr>
    </p:spTree>
    <p:extLst>
      <p:ext uri="{BB962C8B-B14F-4D97-AF65-F5344CB8AC3E}">
        <p14:creationId xmlns:p14="http://schemas.microsoft.com/office/powerpoint/2010/main" val="2845465181"/>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Abschnittsüberschrift">
    <p:spTree>
      <p:nvGrpSpPr>
        <p:cNvPr id="1" name=""/>
        <p:cNvGrpSpPr/>
        <p:nvPr/>
      </p:nvGrpSpPr>
      <p:grpSpPr>
        <a:xfrm>
          <a:off x="0" y="0"/>
          <a:ext cx="0" cy="0"/>
          <a:chOff x="0" y="0"/>
          <a:chExt cx="0" cy="0"/>
        </a:xfrm>
      </p:grpSpPr>
      <p:sp>
        <p:nvSpPr>
          <p:cNvPr id="9" name="Rechteck 8"/>
          <p:cNvSpPr/>
          <p:nvPr/>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2"/>
              </a:solidFill>
            </a:endParaRPr>
          </a:p>
        </p:txBody>
      </p:sp>
      <p:sp>
        <p:nvSpPr>
          <p:cNvPr id="17" name="Titel 11"/>
          <p:cNvSpPr>
            <a:spLocks noGrp="1"/>
          </p:cNvSpPr>
          <p:nvPr>
            <p:ph type="title" hasCustomPrompt="1"/>
          </p:nvPr>
        </p:nvSpPr>
        <p:spPr>
          <a:xfrm>
            <a:off x="672001" y="480000"/>
            <a:ext cx="9120000" cy="480000"/>
          </a:xfrm>
        </p:spPr>
        <p:txBody>
          <a:bodyPr/>
          <a:lstStyle>
            <a:lvl1pPr>
              <a:defRPr>
                <a:solidFill>
                  <a:schemeClr val="accent1"/>
                </a:solidFill>
              </a:defRPr>
            </a:lvl1pPr>
          </a:lstStyle>
          <a:p>
            <a:r>
              <a:rPr lang="de-DE" dirty="0"/>
              <a:t>TITELMASTERFORMAT DURCH KLICKEN</a:t>
            </a:r>
          </a:p>
        </p:txBody>
      </p:sp>
      <p:pic>
        <p:nvPicPr>
          <p:cNvPr id="13" name="Bild 12"/>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687712" y="6204469"/>
            <a:ext cx="11192933" cy="508000"/>
          </a:xfrm>
          <a:prstGeom prst="rect">
            <a:avLst/>
          </a:prstGeom>
        </p:spPr>
      </p:pic>
      <p:sp>
        <p:nvSpPr>
          <p:cNvPr id="8" name="Titel 2"/>
          <p:cNvSpPr txBox="1">
            <a:spLocks/>
          </p:cNvSpPr>
          <p:nvPr/>
        </p:nvSpPr>
        <p:spPr bwMode="auto">
          <a:xfrm>
            <a:off x="1962782" y="5988089"/>
            <a:ext cx="1812295" cy="1117600"/>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lvl1pPr algn="l" rtl="0" eaLnBrk="1" fontAlgn="base" hangingPunct="1">
              <a:spcBef>
                <a:spcPct val="0"/>
              </a:spcBef>
              <a:spcAft>
                <a:spcPct val="0"/>
              </a:spcAft>
              <a:defRPr sz="2800" b="1" i="0">
                <a:solidFill>
                  <a:srgbClr val="FDCA00"/>
                </a:solidFill>
                <a:latin typeface="+mj-lt"/>
                <a:ea typeface="Verdana" charset="0"/>
                <a:cs typeface="Verdana" charset="0"/>
              </a:defRPr>
            </a:lvl1pPr>
            <a:lvl2pPr algn="l" rtl="0" eaLnBrk="1" fontAlgn="base" hangingPunct="1">
              <a:spcBef>
                <a:spcPct val="0"/>
              </a:spcBef>
              <a:spcAft>
                <a:spcPct val="0"/>
              </a:spcAft>
              <a:defRPr sz="2400" b="1">
                <a:solidFill>
                  <a:schemeClr val="tx1"/>
                </a:solidFill>
                <a:latin typeface="Arial" charset="0"/>
              </a:defRPr>
            </a:lvl2pPr>
            <a:lvl3pPr algn="l" rtl="0" eaLnBrk="1" fontAlgn="base" hangingPunct="1">
              <a:spcBef>
                <a:spcPct val="0"/>
              </a:spcBef>
              <a:spcAft>
                <a:spcPct val="0"/>
              </a:spcAft>
              <a:defRPr sz="2400" b="1">
                <a:solidFill>
                  <a:schemeClr val="tx1"/>
                </a:solidFill>
                <a:latin typeface="Arial" charset="0"/>
              </a:defRPr>
            </a:lvl3pPr>
            <a:lvl4pPr algn="l" rtl="0" eaLnBrk="1" fontAlgn="base" hangingPunct="1">
              <a:spcBef>
                <a:spcPct val="0"/>
              </a:spcBef>
              <a:spcAft>
                <a:spcPct val="0"/>
              </a:spcAft>
              <a:defRPr sz="2400" b="1">
                <a:solidFill>
                  <a:schemeClr val="tx1"/>
                </a:solidFill>
                <a:latin typeface="Arial" charset="0"/>
              </a:defRPr>
            </a:lvl4pPr>
            <a:lvl5pPr algn="l" rtl="0" eaLnBrk="1" fontAlgn="base" hangingPunct="1">
              <a:spcBef>
                <a:spcPct val="0"/>
              </a:spcBef>
              <a:spcAft>
                <a:spcPct val="0"/>
              </a:spcAft>
              <a:defRPr sz="2400" b="1">
                <a:solidFill>
                  <a:schemeClr val="tx1"/>
                </a:solidFill>
                <a:latin typeface="Arial" charset="0"/>
              </a:defRPr>
            </a:lvl5pPr>
            <a:lvl6pPr marL="457200" algn="l" rtl="0" eaLnBrk="1" fontAlgn="base" hangingPunct="1">
              <a:spcBef>
                <a:spcPct val="0"/>
              </a:spcBef>
              <a:spcAft>
                <a:spcPct val="0"/>
              </a:spcAft>
              <a:defRPr sz="2400" b="1">
                <a:solidFill>
                  <a:schemeClr val="tx1"/>
                </a:solidFill>
                <a:latin typeface="Arial" charset="0"/>
              </a:defRPr>
            </a:lvl6pPr>
            <a:lvl7pPr marL="914400" algn="l" rtl="0" eaLnBrk="1" fontAlgn="base" hangingPunct="1">
              <a:spcBef>
                <a:spcPct val="0"/>
              </a:spcBef>
              <a:spcAft>
                <a:spcPct val="0"/>
              </a:spcAft>
              <a:defRPr sz="2400" b="1">
                <a:solidFill>
                  <a:schemeClr val="tx1"/>
                </a:solidFill>
                <a:latin typeface="Arial" charset="0"/>
              </a:defRPr>
            </a:lvl7pPr>
            <a:lvl8pPr marL="1371600" algn="l" rtl="0" eaLnBrk="1" fontAlgn="base" hangingPunct="1">
              <a:spcBef>
                <a:spcPct val="0"/>
              </a:spcBef>
              <a:spcAft>
                <a:spcPct val="0"/>
              </a:spcAft>
              <a:defRPr sz="2400" b="1">
                <a:solidFill>
                  <a:schemeClr val="tx1"/>
                </a:solidFill>
                <a:latin typeface="Arial" charset="0"/>
              </a:defRPr>
            </a:lvl8pPr>
            <a:lvl9pPr marL="1828800" algn="l" rtl="0" eaLnBrk="1" fontAlgn="base" hangingPunct="1">
              <a:spcBef>
                <a:spcPct val="0"/>
              </a:spcBef>
              <a:spcAft>
                <a:spcPct val="0"/>
              </a:spcAft>
              <a:defRPr sz="2400" b="1">
                <a:solidFill>
                  <a:schemeClr val="tx1"/>
                </a:solidFill>
                <a:latin typeface="Arial" charset="0"/>
              </a:defRPr>
            </a:lvl9pPr>
          </a:lstStyle>
          <a:p>
            <a:endParaRPr lang="de-DE" sz="2933" b="0" kern="0" dirty="0">
              <a:solidFill>
                <a:schemeClr val="accent1"/>
              </a:solidFill>
              <a:latin typeface="+mj-lt"/>
            </a:endParaRPr>
          </a:p>
        </p:txBody>
      </p:sp>
      <p:sp>
        <p:nvSpPr>
          <p:cNvPr id="47" name="Rectangle 4"/>
          <p:cNvSpPr>
            <a:spLocks noGrp="1" noChangeArrowheads="1"/>
          </p:cNvSpPr>
          <p:nvPr>
            <p:ph type="subTitle" idx="1"/>
          </p:nvPr>
        </p:nvSpPr>
        <p:spPr>
          <a:xfrm>
            <a:off x="671076" y="1152001"/>
            <a:ext cx="9120000" cy="789519"/>
          </a:xfrm>
        </p:spPr>
        <p:txBody>
          <a:bodyPr lIns="0" tIns="0" rIns="0" bIns="0"/>
          <a:lstStyle>
            <a:lvl1pPr marL="0" indent="0">
              <a:spcBef>
                <a:spcPct val="0"/>
              </a:spcBef>
              <a:buFont typeface="Wingdings" pitchFamily="2" charset="2"/>
              <a:buNone/>
              <a:defRPr sz="2200" b="0" i="0">
                <a:solidFill>
                  <a:srgbClr val="FDCA00"/>
                </a:solidFill>
                <a:latin typeface="+mj-lt"/>
                <a:ea typeface="Verdana" charset="0"/>
                <a:cs typeface="Verdana" charset="0"/>
              </a:defRPr>
            </a:lvl1pPr>
          </a:lstStyle>
          <a:p>
            <a:r>
              <a:rPr lang="de-DE" dirty="0"/>
              <a:t>Master-Untertitelformat bearbeiten</a:t>
            </a:r>
          </a:p>
        </p:txBody>
      </p:sp>
      <p:grpSp>
        <p:nvGrpSpPr>
          <p:cNvPr id="48" name="Gruppierung 9"/>
          <p:cNvGrpSpPr/>
          <p:nvPr userDrawn="1"/>
        </p:nvGrpSpPr>
        <p:grpSpPr>
          <a:xfrm>
            <a:off x="9887088" y="477223"/>
            <a:ext cx="2304912" cy="870205"/>
            <a:chOff x="7415316" y="357917"/>
            <a:chExt cx="1728684" cy="652654"/>
          </a:xfrm>
          <a:solidFill>
            <a:schemeClr val="bg1"/>
          </a:solidFill>
        </p:grpSpPr>
        <p:sp>
          <p:nvSpPr>
            <p:cNvPr id="49" name="Rechteck 48"/>
            <p:cNvSpPr/>
            <p:nvPr/>
          </p:nvSpPr>
          <p:spPr>
            <a:xfrm>
              <a:off x="7415316" y="357917"/>
              <a:ext cx="1728684" cy="65265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50" name="Picture 9" descr="tud_logo"/>
            <p:cNvPicPr>
              <a:picLocks noChangeAspect="1" noChangeArrowheads="1"/>
            </p:cNvPicPr>
            <p:nvPr/>
          </p:nvPicPr>
          <p:blipFill rotWithShape="1">
            <a:blip r:embed="rId3" cstate="print">
              <a:clrChange>
                <a:clrFrom>
                  <a:srgbClr val="FDFDFD"/>
                </a:clrFrom>
                <a:clrTo>
                  <a:srgbClr val="FDFDFD">
                    <a:alpha val="0"/>
                  </a:srgbClr>
                </a:clrTo>
              </a:clrChange>
              <a:extLst>
                <a:ext uri="{28A0092B-C50C-407E-A947-70E740481C1C}">
                  <a14:useLocalDpi xmlns:a14="http://schemas.microsoft.com/office/drawing/2010/main"/>
                </a:ext>
              </a:extLst>
            </a:blip>
            <a:srcRect l="7733" t="6878" r="5453" b="9546"/>
            <a:stretch/>
          </p:blipFill>
          <p:spPr bwMode="auto">
            <a:xfrm>
              <a:off x="7608875" y="407299"/>
              <a:ext cx="1404584" cy="540631"/>
            </a:xfrm>
            <a:prstGeom prst="rect">
              <a:avLst/>
            </a:prstGeom>
            <a:grpFill/>
            <a:ln w="9525">
              <a:noFill/>
              <a:miter lim="800000"/>
              <a:headEnd/>
              <a:tailEnd/>
            </a:ln>
          </p:spPr>
        </p:pic>
      </p:grpSp>
      <p:sp>
        <p:nvSpPr>
          <p:cNvPr id="43" name="Rechteck 42"/>
          <p:cNvSpPr/>
          <p:nvPr userDrawn="1"/>
        </p:nvSpPr>
        <p:spPr>
          <a:xfrm>
            <a:off x="9887088" y="1345096"/>
            <a:ext cx="2304912" cy="429605"/>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44" name="Group 4"/>
          <p:cNvGrpSpPr>
            <a:grpSpLocks noChangeAspect="1"/>
          </p:cNvGrpSpPr>
          <p:nvPr userDrawn="1"/>
        </p:nvGrpSpPr>
        <p:grpSpPr bwMode="auto">
          <a:xfrm>
            <a:off x="11268361" y="1286959"/>
            <a:ext cx="601441" cy="445749"/>
            <a:chOff x="5478" y="637"/>
            <a:chExt cx="282" cy="209"/>
          </a:xfrm>
        </p:grpSpPr>
        <p:sp>
          <p:nvSpPr>
            <p:cNvPr id="45" name="AutoShape 3"/>
            <p:cNvSpPr>
              <a:spLocks noChangeAspect="1" noChangeArrowheads="1" noTextEdit="1"/>
            </p:cNvSpPr>
            <p:nvPr userDrawn="1"/>
          </p:nvSpPr>
          <p:spPr bwMode="auto">
            <a:xfrm>
              <a:off x="5478" y="637"/>
              <a:ext cx="282" cy="2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pic>
          <p:nvPicPr>
            <p:cNvPr id="46" name="Picture 5"/>
            <p:cNvPicPr>
              <a:picLocks noChangeAspect="1" noChangeArrowheads="1"/>
            </p:cNvPicPr>
            <p:nvPr userDrawn="1"/>
          </p:nvPicPr>
          <p:blipFill>
            <a:blip r:embed="rId4" cstate="hqprint">
              <a:extLst>
                <a:ext uri="{28A0092B-C50C-407E-A947-70E740481C1C}">
                  <a14:useLocalDpi xmlns:a14="http://schemas.microsoft.com/office/drawing/2010/main" val="0"/>
                </a:ext>
              </a:extLst>
            </a:blip>
            <a:srcRect/>
            <a:stretch>
              <a:fillRect/>
            </a:stretch>
          </p:blipFill>
          <p:spPr bwMode="auto">
            <a:xfrm>
              <a:off x="5478" y="637"/>
              <a:ext cx="282" cy="2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4" name="Freeform 6"/>
            <p:cNvSpPr>
              <a:spLocks noEditPoints="1"/>
            </p:cNvSpPr>
            <p:nvPr userDrawn="1"/>
          </p:nvSpPr>
          <p:spPr bwMode="auto">
            <a:xfrm>
              <a:off x="5486" y="647"/>
              <a:ext cx="185" cy="183"/>
            </a:xfrm>
            <a:custGeom>
              <a:avLst/>
              <a:gdLst>
                <a:gd name="T0" fmla="*/ 554 w 554"/>
                <a:gd name="T1" fmla="*/ 275 h 550"/>
                <a:gd name="T2" fmla="*/ 549 w 554"/>
                <a:gd name="T3" fmla="*/ 331 h 550"/>
                <a:gd name="T4" fmla="*/ 533 w 554"/>
                <a:gd name="T5" fmla="*/ 382 h 550"/>
                <a:gd name="T6" fmla="*/ 507 w 554"/>
                <a:gd name="T7" fmla="*/ 429 h 550"/>
                <a:gd name="T8" fmla="*/ 473 w 554"/>
                <a:gd name="T9" fmla="*/ 470 h 550"/>
                <a:gd name="T10" fmla="*/ 433 w 554"/>
                <a:gd name="T11" fmla="*/ 503 h 550"/>
                <a:gd name="T12" fmla="*/ 385 w 554"/>
                <a:gd name="T13" fmla="*/ 529 h 550"/>
                <a:gd name="T14" fmla="*/ 334 w 554"/>
                <a:gd name="T15" fmla="*/ 544 h 550"/>
                <a:gd name="T16" fmla="*/ 278 w 554"/>
                <a:gd name="T17" fmla="*/ 550 h 550"/>
                <a:gd name="T18" fmla="*/ 249 w 554"/>
                <a:gd name="T19" fmla="*/ 549 h 550"/>
                <a:gd name="T20" fmla="*/ 195 w 554"/>
                <a:gd name="T21" fmla="*/ 539 h 550"/>
                <a:gd name="T22" fmla="*/ 145 w 554"/>
                <a:gd name="T23" fmla="*/ 517 h 550"/>
                <a:gd name="T24" fmla="*/ 102 w 554"/>
                <a:gd name="T25" fmla="*/ 487 h 550"/>
                <a:gd name="T26" fmla="*/ 63 w 554"/>
                <a:gd name="T27" fmla="*/ 450 h 550"/>
                <a:gd name="T28" fmla="*/ 33 w 554"/>
                <a:gd name="T29" fmla="*/ 406 h 550"/>
                <a:gd name="T30" fmla="*/ 13 w 554"/>
                <a:gd name="T31" fmla="*/ 358 h 550"/>
                <a:gd name="T32" fmla="*/ 2 w 554"/>
                <a:gd name="T33" fmla="*/ 303 h 550"/>
                <a:gd name="T34" fmla="*/ 0 w 554"/>
                <a:gd name="T35" fmla="*/ 275 h 550"/>
                <a:gd name="T36" fmla="*/ 6 w 554"/>
                <a:gd name="T37" fmla="*/ 219 h 550"/>
                <a:gd name="T38" fmla="*/ 22 w 554"/>
                <a:gd name="T39" fmla="*/ 168 h 550"/>
                <a:gd name="T40" fmla="*/ 48 w 554"/>
                <a:gd name="T41" fmla="*/ 121 h 550"/>
                <a:gd name="T42" fmla="*/ 82 w 554"/>
                <a:gd name="T43" fmla="*/ 80 h 550"/>
                <a:gd name="T44" fmla="*/ 122 w 554"/>
                <a:gd name="T45" fmla="*/ 47 h 550"/>
                <a:gd name="T46" fmla="*/ 169 w 554"/>
                <a:gd name="T47" fmla="*/ 21 h 550"/>
                <a:gd name="T48" fmla="*/ 222 w 554"/>
                <a:gd name="T49" fmla="*/ 6 h 550"/>
                <a:gd name="T50" fmla="*/ 278 w 554"/>
                <a:gd name="T51" fmla="*/ 0 h 550"/>
                <a:gd name="T52" fmla="*/ 305 w 554"/>
                <a:gd name="T53" fmla="*/ 1 h 550"/>
                <a:gd name="T54" fmla="*/ 360 w 554"/>
                <a:gd name="T55" fmla="*/ 11 h 550"/>
                <a:gd name="T56" fmla="*/ 410 w 554"/>
                <a:gd name="T57" fmla="*/ 33 h 550"/>
                <a:gd name="T58" fmla="*/ 454 w 554"/>
                <a:gd name="T59" fmla="*/ 63 h 550"/>
                <a:gd name="T60" fmla="*/ 491 w 554"/>
                <a:gd name="T61" fmla="*/ 100 h 550"/>
                <a:gd name="T62" fmla="*/ 521 w 554"/>
                <a:gd name="T63" fmla="*/ 144 h 550"/>
                <a:gd name="T64" fmla="*/ 541 w 554"/>
                <a:gd name="T65" fmla="*/ 192 h 550"/>
                <a:gd name="T66" fmla="*/ 553 w 554"/>
                <a:gd name="T67" fmla="*/ 246 h 550"/>
                <a:gd name="T68" fmla="*/ 554 w 554"/>
                <a:gd name="T69" fmla="*/ 275 h 550"/>
                <a:gd name="T70" fmla="*/ 554 w 554"/>
                <a:gd name="T71" fmla="*/ 275 h 5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54" h="550">
                  <a:moveTo>
                    <a:pt x="554" y="275"/>
                  </a:moveTo>
                  <a:lnTo>
                    <a:pt x="554" y="275"/>
                  </a:lnTo>
                  <a:lnTo>
                    <a:pt x="553" y="303"/>
                  </a:lnTo>
                  <a:lnTo>
                    <a:pt x="549" y="331"/>
                  </a:lnTo>
                  <a:lnTo>
                    <a:pt x="541" y="358"/>
                  </a:lnTo>
                  <a:lnTo>
                    <a:pt x="533" y="382"/>
                  </a:lnTo>
                  <a:lnTo>
                    <a:pt x="521" y="406"/>
                  </a:lnTo>
                  <a:lnTo>
                    <a:pt x="507" y="429"/>
                  </a:lnTo>
                  <a:lnTo>
                    <a:pt x="491" y="450"/>
                  </a:lnTo>
                  <a:lnTo>
                    <a:pt x="473" y="470"/>
                  </a:lnTo>
                  <a:lnTo>
                    <a:pt x="454" y="487"/>
                  </a:lnTo>
                  <a:lnTo>
                    <a:pt x="433" y="503"/>
                  </a:lnTo>
                  <a:lnTo>
                    <a:pt x="410" y="517"/>
                  </a:lnTo>
                  <a:lnTo>
                    <a:pt x="385" y="529"/>
                  </a:lnTo>
                  <a:lnTo>
                    <a:pt x="360" y="539"/>
                  </a:lnTo>
                  <a:lnTo>
                    <a:pt x="334" y="544"/>
                  </a:lnTo>
                  <a:lnTo>
                    <a:pt x="305" y="549"/>
                  </a:lnTo>
                  <a:lnTo>
                    <a:pt x="278" y="550"/>
                  </a:lnTo>
                  <a:lnTo>
                    <a:pt x="278" y="550"/>
                  </a:lnTo>
                  <a:lnTo>
                    <a:pt x="249" y="549"/>
                  </a:lnTo>
                  <a:lnTo>
                    <a:pt x="222" y="544"/>
                  </a:lnTo>
                  <a:lnTo>
                    <a:pt x="195" y="539"/>
                  </a:lnTo>
                  <a:lnTo>
                    <a:pt x="169" y="529"/>
                  </a:lnTo>
                  <a:lnTo>
                    <a:pt x="145" y="517"/>
                  </a:lnTo>
                  <a:lnTo>
                    <a:pt x="122" y="503"/>
                  </a:lnTo>
                  <a:lnTo>
                    <a:pt x="102" y="487"/>
                  </a:lnTo>
                  <a:lnTo>
                    <a:pt x="82" y="470"/>
                  </a:lnTo>
                  <a:lnTo>
                    <a:pt x="63" y="450"/>
                  </a:lnTo>
                  <a:lnTo>
                    <a:pt x="48" y="429"/>
                  </a:lnTo>
                  <a:lnTo>
                    <a:pt x="33" y="406"/>
                  </a:lnTo>
                  <a:lnTo>
                    <a:pt x="22" y="382"/>
                  </a:lnTo>
                  <a:lnTo>
                    <a:pt x="13" y="358"/>
                  </a:lnTo>
                  <a:lnTo>
                    <a:pt x="6" y="331"/>
                  </a:lnTo>
                  <a:lnTo>
                    <a:pt x="2" y="303"/>
                  </a:lnTo>
                  <a:lnTo>
                    <a:pt x="0" y="275"/>
                  </a:lnTo>
                  <a:lnTo>
                    <a:pt x="0" y="275"/>
                  </a:lnTo>
                  <a:lnTo>
                    <a:pt x="2" y="246"/>
                  </a:lnTo>
                  <a:lnTo>
                    <a:pt x="6" y="219"/>
                  </a:lnTo>
                  <a:lnTo>
                    <a:pt x="13" y="192"/>
                  </a:lnTo>
                  <a:lnTo>
                    <a:pt x="22" y="168"/>
                  </a:lnTo>
                  <a:lnTo>
                    <a:pt x="33" y="144"/>
                  </a:lnTo>
                  <a:lnTo>
                    <a:pt x="48" y="121"/>
                  </a:lnTo>
                  <a:lnTo>
                    <a:pt x="63" y="100"/>
                  </a:lnTo>
                  <a:lnTo>
                    <a:pt x="82" y="80"/>
                  </a:lnTo>
                  <a:lnTo>
                    <a:pt x="102" y="63"/>
                  </a:lnTo>
                  <a:lnTo>
                    <a:pt x="122" y="47"/>
                  </a:lnTo>
                  <a:lnTo>
                    <a:pt x="145" y="33"/>
                  </a:lnTo>
                  <a:lnTo>
                    <a:pt x="169" y="21"/>
                  </a:lnTo>
                  <a:lnTo>
                    <a:pt x="195" y="11"/>
                  </a:lnTo>
                  <a:lnTo>
                    <a:pt x="222" y="6"/>
                  </a:lnTo>
                  <a:lnTo>
                    <a:pt x="249" y="1"/>
                  </a:lnTo>
                  <a:lnTo>
                    <a:pt x="278" y="0"/>
                  </a:lnTo>
                  <a:lnTo>
                    <a:pt x="278" y="0"/>
                  </a:lnTo>
                  <a:lnTo>
                    <a:pt x="305" y="1"/>
                  </a:lnTo>
                  <a:lnTo>
                    <a:pt x="334" y="6"/>
                  </a:lnTo>
                  <a:lnTo>
                    <a:pt x="360" y="11"/>
                  </a:lnTo>
                  <a:lnTo>
                    <a:pt x="385" y="21"/>
                  </a:lnTo>
                  <a:lnTo>
                    <a:pt x="410" y="33"/>
                  </a:lnTo>
                  <a:lnTo>
                    <a:pt x="433" y="47"/>
                  </a:lnTo>
                  <a:lnTo>
                    <a:pt x="454" y="63"/>
                  </a:lnTo>
                  <a:lnTo>
                    <a:pt x="473" y="80"/>
                  </a:lnTo>
                  <a:lnTo>
                    <a:pt x="491" y="100"/>
                  </a:lnTo>
                  <a:lnTo>
                    <a:pt x="507" y="121"/>
                  </a:lnTo>
                  <a:lnTo>
                    <a:pt x="521" y="144"/>
                  </a:lnTo>
                  <a:lnTo>
                    <a:pt x="533" y="168"/>
                  </a:lnTo>
                  <a:lnTo>
                    <a:pt x="541" y="192"/>
                  </a:lnTo>
                  <a:lnTo>
                    <a:pt x="549" y="219"/>
                  </a:lnTo>
                  <a:lnTo>
                    <a:pt x="553" y="246"/>
                  </a:lnTo>
                  <a:lnTo>
                    <a:pt x="554" y="275"/>
                  </a:lnTo>
                  <a:lnTo>
                    <a:pt x="554" y="275"/>
                  </a:lnTo>
                  <a:close/>
                  <a:moveTo>
                    <a:pt x="554" y="275"/>
                  </a:moveTo>
                  <a:lnTo>
                    <a:pt x="554" y="275"/>
                  </a:lnTo>
                  <a:close/>
                </a:path>
              </a:pathLst>
            </a:custGeom>
            <a:solidFill>
              <a:srgbClr val="B61F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85" name="Freeform 7"/>
            <p:cNvSpPr>
              <a:spLocks/>
            </p:cNvSpPr>
            <p:nvPr userDrawn="1"/>
          </p:nvSpPr>
          <p:spPr bwMode="auto">
            <a:xfrm>
              <a:off x="5486" y="647"/>
              <a:ext cx="185" cy="183"/>
            </a:xfrm>
            <a:custGeom>
              <a:avLst/>
              <a:gdLst>
                <a:gd name="T0" fmla="*/ 554 w 554"/>
                <a:gd name="T1" fmla="*/ 275 h 550"/>
                <a:gd name="T2" fmla="*/ 549 w 554"/>
                <a:gd name="T3" fmla="*/ 331 h 550"/>
                <a:gd name="T4" fmla="*/ 533 w 554"/>
                <a:gd name="T5" fmla="*/ 382 h 550"/>
                <a:gd name="T6" fmla="*/ 507 w 554"/>
                <a:gd name="T7" fmla="*/ 429 h 550"/>
                <a:gd name="T8" fmla="*/ 473 w 554"/>
                <a:gd name="T9" fmla="*/ 470 h 550"/>
                <a:gd name="T10" fmla="*/ 433 w 554"/>
                <a:gd name="T11" fmla="*/ 503 h 550"/>
                <a:gd name="T12" fmla="*/ 385 w 554"/>
                <a:gd name="T13" fmla="*/ 529 h 550"/>
                <a:gd name="T14" fmla="*/ 334 w 554"/>
                <a:gd name="T15" fmla="*/ 544 h 550"/>
                <a:gd name="T16" fmla="*/ 278 w 554"/>
                <a:gd name="T17" fmla="*/ 550 h 550"/>
                <a:gd name="T18" fmla="*/ 249 w 554"/>
                <a:gd name="T19" fmla="*/ 549 h 550"/>
                <a:gd name="T20" fmla="*/ 195 w 554"/>
                <a:gd name="T21" fmla="*/ 539 h 550"/>
                <a:gd name="T22" fmla="*/ 145 w 554"/>
                <a:gd name="T23" fmla="*/ 517 h 550"/>
                <a:gd name="T24" fmla="*/ 102 w 554"/>
                <a:gd name="T25" fmla="*/ 487 h 550"/>
                <a:gd name="T26" fmla="*/ 63 w 554"/>
                <a:gd name="T27" fmla="*/ 450 h 550"/>
                <a:gd name="T28" fmla="*/ 33 w 554"/>
                <a:gd name="T29" fmla="*/ 406 h 550"/>
                <a:gd name="T30" fmla="*/ 13 w 554"/>
                <a:gd name="T31" fmla="*/ 358 h 550"/>
                <a:gd name="T32" fmla="*/ 2 w 554"/>
                <a:gd name="T33" fmla="*/ 303 h 550"/>
                <a:gd name="T34" fmla="*/ 0 w 554"/>
                <a:gd name="T35" fmla="*/ 275 h 550"/>
                <a:gd name="T36" fmla="*/ 6 w 554"/>
                <a:gd name="T37" fmla="*/ 219 h 550"/>
                <a:gd name="T38" fmla="*/ 22 w 554"/>
                <a:gd name="T39" fmla="*/ 168 h 550"/>
                <a:gd name="T40" fmla="*/ 48 w 554"/>
                <a:gd name="T41" fmla="*/ 121 h 550"/>
                <a:gd name="T42" fmla="*/ 82 w 554"/>
                <a:gd name="T43" fmla="*/ 80 h 550"/>
                <a:gd name="T44" fmla="*/ 122 w 554"/>
                <a:gd name="T45" fmla="*/ 47 h 550"/>
                <a:gd name="T46" fmla="*/ 169 w 554"/>
                <a:gd name="T47" fmla="*/ 21 h 550"/>
                <a:gd name="T48" fmla="*/ 222 w 554"/>
                <a:gd name="T49" fmla="*/ 6 h 550"/>
                <a:gd name="T50" fmla="*/ 278 w 554"/>
                <a:gd name="T51" fmla="*/ 0 h 550"/>
                <a:gd name="T52" fmla="*/ 305 w 554"/>
                <a:gd name="T53" fmla="*/ 1 h 550"/>
                <a:gd name="T54" fmla="*/ 360 w 554"/>
                <a:gd name="T55" fmla="*/ 11 h 550"/>
                <a:gd name="T56" fmla="*/ 410 w 554"/>
                <a:gd name="T57" fmla="*/ 33 h 550"/>
                <a:gd name="T58" fmla="*/ 454 w 554"/>
                <a:gd name="T59" fmla="*/ 63 h 550"/>
                <a:gd name="T60" fmla="*/ 491 w 554"/>
                <a:gd name="T61" fmla="*/ 100 h 550"/>
                <a:gd name="T62" fmla="*/ 521 w 554"/>
                <a:gd name="T63" fmla="*/ 144 h 550"/>
                <a:gd name="T64" fmla="*/ 541 w 554"/>
                <a:gd name="T65" fmla="*/ 192 h 550"/>
                <a:gd name="T66" fmla="*/ 553 w 554"/>
                <a:gd name="T67" fmla="*/ 246 h 550"/>
                <a:gd name="T68" fmla="*/ 554 w 554"/>
                <a:gd name="T69" fmla="*/ 275 h 5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54" h="550">
                  <a:moveTo>
                    <a:pt x="554" y="275"/>
                  </a:moveTo>
                  <a:lnTo>
                    <a:pt x="554" y="275"/>
                  </a:lnTo>
                  <a:lnTo>
                    <a:pt x="553" y="303"/>
                  </a:lnTo>
                  <a:lnTo>
                    <a:pt x="549" y="331"/>
                  </a:lnTo>
                  <a:lnTo>
                    <a:pt x="541" y="358"/>
                  </a:lnTo>
                  <a:lnTo>
                    <a:pt x="533" y="382"/>
                  </a:lnTo>
                  <a:lnTo>
                    <a:pt x="521" y="406"/>
                  </a:lnTo>
                  <a:lnTo>
                    <a:pt x="507" y="429"/>
                  </a:lnTo>
                  <a:lnTo>
                    <a:pt x="491" y="450"/>
                  </a:lnTo>
                  <a:lnTo>
                    <a:pt x="473" y="470"/>
                  </a:lnTo>
                  <a:lnTo>
                    <a:pt x="454" y="487"/>
                  </a:lnTo>
                  <a:lnTo>
                    <a:pt x="433" y="503"/>
                  </a:lnTo>
                  <a:lnTo>
                    <a:pt x="410" y="517"/>
                  </a:lnTo>
                  <a:lnTo>
                    <a:pt x="385" y="529"/>
                  </a:lnTo>
                  <a:lnTo>
                    <a:pt x="360" y="539"/>
                  </a:lnTo>
                  <a:lnTo>
                    <a:pt x="334" y="544"/>
                  </a:lnTo>
                  <a:lnTo>
                    <a:pt x="305" y="549"/>
                  </a:lnTo>
                  <a:lnTo>
                    <a:pt x="278" y="550"/>
                  </a:lnTo>
                  <a:lnTo>
                    <a:pt x="278" y="550"/>
                  </a:lnTo>
                  <a:lnTo>
                    <a:pt x="249" y="549"/>
                  </a:lnTo>
                  <a:lnTo>
                    <a:pt x="222" y="544"/>
                  </a:lnTo>
                  <a:lnTo>
                    <a:pt x="195" y="539"/>
                  </a:lnTo>
                  <a:lnTo>
                    <a:pt x="169" y="529"/>
                  </a:lnTo>
                  <a:lnTo>
                    <a:pt x="145" y="517"/>
                  </a:lnTo>
                  <a:lnTo>
                    <a:pt x="122" y="503"/>
                  </a:lnTo>
                  <a:lnTo>
                    <a:pt x="102" y="487"/>
                  </a:lnTo>
                  <a:lnTo>
                    <a:pt x="82" y="470"/>
                  </a:lnTo>
                  <a:lnTo>
                    <a:pt x="63" y="450"/>
                  </a:lnTo>
                  <a:lnTo>
                    <a:pt x="48" y="429"/>
                  </a:lnTo>
                  <a:lnTo>
                    <a:pt x="33" y="406"/>
                  </a:lnTo>
                  <a:lnTo>
                    <a:pt x="22" y="382"/>
                  </a:lnTo>
                  <a:lnTo>
                    <a:pt x="13" y="358"/>
                  </a:lnTo>
                  <a:lnTo>
                    <a:pt x="6" y="331"/>
                  </a:lnTo>
                  <a:lnTo>
                    <a:pt x="2" y="303"/>
                  </a:lnTo>
                  <a:lnTo>
                    <a:pt x="0" y="275"/>
                  </a:lnTo>
                  <a:lnTo>
                    <a:pt x="0" y="275"/>
                  </a:lnTo>
                  <a:lnTo>
                    <a:pt x="2" y="246"/>
                  </a:lnTo>
                  <a:lnTo>
                    <a:pt x="6" y="219"/>
                  </a:lnTo>
                  <a:lnTo>
                    <a:pt x="13" y="192"/>
                  </a:lnTo>
                  <a:lnTo>
                    <a:pt x="22" y="168"/>
                  </a:lnTo>
                  <a:lnTo>
                    <a:pt x="33" y="144"/>
                  </a:lnTo>
                  <a:lnTo>
                    <a:pt x="48" y="121"/>
                  </a:lnTo>
                  <a:lnTo>
                    <a:pt x="63" y="100"/>
                  </a:lnTo>
                  <a:lnTo>
                    <a:pt x="82" y="80"/>
                  </a:lnTo>
                  <a:lnTo>
                    <a:pt x="102" y="63"/>
                  </a:lnTo>
                  <a:lnTo>
                    <a:pt x="122" y="47"/>
                  </a:lnTo>
                  <a:lnTo>
                    <a:pt x="145" y="33"/>
                  </a:lnTo>
                  <a:lnTo>
                    <a:pt x="169" y="21"/>
                  </a:lnTo>
                  <a:lnTo>
                    <a:pt x="195" y="11"/>
                  </a:lnTo>
                  <a:lnTo>
                    <a:pt x="222" y="6"/>
                  </a:lnTo>
                  <a:lnTo>
                    <a:pt x="249" y="1"/>
                  </a:lnTo>
                  <a:lnTo>
                    <a:pt x="278" y="0"/>
                  </a:lnTo>
                  <a:lnTo>
                    <a:pt x="278" y="0"/>
                  </a:lnTo>
                  <a:lnTo>
                    <a:pt x="305" y="1"/>
                  </a:lnTo>
                  <a:lnTo>
                    <a:pt x="334" y="6"/>
                  </a:lnTo>
                  <a:lnTo>
                    <a:pt x="360" y="11"/>
                  </a:lnTo>
                  <a:lnTo>
                    <a:pt x="385" y="21"/>
                  </a:lnTo>
                  <a:lnTo>
                    <a:pt x="410" y="33"/>
                  </a:lnTo>
                  <a:lnTo>
                    <a:pt x="433" y="47"/>
                  </a:lnTo>
                  <a:lnTo>
                    <a:pt x="454" y="63"/>
                  </a:lnTo>
                  <a:lnTo>
                    <a:pt x="473" y="80"/>
                  </a:lnTo>
                  <a:lnTo>
                    <a:pt x="491" y="100"/>
                  </a:lnTo>
                  <a:lnTo>
                    <a:pt x="507" y="121"/>
                  </a:lnTo>
                  <a:lnTo>
                    <a:pt x="521" y="144"/>
                  </a:lnTo>
                  <a:lnTo>
                    <a:pt x="533" y="168"/>
                  </a:lnTo>
                  <a:lnTo>
                    <a:pt x="541" y="192"/>
                  </a:lnTo>
                  <a:lnTo>
                    <a:pt x="549" y="219"/>
                  </a:lnTo>
                  <a:lnTo>
                    <a:pt x="553" y="246"/>
                  </a:lnTo>
                  <a:lnTo>
                    <a:pt x="554" y="275"/>
                  </a:lnTo>
                  <a:lnTo>
                    <a:pt x="554" y="27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86" name="Line 8"/>
            <p:cNvSpPr>
              <a:spLocks noChangeShapeType="1"/>
            </p:cNvSpPr>
            <p:nvPr userDrawn="1"/>
          </p:nvSpPr>
          <p:spPr bwMode="auto">
            <a:xfrm>
              <a:off x="5671" y="739"/>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87" name="Freeform 9"/>
            <p:cNvSpPr>
              <a:spLocks/>
            </p:cNvSpPr>
            <p:nvPr userDrawn="1"/>
          </p:nvSpPr>
          <p:spPr bwMode="auto">
            <a:xfrm>
              <a:off x="5486" y="647"/>
              <a:ext cx="185" cy="183"/>
            </a:xfrm>
            <a:custGeom>
              <a:avLst/>
              <a:gdLst>
                <a:gd name="T0" fmla="*/ 554 w 554"/>
                <a:gd name="T1" fmla="*/ 275 h 550"/>
                <a:gd name="T2" fmla="*/ 549 w 554"/>
                <a:gd name="T3" fmla="*/ 331 h 550"/>
                <a:gd name="T4" fmla="*/ 533 w 554"/>
                <a:gd name="T5" fmla="*/ 382 h 550"/>
                <a:gd name="T6" fmla="*/ 507 w 554"/>
                <a:gd name="T7" fmla="*/ 429 h 550"/>
                <a:gd name="T8" fmla="*/ 473 w 554"/>
                <a:gd name="T9" fmla="*/ 470 h 550"/>
                <a:gd name="T10" fmla="*/ 433 w 554"/>
                <a:gd name="T11" fmla="*/ 503 h 550"/>
                <a:gd name="T12" fmla="*/ 385 w 554"/>
                <a:gd name="T13" fmla="*/ 529 h 550"/>
                <a:gd name="T14" fmla="*/ 334 w 554"/>
                <a:gd name="T15" fmla="*/ 544 h 550"/>
                <a:gd name="T16" fmla="*/ 278 w 554"/>
                <a:gd name="T17" fmla="*/ 550 h 550"/>
                <a:gd name="T18" fmla="*/ 249 w 554"/>
                <a:gd name="T19" fmla="*/ 549 h 550"/>
                <a:gd name="T20" fmla="*/ 195 w 554"/>
                <a:gd name="T21" fmla="*/ 539 h 550"/>
                <a:gd name="T22" fmla="*/ 145 w 554"/>
                <a:gd name="T23" fmla="*/ 517 h 550"/>
                <a:gd name="T24" fmla="*/ 102 w 554"/>
                <a:gd name="T25" fmla="*/ 487 h 550"/>
                <a:gd name="T26" fmla="*/ 63 w 554"/>
                <a:gd name="T27" fmla="*/ 450 h 550"/>
                <a:gd name="T28" fmla="*/ 33 w 554"/>
                <a:gd name="T29" fmla="*/ 406 h 550"/>
                <a:gd name="T30" fmla="*/ 13 w 554"/>
                <a:gd name="T31" fmla="*/ 358 h 550"/>
                <a:gd name="T32" fmla="*/ 2 w 554"/>
                <a:gd name="T33" fmla="*/ 303 h 550"/>
                <a:gd name="T34" fmla="*/ 0 w 554"/>
                <a:gd name="T35" fmla="*/ 275 h 550"/>
                <a:gd name="T36" fmla="*/ 6 w 554"/>
                <a:gd name="T37" fmla="*/ 219 h 550"/>
                <a:gd name="T38" fmla="*/ 22 w 554"/>
                <a:gd name="T39" fmla="*/ 168 h 550"/>
                <a:gd name="T40" fmla="*/ 48 w 554"/>
                <a:gd name="T41" fmla="*/ 121 h 550"/>
                <a:gd name="T42" fmla="*/ 82 w 554"/>
                <a:gd name="T43" fmla="*/ 80 h 550"/>
                <a:gd name="T44" fmla="*/ 122 w 554"/>
                <a:gd name="T45" fmla="*/ 47 h 550"/>
                <a:gd name="T46" fmla="*/ 169 w 554"/>
                <a:gd name="T47" fmla="*/ 21 h 550"/>
                <a:gd name="T48" fmla="*/ 222 w 554"/>
                <a:gd name="T49" fmla="*/ 6 h 550"/>
                <a:gd name="T50" fmla="*/ 278 w 554"/>
                <a:gd name="T51" fmla="*/ 0 h 550"/>
                <a:gd name="T52" fmla="*/ 305 w 554"/>
                <a:gd name="T53" fmla="*/ 1 h 550"/>
                <a:gd name="T54" fmla="*/ 360 w 554"/>
                <a:gd name="T55" fmla="*/ 11 h 550"/>
                <a:gd name="T56" fmla="*/ 410 w 554"/>
                <a:gd name="T57" fmla="*/ 33 h 550"/>
                <a:gd name="T58" fmla="*/ 454 w 554"/>
                <a:gd name="T59" fmla="*/ 63 h 550"/>
                <a:gd name="T60" fmla="*/ 491 w 554"/>
                <a:gd name="T61" fmla="*/ 100 h 550"/>
                <a:gd name="T62" fmla="*/ 521 w 554"/>
                <a:gd name="T63" fmla="*/ 144 h 550"/>
                <a:gd name="T64" fmla="*/ 541 w 554"/>
                <a:gd name="T65" fmla="*/ 192 h 550"/>
                <a:gd name="T66" fmla="*/ 553 w 554"/>
                <a:gd name="T67" fmla="*/ 246 h 550"/>
                <a:gd name="T68" fmla="*/ 554 w 554"/>
                <a:gd name="T69" fmla="*/ 275 h 5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54" h="550">
                  <a:moveTo>
                    <a:pt x="554" y="275"/>
                  </a:moveTo>
                  <a:lnTo>
                    <a:pt x="554" y="275"/>
                  </a:lnTo>
                  <a:lnTo>
                    <a:pt x="553" y="303"/>
                  </a:lnTo>
                  <a:lnTo>
                    <a:pt x="549" y="331"/>
                  </a:lnTo>
                  <a:lnTo>
                    <a:pt x="541" y="358"/>
                  </a:lnTo>
                  <a:lnTo>
                    <a:pt x="533" y="382"/>
                  </a:lnTo>
                  <a:lnTo>
                    <a:pt x="521" y="406"/>
                  </a:lnTo>
                  <a:lnTo>
                    <a:pt x="507" y="429"/>
                  </a:lnTo>
                  <a:lnTo>
                    <a:pt x="491" y="450"/>
                  </a:lnTo>
                  <a:lnTo>
                    <a:pt x="473" y="470"/>
                  </a:lnTo>
                  <a:lnTo>
                    <a:pt x="454" y="487"/>
                  </a:lnTo>
                  <a:lnTo>
                    <a:pt x="433" y="503"/>
                  </a:lnTo>
                  <a:lnTo>
                    <a:pt x="410" y="517"/>
                  </a:lnTo>
                  <a:lnTo>
                    <a:pt x="385" y="529"/>
                  </a:lnTo>
                  <a:lnTo>
                    <a:pt x="360" y="539"/>
                  </a:lnTo>
                  <a:lnTo>
                    <a:pt x="334" y="544"/>
                  </a:lnTo>
                  <a:lnTo>
                    <a:pt x="305" y="549"/>
                  </a:lnTo>
                  <a:lnTo>
                    <a:pt x="278" y="550"/>
                  </a:lnTo>
                  <a:lnTo>
                    <a:pt x="278" y="550"/>
                  </a:lnTo>
                  <a:lnTo>
                    <a:pt x="249" y="549"/>
                  </a:lnTo>
                  <a:lnTo>
                    <a:pt x="222" y="544"/>
                  </a:lnTo>
                  <a:lnTo>
                    <a:pt x="195" y="539"/>
                  </a:lnTo>
                  <a:lnTo>
                    <a:pt x="169" y="529"/>
                  </a:lnTo>
                  <a:lnTo>
                    <a:pt x="145" y="517"/>
                  </a:lnTo>
                  <a:lnTo>
                    <a:pt x="122" y="503"/>
                  </a:lnTo>
                  <a:lnTo>
                    <a:pt x="102" y="487"/>
                  </a:lnTo>
                  <a:lnTo>
                    <a:pt x="82" y="470"/>
                  </a:lnTo>
                  <a:lnTo>
                    <a:pt x="63" y="450"/>
                  </a:lnTo>
                  <a:lnTo>
                    <a:pt x="48" y="429"/>
                  </a:lnTo>
                  <a:lnTo>
                    <a:pt x="33" y="406"/>
                  </a:lnTo>
                  <a:lnTo>
                    <a:pt x="22" y="382"/>
                  </a:lnTo>
                  <a:lnTo>
                    <a:pt x="13" y="358"/>
                  </a:lnTo>
                  <a:lnTo>
                    <a:pt x="6" y="331"/>
                  </a:lnTo>
                  <a:lnTo>
                    <a:pt x="2" y="303"/>
                  </a:lnTo>
                  <a:lnTo>
                    <a:pt x="0" y="275"/>
                  </a:lnTo>
                  <a:lnTo>
                    <a:pt x="0" y="275"/>
                  </a:lnTo>
                  <a:lnTo>
                    <a:pt x="2" y="246"/>
                  </a:lnTo>
                  <a:lnTo>
                    <a:pt x="6" y="219"/>
                  </a:lnTo>
                  <a:lnTo>
                    <a:pt x="13" y="192"/>
                  </a:lnTo>
                  <a:lnTo>
                    <a:pt x="22" y="168"/>
                  </a:lnTo>
                  <a:lnTo>
                    <a:pt x="33" y="144"/>
                  </a:lnTo>
                  <a:lnTo>
                    <a:pt x="48" y="121"/>
                  </a:lnTo>
                  <a:lnTo>
                    <a:pt x="63" y="100"/>
                  </a:lnTo>
                  <a:lnTo>
                    <a:pt x="82" y="80"/>
                  </a:lnTo>
                  <a:lnTo>
                    <a:pt x="102" y="63"/>
                  </a:lnTo>
                  <a:lnTo>
                    <a:pt x="122" y="47"/>
                  </a:lnTo>
                  <a:lnTo>
                    <a:pt x="145" y="33"/>
                  </a:lnTo>
                  <a:lnTo>
                    <a:pt x="169" y="21"/>
                  </a:lnTo>
                  <a:lnTo>
                    <a:pt x="195" y="11"/>
                  </a:lnTo>
                  <a:lnTo>
                    <a:pt x="222" y="6"/>
                  </a:lnTo>
                  <a:lnTo>
                    <a:pt x="249" y="1"/>
                  </a:lnTo>
                  <a:lnTo>
                    <a:pt x="278" y="0"/>
                  </a:lnTo>
                  <a:lnTo>
                    <a:pt x="278" y="0"/>
                  </a:lnTo>
                  <a:lnTo>
                    <a:pt x="305" y="1"/>
                  </a:lnTo>
                  <a:lnTo>
                    <a:pt x="334" y="6"/>
                  </a:lnTo>
                  <a:lnTo>
                    <a:pt x="360" y="11"/>
                  </a:lnTo>
                  <a:lnTo>
                    <a:pt x="385" y="21"/>
                  </a:lnTo>
                  <a:lnTo>
                    <a:pt x="410" y="33"/>
                  </a:lnTo>
                  <a:lnTo>
                    <a:pt x="433" y="47"/>
                  </a:lnTo>
                  <a:lnTo>
                    <a:pt x="454" y="63"/>
                  </a:lnTo>
                  <a:lnTo>
                    <a:pt x="473" y="80"/>
                  </a:lnTo>
                  <a:lnTo>
                    <a:pt x="491" y="100"/>
                  </a:lnTo>
                  <a:lnTo>
                    <a:pt x="507" y="121"/>
                  </a:lnTo>
                  <a:lnTo>
                    <a:pt x="521" y="144"/>
                  </a:lnTo>
                  <a:lnTo>
                    <a:pt x="533" y="168"/>
                  </a:lnTo>
                  <a:lnTo>
                    <a:pt x="541" y="192"/>
                  </a:lnTo>
                  <a:lnTo>
                    <a:pt x="549" y="219"/>
                  </a:lnTo>
                  <a:lnTo>
                    <a:pt x="553" y="246"/>
                  </a:lnTo>
                  <a:lnTo>
                    <a:pt x="554" y="275"/>
                  </a:lnTo>
                  <a:lnTo>
                    <a:pt x="554" y="275"/>
                  </a:lnTo>
                </a:path>
              </a:pathLst>
            </a:custGeom>
            <a:noFill/>
            <a:ln w="1588">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88" name="Line 10"/>
            <p:cNvSpPr>
              <a:spLocks noChangeShapeType="1"/>
            </p:cNvSpPr>
            <p:nvPr userDrawn="1"/>
          </p:nvSpPr>
          <p:spPr bwMode="auto">
            <a:xfrm>
              <a:off x="5671" y="739"/>
              <a:ext cx="0" cy="0"/>
            </a:xfrm>
            <a:prstGeom prst="line">
              <a:avLst/>
            </a:prstGeom>
            <a:noFill/>
            <a:ln w="1588">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89" name="Freeform 11"/>
            <p:cNvSpPr>
              <a:spLocks noEditPoints="1"/>
            </p:cNvSpPr>
            <p:nvPr userDrawn="1"/>
          </p:nvSpPr>
          <p:spPr bwMode="auto">
            <a:xfrm>
              <a:off x="5497" y="659"/>
              <a:ext cx="170" cy="170"/>
            </a:xfrm>
            <a:custGeom>
              <a:avLst/>
              <a:gdLst>
                <a:gd name="T0" fmla="*/ 510 w 510"/>
                <a:gd name="T1" fmla="*/ 257 h 511"/>
                <a:gd name="T2" fmla="*/ 504 w 510"/>
                <a:gd name="T3" fmla="*/ 309 h 511"/>
                <a:gd name="T4" fmla="*/ 490 w 510"/>
                <a:gd name="T5" fmla="*/ 356 h 511"/>
                <a:gd name="T6" fmla="*/ 465 w 510"/>
                <a:gd name="T7" fmla="*/ 399 h 511"/>
                <a:gd name="T8" fmla="*/ 434 w 510"/>
                <a:gd name="T9" fmla="*/ 437 h 511"/>
                <a:gd name="T10" fmla="*/ 397 w 510"/>
                <a:gd name="T11" fmla="*/ 467 h 511"/>
                <a:gd name="T12" fmla="*/ 354 w 510"/>
                <a:gd name="T13" fmla="*/ 491 h 511"/>
                <a:gd name="T14" fmla="*/ 307 w 510"/>
                <a:gd name="T15" fmla="*/ 505 h 511"/>
                <a:gd name="T16" fmla="*/ 255 w 510"/>
                <a:gd name="T17" fmla="*/ 511 h 511"/>
                <a:gd name="T18" fmla="*/ 229 w 510"/>
                <a:gd name="T19" fmla="*/ 510 h 511"/>
                <a:gd name="T20" fmla="*/ 179 w 510"/>
                <a:gd name="T21" fmla="*/ 500 h 511"/>
                <a:gd name="T22" fmla="*/ 133 w 510"/>
                <a:gd name="T23" fmla="*/ 480 h 511"/>
                <a:gd name="T24" fmla="*/ 93 w 510"/>
                <a:gd name="T25" fmla="*/ 453 h 511"/>
                <a:gd name="T26" fmla="*/ 59 w 510"/>
                <a:gd name="T27" fmla="*/ 419 h 511"/>
                <a:gd name="T28" fmla="*/ 30 w 510"/>
                <a:gd name="T29" fmla="*/ 379 h 511"/>
                <a:gd name="T30" fmla="*/ 12 w 510"/>
                <a:gd name="T31" fmla="*/ 333 h 511"/>
                <a:gd name="T32" fmla="*/ 2 w 510"/>
                <a:gd name="T33" fmla="*/ 283 h 511"/>
                <a:gd name="T34" fmla="*/ 0 w 510"/>
                <a:gd name="T35" fmla="*/ 257 h 511"/>
                <a:gd name="T36" fmla="*/ 6 w 510"/>
                <a:gd name="T37" fmla="*/ 206 h 511"/>
                <a:gd name="T38" fmla="*/ 20 w 510"/>
                <a:gd name="T39" fmla="*/ 158 h 511"/>
                <a:gd name="T40" fmla="*/ 43 w 510"/>
                <a:gd name="T41" fmla="*/ 115 h 511"/>
                <a:gd name="T42" fmla="*/ 75 w 510"/>
                <a:gd name="T43" fmla="*/ 77 h 511"/>
                <a:gd name="T44" fmla="*/ 112 w 510"/>
                <a:gd name="T45" fmla="*/ 44 h 511"/>
                <a:gd name="T46" fmla="*/ 156 w 510"/>
                <a:gd name="T47" fmla="*/ 21 h 511"/>
                <a:gd name="T48" fmla="*/ 204 w 510"/>
                <a:gd name="T49" fmla="*/ 5 h 511"/>
                <a:gd name="T50" fmla="*/ 255 w 510"/>
                <a:gd name="T51" fmla="*/ 0 h 511"/>
                <a:gd name="T52" fmla="*/ 284 w 510"/>
                <a:gd name="T53" fmla="*/ 1 h 511"/>
                <a:gd name="T54" fmla="*/ 337 w 510"/>
                <a:gd name="T55" fmla="*/ 11 h 511"/>
                <a:gd name="T56" fmla="*/ 384 w 510"/>
                <a:gd name="T57" fmla="*/ 31 h 511"/>
                <a:gd name="T58" fmla="*/ 424 w 510"/>
                <a:gd name="T59" fmla="*/ 59 h 511"/>
                <a:gd name="T60" fmla="*/ 457 w 510"/>
                <a:gd name="T61" fmla="*/ 95 h 511"/>
                <a:gd name="T62" fmla="*/ 481 w 510"/>
                <a:gd name="T63" fmla="*/ 136 h 511"/>
                <a:gd name="T64" fmla="*/ 500 w 510"/>
                <a:gd name="T65" fmla="*/ 182 h 511"/>
                <a:gd name="T66" fmla="*/ 508 w 510"/>
                <a:gd name="T67" fmla="*/ 232 h 511"/>
                <a:gd name="T68" fmla="*/ 510 w 510"/>
                <a:gd name="T69" fmla="*/ 257 h 511"/>
                <a:gd name="T70" fmla="*/ 510 w 510"/>
                <a:gd name="T71" fmla="*/ 257 h 5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0" h="511">
                  <a:moveTo>
                    <a:pt x="510" y="257"/>
                  </a:moveTo>
                  <a:lnTo>
                    <a:pt x="510" y="257"/>
                  </a:lnTo>
                  <a:lnTo>
                    <a:pt x="508" y="283"/>
                  </a:lnTo>
                  <a:lnTo>
                    <a:pt x="504" y="309"/>
                  </a:lnTo>
                  <a:lnTo>
                    <a:pt x="498" y="333"/>
                  </a:lnTo>
                  <a:lnTo>
                    <a:pt x="490" y="356"/>
                  </a:lnTo>
                  <a:lnTo>
                    <a:pt x="478" y="379"/>
                  </a:lnTo>
                  <a:lnTo>
                    <a:pt x="465" y="399"/>
                  </a:lnTo>
                  <a:lnTo>
                    <a:pt x="451" y="419"/>
                  </a:lnTo>
                  <a:lnTo>
                    <a:pt x="434" y="437"/>
                  </a:lnTo>
                  <a:lnTo>
                    <a:pt x="417" y="453"/>
                  </a:lnTo>
                  <a:lnTo>
                    <a:pt x="397" y="467"/>
                  </a:lnTo>
                  <a:lnTo>
                    <a:pt x="377" y="480"/>
                  </a:lnTo>
                  <a:lnTo>
                    <a:pt x="354" y="491"/>
                  </a:lnTo>
                  <a:lnTo>
                    <a:pt x="331" y="500"/>
                  </a:lnTo>
                  <a:lnTo>
                    <a:pt x="307" y="505"/>
                  </a:lnTo>
                  <a:lnTo>
                    <a:pt x="281" y="510"/>
                  </a:lnTo>
                  <a:lnTo>
                    <a:pt x="255" y="511"/>
                  </a:lnTo>
                  <a:lnTo>
                    <a:pt x="255" y="511"/>
                  </a:lnTo>
                  <a:lnTo>
                    <a:pt x="229" y="510"/>
                  </a:lnTo>
                  <a:lnTo>
                    <a:pt x="204" y="505"/>
                  </a:lnTo>
                  <a:lnTo>
                    <a:pt x="179" y="500"/>
                  </a:lnTo>
                  <a:lnTo>
                    <a:pt x="156" y="491"/>
                  </a:lnTo>
                  <a:lnTo>
                    <a:pt x="133" y="480"/>
                  </a:lnTo>
                  <a:lnTo>
                    <a:pt x="112" y="467"/>
                  </a:lnTo>
                  <a:lnTo>
                    <a:pt x="93" y="453"/>
                  </a:lnTo>
                  <a:lnTo>
                    <a:pt x="75" y="437"/>
                  </a:lnTo>
                  <a:lnTo>
                    <a:pt x="59" y="419"/>
                  </a:lnTo>
                  <a:lnTo>
                    <a:pt x="43" y="399"/>
                  </a:lnTo>
                  <a:lnTo>
                    <a:pt x="30" y="379"/>
                  </a:lnTo>
                  <a:lnTo>
                    <a:pt x="20" y="356"/>
                  </a:lnTo>
                  <a:lnTo>
                    <a:pt x="12" y="333"/>
                  </a:lnTo>
                  <a:lnTo>
                    <a:pt x="6" y="309"/>
                  </a:lnTo>
                  <a:lnTo>
                    <a:pt x="2" y="283"/>
                  </a:lnTo>
                  <a:lnTo>
                    <a:pt x="0" y="257"/>
                  </a:lnTo>
                  <a:lnTo>
                    <a:pt x="0" y="257"/>
                  </a:lnTo>
                  <a:lnTo>
                    <a:pt x="2" y="232"/>
                  </a:lnTo>
                  <a:lnTo>
                    <a:pt x="6" y="206"/>
                  </a:lnTo>
                  <a:lnTo>
                    <a:pt x="12" y="182"/>
                  </a:lnTo>
                  <a:lnTo>
                    <a:pt x="20" y="158"/>
                  </a:lnTo>
                  <a:lnTo>
                    <a:pt x="30" y="136"/>
                  </a:lnTo>
                  <a:lnTo>
                    <a:pt x="43" y="115"/>
                  </a:lnTo>
                  <a:lnTo>
                    <a:pt x="59" y="95"/>
                  </a:lnTo>
                  <a:lnTo>
                    <a:pt x="75" y="77"/>
                  </a:lnTo>
                  <a:lnTo>
                    <a:pt x="93" y="59"/>
                  </a:lnTo>
                  <a:lnTo>
                    <a:pt x="112" y="44"/>
                  </a:lnTo>
                  <a:lnTo>
                    <a:pt x="133" y="31"/>
                  </a:lnTo>
                  <a:lnTo>
                    <a:pt x="156" y="21"/>
                  </a:lnTo>
                  <a:lnTo>
                    <a:pt x="179" y="11"/>
                  </a:lnTo>
                  <a:lnTo>
                    <a:pt x="204" y="5"/>
                  </a:lnTo>
                  <a:lnTo>
                    <a:pt x="229" y="1"/>
                  </a:lnTo>
                  <a:lnTo>
                    <a:pt x="255" y="0"/>
                  </a:lnTo>
                  <a:lnTo>
                    <a:pt x="255" y="0"/>
                  </a:lnTo>
                  <a:lnTo>
                    <a:pt x="284" y="1"/>
                  </a:lnTo>
                  <a:lnTo>
                    <a:pt x="311" y="5"/>
                  </a:lnTo>
                  <a:lnTo>
                    <a:pt x="337" y="11"/>
                  </a:lnTo>
                  <a:lnTo>
                    <a:pt x="361" y="21"/>
                  </a:lnTo>
                  <a:lnTo>
                    <a:pt x="384" y="31"/>
                  </a:lnTo>
                  <a:lnTo>
                    <a:pt x="404" y="44"/>
                  </a:lnTo>
                  <a:lnTo>
                    <a:pt x="424" y="59"/>
                  </a:lnTo>
                  <a:lnTo>
                    <a:pt x="441" y="77"/>
                  </a:lnTo>
                  <a:lnTo>
                    <a:pt x="457" y="95"/>
                  </a:lnTo>
                  <a:lnTo>
                    <a:pt x="470" y="115"/>
                  </a:lnTo>
                  <a:lnTo>
                    <a:pt x="481" y="136"/>
                  </a:lnTo>
                  <a:lnTo>
                    <a:pt x="491" y="158"/>
                  </a:lnTo>
                  <a:lnTo>
                    <a:pt x="500" y="182"/>
                  </a:lnTo>
                  <a:lnTo>
                    <a:pt x="504" y="206"/>
                  </a:lnTo>
                  <a:lnTo>
                    <a:pt x="508" y="232"/>
                  </a:lnTo>
                  <a:lnTo>
                    <a:pt x="510" y="257"/>
                  </a:lnTo>
                  <a:lnTo>
                    <a:pt x="510" y="257"/>
                  </a:lnTo>
                  <a:close/>
                  <a:moveTo>
                    <a:pt x="510" y="257"/>
                  </a:moveTo>
                  <a:lnTo>
                    <a:pt x="510" y="257"/>
                  </a:lnTo>
                  <a:close/>
                </a:path>
              </a:pathLst>
            </a:custGeom>
            <a:solidFill>
              <a:srgbClr val="00987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90" name="Freeform 12"/>
            <p:cNvSpPr>
              <a:spLocks/>
            </p:cNvSpPr>
            <p:nvPr userDrawn="1"/>
          </p:nvSpPr>
          <p:spPr bwMode="auto">
            <a:xfrm>
              <a:off x="5497" y="659"/>
              <a:ext cx="170" cy="170"/>
            </a:xfrm>
            <a:custGeom>
              <a:avLst/>
              <a:gdLst>
                <a:gd name="T0" fmla="*/ 510 w 510"/>
                <a:gd name="T1" fmla="*/ 257 h 511"/>
                <a:gd name="T2" fmla="*/ 504 w 510"/>
                <a:gd name="T3" fmla="*/ 309 h 511"/>
                <a:gd name="T4" fmla="*/ 490 w 510"/>
                <a:gd name="T5" fmla="*/ 356 h 511"/>
                <a:gd name="T6" fmla="*/ 465 w 510"/>
                <a:gd name="T7" fmla="*/ 399 h 511"/>
                <a:gd name="T8" fmla="*/ 434 w 510"/>
                <a:gd name="T9" fmla="*/ 437 h 511"/>
                <a:gd name="T10" fmla="*/ 397 w 510"/>
                <a:gd name="T11" fmla="*/ 467 h 511"/>
                <a:gd name="T12" fmla="*/ 354 w 510"/>
                <a:gd name="T13" fmla="*/ 491 h 511"/>
                <a:gd name="T14" fmla="*/ 307 w 510"/>
                <a:gd name="T15" fmla="*/ 505 h 511"/>
                <a:gd name="T16" fmla="*/ 255 w 510"/>
                <a:gd name="T17" fmla="*/ 511 h 511"/>
                <a:gd name="T18" fmla="*/ 229 w 510"/>
                <a:gd name="T19" fmla="*/ 510 h 511"/>
                <a:gd name="T20" fmla="*/ 179 w 510"/>
                <a:gd name="T21" fmla="*/ 500 h 511"/>
                <a:gd name="T22" fmla="*/ 133 w 510"/>
                <a:gd name="T23" fmla="*/ 480 h 511"/>
                <a:gd name="T24" fmla="*/ 93 w 510"/>
                <a:gd name="T25" fmla="*/ 453 h 511"/>
                <a:gd name="T26" fmla="*/ 59 w 510"/>
                <a:gd name="T27" fmla="*/ 419 h 511"/>
                <a:gd name="T28" fmla="*/ 30 w 510"/>
                <a:gd name="T29" fmla="*/ 379 h 511"/>
                <a:gd name="T30" fmla="*/ 12 w 510"/>
                <a:gd name="T31" fmla="*/ 333 h 511"/>
                <a:gd name="T32" fmla="*/ 2 w 510"/>
                <a:gd name="T33" fmla="*/ 283 h 511"/>
                <a:gd name="T34" fmla="*/ 0 w 510"/>
                <a:gd name="T35" fmla="*/ 257 h 511"/>
                <a:gd name="T36" fmla="*/ 6 w 510"/>
                <a:gd name="T37" fmla="*/ 206 h 511"/>
                <a:gd name="T38" fmla="*/ 20 w 510"/>
                <a:gd name="T39" fmla="*/ 158 h 511"/>
                <a:gd name="T40" fmla="*/ 43 w 510"/>
                <a:gd name="T41" fmla="*/ 115 h 511"/>
                <a:gd name="T42" fmla="*/ 75 w 510"/>
                <a:gd name="T43" fmla="*/ 77 h 511"/>
                <a:gd name="T44" fmla="*/ 112 w 510"/>
                <a:gd name="T45" fmla="*/ 44 h 511"/>
                <a:gd name="T46" fmla="*/ 156 w 510"/>
                <a:gd name="T47" fmla="*/ 21 h 511"/>
                <a:gd name="T48" fmla="*/ 204 w 510"/>
                <a:gd name="T49" fmla="*/ 5 h 511"/>
                <a:gd name="T50" fmla="*/ 255 w 510"/>
                <a:gd name="T51" fmla="*/ 0 h 511"/>
                <a:gd name="T52" fmla="*/ 284 w 510"/>
                <a:gd name="T53" fmla="*/ 1 h 511"/>
                <a:gd name="T54" fmla="*/ 337 w 510"/>
                <a:gd name="T55" fmla="*/ 11 h 511"/>
                <a:gd name="T56" fmla="*/ 384 w 510"/>
                <a:gd name="T57" fmla="*/ 31 h 511"/>
                <a:gd name="T58" fmla="*/ 424 w 510"/>
                <a:gd name="T59" fmla="*/ 59 h 511"/>
                <a:gd name="T60" fmla="*/ 457 w 510"/>
                <a:gd name="T61" fmla="*/ 95 h 511"/>
                <a:gd name="T62" fmla="*/ 481 w 510"/>
                <a:gd name="T63" fmla="*/ 136 h 511"/>
                <a:gd name="T64" fmla="*/ 500 w 510"/>
                <a:gd name="T65" fmla="*/ 182 h 511"/>
                <a:gd name="T66" fmla="*/ 508 w 510"/>
                <a:gd name="T67" fmla="*/ 232 h 511"/>
                <a:gd name="T68" fmla="*/ 510 w 510"/>
                <a:gd name="T69" fmla="*/ 257 h 5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0" h="511">
                  <a:moveTo>
                    <a:pt x="510" y="257"/>
                  </a:moveTo>
                  <a:lnTo>
                    <a:pt x="510" y="257"/>
                  </a:lnTo>
                  <a:lnTo>
                    <a:pt x="508" y="283"/>
                  </a:lnTo>
                  <a:lnTo>
                    <a:pt x="504" y="309"/>
                  </a:lnTo>
                  <a:lnTo>
                    <a:pt x="498" y="333"/>
                  </a:lnTo>
                  <a:lnTo>
                    <a:pt x="490" y="356"/>
                  </a:lnTo>
                  <a:lnTo>
                    <a:pt x="478" y="379"/>
                  </a:lnTo>
                  <a:lnTo>
                    <a:pt x="465" y="399"/>
                  </a:lnTo>
                  <a:lnTo>
                    <a:pt x="451" y="419"/>
                  </a:lnTo>
                  <a:lnTo>
                    <a:pt x="434" y="437"/>
                  </a:lnTo>
                  <a:lnTo>
                    <a:pt x="417" y="453"/>
                  </a:lnTo>
                  <a:lnTo>
                    <a:pt x="397" y="467"/>
                  </a:lnTo>
                  <a:lnTo>
                    <a:pt x="377" y="480"/>
                  </a:lnTo>
                  <a:lnTo>
                    <a:pt x="354" y="491"/>
                  </a:lnTo>
                  <a:lnTo>
                    <a:pt x="331" y="500"/>
                  </a:lnTo>
                  <a:lnTo>
                    <a:pt x="307" y="505"/>
                  </a:lnTo>
                  <a:lnTo>
                    <a:pt x="281" y="510"/>
                  </a:lnTo>
                  <a:lnTo>
                    <a:pt x="255" y="511"/>
                  </a:lnTo>
                  <a:lnTo>
                    <a:pt x="255" y="511"/>
                  </a:lnTo>
                  <a:lnTo>
                    <a:pt x="229" y="510"/>
                  </a:lnTo>
                  <a:lnTo>
                    <a:pt x="204" y="505"/>
                  </a:lnTo>
                  <a:lnTo>
                    <a:pt x="179" y="500"/>
                  </a:lnTo>
                  <a:lnTo>
                    <a:pt x="156" y="491"/>
                  </a:lnTo>
                  <a:lnTo>
                    <a:pt x="133" y="480"/>
                  </a:lnTo>
                  <a:lnTo>
                    <a:pt x="112" y="467"/>
                  </a:lnTo>
                  <a:lnTo>
                    <a:pt x="93" y="453"/>
                  </a:lnTo>
                  <a:lnTo>
                    <a:pt x="75" y="437"/>
                  </a:lnTo>
                  <a:lnTo>
                    <a:pt x="59" y="419"/>
                  </a:lnTo>
                  <a:lnTo>
                    <a:pt x="43" y="399"/>
                  </a:lnTo>
                  <a:lnTo>
                    <a:pt x="30" y="379"/>
                  </a:lnTo>
                  <a:lnTo>
                    <a:pt x="20" y="356"/>
                  </a:lnTo>
                  <a:lnTo>
                    <a:pt x="12" y="333"/>
                  </a:lnTo>
                  <a:lnTo>
                    <a:pt x="6" y="309"/>
                  </a:lnTo>
                  <a:lnTo>
                    <a:pt x="2" y="283"/>
                  </a:lnTo>
                  <a:lnTo>
                    <a:pt x="0" y="257"/>
                  </a:lnTo>
                  <a:lnTo>
                    <a:pt x="0" y="257"/>
                  </a:lnTo>
                  <a:lnTo>
                    <a:pt x="2" y="232"/>
                  </a:lnTo>
                  <a:lnTo>
                    <a:pt x="6" y="206"/>
                  </a:lnTo>
                  <a:lnTo>
                    <a:pt x="12" y="182"/>
                  </a:lnTo>
                  <a:lnTo>
                    <a:pt x="20" y="158"/>
                  </a:lnTo>
                  <a:lnTo>
                    <a:pt x="30" y="136"/>
                  </a:lnTo>
                  <a:lnTo>
                    <a:pt x="43" y="115"/>
                  </a:lnTo>
                  <a:lnTo>
                    <a:pt x="59" y="95"/>
                  </a:lnTo>
                  <a:lnTo>
                    <a:pt x="75" y="77"/>
                  </a:lnTo>
                  <a:lnTo>
                    <a:pt x="93" y="59"/>
                  </a:lnTo>
                  <a:lnTo>
                    <a:pt x="112" y="44"/>
                  </a:lnTo>
                  <a:lnTo>
                    <a:pt x="133" y="31"/>
                  </a:lnTo>
                  <a:lnTo>
                    <a:pt x="156" y="21"/>
                  </a:lnTo>
                  <a:lnTo>
                    <a:pt x="179" y="11"/>
                  </a:lnTo>
                  <a:lnTo>
                    <a:pt x="204" y="5"/>
                  </a:lnTo>
                  <a:lnTo>
                    <a:pt x="229" y="1"/>
                  </a:lnTo>
                  <a:lnTo>
                    <a:pt x="255" y="0"/>
                  </a:lnTo>
                  <a:lnTo>
                    <a:pt x="255" y="0"/>
                  </a:lnTo>
                  <a:lnTo>
                    <a:pt x="284" y="1"/>
                  </a:lnTo>
                  <a:lnTo>
                    <a:pt x="311" y="5"/>
                  </a:lnTo>
                  <a:lnTo>
                    <a:pt x="337" y="11"/>
                  </a:lnTo>
                  <a:lnTo>
                    <a:pt x="361" y="21"/>
                  </a:lnTo>
                  <a:lnTo>
                    <a:pt x="384" y="31"/>
                  </a:lnTo>
                  <a:lnTo>
                    <a:pt x="404" y="44"/>
                  </a:lnTo>
                  <a:lnTo>
                    <a:pt x="424" y="59"/>
                  </a:lnTo>
                  <a:lnTo>
                    <a:pt x="441" y="77"/>
                  </a:lnTo>
                  <a:lnTo>
                    <a:pt x="457" y="95"/>
                  </a:lnTo>
                  <a:lnTo>
                    <a:pt x="470" y="115"/>
                  </a:lnTo>
                  <a:lnTo>
                    <a:pt x="481" y="136"/>
                  </a:lnTo>
                  <a:lnTo>
                    <a:pt x="491" y="158"/>
                  </a:lnTo>
                  <a:lnTo>
                    <a:pt x="500" y="182"/>
                  </a:lnTo>
                  <a:lnTo>
                    <a:pt x="504" y="206"/>
                  </a:lnTo>
                  <a:lnTo>
                    <a:pt x="508" y="232"/>
                  </a:lnTo>
                  <a:lnTo>
                    <a:pt x="510" y="257"/>
                  </a:lnTo>
                  <a:lnTo>
                    <a:pt x="510" y="25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91" name="Line 13"/>
            <p:cNvSpPr>
              <a:spLocks noChangeShapeType="1"/>
            </p:cNvSpPr>
            <p:nvPr userDrawn="1"/>
          </p:nvSpPr>
          <p:spPr bwMode="auto">
            <a:xfrm>
              <a:off x="5667" y="745"/>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pic>
          <p:nvPicPr>
            <p:cNvPr id="92" name="Picture 14"/>
            <p:cNvPicPr>
              <a:picLocks noChangeAspect="1" noChangeArrowheads="1"/>
            </p:cNvPicPr>
            <p:nvPr userDrawn="1"/>
          </p:nvPicPr>
          <p:blipFill>
            <a:blip r:embed="rId5" cstate="hqprint">
              <a:extLst>
                <a:ext uri="{28A0092B-C50C-407E-A947-70E740481C1C}">
                  <a14:useLocalDpi xmlns:a14="http://schemas.microsoft.com/office/drawing/2010/main" val="0"/>
                </a:ext>
              </a:extLst>
            </a:blip>
            <a:srcRect/>
            <a:stretch>
              <a:fillRect/>
            </a:stretch>
          </p:blipFill>
          <p:spPr bwMode="auto">
            <a:xfrm>
              <a:off x="5478" y="637"/>
              <a:ext cx="282" cy="2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3" name="Freeform 15"/>
            <p:cNvSpPr>
              <a:spLocks/>
            </p:cNvSpPr>
            <p:nvPr userDrawn="1"/>
          </p:nvSpPr>
          <p:spPr bwMode="auto">
            <a:xfrm>
              <a:off x="5525" y="658"/>
              <a:ext cx="121" cy="25"/>
            </a:xfrm>
            <a:custGeom>
              <a:avLst/>
              <a:gdLst>
                <a:gd name="T0" fmla="*/ 0 w 364"/>
                <a:gd name="T1" fmla="*/ 75 h 75"/>
                <a:gd name="T2" fmla="*/ 0 w 364"/>
                <a:gd name="T3" fmla="*/ 75 h 75"/>
                <a:gd name="T4" fmla="*/ 19 w 364"/>
                <a:gd name="T5" fmla="*/ 58 h 75"/>
                <a:gd name="T6" fmla="*/ 40 w 364"/>
                <a:gd name="T7" fmla="*/ 44 h 75"/>
                <a:gd name="T8" fmla="*/ 62 w 364"/>
                <a:gd name="T9" fmla="*/ 31 h 75"/>
                <a:gd name="T10" fmla="*/ 85 w 364"/>
                <a:gd name="T11" fmla="*/ 20 h 75"/>
                <a:gd name="T12" fmla="*/ 108 w 364"/>
                <a:gd name="T13" fmla="*/ 11 h 75"/>
                <a:gd name="T14" fmla="*/ 132 w 364"/>
                <a:gd name="T15" fmla="*/ 5 h 75"/>
                <a:gd name="T16" fmla="*/ 156 w 364"/>
                <a:gd name="T17" fmla="*/ 1 h 75"/>
                <a:gd name="T18" fmla="*/ 182 w 364"/>
                <a:gd name="T19" fmla="*/ 0 h 75"/>
                <a:gd name="T20" fmla="*/ 206 w 364"/>
                <a:gd name="T21" fmla="*/ 1 h 75"/>
                <a:gd name="T22" fmla="*/ 231 w 364"/>
                <a:gd name="T23" fmla="*/ 4 h 75"/>
                <a:gd name="T24" fmla="*/ 255 w 364"/>
                <a:gd name="T25" fmla="*/ 10 h 75"/>
                <a:gd name="T26" fmla="*/ 278 w 364"/>
                <a:gd name="T27" fmla="*/ 18 h 75"/>
                <a:gd name="T28" fmla="*/ 301 w 364"/>
                <a:gd name="T29" fmla="*/ 28 h 75"/>
                <a:gd name="T30" fmla="*/ 324 w 364"/>
                <a:gd name="T31" fmla="*/ 41 h 75"/>
                <a:gd name="T32" fmla="*/ 344 w 364"/>
                <a:gd name="T33" fmla="*/ 55 h 75"/>
                <a:gd name="T34" fmla="*/ 364 w 364"/>
                <a:gd name="T35" fmla="*/ 72 h 75"/>
                <a:gd name="T36" fmla="*/ 0 w 364"/>
                <a:gd name="T37"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4" h="75">
                  <a:moveTo>
                    <a:pt x="0" y="75"/>
                  </a:moveTo>
                  <a:lnTo>
                    <a:pt x="0" y="75"/>
                  </a:lnTo>
                  <a:lnTo>
                    <a:pt x="19" y="58"/>
                  </a:lnTo>
                  <a:lnTo>
                    <a:pt x="40" y="44"/>
                  </a:lnTo>
                  <a:lnTo>
                    <a:pt x="62" y="31"/>
                  </a:lnTo>
                  <a:lnTo>
                    <a:pt x="85" y="20"/>
                  </a:lnTo>
                  <a:lnTo>
                    <a:pt x="108" y="11"/>
                  </a:lnTo>
                  <a:lnTo>
                    <a:pt x="132" y="5"/>
                  </a:lnTo>
                  <a:lnTo>
                    <a:pt x="156" y="1"/>
                  </a:lnTo>
                  <a:lnTo>
                    <a:pt x="182" y="0"/>
                  </a:lnTo>
                  <a:lnTo>
                    <a:pt x="206" y="1"/>
                  </a:lnTo>
                  <a:lnTo>
                    <a:pt x="231" y="4"/>
                  </a:lnTo>
                  <a:lnTo>
                    <a:pt x="255" y="10"/>
                  </a:lnTo>
                  <a:lnTo>
                    <a:pt x="278" y="18"/>
                  </a:lnTo>
                  <a:lnTo>
                    <a:pt x="301" y="28"/>
                  </a:lnTo>
                  <a:lnTo>
                    <a:pt x="324" y="41"/>
                  </a:lnTo>
                  <a:lnTo>
                    <a:pt x="344" y="55"/>
                  </a:lnTo>
                  <a:lnTo>
                    <a:pt x="364" y="72"/>
                  </a:lnTo>
                  <a:lnTo>
                    <a:pt x="0" y="75"/>
                  </a:lnTo>
                  <a:close/>
                </a:path>
              </a:pathLst>
            </a:custGeom>
            <a:solidFill>
              <a:srgbClr val="00987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94" name="Freeform 16"/>
            <p:cNvSpPr>
              <a:spLocks/>
            </p:cNvSpPr>
            <p:nvPr userDrawn="1"/>
          </p:nvSpPr>
          <p:spPr bwMode="auto">
            <a:xfrm>
              <a:off x="5525" y="658"/>
              <a:ext cx="121" cy="25"/>
            </a:xfrm>
            <a:custGeom>
              <a:avLst/>
              <a:gdLst>
                <a:gd name="T0" fmla="*/ 0 w 364"/>
                <a:gd name="T1" fmla="*/ 75 h 75"/>
                <a:gd name="T2" fmla="*/ 0 w 364"/>
                <a:gd name="T3" fmla="*/ 75 h 75"/>
                <a:gd name="T4" fmla="*/ 19 w 364"/>
                <a:gd name="T5" fmla="*/ 58 h 75"/>
                <a:gd name="T6" fmla="*/ 40 w 364"/>
                <a:gd name="T7" fmla="*/ 44 h 75"/>
                <a:gd name="T8" fmla="*/ 62 w 364"/>
                <a:gd name="T9" fmla="*/ 31 h 75"/>
                <a:gd name="T10" fmla="*/ 85 w 364"/>
                <a:gd name="T11" fmla="*/ 20 h 75"/>
                <a:gd name="T12" fmla="*/ 108 w 364"/>
                <a:gd name="T13" fmla="*/ 11 h 75"/>
                <a:gd name="T14" fmla="*/ 132 w 364"/>
                <a:gd name="T15" fmla="*/ 5 h 75"/>
                <a:gd name="T16" fmla="*/ 156 w 364"/>
                <a:gd name="T17" fmla="*/ 1 h 75"/>
                <a:gd name="T18" fmla="*/ 182 w 364"/>
                <a:gd name="T19" fmla="*/ 0 h 75"/>
                <a:gd name="T20" fmla="*/ 206 w 364"/>
                <a:gd name="T21" fmla="*/ 1 h 75"/>
                <a:gd name="T22" fmla="*/ 231 w 364"/>
                <a:gd name="T23" fmla="*/ 4 h 75"/>
                <a:gd name="T24" fmla="*/ 255 w 364"/>
                <a:gd name="T25" fmla="*/ 10 h 75"/>
                <a:gd name="T26" fmla="*/ 278 w 364"/>
                <a:gd name="T27" fmla="*/ 18 h 75"/>
                <a:gd name="T28" fmla="*/ 301 w 364"/>
                <a:gd name="T29" fmla="*/ 28 h 75"/>
                <a:gd name="T30" fmla="*/ 324 w 364"/>
                <a:gd name="T31" fmla="*/ 41 h 75"/>
                <a:gd name="T32" fmla="*/ 344 w 364"/>
                <a:gd name="T33" fmla="*/ 55 h 75"/>
                <a:gd name="T34" fmla="*/ 364 w 364"/>
                <a:gd name="T35" fmla="*/ 7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64" h="75">
                  <a:moveTo>
                    <a:pt x="0" y="75"/>
                  </a:moveTo>
                  <a:lnTo>
                    <a:pt x="0" y="75"/>
                  </a:lnTo>
                  <a:lnTo>
                    <a:pt x="19" y="58"/>
                  </a:lnTo>
                  <a:lnTo>
                    <a:pt x="40" y="44"/>
                  </a:lnTo>
                  <a:lnTo>
                    <a:pt x="62" y="31"/>
                  </a:lnTo>
                  <a:lnTo>
                    <a:pt x="85" y="20"/>
                  </a:lnTo>
                  <a:lnTo>
                    <a:pt x="108" y="11"/>
                  </a:lnTo>
                  <a:lnTo>
                    <a:pt x="132" y="5"/>
                  </a:lnTo>
                  <a:lnTo>
                    <a:pt x="156" y="1"/>
                  </a:lnTo>
                  <a:lnTo>
                    <a:pt x="182" y="0"/>
                  </a:lnTo>
                  <a:lnTo>
                    <a:pt x="206" y="1"/>
                  </a:lnTo>
                  <a:lnTo>
                    <a:pt x="231" y="4"/>
                  </a:lnTo>
                  <a:lnTo>
                    <a:pt x="255" y="10"/>
                  </a:lnTo>
                  <a:lnTo>
                    <a:pt x="278" y="18"/>
                  </a:lnTo>
                  <a:lnTo>
                    <a:pt x="301" y="28"/>
                  </a:lnTo>
                  <a:lnTo>
                    <a:pt x="324" y="41"/>
                  </a:lnTo>
                  <a:lnTo>
                    <a:pt x="344" y="55"/>
                  </a:lnTo>
                  <a:lnTo>
                    <a:pt x="364" y="7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pic>
          <p:nvPicPr>
            <p:cNvPr id="95" name="Picture 17"/>
            <p:cNvPicPr>
              <a:picLocks noChangeAspect="1" noChangeArrowheads="1"/>
            </p:cNvPicPr>
            <p:nvPr userDrawn="1"/>
          </p:nvPicPr>
          <p:blipFill>
            <a:blip r:embed="rId6" cstate="hqprint">
              <a:extLst>
                <a:ext uri="{28A0092B-C50C-407E-A947-70E740481C1C}">
                  <a14:useLocalDpi xmlns:a14="http://schemas.microsoft.com/office/drawing/2010/main" val="0"/>
                </a:ext>
              </a:extLst>
            </a:blip>
            <a:srcRect/>
            <a:stretch>
              <a:fillRect/>
            </a:stretch>
          </p:blipFill>
          <p:spPr bwMode="auto">
            <a:xfrm>
              <a:off x="5478" y="637"/>
              <a:ext cx="282" cy="2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6" name="Freeform 18"/>
            <p:cNvSpPr>
              <a:spLocks noEditPoints="1"/>
            </p:cNvSpPr>
            <p:nvPr userDrawn="1"/>
          </p:nvSpPr>
          <p:spPr bwMode="auto">
            <a:xfrm>
              <a:off x="5510" y="659"/>
              <a:ext cx="160" cy="156"/>
            </a:xfrm>
            <a:custGeom>
              <a:avLst/>
              <a:gdLst>
                <a:gd name="T0" fmla="*/ 478 w 478"/>
                <a:gd name="T1" fmla="*/ 232 h 466"/>
                <a:gd name="T2" fmla="*/ 474 w 478"/>
                <a:gd name="T3" fmla="*/ 279 h 466"/>
                <a:gd name="T4" fmla="*/ 460 w 478"/>
                <a:gd name="T5" fmla="*/ 323 h 466"/>
                <a:gd name="T6" fmla="*/ 437 w 478"/>
                <a:gd name="T7" fmla="*/ 363 h 466"/>
                <a:gd name="T8" fmla="*/ 408 w 478"/>
                <a:gd name="T9" fmla="*/ 398 h 466"/>
                <a:gd name="T10" fmla="*/ 373 w 478"/>
                <a:gd name="T11" fmla="*/ 426 h 466"/>
                <a:gd name="T12" fmla="*/ 332 w 478"/>
                <a:gd name="T13" fmla="*/ 447 h 466"/>
                <a:gd name="T14" fmla="*/ 288 w 478"/>
                <a:gd name="T15" fmla="*/ 460 h 466"/>
                <a:gd name="T16" fmla="*/ 239 w 478"/>
                <a:gd name="T17" fmla="*/ 466 h 466"/>
                <a:gd name="T18" fmla="*/ 215 w 478"/>
                <a:gd name="T19" fmla="*/ 465 h 466"/>
                <a:gd name="T20" fmla="*/ 168 w 478"/>
                <a:gd name="T21" fmla="*/ 455 h 466"/>
                <a:gd name="T22" fmla="*/ 125 w 478"/>
                <a:gd name="T23" fmla="*/ 437 h 466"/>
                <a:gd name="T24" fmla="*/ 88 w 478"/>
                <a:gd name="T25" fmla="*/ 412 h 466"/>
                <a:gd name="T26" fmla="*/ 55 w 478"/>
                <a:gd name="T27" fmla="*/ 380 h 466"/>
                <a:gd name="T28" fmla="*/ 29 w 478"/>
                <a:gd name="T29" fmla="*/ 343 h 466"/>
                <a:gd name="T30" fmla="*/ 12 w 478"/>
                <a:gd name="T31" fmla="*/ 302 h 466"/>
                <a:gd name="T32" fmla="*/ 2 w 478"/>
                <a:gd name="T33" fmla="*/ 256 h 466"/>
                <a:gd name="T34" fmla="*/ 0 w 478"/>
                <a:gd name="T35" fmla="*/ 232 h 466"/>
                <a:gd name="T36" fmla="*/ 5 w 478"/>
                <a:gd name="T37" fmla="*/ 185 h 466"/>
                <a:gd name="T38" fmla="*/ 19 w 478"/>
                <a:gd name="T39" fmla="*/ 141 h 466"/>
                <a:gd name="T40" fmla="*/ 42 w 478"/>
                <a:gd name="T41" fmla="*/ 103 h 466"/>
                <a:gd name="T42" fmla="*/ 70 w 478"/>
                <a:gd name="T43" fmla="*/ 68 h 466"/>
                <a:gd name="T44" fmla="*/ 106 w 478"/>
                <a:gd name="T45" fmla="*/ 40 h 466"/>
                <a:gd name="T46" fmla="*/ 146 w 478"/>
                <a:gd name="T47" fmla="*/ 17 h 466"/>
                <a:gd name="T48" fmla="*/ 191 w 478"/>
                <a:gd name="T49" fmla="*/ 4 h 466"/>
                <a:gd name="T50" fmla="*/ 239 w 478"/>
                <a:gd name="T51" fmla="*/ 0 h 466"/>
                <a:gd name="T52" fmla="*/ 264 w 478"/>
                <a:gd name="T53" fmla="*/ 0 h 466"/>
                <a:gd name="T54" fmla="*/ 311 w 478"/>
                <a:gd name="T55" fmla="*/ 10 h 466"/>
                <a:gd name="T56" fmla="*/ 354 w 478"/>
                <a:gd name="T57" fmla="*/ 27 h 466"/>
                <a:gd name="T58" fmla="*/ 391 w 478"/>
                <a:gd name="T59" fmla="*/ 53 h 466"/>
                <a:gd name="T60" fmla="*/ 424 w 478"/>
                <a:gd name="T61" fmla="*/ 84 h 466"/>
                <a:gd name="T62" fmla="*/ 450 w 478"/>
                <a:gd name="T63" fmla="*/ 121 h 466"/>
                <a:gd name="T64" fmla="*/ 467 w 478"/>
                <a:gd name="T65" fmla="*/ 164 h 466"/>
                <a:gd name="T66" fmla="*/ 477 w 478"/>
                <a:gd name="T67" fmla="*/ 208 h 466"/>
                <a:gd name="T68" fmla="*/ 478 w 478"/>
                <a:gd name="T69" fmla="*/ 232 h 466"/>
                <a:gd name="T70" fmla="*/ 478 w 478"/>
                <a:gd name="T71" fmla="*/ 232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78" h="466">
                  <a:moveTo>
                    <a:pt x="478" y="232"/>
                  </a:moveTo>
                  <a:lnTo>
                    <a:pt x="478" y="232"/>
                  </a:lnTo>
                  <a:lnTo>
                    <a:pt x="477" y="256"/>
                  </a:lnTo>
                  <a:lnTo>
                    <a:pt x="474" y="279"/>
                  </a:lnTo>
                  <a:lnTo>
                    <a:pt x="467" y="302"/>
                  </a:lnTo>
                  <a:lnTo>
                    <a:pt x="460" y="323"/>
                  </a:lnTo>
                  <a:lnTo>
                    <a:pt x="450" y="343"/>
                  </a:lnTo>
                  <a:lnTo>
                    <a:pt x="437" y="363"/>
                  </a:lnTo>
                  <a:lnTo>
                    <a:pt x="424" y="380"/>
                  </a:lnTo>
                  <a:lnTo>
                    <a:pt x="408" y="398"/>
                  </a:lnTo>
                  <a:lnTo>
                    <a:pt x="391" y="412"/>
                  </a:lnTo>
                  <a:lnTo>
                    <a:pt x="373" y="426"/>
                  </a:lnTo>
                  <a:lnTo>
                    <a:pt x="354" y="437"/>
                  </a:lnTo>
                  <a:lnTo>
                    <a:pt x="332" y="447"/>
                  </a:lnTo>
                  <a:lnTo>
                    <a:pt x="311" y="455"/>
                  </a:lnTo>
                  <a:lnTo>
                    <a:pt x="288" y="460"/>
                  </a:lnTo>
                  <a:lnTo>
                    <a:pt x="264" y="465"/>
                  </a:lnTo>
                  <a:lnTo>
                    <a:pt x="239" y="466"/>
                  </a:lnTo>
                  <a:lnTo>
                    <a:pt x="239" y="466"/>
                  </a:lnTo>
                  <a:lnTo>
                    <a:pt x="215" y="465"/>
                  </a:lnTo>
                  <a:lnTo>
                    <a:pt x="191" y="460"/>
                  </a:lnTo>
                  <a:lnTo>
                    <a:pt x="168" y="455"/>
                  </a:lnTo>
                  <a:lnTo>
                    <a:pt x="146" y="447"/>
                  </a:lnTo>
                  <a:lnTo>
                    <a:pt x="125" y="437"/>
                  </a:lnTo>
                  <a:lnTo>
                    <a:pt x="106" y="426"/>
                  </a:lnTo>
                  <a:lnTo>
                    <a:pt x="88" y="412"/>
                  </a:lnTo>
                  <a:lnTo>
                    <a:pt x="70" y="398"/>
                  </a:lnTo>
                  <a:lnTo>
                    <a:pt x="55" y="380"/>
                  </a:lnTo>
                  <a:lnTo>
                    <a:pt x="42" y="363"/>
                  </a:lnTo>
                  <a:lnTo>
                    <a:pt x="29" y="343"/>
                  </a:lnTo>
                  <a:lnTo>
                    <a:pt x="19" y="323"/>
                  </a:lnTo>
                  <a:lnTo>
                    <a:pt x="12" y="302"/>
                  </a:lnTo>
                  <a:lnTo>
                    <a:pt x="5" y="279"/>
                  </a:lnTo>
                  <a:lnTo>
                    <a:pt x="2" y="256"/>
                  </a:lnTo>
                  <a:lnTo>
                    <a:pt x="0" y="232"/>
                  </a:lnTo>
                  <a:lnTo>
                    <a:pt x="0" y="232"/>
                  </a:lnTo>
                  <a:lnTo>
                    <a:pt x="2" y="208"/>
                  </a:lnTo>
                  <a:lnTo>
                    <a:pt x="5" y="185"/>
                  </a:lnTo>
                  <a:lnTo>
                    <a:pt x="12" y="164"/>
                  </a:lnTo>
                  <a:lnTo>
                    <a:pt x="19" y="141"/>
                  </a:lnTo>
                  <a:lnTo>
                    <a:pt x="29" y="121"/>
                  </a:lnTo>
                  <a:lnTo>
                    <a:pt x="42" y="103"/>
                  </a:lnTo>
                  <a:lnTo>
                    <a:pt x="55" y="84"/>
                  </a:lnTo>
                  <a:lnTo>
                    <a:pt x="70" y="68"/>
                  </a:lnTo>
                  <a:lnTo>
                    <a:pt x="88" y="53"/>
                  </a:lnTo>
                  <a:lnTo>
                    <a:pt x="106" y="40"/>
                  </a:lnTo>
                  <a:lnTo>
                    <a:pt x="125" y="27"/>
                  </a:lnTo>
                  <a:lnTo>
                    <a:pt x="146" y="17"/>
                  </a:lnTo>
                  <a:lnTo>
                    <a:pt x="168" y="10"/>
                  </a:lnTo>
                  <a:lnTo>
                    <a:pt x="191" y="4"/>
                  </a:lnTo>
                  <a:lnTo>
                    <a:pt x="215" y="0"/>
                  </a:lnTo>
                  <a:lnTo>
                    <a:pt x="239" y="0"/>
                  </a:lnTo>
                  <a:lnTo>
                    <a:pt x="239" y="0"/>
                  </a:lnTo>
                  <a:lnTo>
                    <a:pt x="264" y="0"/>
                  </a:lnTo>
                  <a:lnTo>
                    <a:pt x="288" y="4"/>
                  </a:lnTo>
                  <a:lnTo>
                    <a:pt x="311" y="10"/>
                  </a:lnTo>
                  <a:lnTo>
                    <a:pt x="332" y="17"/>
                  </a:lnTo>
                  <a:lnTo>
                    <a:pt x="354" y="27"/>
                  </a:lnTo>
                  <a:lnTo>
                    <a:pt x="373" y="40"/>
                  </a:lnTo>
                  <a:lnTo>
                    <a:pt x="391" y="53"/>
                  </a:lnTo>
                  <a:lnTo>
                    <a:pt x="408" y="67"/>
                  </a:lnTo>
                  <a:lnTo>
                    <a:pt x="424" y="84"/>
                  </a:lnTo>
                  <a:lnTo>
                    <a:pt x="437" y="103"/>
                  </a:lnTo>
                  <a:lnTo>
                    <a:pt x="450" y="121"/>
                  </a:lnTo>
                  <a:lnTo>
                    <a:pt x="460" y="141"/>
                  </a:lnTo>
                  <a:lnTo>
                    <a:pt x="467" y="164"/>
                  </a:lnTo>
                  <a:lnTo>
                    <a:pt x="474" y="185"/>
                  </a:lnTo>
                  <a:lnTo>
                    <a:pt x="477" y="208"/>
                  </a:lnTo>
                  <a:lnTo>
                    <a:pt x="478" y="232"/>
                  </a:lnTo>
                  <a:lnTo>
                    <a:pt x="478" y="232"/>
                  </a:lnTo>
                  <a:close/>
                  <a:moveTo>
                    <a:pt x="478" y="232"/>
                  </a:moveTo>
                  <a:lnTo>
                    <a:pt x="478" y="23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97" name="Freeform 19"/>
            <p:cNvSpPr>
              <a:spLocks/>
            </p:cNvSpPr>
            <p:nvPr userDrawn="1"/>
          </p:nvSpPr>
          <p:spPr bwMode="auto">
            <a:xfrm>
              <a:off x="5510" y="659"/>
              <a:ext cx="160" cy="156"/>
            </a:xfrm>
            <a:custGeom>
              <a:avLst/>
              <a:gdLst>
                <a:gd name="T0" fmla="*/ 478 w 478"/>
                <a:gd name="T1" fmla="*/ 232 h 466"/>
                <a:gd name="T2" fmla="*/ 474 w 478"/>
                <a:gd name="T3" fmla="*/ 279 h 466"/>
                <a:gd name="T4" fmla="*/ 460 w 478"/>
                <a:gd name="T5" fmla="*/ 323 h 466"/>
                <a:gd name="T6" fmla="*/ 437 w 478"/>
                <a:gd name="T7" fmla="*/ 363 h 466"/>
                <a:gd name="T8" fmla="*/ 408 w 478"/>
                <a:gd name="T9" fmla="*/ 398 h 466"/>
                <a:gd name="T10" fmla="*/ 373 w 478"/>
                <a:gd name="T11" fmla="*/ 426 h 466"/>
                <a:gd name="T12" fmla="*/ 332 w 478"/>
                <a:gd name="T13" fmla="*/ 447 h 466"/>
                <a:gd name="T14" fmla="*/ 288 w 478"/>
                <a:gd name="T15" fmla="*/ 460 h 466"/>
                <a:gd name="T16" fmla="*/ 239 w 478"/>
                <a:gd name="T17" fmla="*/ 466 h 466"/>
                <a:gd name="T18" fmla="*/ 215 w 478"/>
                <a:gd name="T19" fmla="*/ 465 h 466"/>
                <a:gd name="T20" fmla="*/ 168 w 478"/>
                <a:gd name="T21" fmla="*/ 455 h 466"/>
                <a:gd name="T22" fmla="*/ 125 w 478"/>
                <a:gd name="T23" fmla="*/ 437 h 466"/>
                <a:gd name="T24" fmla="*/ 88 w 478"/>
                <a:gd name="T25" fmla="*/ 412 h 466"/>
                <a:gd name="T26" fmla="*/ 55 w 478"/>
                <a:gd name="T27" fmla="*/ 380 h 466"/>
                <a:gd name="T28" fmla="*/ 29 w 478"/>
                <a:gd name="T29" fmla="*/ 343 h 466"/>
                <a:gd name="T30" fmla="*/ 12 w 478"/>
                <a:gd name="T31" fmla="*/ 302 h 466"/>
                <a:gd name="T32" fmla="*/ 2 w 478"/>
                <a:gd name="T33" fmla="*/ 256 h 466"/>
                <a:gd name="T34" fmla="*/ 0 w 478"/>
                <a:gd name="T35" fmla="*/ 232 h 466"/>
                <a:gd name="T36" fmla="*/ 5 w 478"/>
                <a:gd name="T37" fmla="*/ 185 h 466"/>
                <a:gd name="T38" fmla="*/ 19 w 478"/>
                <a:gd name="T39" fmla="*/ 141 h 466"/>
                <a:gd name="T40" fmla="*/ 42 w 478"/>
                <a:gd name="T41" fmla="*/ 103 h 466"/>
                <a:gd name="T42" fmla="*/ 70 w 478"/>
                <a:gd name="T43" fmla="*/ 68 h 466"/>
                <a:gd name="T44" fmla="*/ 106 w 478"/>
                <a:gd name="T45" fmla="*/ 40 h 466"/>
                <a:gd name="T46" fmla="*/ 146 w 478"/>
                <a:gd name="T47" fmla="*/ 17 h 466"/>
                <a:gd name="T48" fmla="*/ 191 w 478"/>
                <a:gd name="T49" fmla="*/ 4 h 466"/>
                <a:gd name="T50" fmla="*/ 239 w 478"/>
                <a:gd name="T51" fmla="*/ 0 h 466"/>
                <a:gd name="T52" fmla="*/ 264 w 478"/>
                <a:gd name="T53" fmla="*/ 0 h 466"/>
                <a:gd name="T54" fmla="*/ 311 w 478"/>
                <a:gd name="T55" fmla="*/ 10 h 466"/>
                <a:gd name="T56" fmla="*/ 354 w 478"/>
                <a:gd name="T57" fmla="*/ 27 h 466"/>
                <a:gd name="T58" fmla="*/ 391 w 478"/>
                <a:gd name="T59" fmla="*/ 53 h 466"/>
                <a:gd name="T60" fmla="*/ 424 w 478"/>
                <a:gd name="T61" fmla="*/ 84 h 466"/>
                <a:gd name="T62" fmla="*/ 450 w 478"/>
                <a:gd name="T63" fmla="*/ 121 h 466"/>
                <a:gd name="T64" fmla="*/ 467 w 478"/>
                <a:gd name="T65" fmla="*/ 164 h 466"/>
                <a:gd name="T66" fmla="*/ 477 w 478"/>
                <a:gd name="T67" fmla="*/ 208 h 466"/>
                <a:gd name="T68" fmla="*/ 478 w 478"/>
                <a:gd name="T69" fmla="*/ 232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78" h="466">
                  <a:moveTo>
                    <a:pt x="478" y="232"/>
                  </a:moveTo>
                  <a:lnTo>
                    <a:pt x="478" y="232"/>
                  </a:lnTo>
                  <a:lnTo>
                    <a:pt x="477" y="256"/>
                  </a:lnTo>
                  <a:lnTo>
                    <a:pt x="474" y="279"/>
                  </a:lnTo>
                  <a:lnTo>
                    <a:pt x="467" y="302"/>
                  </a:lnTo>
                  <a:lnTo>
                    <a:pt x="460" y="323"/>
                  </a:lnTo>
                  <a:lnTo>
                    <a:pt x="450" y="343"/>
                  </a:lnTo>
                  <a:lnTo>
                    <a:pt x="437" y="363"/>
                  </a:lnTo>
                  <a:lnTo>
                    <a:pt x="424" y="380"/>
                  </a:lnTo>
                  <a:lnTo>
                    <a:pt x="408" y="398"/>
                  </a:lnTo>
                  <a:lnTo>
                    <a:pt x="391" y="412"/>
                  </a:lnTo>
                  <a:lnTo>
                    <a:pt x="373" y="426"/>
                  </a:lnTo>
                  <a:lnTo>
                    <a:pt x="354" y="437"/>
                  </a:lnTo>
                  <a:lnTo>
                    <a:pt x="332" y="447"/>
                  </a:lnTo>
                  <a:lnTo>
                    <a:pt x="311" y="455"/>
                  </a:lnTo>
                  <a:lnTo>
                    <a:pt x="288" y="460"/>
                  </a:lnTo>
                  <a:lnTo>
                    <a:pt x="264" y="465"/>
                  </a:lnTo>
                  <a:lnTo>
                    <a:pt x="239" y="466"/>
                  </a:lnTo>
                  <a:lnTo>
                    <a:pt x="239" y="466"/>
                  </a:lnTo>
                  <a:lnTo>
                    <a:pt x="215" y="465"/>
                  </a:lnTo>
                  <a:lnTo>
                    <a:pt x="191" y="460"/>
                  </a:lnTo>
                  <a:lnTo>
                    <a:pt x="168" y="455"/>
                  </a:lnTo>
                  <a:lnTo>
                    <a:pt x="146" y="447"/>
                  </a:lnTo>
                  <a:lnTo>
                    <a:pt x="125" y="437"/>
                  </a:lnTo>
                  <a:lnTo>
                    <a:pt x="106" y="426"/>
                  </a:lnTo>
                  <a:lnTo>
                    <a:pt x="88" y="412"/>
                  </a:lnTo>
                  <a:lnTo>
                    <a:pt x="70" y="398"/>
                  </a:lnTo>
                  <a:lnTo>
                    <a:pt x="55" y="380"/>
                  </a:lnTo>
                  <a:lnTo>
                    <a:pt x="42" y="363"/>
                  </a:lnTo>
                  <a:lnTo>
                    <a:pt x="29" y="343"/>
                  </a:lnTo>
                  <a:lnTo>
                    <a:pt x="19" y="323"/>
                  </a:lnTo>
                  <a:lnTo>
                    <a:pt x="12" y="302"/>
                  </a:lnTo>
                  <a:lnTo>
                    <a:pt x="5" y="279"/>
                  </a:lnTo>
                  <a:lnTo>
                    <a:pt x="2" y="256"/>
                  </a:lnTo>
                  <a:lnTo>
                    <a:pt x="0" y="232"/>
                  </a:lnTo>
                  <a:lnTo>
                    <a:pt x="0" y="232"/>
                  </a:lnTo>
                  <a:lnTo>
                    <a:pt x="2" y="208"/>
                  </a:lnTo>
                  <a:lnTo>
                    <a:pt x="5" y="185"/>
                  </a:lnTo>
                  <a:lnTo>
                    <a:pt x="12" y="164"/>
                  </a:lnTo>
                  <a:lnTo>
                    <a:pt x="19" y="141"/>
                  </a:lnTo>
                  <a:lnTo>
                    <a:pt x="29" y="121"/>
                  </a:lnTo>
                  <a:lnTo>
                    <a:pt x="42" y="103"/>
                  </a:lnTo>
                  <a:lnTo>
                    <a:pt x="55" y="84"/>
                  </a:lnTo>
                  <a:lnTo>
                    <a:pt x="70" y="68"/>
                  </a:lnTo>
                  <a:lnTo>
                    <a:pt x="88" y="53"/>
                  </a:lnTo>
                  <a:lnTo>
                    <a:pt x="106" y="40"/>
                  </a:lnTo>
                  <a:lnTo>
                    <a:pt x="125" y="27"/>
                  </a:lnTo>
                  <a:lnTo>
                    <a:pt x="146" y="17"/>
                  </a:lnTo>
                  <a:lnTo>
                    <a:pt x="168" y="10"/>
                  </a:lnTo>
                  <a:lnTo>
                    <a:pt x="191" y="4"/>
                  </a:lnTo>
                  <a:lnTo>
                    <a:pt x="215" y="0"/>
                  </a:lnTo>
                  <a:lnTo>
                    <a:pt x="239" y="0"/>
                  </a:lnTo>
                  <a:lnTo>
                    <a:pt x="239" y="0"/>
                  </a:lnTo>
                  <a:lnTo>
                    <a:pt x="264" y="0"/>
                  </a:lnTo>
                  <a:lnTo>
                    <a:pt x="288" y="4"/>
                  </a:lnTo>
                  <a:lnTo>
                    <a:pt x="311" y="10"/>
                  </a:lnTo>
                  <a:lnTo>
                    <a:pt x="332" y="17"/>
                  </a:lnTo>
                  <a:lnTo>
                    <a:pt x="354" y="27"/>
                  </a:lnTo>
                  <a:lnTo>
                    <a:pt x="373" y="40"/>
                  </a:lnTo>
                  <a:lnTo>
                    <a:pt x="391" y="53"/>
                  </a:lnTo>
                  <a:lnTo>
                    <a:pt x="408" y="67"/>
                  </a:lnTo>
                  <a:lnTo>
                    <a:pt x="424" y="84"/>
                  </a:lnTo>
                  <a:lnTo>
                    <a:pt x="437" y="103"/>
                  </a:lnTo>
                  <a:lnTo>
                    <a:pt x="450" y="121"/>
                  </a:lnTo>
                  <a:lnTo>
                    <a:pt x="460" y="141"/>
                  </a:lnTo>
                  <a:lnTo>
                    <a:pt x="467" y="164"/>
                  </a:lnTo>
                  <a:lnTo>
                    <a:pt x="474" y="185"/>
                  </a:lnTo>
                  <a:lnTo>
                    <a:pt x="477" y="208"/>
                  </a:lnTo>
                  <a:lnTo>
                    <a:pt x="478" y="232"/>
                  </a:lnTo>
                  <a:lnTo>
                    <a:pt x="478" y="23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98" name="Line 20"/>
            <p:cNvSpPr>
              <a:spLocks noChangeShapeType="1"/>
            </p:cNvSpPr>
            <p:nvPr userDrawn="1"/>
          </p:nvSpPr>
          <p:spPr bwMode="auto">
            <a:xfrm>
              <a:off x="5670" y="737"/>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pic>
          <p:nvPicPr>
            <p:cNvPr id="99" name="Picture 21"/>
            <p:cNvPicPr>
              <a:picLocks noChangeAspect="1" noChangeArrowheads="1"/>
            </p:cNvPicPr>
            <p:nvPr userDrawn="1"/>
          </p:nvPicPr>
          <p:blipFill>
            <a:blip r:embed="rId7" cstate="hqprint">
              <a:extLst>
                <a:ext uri="{28A0092B-C50C-407E-A947-70E740481C1C}">
                  <a14:useLocalDpi xmlns:a14="http://schemas.microsoft.com/office/drawing/2010/main" val="0"/>
                </a:ext>
              </a:extLst>
            </a:blip>
            <a:srcRect/>
            <a:stretch>
              <a:fillRect/>
            </a:stretch>
          </p:blipFill>
          <p:spPr bwMode="auto">
            <a:xfrm>
              <a:off x="5478" y="637"/>
              <a:ext cx="282" cy="2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0" name="Freeform 22"/>
            <p:cNvSpPr>
              <a:spLocks noEditPoints="1"/>
            </p:cNvSpPr>
            <p:nvPr userDrawn="1"/>
          </p:nvSpPr>
          <p:spPr bwMode="auto">
            <a:xfrm>
              <a:off x="5526" y="673"/>
              <a:ext cx="138" cy="139"/>
            </a:xfrm>
            <a:custGeom>
              <a:avLst/>
              <a:gdLst>
                <a:gd name="T0" fmla="*/ 415 w 415"/>
                <a:gd name="T1" fmla="*/ 209 h 417"/>
                <a:gd name="T2" fmla="*/ 411 w 415"/>
                <a:gd name="T3" fmla="*/ 251 h 417"/>
                <a:gd name="T4" fmla="*/ 400 w 415"/>
                <a:gd name="T5" fmla="*/ 291 h 417"/>
                <a:gd name="T6" fmla="*/ 379 w 415"/>
                <a:gd name="T7" fmla="*/ 325 h 417"/>
                <a:gd name="T8" fmla="*/ 355 w 415"/>
                <a:gd name="T9" fmla="*/ 356 h 417"/>
                <a:gd name="T10" fmla="*/ 324 w 415"/>
                <a:gd name="T11" fmla="*/ 382 h 417"/>
                <a:gd name="T12" fmla="*/ 289 w 415"/>
                <a:gd name="T13" fmla="*/ 400 h 417"/>
                <a:gd name="T14" fmla="*/ 249 w 415"/>
                <a:gd name="T15" fmla="*/ 413 h 417"/>
                <a:gd name="T16" fmla="*/ 208 w 415"/>
                <a:gd name="T17" fmla="*/ 417 h 417"/>
                <a:gd name="T18" fmla="*/ 186 w 415"/>
                <a:gd name="T19" fmla="*/ 416 h 417"/>
                <a:gd name="T20" fmla="*/ 146 w 415"/>
                <a:gd name="T21" fmla="*/ 407 h 417"/>
                <a:gd name="T22" fmla="*/ 109 w 415"/>
                <a:gd name="T23" fmla="*/ 392 h 417"/>
                <a:gd name="T24" fmla="*/ 76 w 415"/>
                <a:gd name="T25" fmla="*/ 370 h 417"/>
                <a:gd name="T26" fmla="*/ 47 w 415"/>
                <a:gd name="T27" fmla="*/ 342 h 417"/>
                <a:gd name="T28" fmla="*/ 26 w 415"/>
                <a:gd name="T29" fmla="*/ 308 h 417"/>
                <a:gd name="T30" fmla="*/ 10 w 415"/>
                <a:gd name="T31" fmla="*/ 271 h 417"/>
                <a:gd name="T32" fmla="*/ 2 w 415"/>
                <a:gd name="T33" fmla="*/ 229 h 417"/>
                <a:gd name="T34" fmla="*/ 0 w 415"/>
                <a:gd name="T35" fmla="*/ 209 h 417"/>
                <a:gd name="T36" fmla="*/ 4 w 415"/>
                <a:gd name="T37" fmla="*/ 167 h 417"/>
                <a:gd name="T38" fmla="*/ 16 w 415"/>
                <a:gd name="T39" fmla="*/ 128 h 417"/>
                <a:gd name="T40" fmla="*/ 36 w 415"/>
                <a:gd name="T41" fmla="*/ 93 h 417"/>
                <a:gd name="T42" fmla="*/ 62 w 415"/>
                <a:gd name="T43" fmla="*/ 61 h 417"/>
                <a:gd name="T44" fmla="*/ 92 w 415"/>
                <a:gd name="T45" fmla="*/ 36 h 417"/>
                <a:gd name="T46" fmla="*/ 128 w 415"/>
                <a:gd name="T47" fmla="*/ 17 h 417"/>
                <a:gd name="T48" fmla="*/ 166 w 415"/>
                <a:gd name="T49" fmla="*/ 4 h 417"/>
                <a:gd name="T50" fmla="*/ 208 w 415"/>
                <a:gd name="T51" fmla="*/ 0 h 417"/>
                <a:gd name="T52" fmla="*/ 229 w 415"/>
                <a:gd name="T53" fmla="*/ 1 h 417"/>
                <a:gd name="T54" fmla="*/ 269 w 415"/>
                <a:gd name="T55" fmla="*/ 10 h 417"/>
                <a:gd name="T56" fmla="*/ 306 w 415"/>
                <a:gd name="T57" fmla="*/ 26 h 417"/>
                <a:gd name="T58" fmla="*/ 339 w 415"/>
                <a:gd name="T59" fmla="*/ 48 h 417"/>
                <a:gd name="T60" fmla="*/ 368 w 415"/>
                <a:gd name="T61" fmla="*/ 75 h 417"/>
                <a:gd name="T62" fmla="*/ 391 w 415"/>
                <a:gd name="T63" fmla="*/ 110 h 417"/>
                <a:gd name="T64" fmla="*/ 407 w 415"/>
                <a:gd name="T65" fmla="*/ 147 h 417"/>
                <a:gd name="T66" fmla="*/ 414 w 415"/>
                <a:gd name="T67" fmla="*/ 188 h 417"/>
                <a:gd name="T68" fmla="*/ 415 w 415"/>
                <a:gd name="T69" fmla="*/ 209 h 417"/>
                <a:gd name="T70" fmla="*/ 415 w 415"/>
                <a:gd name="T71" fmla="*/ 209 h 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15" h="417">
                  <a:moveTo>
                    <a:pt x="415" y="209"/>
                  </a:moveTo>
                  <a:lnTo>
                    <a:pt x="415" y="209"/>
                  </a:lnTo>
                  <a:lnTo>
                    <a:pt x="414" y="229"/>
                  </a:lnTo>
                  <a:lnTo>
                    <a:pt x="411" y="251"/>
                  </a:lnTo>
                  <a:lnTo>
                    <a:pt x="407" y="271"/>
                  </a:lnTo>
                  <a:lnTo>
                    <a:pt x="400" y="291"/>
                  </a:lnTo>
                  <a:lnTo>
                    <a:pt x="391" y="308"/>
                  </a:lnTo>
                  <a:lnTo>
                    <a:pt x="379" y="325"/>
                  </a:lnTo>
                  <a:lnTo>
                    <a:pt x="368" y="342"/>
                  </a:lnTo>
                  <a:lnTo>
                    <a:pt x="355" y="356"/>
                  </a:lnTo>
                  <a:lnTo>
                    <a:pt x="339" y="370"/>
                  </a:lnTo>
                  <a:lnTo>
                    <a:pt x="324" y="382"/>
                  </a:lnTo>
                  <a:lnTo>
                    <a:pt x="306" y="392"/>
                  </a:lnTo>
                  <a:lnTo>
                    <a:pt x="289" y="400"/>
                  </a:lnTo>
                  <a:lnTo>
                    <a:pt x="269" y="407"/>
                  </a:lnTo>
                  <a:lnTo>
                    <a:pt x="249" y="413"/>
                  </a:lnTo>
                  <a:lnTo>
                    <a:pt x="229" y="416"/>
                  </a:lnTo>
                  <a:lnTo>
                    <a:pt x="208" y="417"/>
                  </a:lnTo>
                  <a:lnTo>
                    <a:pt x="208" y="417"/>
                  </a:lnTo>
                  <a:lnTo>
                    <a:pt x="186" y="416"/>
                  </a:lnTo>
                  <a:lnTo>
                    <a:pt x="166" y="413"/>
                  </a:lnTo>
                  <a:lnTo>
                    <a:pt x="146" y="407"/>
                  </a:lnTo>
                  <a:lnTo>
                    <a:pt x="128" y="400"/>
                  </a:lnTo>
                  <a:lnTo>
                    <a:pt x="109" y="392"/>
                  </a:lnTo>
                  <a:lnTo>
                    <a:pt x="92" y="382"/>
                  </a:lnTo>
                  <a:lnTo>
                    <a:pt x="76" y="370"/>
                  </a:lnTo>
                  <a:lnTo>
                    <a:pt x="62" y="356"/>
                  </a:lnTo>
                  <a:lnTo>
                    <a:pt x="47" y="342"/>
                  </a:lnTo>
                  <a:lnTo>
                    <a:pt x="36" y="325"/>
                  </a:lnTo>
                  <a:lnTo>
                    <a:pt x="26" y="308"/>
                  </a:lnTo>
                  <a:lnTo>
                    <a:pt x="16" y="291"/>
                  </a:lnTo>
                  <a:lnTo>
                    <a:pt x="10" y="271"/>
                  </a:lnTo>
                  <a:lnTo>
                    <a:pt x="4" y="251"/>
                  </a:lnTo>
                  <a:lnTo>
                    <a:pt x="2" y="229"/>
                  </a:lnTo>
                  <a:lnTo>
                    <a:pt x="0" y="209"/>
                  </a:lnTo>
                  <a:lnTo>
                    <a:pt x="0" y="209"/>
                  </a:lnTo>
                  <a:lnTo>
                    <a:pt x="2" y="188"/>
                  </a:lnTo>
                  <a:lnTo>
                    <a:pt x="4" y="167"/>
                  </a:lnTo>
                  <a:lnTo>
                    <a:pt x="10" y="147"/>
                  </a:lnTo>
                  <a:lnTo>
                    <a:pt x="16" y="128"/>
                  </a:lnTo>
                  <a:lnTo>
                    <a:pt x="26" y="110"/>
                  </a:lnTo>
                  <a:lnTo>
                    <a:pt x="36" y="93"/>
                  </a:lnTo>
                  <a:lnTo>
                    <a:pt x="47" y="75"/>
                  </a:lnTo>
                  <a:lnTo>
                    <a:pt x="62" y="61"/>
                  </a:lnTo>
                  <a:lnTo>
                    <a:pt x="76" y="48"/>
                  </a:lnTo>
                  <a:lnTo>
                    <a:pt x="92" y="36"/>
                  </a:lnTo>
                  <a:lnTo>
                    <a:pt x="109" y="26"/>
                  </a:lnTo>
                  <a:lnTo>
                    <a:pt x="128" y="17"/>
                  </a:lnTo>
                  <a:lnTo>
                    <a:pt x="146" y="10"/>
                  </a:lnTo>
                  <a:lnTo>
                    <a:pt x="166" y="4"/>
                  </a:lnTo>
                  <a:lnTo>
                    <a:pt x="186" y="1"/>
                  </a:lnTo>
                  <a:lnTo>
                    <a:pt x="208" y="0"/>
                  </a:lnTo>
                  <a:lnTo>
                    <a:pt x="208" y="0"/>
                  </a:lnTo>
                  <a:lnTo>
                    <a:pt x="229" y="1"/>
                  </a:lnTo>
                  <a:lnTo>
                    <a:pt x="249" y="4"/>
                  </a:lnTo>
                  <a:lnTo>
                    <a:pt x="269" y="10"/>
                  </a:lnTo>
                  <a:lnTo>
                    <a:pt x="289" y="17"/>
                  </a:lnTo>
                  <a:lnTo>
                    <a:pt x="306" y="26"/>
                  </a:lnTo>
                  <a:lnTo>
                    <a:pt x="324" y="36"/>
                  </a:lnTo>
                  <a:lnTo>
                    <a:pt x="339" y="48"/>
                  </a:lnTo>
                  <a:lnTo>
                    <a:pt x="355" y="61"/>
                  </a:lnTo>
                  <a:lnTo>
                    <a:pt x="368" y="75"/>
                  </a:lnTo>
                  <a:lnTo>
                    <a:pt x="379" y="93"/>
                  </a:lnTo>
                  <a:lnTo>
                    <a:pt x="391" y="110"/>
                  </a:lnTo>
                  <a:lnTo>
                    <a:pt x="400" y="128"/>
                  </a:lnTo>
                  <a:lnTo>
                    <a:pt x="407" y="147"/>
                  </a:lnTo>
                  <a:lnTo>
                    <a:pt x="411" y="167"/>
                  </a:lnTo>
                  <a:lnTo>
                    <a:pt x="414" y="188"/>
                  </a:lnTo>
                  <a:lnTo>
                    <a:pt x="415" y="209"/>
                  </a:lnTo>
                  <a:lnTo>
                    <a:pt x="415" y="209"/>
                  </a:lnTo>
                  <a:close/>
                  <a:moveTo>
                    <a:pt x="415" y="209"/>
                  </a:moveTo>
                  <a:lnTo>
                    <a:pt x="415" y="20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01" name="Freeform 23"/>
            <p:cNvSpPr>
              <a:spLocks/>
            </p:cNvSpPr>
            <p:nvPr userDrawn="1"/>
          </p:nvSpPr>
          <p:spPr bwMode="auto">
            <a:xfrm>
              <a:off x="5526" y="673"/>
              <a:ext cx="138" cy="139"/>
            </a:xfrm>
            <a:custGeom>
              <a:avLst/>
              <a:gdLst>
                <a:gd name="T0" fmla="*/ 415 w 415"/>
                <a:gd name="T1" fmla="*/ 209 h 417"/>
                <a:gd name="T2" fmla="*/ 411 w 415"/>
                <a:gd name="T3" fmla="*/ 251 h 417"/>
                <a:gd name="T4" fmla="*/ 400 w 415"/>
                <a:gd name="T5" fmla="*/ 291 h 417"/>
                <a:gd name="T6" fmla="*/ 379 w 415"/>
                <a:gd name="T7" fmla="*/ 325 h 417"/>
                <a:gd name="T8" fmla="*/ 355 w 415"/>
                <a:gd name="T9" fmla="*/ 356 h 417"/>
                <a:gd name="T10" fmla="*/ 324 w 415"/>
                <a:gd name="T11" fmla="*/ 382 h 417"/>
                <a:gd name="T12" fmla="*/ 289 w 415"/>
                <a:gd name="T13" fmla="*/ 400 h 417"/>
                <a:gd name="T14" fmla="*/ 249 w 415"/>
                <a:gd name="T15" fmla="*/ 413 h 417"/>
                <a:gd name="T16" fmla="*/ 208 w 415"/>
                <a:gd name="T17" fmla="*/ 417 h 417"/>
                <a:gd name="T18" fmla="*/ 186 w 415"/>
                <a:gd name="T19" fmla="*/ 416 h 417"/>
                <a:gd name="T20" fmla="*/ 146 w 415"/>
                <a:gd name="T21" fmla="*/ 407 h 417"/>
                <a:gd name="T22" fmla="*/ 109 w 415"/>
                <a:gd name="T23" fmla="*/ 392 h 417"/>
                <a:gd name="T24" fmla="*/ 76 w 415"/>
                <a:gd name="T25" fmla="*/ 370 h 417"/>
                <a:gd name="T26" fmla="*/ 47 w 415"/>
                <a:gd name="T27" fmla="*/ 342 h 417"/>
                <a:gd name="T28" fmla="*/ 26 w 415"/>
                <a:gd name="T29" fmla="*/ 308 h 417"/>
                <a:gd name="T30" fmla="*/ 10 w 415"/>
                <a:gd name="T31" fmla="*/ 271 h 417"/>
                <a:gd name="T32" fmla="*/ 2 w 415"/>
                <a:gd name="T33" fmla="*/ 229 h 417"/>
                <a:gd name="T34" fmla="*/ 0 w 415"/>
                <a:gd name="T35" fmla="*/ 209 h 417"/>
                <a:gd name="T36" fmla="*/ 4 w 415"/>
                <a:gd name="T37" fmla="*/ 167 h 417"/>
                <a:gd name="T38" fmla="*/ 16 w 415"/>
                <a:gd name="T39" fmla="*/ 128 h 417"/>
                <a:gd name="T40" fmla="*/ 36 w 415"/>
                <a:gd name="T41" fmla="*/ 93 h 417"/>
                <a:gd name="T42" fmla="*/ 62 w 415"/>
                <a:gd name="T43" fmla="*/ 61 h 417"/>
                <a:gd name="T44" fmla="*/ 92 w 415"/>
                <a:gd name="T45" fmla="*/ 36 h 417"/>
                <a:gd name="T46" fmla="*/ 128 w 415"/>
                <a:gd name="T47" fmla="*/ 17 h 417"/>
                <a:gd name="T48" fmla="*/ 166 w 415"/>
                <a:gd name="T49" fmla="*/ 4 h 417"/>
                <a:gd name="T50" fmla="*/ 208 w 415"/>
                <a:gd name="T51" fmla="*/ 0 h 417"/>
                <a:gd name="T52" fmla="*/ 229 w 415"/>
                <a:gd name="T53" fmla="*/ 1 h 417"/>
                <a:gd name="T54" fmla="*/ 269 w 415"/>
                <a:gd name="T55" fmla="*/ 10 h 417"/>
                <a:gd name="T56" fmla="*/ 306 w 415"/>
                <a:gd name="T57" fmla="*/ 26 h 417"/>
                <a:gd name="T58" fmla="*/ 339 w 415"/>
                <a:gd name="T59" fmla="*/ 48 h 417"/>
                <a:gd name="T60" fmla="*/ 368 w 415"/>
                <a:gd name="T61" fmla="*/ 75 h 417"/>
                <a:gd name="T62" fmla="*/ 391 w 415"/>
                <a:gd name="T63" fmla="*/ 110 h 417"/>
                <a:gd name="T64" fmla="*/ 407 w 415"/>
                <a:gd name="T65" fmla="*/ 147 h 417"/>
                <a:gd name="T66" fmla="*/ 414 w 415"/>
                <a:gd name="T67" fmla="*/ 188 h 417"/>
                <a:gd name="T68" fmla="*/ 415 w 415"/>
                <a:gd name="T69" fmla="*/ 209 h 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15" h="417">
                  <a:moveTo>
                    <a:pt x="415" y="209"/>
                  </a:moveTo>
                  <a:lnTo>
                    <a:pt x="415" y="209"/>
                  </a:lnTo>
                  <a:lnTo>
                    <a:pt x="414" y="229"/>
                  </a:lnTo>
                  <a:lnTo>
                    <a:pt x="411" y="251"/>
                  </a:lnTo>
                  <a:lnTo>
                    <a:pt x="407" y="271"/>
                  </a:lnTo>
                  <a:lnTo>
                    <a:pt x="400" y="291"/>
                  </a:lnTo>
                  <a:lnTo>
                    <a:pt x="391" y="308"/>
                  </a:lnTo>
                  <a:lnTo>
                    <a:pt x="379" y="325"/>
                  </a:lnTo>
                  <a:lnTo>
                    <a:pt x="368" y="342"/>
                  </a:lnTo>
                  <a:lnTo>
                    <a:pt x="355" y="356"/>
                  </a:lnTo>
                  <a:lnTo>
                    <a:pt x="339" y="370"/>
                  </a:lnTo>
                  <a:lnTo>
                    <a:pt x="324" y="382"/>
                  </a:lnTo>
                  <a:lnTo>
                    <a:pt x="306" y="392"/>
                  </a:lnTo>
                  <a:lnTo>
                    <a:pt x="289" y="400"/>
                  </a:lnTo>
                  <a:lnTo>
                    <a:pt x="269" y="407"/>
                  </a:lnTo>
                  <a:lnTo>
                    <a:pt x="249" y="413"/>
                  </a:lnTo>
                  <a:lnTo>
                    <a:pt x="229" y="416"/>
                  </a:lnTo>
                  <a:lnTo>
                    <a:pt x="208" y="417"/>
                  </a:lnTo>
                  <a:lnTo>
                    <a:pt x="208" y="417"/>
                  </a:lnTo>
                  <a:lnTo>
                    <a:pt x="186" y="416"/>
                  </a:lnTo>
                  <a:lnTo>
                    <a:pt x="166" y="413"/>
                  </a:lnTo>
                  <a:lnTo>
                    <a:pt x="146" y="407"/>
                  </a:lnTo>
                  <a:lnTo>
                    <a:pt x="128" y="400"/>
                  </a:lnTo>
                  <a:lnTo>
                    <a:pt x="109" y="392"/>
                  </a:lnTo>
                  <a:lnTo>
                    <a:pt x="92" y="382"/>
                  </a:lnTo>
                  <a:lnTo>
                    <a:pt x="76" y="370"/>
                  </a:lnTo>
                  <a:lnTo>
                    <a:pt x="62" y="356"/>
                  </a:lnTo>
                  <a:lnTo>
                    <a:pt x="47" y="342"/>
                  </a:lnTo>
                  <a:lnTo>
                    <a:pt x="36" y="325"/>
                  </a:lnTo>
                  <a:lnTo>
                    <a:pt x="26" y="308"/>
                  </a:lnTo>
                  <a:lnTo>
                    <a:pt x="16" y="291"/>
                  </a:lnTo>
                  <a:lnTo>
                    <a:pt x="10" y="271"/>
                  </a:lnTo>
                  <a:lnTo>
                    <a:pt x="4" y="251"/>
                  </a:lnTo>
                  <a:lnTo>
                    <a:pt x="2" y="229"/>
                  </a:lnTo>
                  <a:lnTo>
                    <a:pt x="0" y="209"/>
                  </a:lnTo>
                  <a:lnTo>
                    <a:pt x="0" y="209"/>
                  </a:lnTo>
                  <a:lnTo>
                    <a:pt x="2" y="188"/>
                  </a:lnTo>
                  <a:lnTo>
                    <a:pt x="4" y="167"/>
                  </a:lnTo>
                  <a:lnTo>
                    <a:pt x="10" y="147"/>
                  </a:lnTo>
                  <a:lnTo>
                    <a:pt x="16" y="128"/>
                  </a:lnTo>
                  <a:lnTo>
                    <a:pt x="26" y="110"/>
                  </a:lnTo>
                  <a:lnTo>
                    <a:pt x="36" y="93"/>
                  </a:lnTo>
                  <a:lnTo>
                    <a:pt x="47" y="75"/>
                  </a:lnTo>
                  <a:lnTo>
                    <a:pt x="62" y="61"/>
                  </a:lnTo>
                  <a:lnTo>
                    <a:pt x="76" y="48"/>
                  </a:lnTo>
                  <a:lnTo>
                    <a:pt x="92" y="36"/>
                  </a:lnTo>
                  <a:lnTo>
                    <a:pt x="109" y="26"/>
                  </a:lnTo>
                  <a:lnTo>
                    <a:pt x="128" y="17"/>
                  </a:lnTo>
                  <a:lnTo>
                    <a:pt x="146" y="10"/>
                  </a:lnTo>
                  <a:lnTo>
                    <a:pt x="166" y="4"/>
                  </a:lnTo>
                  <a:lnTo>
                    <a:pt x="186" y="1"/>
                  </a:lnTo>
                  <a:lnTo>
                    <a:pt x="208" y="0"/>
                  </a:lnTo>
                  <a:lnTo>
                    <a:pt x="208" y="0"/>
                  </a:lnTo>
                  <a:lnTo>
                    <a:pt x="229" y="1"/>
                  </a:lnTo>
                  <a:lnTo>
                    <a:pt x="249" y="4"/>
                  </a:lnTo>
                  <a:lnTo>
                    <a:pt x="269" y="10"/>
                  </a:lnTo>
                  <a:lnTo>
                    <a:pt x="289" y="17"/>
                  </a:lnTo>
                  <a:lnTo>
                    <a:pt x="306" y="26"/>
                  </a:lnTo>
                  <a:lnTo>
                    <a:pt x="324" y="36"/>
                  </a:lnTo>
                  <a:lnTo>
                    <a:pt x="339" y="48"/>
                  </a:lnTo>
                  <a:lnTo>
                    <a:pt x="355" y="61"/>
                  </a:lnTo>
                  <a:lnTo>
                    <a:pt x="368" y="75"/>
                  </a:lnTo>
                  <a:lnTo>
                    <a:pt x="379" y="93"/>
                  </a:lnTo>
                  <a:lnTo>
                    <a:pt x="391" y="110"/>
                  </a:lnTo>
                  <a:lnTo>
                    <a:pt x="400" y="128"/>
                  </a:lnTo>
                  <a:lnTo>
                    <a:pt x="407" y="147"/>
                  </a:lnTo>
                  <a:lnTo>
                    <a:pt x="411" y="167"/>
                  </a:lnTo>
                  <a:lnTo>
                    <a:pt x="414" y="188"/>
                  </a:lnTo>
                  <a:lnTo>
                    <a:pt x="415" y="209"/>
                  </a:lnTo>
                  <a:lnTo>
                    <a:pt x="415" y="20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02" name="Line 24"/>
            <p:cNvSpPr>
              <a:spLocks noChangeShapeType="1"/>
            </p:cNvSpPr>
            <p:nvPr userDrawn="1"/>
          </p:nvSpPr>
          <p:spPr bwMode="auto">
            <a:xfrm>
              <a:off x="5664" y="742"/>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pic>
          <p:nvPicPr>
            <p:cNvPr id="103" name="Picture 25"/>
            <p:cNvPicPr>
              <a:picLocks noChangeAspect="1" noChangeArrowheads="1"/>
            </p:cNvPicPr>
            <p:nvPr userDrawn="1"/>
          </p:nvPicPr>
          <p:blipFill>
            <a:blip r:embed="rId8" cstate="hqprint">
              <a:extLst>
                <a:ext uri="{28A0092B-C50C-407E-A947-70E740481C1C}">
                  <a14:useLocalDpi xmlns:a14="http://schemas.microsoft.com/office/drawing/2010/main" val="0"/>
                </a:ext>
              </a:extLst>
            </a:blip>
            <a:srcRect/>
            <a:stretch>
              <a:fillRect/>
            </a:stretch>
          </p:blipFill>
          <p:spPr bwMode="auto">
            <a:xfrm>
              <a:off x="5478" y="637"/>
              <a:ext cx="282" cy="2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4" name="Freeform 26"/>
            <p:cNvSpPr>
              <a:spLocks noEditPoints="1"/>
            </p:cNvSpPr>
            <p:nvPr userDrawn="1"/>
          </p:nvSpPr>
          <p:spPr bwMode="auto">
            <a:xfrm>
              <a:off x="5563" y="717"/>
              <a:ext cx="44" cy="62"/>
            </a:xfrm>
            <a:custGeom>
              <a:avLst/>
              <a:gdLst>
                <a:gd name="T0" fmla="*/ 6 w 133"/>
                <a:gd name="T1" fmla="*/ 187 h 187"/>
                <a:gd name="T2" fmla="*/ 1 w 133"/>
                <a:gd name="T3" fmla="*/ 179 h 187"/>
                <a:gd name="T4" fmla="*/ 1 w 133"/>
                <a:gd name="T5" fmla="*/ 151 h 187"/>
                <a:gd name="T6" fmla="*/ 6 w 133"/>
                <a:gd name="T7" fmla="*/ 143 h 187"/>
                <a:gd name="T8" fmla="*/ 61 w 133"/>
                <a:gd name="T9" fmla="*/ 144 h 187"/>
                <a:gd name="T10" fmla="*/ 73 w 133"/>
                <a:gd name="T11" fmla="*/ 144 h 187"/>
                <a:gd name="T12" fmla="*/ 87 w 133"/>
                <a:gd name="T13" fmla="*/ 143 h 187"/>
                <a:gd name="T14" fmla="*/ 91 w 133"/>
                <a:gd name="T15" fmla="*/ 136 h 187"/>
                <a:gd name="T16" fmla="*/ 93 w 133"/>
                <a:gd name="T17" fmla="*/ 130 h 187"/>
                <a:gd name="T18" fmla="*/ 90 w 133"/>
                <a:gd name="T19" fmla="*/ 124 h 187"/>
                <a:gd name="T20" fmla="*/ 66 w 133"/>
                <a:gd name="T21" fmla="*/ 114 h 187"/>
                <a:gd name="T22" fmla="*/ 51 w 133"/>
                <a:gd name="T23" fmla="*/ 107 h 187"/>
                <a:gd name="T24" fmla="*/ 30 w 133"/>
                <a:gd name="T25" fmla="*/ 96 h 187"/>
                <a:gd name="T26" fmla="*/ 17 w 133"/>
                <a:gd name="T27" fmla="*/ 83 h 187"/>
                <a:gd name="T28" fmla="*/ 11 w 133"/>
                <a:gd name="T29" fmla="*/ 76 h 187"/>
                <a:gd name="T30" fmla="*/ 7 w 133"/>
                <a:gd name="T31" fmla="*/ 60 h 187"/>
                <a:gd name="T32" fmla="*/ 6 w 133"/>
                <a:gd name="T33" fmla="*/ 52 h 187"/>
                <a:gd name="T34" fmla="*/ 10 w 133"/>
                <a:gd name="T35" fmla="*/ 27 h 187"/>
                <a:gd name="T36" fmla="*/ 24 w 133"/>
                <a:gd name="T37" fmla="*/ 10 h 187"/>
                <a:gd name="T38" fmla="*/ 28 w 133"/>
                <a:gd name="T39" fmla="*/ 8 h 187"/>
                <a:gd name="T40" fmla="*/ 44 w 133"/>
                <a:gd name="T41" fmla="*/ 2 h 187"/>
                <a:gd name="T42" fmla="*/ 73 w 133"/>
                <a:gd name="T43" fmla="*/ 0 h 187"/>
                <a:gd name="T44" fmla="*/ 121 w 133"/>
                <a:gd name="T45" fmla="*/ 0 h 187"/>
                <a:gd name="T46" fmla="*/ 126 w 133"/>
                <a:gd name="T47" fmla="*/ 9 h 187"/>
                <a:gd name="T48" fmla="*/ 126 w 133"/>
                <a:gd name="T49" fmla="*/ 33 h 187"/>
                <a:gd name="T50" fmla="*/ 121 w 133"/>
                <a:gd name="T51" fmla="*/ 42 h 187"/>
                <a:gd name="T52" fmla="*/ 79 w 133"/>
                <a:gd name="T53" fmla="*/ 42 h 187"/>
                <a:gd name="T54" fmla="*/ 54 w 133"/>
                <a:gd name="T55" fmla="*/ 43 h 187"/>
                <a:gd name="T56" fmla="*/ 47 w 133"/>
                <a:gd name="T57" fmla="*/ 46 h 187"/>
                <a:gd name="T58" fmla="*/ 44 w 133"/>
                <a:gd name="T59" fmla="*/ 53 h 187"/>
                <a:gd name="T60" fmla="*/ 46 w 133"/>
                <a:gd name="T61" fmla="*/ 59 h 187"/>
                <a:gd name="T62" fmla="*/ 57 w 133"/>
                <a:gd name="T63" fmla="*/ 69 h 187"/>
                <a:gd name="T64" fmla="*/ 79 w 133"/>
                <a:gd name="T65" fmla="*/ 79 h 187"/>
                <a:gd name="T66" fmla="*/ 86 w 133"/>
                <a:gd name="T67" fmla="*/ 80 h 187"/>
                <a:gd name="T68" fmla="*/ 116 w 133"/>
                <a:gd name="T69" fmla="*/ 93 h 187"/>
                <a:gd name="T70" fmla="*/ 121 w 133"/>
                <a:gd name="T71" fmla="*/ 99 h 187"/>
                <a:gd name="T72" fmla="*/ 130 w 133"/>
                <a:gd name="T73" fmla="*/ 113 h 187"/>
                <a:gd name="T74" fmla="*/ 133 w 133"/>
                <a:gd name="T75" fmla="*/ 132 h 187"/>
                <a:gd name="T76" fmla="*/ 131 w 133"/>
                <a:gd name="T77" fmla="*/ 143 h 187"/>
                <a:gd name="T78" fmla="*/ 123 w 133"/>
                <a:gd name="T79" fmla="*/ 164 h 187"/>
                <a:gd name="T80" fmla="*/ 114 w 133"/>
                <a:gd name="T81" fmla="*/ 173 h 187"/>
                <a:gd name="T82" fmla="*/ 94 w 133"/>
                <a:gd name="T83" fmla="*/ 184 h 187"/>
                <a:gd name="T84" fmla="*/ 69 w 133"/>
                <a:gd name="T85" fmla="*/ 187 h 187"/>
                <a:gd name="T86" fmla="*/ 6 w 133"/>
                <a:gd name="T87"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3" h="187">
                  <a:moveTo>
                    <a:pt x="6" y="187"/>
                  </a:moveTo>
                  <a:lnTo>
                    <a:pt x="6" y="187"/>
                  </a:lnTo>
                  <a:lnTo>
                    <a:pt x="3" y="184"/>
                  </a:lnTo>
                  <a:lnTo>
                    <a:pt x="1" y="179"/>
                  </a:lnTo>
                  <a:lnTo>
                    <a:pt x="0" y="166"/>
                  </a:lnTo>
                  <a:lnTo>
                    <a:pt x="1" y="151"/>
                  </a:lnTo>
                  <a:lnTo>
                    <a:pt x="3" y="147"/>
                  </a:lnTo>
                  <a:lnTo>
                    <a:pt x="6" y="143"/>
                  </a:lnTo>
                  <a:lnTo>
                    <a:pt x="6" y="143"/>
                  </a:lnTo>
                  <a:lnTo>
                    <a:pt x="61" y="144"/>
                  </a:lnTo>
                  <a:lnTo>
                    <a:pt x="61" y="144"/>
                  </a:lnTo>
                  <a:lnTo>
                    <a:pt x="73" y="144"/>
                  </a:lnTo>
                  <a:lnTo>
                    <a:pt x="83" y="144"/>
                  </a:lnTo>
                  <a:lnTo>
                    <a:pt x="87" y="143"/>
                  </a:lnTo>
                  <a:lnTo>
                    <a:pt x="90" y="140"/>
                  </a:lnTo>
                  <a:lnTo>
                    <a:pt x="91" y="136"/>
                  </a:lnTo>
                  <a:lnTo>
                    <a:pt x="93" y="130"/>
                  </a:lnTo>
                  <a:lnTo>
                    <a:pt x="93" y="130"/>
                  </a:lnTo>
                  <a:lnTo>
                    <a:pt x="91" y="127"/>
                  </a:lnTo>
                  <a:lnTo>
                    <a:pt x="90" y="124"/>
                  </a:lnTo>
                  <a:lnTo>
                    <a:pt x="84" y="122"/>
                  </a:lnTo>
                  <a:lnTo>
                    <a:pt x="66" y="114"/>
                  </a:lnTo>
                  <a:lnTo>
                    <a:pt x="51" y="107"/>
                  </a:lnTo>
                  <a:lnTo>
                    <a:pt x="51" y="107"/>
                  </a:lnTo>
                  <a:lnTo>
                    <a:pt x="40" y="102"/>
                  </a:lnTo>
                  <a:lnTo>
                    <a:pt x="30" y="96"/>
                  </a:lnTo>
                  <a:lnTo>
                    <a:pt x="23" y="89"/>
                  </a:lnTo>
                  <a:lnTo>
                    <a:pt x="17" y="83"/>
                  </a:lnTo>
                  <a:lnTo>
                    <a:pt x="17" y="83"/>
                  </a:lnTo>
                  <a:lnTo>
                    <a:pt x="11" y="76"/>
                  </a:lnTo>
                  <a:lnTo>
                    <a:pt x="8" y="69"/>
                  </a:lnTo>
                  <a:lnTo>
                    <a:pt x="7" y="60"/>
                  </a:lnTo>
                  <a:lnTo>
                    <a:pt x="6" y="52"/>
                  </a:lnTo>
                  <a:lnTo>
                    <a:pt x="6" y="52"/>
                  </a:lnTo>
                  <a:lnTo>
                    <a:pt x="7" y="39"/>
                  </a:lnTo>
                  <a:lnTo>
                    <a:pt x="10" y="27"/>
                  </a:lnTo>
                  <a:lnTo>
                    <a:pt x="16" y="19"/>
                  </a:lnTo>
                  <a:lnTo>
                    <a:pt x="24" y="10"/>
                  </a:lnTo>
                  <a:lnTo>
                    <a:pt x="24" y="10"/>
                  </a:lnTo>
                  <a:lnTo>
                    <a:pt x="28" y="8"/>
                  </a:lnTo>
                  <a:lnTo>
                    <a:pt x="33" y="5"/>
                  </a:lnTo>
                  <a:lnTo>
                    <a:pt x="44" y="2"/>
                  </a:lnTo>
                  <a:lnTo>
                    <a:pt x="58" y="0"/>
                  </a:lnTo>
                  <a:lnTo>
                    <a:pt x="73" y="0"/>
                  </a:lnTo>
                  <a:lnTo>
                    <a:pt x="121" y="0"/>
                  </a:lnTo>
                  <a:lnTo>
                    <a:pt x="121" y="0"/>
                  </a:lnTo>
                  <a:lnTo>
                    <a:pt x="124" y="3"/>
                  </a:lnTo>
                  <a:lnTo>
                    <a:pt x="126" y="9"/>
                  </a:lnTo>
                  <a:lnTo>
                    <a:pt x="127" y="20"/>
                  </a:lnTo>
                  <a:lnTo>
                    <a:pt x="126" y="33"/>
                  </a:lnTo>
                  <a:lnTo>
                    <a:pt x="124" y="39"/>
                  </a:lnTo>
                  <a:lnTo>
                    <a:pt x="121" y="42"/>
                  </a:lnTo>
                  <a:lnTo>
                    <a:pt x="79" y="42"/>
                  </a:lnTo>
                  <a:lnTo>
                    <a:pt x="79" y="42"/>
                  </a:lnTo>
                  <a:lnTo>
                    <a:pt x="66" y="42"/>
                  </a:lnTo>
                  <a:lnTo>
                    <a:pt x="54" y="43"/>
                  </a:lnTo>
                  <a:lnTo>
                    <a:pt x="50" y="45"/>
                  </a:lnTo>
                  <a:lnTo>
                    <a:pt x="47" y="46"/>
                  </a:lnTo>
                  <a:lnTo>
                    <a:pt x="46" y="49"/>
                  </a:lnTo>
                  <a:lnTo>
                    <a:pt x="44" y="53"/>
                  </a:lnTo>
                  <a:lnTo>
                    <a:pt x="44" y="53"/>
                  </a:lnTo>
                  <a:lnTo>
                    <a:pt x="46" y="59"/>
                  </a:lnTo>
                  <a:lnTo>
                    <a:pt x="51" y="63"/>
                  </a:lnTo>
                  <a:lnTo>
                    <a:pt x="57" y="69"/>
                  </a:lnTo>
                  <a:lnTo>
                    <a:pt x="64" y="72"/>
                  </a:lnTo>
                  <a:lnTo>
                    <a:pt x="79" y="79"/>
                  </a:lnTo>
                  <a:lnTo>
                    <a:pt x="86" y="80"/>
                  </a:lnTo>
                  <a:lnTo>
                    <a:pt x="86" y="80"/>
                  </a:lnTo>
                  <a:lnTo>
                    <a:pt x="109" y="89"/>
                  </a:lnTo>
                  <a:lnTo>
                    <a:pt x="116" y="93"/>
                  </a:lnTo>
                  <a:lnTo>
                    <a:pt x="121" y="99"/>
                  </a:lnTo>
                  <a:lnTo>
                    <a:pt x="121" y="99"/>
                  </a:lnTo>
                  <a:lnTo>
                    <a:pt x="127" y="104"/>
                  </a:lnTo>
                  <a:lnTo>
                    <a:pt x="130" y="113"/>
                  </a:lnTo>
                  <a:lnTo>
                    <a:pt x="133" y="122"/>
                  </a:lnTo>
                  <a:lnTo>
                    <a:pt x="133" y="132"/>
                  </a:lnTo>
                  <a:lnTo>
                    <a:pt x="133" y="132"/>
                  </a:lnTo>
                  <a:lnTo>
                    <a:pt x="131" y="143"/>
                  </a:lnTo>
                  <a:lnTo>
                    <a:pt x="129" y="154"/>
                  </a:lnTo>
                  <a:lnTo>
                    <a:pt x="123" y="164"/>
                  </a:lnTo>
                  <a:lnTo>
                    <a:pt x="114" y="173"/>
                  </a:lnTo>
                  <a:lnTo>
                    <a:pt x="114" y="173"/>
                  </a:lnTo>
                  <a:lnTo>
                    <a:pt x="104" y="180"/>
                  </a:lnTo>
                  <a:lnTo>
                    <a:pt x="94" y="184"/>
                  </a:lnTo>
                  <a:lnTo>
                    <a:pt x="83" y="187"/>
                  </a:lnTo>
                  <a:lnTo>
                    <a:pt x="69" y="187"/>
                  </a:lnTo>
                  <a:lnTo>
                    <a:pt x="6" y="187"/>
                  </a:lnTo>
                  <a:close/>
                  <a:moveTo>
                    <a:pt x="6" y="187"/>
                  </a:moveTo>
                  <a:lnTo>
                    <a:pt x="6" y="18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05" name="Freeform 27"/>
            <p:cNvSpPr>
              <a:spLocks/>
            </p:cNvSpPr>
            <p:nvPr userDrawn="1"/>
          </p:nvSpPr>
          <p:spPr bwMode="auto">
            <a:xfrm>
              <a:off x="5563" y="717"/>
              <a:ext cx="44" cy="62"/>
            </a:xfrm>
            <a:custGeom>
              <a:avLst/>
              <a:gdLst>
                <a:gd name="T0" fmla="*/ 6 w 133"/>
                <a:gd name="T1" fmla="*/ 187 h 187"/>
                <a:gd name="T2" fmla="*/ 1 w 133"/>
                <a:gd name="T3" fmla="*/ 179 h 187"/>
                <a:gd name="T4" fmla="*/ 1 w 133"/>
                <a:gd name="T5" fmla="*/ 151 h 187"/>
                <a:gd name="T6" fmla="*/ 6 w 133"/>
                <a:gd name="T7" fmla="*/ 143 h 187"/>
                <a:gd name="T8" fmla="*/ 61 w 133"/>
                <a:gd name="T9" fmla="*/ 144 h 187"/>
                <a:gd name="T10" fmla="*/ 73 w 133"/>
                <a:gd name="T11" fmla="*/ 144 h 187"/>
                <a:gd name="T12" fmla="*/ 87 w 133"/>
                <a:gd name="T13" fmla="*/ 143 h 187"/>
                <a:gd name="T14" fmla="*/ 91 w 133"/>
                <a:gd name="T15" fmla="*/ 136 h 187"/>
                <a:gd name="T16" fmla="*/ 93 w 133"/>
                <a:gd name="T17" fmla="*/ 130 h 187"/>
                <a:gd name="T18" fmla="*/ 90 w 133"/>
                <a:gd name="T19" fmla="*/ 124 h 187"/>
                <a:gd name="T20" fmla="*/ 66 w 133"/>
                <a:gd name="T21" fmla="*/ 114 h 187"/>
                <a:gd name="T22" fmla="*/ 51 w 133"/>
                <a:gd name="T23" fmla="*/ 107 h 187"/>
                <a:gd name="T24" fmla="*/ 30 w 133"/>
                <a:gd name="T25" fmla="*/ 96 h 187"/>
                <a:gd name="T26" fmla="*/ 17 w 133"/>
                <a:gd name="T27" fmla="*/ 83 h 187"/>
                <a:gd name="T28" fmla="*/ 11 w 133"/>
                <a:gd name="T29" fmla="*/ 76 h 187"/>
                <a:gd name="T30" fmla="*/ 7 w 133"/>
                <a:gd name="T31" fmla="*/ 60 h 187"/>
                <a:gd name="T32" fmla="*/ 6 w 133"/>
                <a:gd name="T33" fmla="*/ 52 h 187"/>
                <a:gd name="T34" fmla="*/ 10 w 133"/>
                <a:gd name="T35" fmla="*/ 27 h 187"/>
                <a:gd name="T36" fmla="*/ 24 w 133"/>
                <a:gd name="T37" fmla="*/ 10 h 187"/>
                <a:gd name="T38" fmla="*/ 28 w 133"/>
                <a:gd name="T39" fmla="*/ 8 h 187"/>
                <a:gd name="T40" fmla="*/ 44 w 133"/>
                <a:gd name="T41" fmla="*/ 2 h 187"/>
                <a:gd name="T42" fmla="*/ 73 w 133"/>
                <a:gd name="T43" fmla="*/ 0 h 187"/>
                <a:gd name="T44" fmla="*/ 121 w 133"/>
                <a:gd name="T45" fmla="*/ 0 h 187"/>
                <a:gd name="T46" fmla="*/ 126 w 133"/>
                <a:gd name="T47" fmla="*/ 9 h 187"/>
                <a:gd name="T48" fmla="*/ 126 w 133"/>
                <a:gd name="T49" fmla="*/ 33 h 187"/>
                <a:gd name="T50" fmla="*/ 121 w 133"/>
                <a:gd name="T51" fmla="*/ 42 h 187"/>
                <a:gd name="T52" fmla="*/ 79 w 133"/>
                <a:gd name="T53" fmla="*/ 42 h 187"/>
                <a:gd name="T54" fmla="*/ 54 w 133"/>
                <a:gd name="T55" fmla="*/ 43 h 187"/>
                <a:gd name="T56" fmla="*/ 47 w 133"/>
                <a:gd name="T57" fmla="*/ 46 h 187"/>
                <a:gd name="T58" fmla="*/ 44 w 133"/>
                <a:gd name="T59" fmla="*/ 53 h 187"/>
                <a:gd name="T60" fmla="*/ 46 w 133"/>
                <a:gd name="T61" fmla="*/ 59 h 187"/>
                <a:gd name="T62" fmla="*/ 57 w 133"/>
                <a:gd name="T63" fmla="*/ 69 h 187"/>
                <a:gd name="T64" fmla="*/ 79 w 133"/>
                <a:gd name="T65" fmla="*/ 79 h 187"/>
                <a:gd name="T66" fmla="*/ 86 w 133"/>
                <a:gd name="T67" fmla="*/ 80 h 187"/>
                <a:gd name="T68" fmla="*/ 116 w 133"/>
                <a:gd name="T69" fmla="*/ 93 h 187"/>
                <a:gd name="T70" fmla="*/ 121 w 133"/>
                <a:gd name="T71" fmla="*/ 99 h 187"/>
                <a:gd name="T72" fmla="*/ 130 w 133"/>
                <a:gd name="T73" fmla="*/ 113 h 187"/>
                <a:gd name="T74" fmla="*/ 133 w 133"/>
                <a:gd name="T75" fmla="*/ 132 h 187"/>
                <a:gd name="T76" fmla="*/ 131 w 133"/>
                <a:gd name="T77" fmla="*/ 143 h 187"/>
                <a:gd name="T78" fmla="*/ 123 w 133"/>
                <a:gd name="T79" fmla="*/ 164 h 187"/>
                <a:gd name="T80" fmla="*/ 114 w 133"/>
                <a:gd name="T81" fmla="*/ 173 h 187"/>
                <a:gd name="T82" fmla="*/ 94 w 133"/>
                <a:gd name="T83" fmla="*/ 184 h 187"/>
                <a:gd name="T84" fmla="*/ 69 w 133"/>
                <a:gd name="T85"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33" h="187">
                  <a:moveTo>
                    <a:pt x="6" y="187"/>
                  </a:moveTo>
                  <a:lnTo>
                    <a:pt x="6" y="187"/>
                  </a:lnTo>
                  <a:lnTo>
                    <a:pt x="3" y="184"/>
                  </a:lnTo>
                  <a:lnTo>
                    <a:pt x="1" y="179"/>
                  </a:lnTo>
                  <a:lnTo>
                    <a:pt x="0" y="166"/>
                  </a:lnTo>
                  <a:lnTo>
                    <a:pt x="1" y="151"/>
                  </a:lnTo>
                  <a:lnTo>
                    <a:pt x="3" y="147"/>
                  </a:lnTo>
                  <a:lnTo>
                    <a:pt x="6" y="143"/>
                  </a:lnTo>
                  <a:lnTo>
                    <a:pt x="6" y="143"/>
                  </a:lnTo>
                  <a:lnTo>
                    <a:pt x="61" y="144"/>
                  </a:lnTo>
                  <a:lnTo>
                    <a:pt x="61" y="144"/>
                  </a:lnTo>
                  <a:lnTo>
                    <a:pt x="73" y="144"/>
                  </a:lnTo>
                  <a:lnTo>
                    <a:pt x="83" y="144"/>
                  </a:lnTo>
                  <a:lnTo>
                    <a:pt x="87" y="143"/>
                  </a:lnTo>
                  <a:lnTo>
                    <a:pt x="90" y="140"/>
                  </a:lnTo>
                  <a:lnTo>
                    <a:pt x="91" y="136"/>
                  </a:lnTo>
                  <a:lnTo>
                    <a:pt x="93" y="130"/>
                  </a:lnTo>
                  <a:lnTo>
                    <a:pt x="93" y="130"/>
                  </a:lnTo>
                  <a:lnTo>
                    <a:pt x="91" y="127"/>
                  </a:lnTo>
                  <a:lnTo>
                    <a:pt x="90" y="124"/>
                  </a:lnTo>
                  <a:lnTo>
                    <a:pt x="84" y="122"/>
                  </a:lnTo>
                  <a:lnTo>
                    <a:pt x="66" y="114"/>
                  </a:lnTo>
                  <a:lnTo>
                    <a:pt x="51" y="107"/>
                  </a:lnTo>
                  <a:lnTo>
                    <a:pt x="51" y="107"/>
                  </a:lnTo>
                  <a:lnTo>
                    <a:pt x="40" y="102"/>
                  </a:lnTo>
                  <a:lnTo>
                    <a:pt x="30" y="96"/>
                  </a:lnTo>
                  <a:lnTo>
                    <a:pt x="23" y="89"/>
                  </a:lnTo>
                  <a:lnTo>
                    <a:pt x="17" y="83"/>
                  </a:lnTo>
                  <a:lnTo>
                    <a:pt x="17" y="83"/>
                  </a:lnTo>
                  <a:lnTo>
                    <a:pt x="11" y="76"/>
                  </a:lnTo>
                  <a:lnTo>
                    <a:pt x="8" y="69"/>
                  </a:lnTo>
                  <a:lnTo>
                    <a:pt x="7" y="60"/>
                  </a:lnTo>
                  <a:lnTo>
                    <a:pt x="6" y="52"/>
                  </a:lnTo>
                  <a:lnTo>
                    <a:pt x="6" y="52"/>
                  </a:lnTo>
                  <a:lnTo>
                    <a:pt x="7" y="39"/>
                  </a:lnTo>
                  <a:lnTo>
                    <a:pt x="10" y="27"/>
                  </a:lnTo>
                  <a:lnTo>
                    <a:pt x="16" y="19"/>
                  </a:lnTo>
                  <a:lnTo>
                    <a:pt x="24" y="10"/>
                  </a:lnTo>
                  <a:lnTo>
                    <a:pt x="24" y="10"/>
                  </a:lnTo>
                  <a:lnTo>
                    <a:pt x="28" y="8"/>
                  </a:lnTo>
                  <a:lnTo>
                    <a:pt x="33" y="5"/>
                  </a:lnTo>
                  <a:lnTo>
                    <a:pt x="44" y="2"/>
                  </a:lnTo>
                  <a:lnTo>
                    <a:pt x="58" y="0"/>
                  </a:lnTo>
                  <a:lnTo>
                    <a:pt x="73" y="0"/>
                  </a:lnTo>
                  <a:lnTo>
                    <a:pt x="121" y="0"/>
                  </a:lnTo>
                  <a:lnTo>
                    <a:pt x="121" y="0"/>
                  </a:lnTo>
                  <a:lnTo>
                    <a:pt x="124" y="3"/>
                  </a:lnTo>
                  <a:lnTo>
                    <a:pt x="126" y="9"/>
                  </a:lnTo>
                  <a:lnTo>
                    <a:pt x="127" y="20"/>
                  </a:lnTo>
                  <a:lnTo>
                    <a:pt x="126" y="33"/>
                  </a:lnTo>
                  <a:lnTo>
                    <a:pt x="124" y="39"/>
                  </a:lnTo>
                  <a:lnTo>
                    <a:pt x="121" y="42"/>
                  </a:lnTo>
                  <a:lnTo>
                    <a:pt x="79" y="42"/>
                  </a:lnTo>
                  <a:lnTo>
                    <a:pt x="79" y="42"/>
                  </a:lnTo>
                  <a:lnTo>
                    <a:pt x="66" y="42"/>
                  </a:lnTo>
                  <a:lnTo>
                    <a:pt x="54" y="43"/>
                  </a:lnTo>
                  <a:lnTo>
                    <a:pt x="50" y="45"/>
                  </a:lnTo>
                  <a:lnTo>
                    <a:pt x="47" y="46"/>
                  </a:lnTo>
                  <a:lnTo>
                    <a:pt x="46" y="49"/>
                  </a:lnTo>
                  <a:lnTo>
                    <a:pt x="44" y="53"/>
                  </a:lnTo>
                  <a:lnTo>
                    <a:pt x="44" y="53"/>
                  </a:lnTo>
                  <a:lnTo>
                    <a:pt x="46" y="59"/>
                  </a:lnTo>
                  <a:lnTo>
                    <a:pt x="51" y="63"/>
                  </a:lnTo>
                  <a:lnTo>
                    <a:pt x="57" y="69"/>
                  </a:lnTo>
                  <a:lnTo>
                    <a:pt x="64" y="72"/>
                  </a:lnTo>
                  <a:lnTo>
                    <a:pt x="79" y="79"/>
                  </a:lnTo>
                  <a:lnTo>
                    <a:pt x="86" y="80"/>
                  </a:lnTo>
                  <a:lnTo>
                    <a:pt x="86" y="80"/>
                  </a:lnTo>
                  <a:lnTo>
                    <a:pt x="109" y="89"/>
                  </a:lnTo>
                  <a:lnTo>
                    <a:pt x="116" y="93"/>
                  </a:lnTo>
                  <a:lnTo>
                    <a:pt x="121" y="99"/>
                  </a:lnTo>
                  <a:lnTo>
                    <a:pt x="121" y="99"/>
                  </a:lnTo>
                  <a:lnTo>
                    <a:pt x="127" y="104"/>
                  </a:lnTo>
                  <a:lnTo>
                    <a:pt x="130" y="113"/>
                  </a:lnTo>
                  <a:lnTo>
                    <a:pt x="133" y="122"/>
                  </a:lnTo>
                  <a:lnTo>
                    <a:pt x="133" y="132"/>
                  </a:lnTo>
                  <a:lnTo>
                    <a:pt x="133" y="132"/>
                  </a:lnTo>
                  <a:lnTo>
                    <a:pt x="131" y="143"/>
                  </a:lnTo>
                  <a:lnTo>
                    <a:pt x="129" y="154"/>
                  </a:lnTo>
                  <a:lnTo>
                    <a:pt x="123" y="164"/>
                  </a:lnTo>
                  <a:lnTo>
                    <a:pt x="114" y="173"/>
                  </a:lnTo>
                  <a:lnTo>
                    <a:pt x="114" y="173"/>
                  </a:lnTo>
                  <a:lnTo>
                    <a:pt x="104" y="180"/>
                  </a:lnTo>
                  <a:lnTo>
                    <a:pt x="94" y="184"/>
                  </a:lnTo>
                  <a:lnTo>
                    <a:pt x="83" y="187"/>
                  </a:lnTo>
                  <a:lnTo>
                    <a:pt x="69" y="187"/>
                  </a:lnTo>
                  <a:lnTo>
                    <a:pt x="6" y="18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06" name="Line 28"/>
            <p:cNvSpPr>
              <a:spLocks noChangeShapeType="1"/>
            </p:cNvSpPr>
            <p:nvPr userDrawn="1"/>
          </p:nvSpPr>
          <p:spPr bwMode="auto">
            <a:xfrm>
              <a:off x="5565" y="779"/>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07" name="Freeform 29"/>
            <p:cNvSpPr>
              <a:spLocks noEditPoints="1"/>
            </p:cNvSpPr>
            <p:nvPr userDrawn="1"/>
          </p:nvSpPr>
          <p:spPr bwMode="auto">
            <a:xfrm>
              <a:off x="5671" y="717"/>
              <a:ext cx="80" cy="63"/>
            </a:xfrm>
            <a:custGeom>
              <a:avLst/>
              <a:gdLst>
                <a:gd name="T0" fmla="*/ 0 w 242"/>
                <a:gd name="T1" fmla="*/ 0 h 191"/>
                <a:gd name="T2" fmla="*/ 198 w 242"/>
                <a:gd name="T3" fmla="*/ 0 h 191"/>
                <a:gd name="T4" fmla="*/ 218 w 242"/>
                <a:gd name="T5" fmla="*/ 3 h 191"/>
                <a:gd name="T6" fmla="*/ 231 w 242"/>
                <a:gd name="T7" fmla="*/ 12 h 191"/>
                <a:gd name="T8" fmla="*/ 239 w 242"/>
                <a:gd name="T9" fmla="*/ 27 h 191"/>
                <a:gd name="T10" fmla="*/ 242 w 242"/>
                <a:gd name="T11" fmla="*/ 52 h 191"/>
                <a:gd name="T12" fmla="*/ 242 w 242"/>
                <a:gd name="T13" fmla="*/ 186 h 191"/>
                <a:gd name="T14" fmla="*/ 234 w 242"/>
                <a:gd name="T15" fmla="*/ 190 h 191"/>
                <a:gd name="T16" fmla="*/ 221 w 242"/>
                <a:gd name="T17" fmla="*/ 191 h 191"/>
                <a:gd name="T18" fmla="*/ 209 w 242"/>
                <a:gd name="T19" fmla="*/ 190 h 191"/>
                <a:gd name="T20" fmla="*/ 201 w 242"/>
                <a:gd name="T21" fmla="*/ 186 h 191"/>
                <a:gd name="T22" fmla="*/ 201 w 242"/>
                <a:gd name="T23" fmla="*/ 66 h 191"/>
                <a:gd name="T24" fmla="*/ 198 w 242"/>
                <a:gd name="T25" fmla="*/ 55 h 191"/>
                <a:gd name="T26" fmla="*/ 191 w 242"/>
                <a:gd name="T27" fmla="*/ 46 h 191"/>
                <a:gd name="T28" fmla="*/ 182 w 242"/>
                <a:gd name="T29" fmla="*/ 42 h 191"/>
                <a:gd name="T30" fmla="*/ 161 w 242"/>
                <a:gd name="T31" fmla="*/ 40 h 191"/>
                <a:gd name="T32" fmla="*/ 142 w 242"/>
                <a:gd name="T33" fmla="*/ 43 h 191"/>
                <a:gd name="T34" fmla="*/ 142 w 242"/>
                <a:gd name="T35" fmla="*/ 186 h 191"/>
                <a:gd name="T36" fmla="*/ 133 w 242"/>
                <a:gd name="T37" fmla="*/ 190 h 191"/>
                <a:gd name="T38" fmla="*/ 122 w 242"/>
                <a:gd name="T39" fmla="*/ 191 h 191"/>
                <a:gd name="T40" fmla="*/ 109 w 242"/>
                <a:gd name="T41" fmla="*/ 190 h 191"/>
                <a:gd name="T42" fmla="*/ 101 w 242"/>
                <a:gd name="T43" fmla="*/ 186 h 191"/>
                <a:gd name="T44" fmla="*/ 101 w 242"/>
                <a:gd name="T45" fmla="*/ 67 h 191"/>
                <a:gd name="T46" fmla="*/ 98 w 242"/>
                <a:gd name="T47" fmla="*/ 55 h 191"/>
                <a:gd name="T48" fmla="*/ 92 w 242"/>
                <a:gd name="T49" fmla="*/ 46 h 191"/>
                <a:gd name="T50" fmla="*/ 82 w 242"/>
                <a:gd name="T51" fmla="*/ 42 h 191"/>
                <a:gd name="T52" fmla="*/ 60 w 242"/>
                <a:gd name="T53" fmla="*/ 40 h 191"/>
                <a:gd name="T54" fmla="*/ 43 w 242"/>
                <a:gd name="T55" fmla="*/ 43 h 191"/>
                <a:gd name="T56" fmla="*/ 43 w 242"/>
                <a:gd name="T57" fmla="*/ 186 h 191"/>
                <a:gd name="T58" fmla="*/ 33 w 242"/>
                <a:gd name="T59" fmla="*/ 190 h 191"/>
                <a:gd name="T60" fmla="*/ 22 w 242"/>
                <a:gd name="T61" fmla="*/ 191 h 191"/>
                <a:gd name="T62" fmla="*/ 9 w 242"/>
                <a:gd name="T63" fmla="*/ 190 h 191"/>
                <a:gd name="T64" fmla="*/ 0 w 242"/>
                <a:gd name="T65" fmla="*/ 186 h 191"/>
                <a:gd name="T66" fmla="*/ 0 w 242"/>
                <a:gd name="T67" fmla="*/ 186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42" h="191">
                  <a:moveTo>
                    <a:pt x="0" y="186"/>
                  </a:moveTo>
                  <a:lnTo>
                    <a:pt x="0" y="0"/>
                  </a:lnTo>
                  <a:lnTo>
                    <a:pt x="198" y="0"/>
                  </a:lnTo>
                  <a:lnTo>
                    <a:pt x="198" y="0"/>
                  </a:lnTo>
                  <a:lnTo>
                    <a:pt x="208" y="0"/>
                  </a:lnTo>
                  <a:lnTo>
                    <a:pt x="218" y="3"/>
                  </a:lnTo>
                  <a:lnTo>
                    <a:pt x="225" y="6"/>
                  </a:lnTo>
                  <a:lnTo>
                    <a:pt x="231" y="12"/>
                  </a:lnTo>
                  <a:lnTo>
                    <a:pt x="237" y="19"/>
                  </a:lnTo>
                  <a:lnTo>
                    <a:pt x="239" y="27"/>
                  </a:lnTo>
                  <a:lnTo>
                    <a:pt x="242" y="39"/>
                  </a:lnTo>
                  <a:lnTo>
                    <a:pt x="242" y="52"/>
                  </a:lnTo>
                  <a:lnTo>
                    <a:pt x="242" y="186"/>
                  </a:lnTo>
                  <a:lnTo>
                    <a:pt x="242" y="186"/>
                  </a:lnTo>
                  <a:lnTo>
                    <a:pt x="239" y="189"/>
                  </a:lnTo>
                  <a:lnTo>
                    <a:pt x="234" y="190"/>
                  </a:lnTo>
                  <a:lnTo>
                    <a:pt x="228" y="191"/>
                  </a:lnTo>
                  <a:lnTo>
                    <a:pt x="221" y="191"/>
                  </a:lnTo>
                  <a:lnTo>
                    <a:pt x="215" y="191"/>
                  </a:lnTo>
                  <a:lnTo>
                    <a:pt x="209" y="190"/>
                  </a:lnTo>
                  <a:lnTo>
                    <a:pt x="204" y="189"/>
                  </a:lnTo>
                  <a:lnTo>
                    <a:pt x="201" y="186"/>
                  </a:lnTo>
                  <a:lnTo>
                    <a:pt x="201" y="66"/>
                  </a:lnTo>
                  <a:lnTo>
                    <a:pt x="201" y="66"/>
                  </a:lnTo>
                  <a:lnTo>
                    <a:pt x="199" y="60"/>
                  </a:lnTo>
                  <a:lnTo>
                    <a:pt x="198" y="55"/>
                  </a:lnTo>
                  <a:lnTo>
                    <a:pt x="195" y="50"/>
                  </a:lnTo>
                  <a:lnTo>
                    <a:pt x="191" y="46"/>
                  </a:lnTo>
                  <a:lnTo>
                    <a:pt x="186" y="43"/>
                  </a:lnTo>
                  <a:lnTo>
                    <a:pt x="182" y="42"/>
                  </a:lnTo>
                  <a:lnTo>
                    <a:pt x="171" y="40"/>
                  </a:lnTo>
                  <a:lnTo>
                    <a:pt x="161" y="40"/>
                  </a:lnTo>
                  <a:lnTo>
                    <a:pt x="152" y="40"/>
                  </a:lnTo>
                  <a:lnTo>
                    <a:pt x="142" y="43"/>
                  </a:lnTo>
                  <a:lnTo>
                    <a:pt x="142" y="186"/>
                  </a:lnTo>
                  <a:lnTo>
                    <a:pt x="142" y="186"/>
                  </a:lnTo>
                  <a:lnTo>
                    <a:pt x="139" y="189"/>
                  </a:lnTo>
                  <a:lnTo>
                    <a:pt x="133" y="190"/>
                  </a:lnTo>
                  <a:lnTo>
                    <a:pt x="128" y="191"/>
                  </a:lnTo>
                  <a:lnTo>
                    <a:pt x="122" y="191"/>
                  </a:lnTo>
                  <a:lnTo>
                    <a:pt x="115" y="191"/>
                  </a:lnTo>
                  <a:lnTo>
                    <a:pt x="109" y="190"/>
                  </a:lnTo>
                  <a:lnTo>
                    <a:pt x="103" y="189"/>
                  </a:lnTo>
                  <a:lnTo>
                    <a:pt x="101" y="186"/>
                  </a:lnTo>
                  <a:lnTo>
                    <a:pt x="101" y="67"/>
                  </a:lnTo>
                  <a:lnTo>
                    <a:pt x="101" y="67"/>
                  </a:lnTo>
                  <a:lnTo>
                    <a:pt x="99" y="60"/>
                  </a:lnTo>
                  <a:lnTo>
                    <a:pt x="98" y="55"/>
                  </a:lnTo>
                  <a:lnTo>
                    <a:pt x="95" y="50"/>
                  </a:lnTo>
                  <a:lnTo>
                    <a:pt x="92" y="46"/>
                  </a:lnTo>
                  <a:lnTo>
                    <a:pt x="88" y="43"/>
                  </a:lnTo>
                  <a:lnTo>
                    <a:pt x="82" y="42"/>
                  </a:lnTo>
                  <a:lnTo>
                    <a:pt x="72" y="40"/>
                  </a:lnTo>
                  <a:lnTo>
                    <a:pt x="60" y="40"/>
                  </a:lnTo>
                  <a:lnTo>
                    <a:pt x="52" y="40"/>
                  </a:lnTo>
                  <a:lnTo>
                    <a:pt x="43" y="43"/>
                  </a:lnTo>
                  <a:lnTo>
                    <a:pt x="43" y="186"/>
                  </a:lnTo>
                  <a:lnTo>
                    <a:pt x="43" y="186"/>
                  </a:lnTo>
                  <a:lnTo>
                    <a:pt x="39" y="189"/>
                  </a:lnTo>
                  <a:lnTo>
                    <a:pt x="33" y="190"/>
                  </a:lnTo>
                  <a:lnTo>
                    <a:pt x="28" y="191"/>
                  </a:lnTo>
                  <a:lnTo>
                    <a:pt x="22" y="191"/>
                  </a:lnTo>
                  <a:lnTo>
                    <a:pt x="15" y="191"/>
                  </a:lnTo>
                  <a:lnTo>
                    <a:pt x="9" y="190"/>
                  </a:lnTo>
                  <a:lnTo>
                    <a:pt x="5" y="189"/>
                  </a:lnTo>
                  <a:lnTo>
                    <a:pt x="0" y="186"/>
                  </a:lnTo>
                  <a:lnTo>
                    <a:pt x="0" y="186"/>
                  </a:lnTo>
                  <a:close/>
                  <a:moveTo>
                    <a:pt x="0" y="186"/>
                  </a:moveTo>
                  <a:lnTo>
                    <a:pt x="0" y="18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08" name="Freeform 30"/>
            <p:cNvSpPr>
              <a:spLocks/>
            </p:cNvSpPr>
            <p:nvPr userDrawn="1"/>
          </p:nvSpPr>
          <p:spPr bwMode="auto">
            <a:xfrm>
              <a:off x="5671" y="717"/>
              <a:ext cx="80" cy="63"/>
            </a:xfrm>
            <a:custGeom>
              <a:avLst/>
              <a:gdLst>
                <a:gd name="T0" fmla="*/ 0 w 242"/>
                <a:gd name="T1" fmla="*/ 0 h 191"/>
                <a:gd name="T2" fmla="*/ 198 w 242"/>
                <a:gd name="T3" fmla="*/ 0 h 191"/>
                <a:gd name="T4" fmla="*/ 218 w 242"/>
                <a:gd name="T5" fmla="*/ 3 h 191"/>
                <a:gd name="T6" fmla="*/ 231 w 242"/>
                <a:gd name="T7" fmla="*/ 12 h 191"/>
                <a:gd name="T8" fmla="*/ 239 w 242"/>
                <a:gd name="T9" fmla="*/ 27 h 191"/>
                <a:gd name="T10" fmla="*/ 242 w 242"/>
                <a:gd name="T11" fmla="*/ 52 h 191"/>
                <a:gd name="T12" fmla="*/ 242 w 242"/>
                <a:gd name="T13" fmla="*/ 186 h 191"/>
                <a:gd name="T14" fmla="*/ 234 w 242"/>
                <a:gd name="T15" fmla="*/ 190 h 191"/>
                <a:gd name="T16" fmla="*/ 221 w 242"/>
                <a:gd name="T17" fmla="*/ 191 h 191"/>
                <a:gd name="T18" fmla="*/ 209 w 242"/>
                <a:gd name="T19" fmla="*/ 190 h 191"/>
                <a:gd name="T20" fmla="*/ 201 w 242"/>
                <a:gd name="T21" fmla="*/ 186 h 191"/>
                <a:gd name="T22" fmla="*/ 201 w 242"/>
                <a:gd name="T23" fmla="*/ 66 h 191"/>
                <a:gd name="T24" fmla="*/ 198 w 242"/>
                <a:gd name="T25" fmla="*/ 55 h 191"/>
                <a:gd name="T26" fmla="*/ 191 w 242"/>
                <a:gd name="T27" fmla="*/ 46 h 191"/>
                <a:gd name="T28" fmla="*/ 182 w 242"/>
                <a:gd name="T29" fmla="*/ 42 h 191"/>
                <a:gd name="T30" fmla="*/ 161 w 242"/>
                <a:gd name="T31" fmla="*/ 40 h 191"/>
                <a:gd name="T32" fmla="*/ 142 w 242"/>
                <a:gd name="T33" fmla="*/ 43 h 191"/>
                <a:gd name="T34" fmla="*/ 142 w 242"/>
                <a:gd name="T35" fmla="*/ 186 h 191"/>
                <a:gd name="T36" fmla="*/ 133 w 242"/>
                <a:gd name="T37" fmla="*/ 190 h 191"/>
                <a:gd name="T38" fmla="*/ 122 w 242"/>
                <a:gd name="T39" fmla="*/ 191 h 191"/>
                <a:gd name="T40" fmla="*/ 109 w 242"/>
                <a:gd name="T41" fmla="*/ 190 h 191"/>
                <a:gd name="T42" fmla="*/ 101 w 242"/>
                <a:gd name="T43" fmla="*/ 186 h 191"/>
                <a:gd name="T44" fmla="*/ 101 w 242"/>
                <a:gd name="T45" fmla="*/ 67 h 191"/>
                <a:gd name="T46" fmla="*/ 98 w 242"/>
                <a:gd name="T47" fmla="*/ 55 h 191"/>
                <a:gd name="T48" fmla="*/ 92 w 242"/>
                <a:gd name="T49" fmla="*/ 46 h 191"/>
                <a:gd name="T50" fmla="*/ 82 w 242"/>
                <a:gd name="T51" fmla="*/ 42 h 191"/>
                <a:gd name="T52" fmla="*/ 60 w 242"/>
                <a:gd name="T53" fmla="*/ 40 h 191"/>
                <a:gd name="T54" fmla="*/ 43 w 242"/>
                <a:gd name="T55" fmla="*/ 43 h 191"/>
                <a:gd name="T56" fmla="*/ 43 w 242"/>
                <a:gd name="T57" fmla="*/ 186 h 191"/>
                <a:gd name="T58" fmla="*/ 33 w 242"/>
                <a:gd name="T59" fmla="*/ 190 h 191"/>
                <a:gd name="T60" fmla="*/ 22 w 242"/>
                <a:gd name="T61" fmla="*/ 191 h 191"/>
                <a:gd name="T62" fmla="*/ 9 w 242"/>
                <a:gd name="T63" fmla="*/ 190 h 191"/>
                <a:gd name="T64" fmla="*/ 0 w 242"/>
                <a:gd name="T65" fmla="*/ 186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2" h="191">
                  <a:moveTo>
                    <a:pt x="0" y="186"/>
                  </a:moveTo>
                  <a:lnTo>
                    <a:pt x="0" y="0"/>
                  </a:lnTo>
                  <a:lnTo>
                    <a:pt x="198" y="0"/>
                  </a:lnTo>
                  <a:lnTo>
                    <a:pt x="198" y="0"/>
                  </a:lnTo>
                  <a:lnTo>
                    <a:pt x="208" y="0"/>
                  </a:lnTo>
                  <a:lnTo>
                    <a:pt x="218" y="3"/>
                  </a:lnTo>
                  <a:lnTo>
                    <a:pt x="225" y="6"/>
                  </a:lnTo>
                  <a:lnTo>
                    <a:pt x="231" y="12"/>
                  </a:lnTo>
                  <a:lnTo>
                    <a:pt x="237" y="19"/>
                  </a:lnTo>
                  <a:lnTo>
                    <a:pt x="239" y="27"/>
                  </a:lnTo>
                  <a:lnTo>
                    <a:pt x="242" y="39"/>
                  </a:lnTo>
                  <a:lnTo>
                    <a:pt x="242" y="52"/>
                  </a:lnTo>
                  <a:lnTo>
                    <a:pt x="242" y="186"/>
                  </a:lnTo>
                  <a:lnTo>
                    <a:pt x="242" y="186"/>
                  </a:lnTo>
                  <a:lnTo>
                    <a:pt x="239" y="189"/>
                  </a:lnTo>
                  <a:lnTo>
                    <a:pt x="234" y="190"/>
                  </a:lnTo>
                  <a:lnTo>
                    <a:pt x="228" y="191"/>
                  </a:lnTo>
                  <a:lnTo>
                    <a:pt x="221" y="191"/>
                  </a:lnTo>
                  <a:lnTo>
                    <a:pt x="215" y="191"/>
                  </a:lnTo>
                  <a:lnTo>
                    <a:pt x="209" y="190"/>
                  </a:lnTo>
                  <a:lnTo>
                    <a:pt x="204" y="189"/>
                  </a:lnTo>
                  <a:lnTo>
                    <a:pt x="201" y="186"/>
                  </a:lnTo>
                  <a:lnTo>
                    <a:pt x="201" y="66"/>
                  </a:lnTo>
                  <a:lnTo>
                    <a:pt x="201" y="66"/>
                  </a:lnTo>
                  <a:lnTo>
                    <a:pt x="199" y="60"/>
                  </a:lnTo>
                  <a:lnTo>
                    <a:pt x="198" y="55"/>
                  </a:lnTo>
                  <a:lnTo>
                    <a:pt x="195" y="50"/>
                  </a:lnTo>
                  <a:lnTo>
                    <a:pt x="191" y="46"/>
                  </a:lnTo>
                  <a:lnTo>
                    <a:pt x="186" y="43"/>
                  </a:lnTo>
                  <a:lnTo>
                    <a:pt x="182" y="42"/>
                  </a:lnTo>
                  <a:lnTo>
                    <a:pt x="171" y="40"/>
                  </a:lnTo>
                  <a:lnTo>
                    <a:pt x="161" y="40"/>
                  </a:lnTo>
                  <a:lnTo>
                    <a:pt x="152" y="40"/>
                  </a:lnTo>
                  <a:lnTo>
                    <a:pt x="142" y="43"/>
                  </a:lnTo>
                  <a:lnTo>
                    <a:pt x="142" y="186"/>
                  </a:lnTo>
                  <a:lnTo>
                    <a:pt x="142" y="186"/>
                  </a:lnTo>
                  <a:lnTo>
                    <a:pt x="139" y="189"/>
                  </a:lnTo>
                  <a:lnTo>
                    <a:pt x="133" y="190"/>
                  </a:lnTo>
                  <a:lnTo>
                    <a:pt x="128" y="191"/>
                  </a:lnTo>
                  <a:lnTo>
                    <a:pt x="122" y="191"/>
                  </a:lnTo>
                  <a:lnTo>
                    <a:pt x="115" y="191"/>
                  </a:lnTo>
                  <a:lnTo>
                    <a:pt x="109" y="190"/>
                  </a:lnTo>
                  <a:lnTo>
                    <a:pt x="103" y="189"/>
                  </a:lnTo>
                  <a:lnTo>
                    <a:pt x="101" y="186"/>
                  </a:lnTo>
                  <a:lnTo>
                    <a:pt x="101" y="67"/>
                  </a:lnTo>
                  <a:lnTo>
                    <a:pt x="101" y="67"/>
                  </a:lnTo>
                  <a:lnTo>
                    <a:pt x="99" y="60"/>
                  </a:lnTo>
                  <a:lnTo>
                    <a:pt x="98" y="55"/>
                  </a:lnTo>
                  <a:lnTo>
                    <a:pt x="95" y="50"/>
                  </a:lnTo>
                  <a:lnTo>
                    <a:pt x="92" y="46"/>
                  </a:lnTo>
                  <a:lnTo>
                    <a:pt x="88" y="43"/>
                  </a:lnTo>
                  <a:lnTo>
                    <a:pt x="82" y="42"/>
                  </a:lnTo>
                  <a:lnTo>
                    <a:pt x="72" y="40"/>
                  </a:lnTo>
                  <a:lnTo>
                    <a:pt x="60" y="40"/>
                  </a:lnTo>
                  <a:lnTo>
                    <a:pt x="52" y="40"/>
                  </a:lnTo>
                  <a:lnTo>
                    <a:pt x="43" y="43"/>
                  </a:lnTo>
                  <a:lnTo>
                    <a:pt x="43" y="186"/>
                  </a:lnTo>
                  <a:lnTo>
                    <a:pt x="43" y="186"/>
                  </a:lnTo>
                  <a:lnTo>
                    <a:pt x="39" y="189"/>
                  </a:lnTo>
                  <a:lnTo>
                    <a:pt x="33" y="190"/>
                  </a:lnTo>
                  <a:lnTo>
                    <a:pt x="28" y="191"/>
                  </a:lnTo>
                  <a:lnTo>
                    <a:pt x="22" y="191"/>
                  </a:lnTo>
                  <a:lnTo>
                    <a:pt x="15" y="191"/>
                  </a:lnTo>
                  <a:lnTo>
                    <a:pt x="9" y="190"/>
                  </a:lnTo>
                  <a:lnTo>
                    <a:pt x="5" y="189"/>
                  </a:lnTo>
                  <a:lnTo>
                    <a:pt x="0" y="186"/>
                  </a:lnTo>
                  <a:lnTo>
                    <a:pt x="0" y="18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09" name="Line 31"/>
            <p:cNvSpPr>
              <a:spLocks noChangeShapeType="1"/>
            </p:cNvSpPr>
            <p:nvPr userDrawn="1"/>
          </p:nvSpPr>
          <p:spPr bwMode="auto">
            <a:xfrm>
              <a:off x="5671" y="779"/>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10" name="Freeform 32"/>
            <p:cNvSpPr>
              <a:spLocks noEditPoints="1"/>
            </p:cNvSpPr>
            <p:nvPr userDrawn="1"/>
          </p:nvSpPr>
          <p:spPr bwMode="auto">
            <a:xfrm>
              <a:off x="5615" y="717"/>
              <a:ext cx="45" cy="63"/>
            </a:xfrm>
            <a:custGeom>
              <a:avLst/>
              <a:gdLst>
                <a:gd name="T0" fmla="*/ 93 w 135"/>
                <a:gd name="T1" fmla="*/ 109 h 191"/>
                <a:gd name="T2" fmla="*/ 93 w 135"/>
                <a:gd name="T3" fmla="*/ 42 h 191"/>
                <a:gd name="T4" fmla="*/ 93 w 135"/>
                <a:gd name="T5" fmla="*/ 42 h 191"/>
                <a:gd name="T6" fmla="*/ 86 w 135"/>
                <a:gd name="T7" fmla="*/ 40 h 191"/>
                <a:gd name="T8" fmla="*/ 78 w 135"/>
                <a:gd name="T9" fmla="*/ 39 h 191"/>
                <a:gd name="T10" fmla="*/ 68 w 135"/>
                <a:gd name="T11" fmla="*/ 37 h 191"/>
                <a:gd name="T12" fmla="*/ 59 w 135"/>
                <a:gd name="T13" fmla="*/ 40 h 191"/>
                <a:gd name="T14" fmla="*/ 55 w 135"/>
                <a:gd name="T15" fmla="*/ 42 h 191"/>
                <a:gd name="T16" fmla="*/ 50 w 135"/>
                <a:gd name="T17" fmla="*/ 45 h 191"/>
                <a:gd name="T18" fmla="*/ 48 w 135"/>
                <a:gd name="T19" fmla="*/ 49 h 191"/>
                <a:gd name="T20" fmla="*/ 45 w 135"/>
                <a:gd name="T21" fmla="*/ 53 h 191"/>
                <a:gd name="T22" fmla="*/ 43 w 135"/>
                <a:gd name="T23" fmla="*/ 59 h 191"/>
                <a:gd name="T24" fmla="*/ 42 w 135"/>
                <a:gd name="T25" fmla="*/ 67 h 191"/>
                <a:gd name="T26" fmla="*/ 42 w 135"/>
                <a:gd name="T27" fmla="*/ 109 h 191"/>
                <a:gd name="T28" fmla="*/ 93 w 135"/>
                <a:gd name="T29" fmla="*/ 109 h 191"/>
                <a:gd name="T30" fmla="*/ 42 w 135"/>
                <a:gd name="T31" fmla="*/ 144 h 191"/>
                <a:gd name="T32" fmla="*/ 42 w 135"/>
                <a:gd name="T33" fmla="*/ 186 h 191"/>
                <a:gd name="T34" fmla="*/ 42 w 135"/>
                <a:gd name="T35" fmla="*/ 186 h 191"/>
                <a:gd name="T36" fmla="*/ 39 w 135"/>
                <a:gd name="T37" fmla="*/ 189 h 191"/>
                <a:gd name="T38" fmla="*/ 35 w 135"/>
                <a:gd name="T39" fmla="*/ 190 h 191"/>
                <a:gd name="T40" fmla="*/ 27 w 135"/>
                <a:gd name="T41" fmla="*/ 191 h 191"/>
                <a:gd name="T42" fmla="*/ 22 w 135"/>
                <a:gd name="T43" fmla="*/ 191 h 191"/>
                <a:gd name="T44" fmla="*/ 15 w 135"/>
                <a:gd name="T45" fmla="*/ 191 h 191"/>
                <a:gd name="T46" fmla="*/ 9 w 135"/>
                <a:gd name="T47" fmla="*/ 190 h 191"/>
                <a:gd name="T48" fmla="*/ 3 w 135"/>
                <a:gd name="T49" fmla="*/ 189 h 191"/>
                <a:gd name="T50" fmla="*/ 0 w 135"/>
                <a:gd name="T51" fmla="*/ 186 h 191"/>
                <a:gd name="T52" fmla="*/ 0 w 135"/>
                <a:gd name="T53" fmla="*/ 0 h 191"/>
                <a:gd name="T54" fmla="*/ 102 w 135"/>
                <a:gd name="T55" fmla="*/ 0 h 191"/>
                <a:gd name="T56" fmla="*/ 102 w 135"/>
                <a:gd name="T57" fmla="*/ 0 h 191"/>
                <a:gd name="T58" fmla="*/ 110 w 135"/>
                <a:gd name="T59" fmla="*/ 0 h 191"/>
                <a:gd name="T60" fmla="*/ 118 w 135"/>
                <a:gd name="T61" fmla="*/ 3 h 191"/>
                <a:gd name="T62" fmla="*/ 123 w 135"/>
                <a:gd name="T63" fmla="*/ 6 h 191"/>
                <a:gd name="T64" fmla="*/ 128 w 135"/>
                <a:gd name="T65" fmla="*/ 12 h 191"/>
                <a:gd name="T66" fmla="*/ 132 w 135"/>
                <a:gd name="T67" fmla="*/ 19 h 191"/>
                <a:gd name="T68" fmla="*/ 133 w 135"/>
                <a:gd name="T69" fmla="*/ 27 h 191"/>
                <a:gd name="T70" fmla="*/ 135 w 135"/>
                <a:gd name="T71" fmla="*/ 39 h 191"/>
                <a:gd name="T72" fmla="*/ 135 w 135"/>
                <a:gd name="T73" fmla="*/ 52 h 191"/>
                <a:gd name="T74" fmla="*/ 135 w 135"/>
                <a:gd name="T75" fmla="*/ 186 h 191"/>
                <a:gd name="T76" fmla="*/ 135 w 135"/>
                <a:gd name="T77" fmla="*/ 186 h 191"/>
                <a:gd name="T78" fmla="*/ 132 w 135"/>
                <a:gd name="T79" fmla="*/ 189 h 191"/>
                <a:gd name="T80" fmla="*/ 128 w 135"/>
                <a:gd name="T81" fmla="*/ 190 h 191"/>
                <a:gd name="T82" fmla="*/ 121 w 135"/>
                <a:gd name="T83" fmla="*/ 191 h 191"/>
                <a:gd name="T84" fmla="*/ 115 w 135"/>
                <a:gd name="T85" fmla="*/ 191 h 191"/>
                <a:gd name="T86" fmla="*/ 108 w 135"/>
                <a:gd name="T87" fmla="*/ 191 h 191"/>
                <a:gd name="T88" fmla="*/ 102 w 135"/>
                <a:gd name="T89" fmla="*/ 190 h 191"/>
                <a:gd name="T90" fmla="*/ 96 w 135"/>
                <a:gd name="T91" fmla="*/ 189 h 191"/>
                <a:gd name="T92" fmla="*/ 93 w 135"/>
                <a:gd name="T93" fmla="*/ 186 h 191"/>
                <a:gd name="T94" fmla="*/ 93 w 135"/>
                <a:gd name="T95" fmla="*/ 144 h 191"/>
                <a:gd name="T96" fmla="*/ 110 w 135"/>
                <a:gd name="T97" fmla="*/ 144 h 191"/>
                <a:gd name="T98" fmla="*/ 42 w 135"/>
                <a:gd name="T99" fmla="*/ 144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35" h="191">
                  <a:moveTo>
                    <a:pt x="93" y="109"/>
                  </a:moveTo>
                  <a:lnTo>
                    <a:pt x="93" y="42"/>
                  </a:lnTo>
                  <a:lnTo>
                    <a:pt x="93" y="42"/>
                  </a:lnTo>
                  <a:lnTo>
                    <a:pt x="86" y="40"/>
                  </a:lnTo>
                  <a:lnTo>
                    <a:pt x="78" y="39"/>
                  </a:lnTo>
                  <a:lnTo>
                    <a:pt x="68" y="37"/>
                  </a:lnTo>
                  <a:lnTo>
                    <a:pt x="59" y="40"/>
                  </a:lnTo>
                  <a:lnTo>
                    <a:pt x="55" y="42"/>
                  </a:lnTo>
                  <a:lnTo>
                    <a:pt x="50" y="45"/>
                  </a:lnTo>
                  <a:lnTo>
                    <a:pt x="48" y="49"/>
                  </a:lnTo>
                  <a:lnTo>
                    <a:pt x="45" y="53"/>
                  </a:lnTo>
                  <a:lnTo>
                    <a:pt x="43" y="59"/>
                  </a:lnTo>
                  <a:lnTo>
                    <a:pt x="42" y="67"/>
                  </a:lnTo>
                  <a:lnTo>
                    <a:pt x="42" y="109"/>
                  </a:lnTo>
                  <a:lnTo>
                    <a:pt x="93" y="109"/>
                  </a:lnTo>
                  <a:close/>
                  <a:moveTo>
                    <a:pt x="42" y="144"/>
                  </a:moveTo>
                  <a:lnTo>
                    <a:pt x="42" y="186"/>
                  </a:lnTo>
                  <a:lnTo>
                    <a:pt x="42" y="186"/>
                  </a:lnTo>
                  <a:lnTo>
                    <a:pt x="39" y="189"/>
                  </a:lnTo>
                  <a:lnTo>
                    <a:pt x="35" y="190"/>
                  </a:lnTo>
                  <a:lnTo>
                    <a:pt x="27" y="191"/>
                  </a:lnTo>
                  <a:lnTo>
                    <a:pt x="22" y="191"/>
                  </a:lnTo>
                  <a:lnTo>
                    <a:pt x="15" y="191"/>
                  </a:lnTo>
                  <a:lnTo>
                    <a:pt x="9" y="190"/>
                  </a:lnTo>
                  <a:lnTo>
                    <a:pt x="3" y="189"/>
                  </a:lnTo>
                  <a:lnTo>
                    <a:pt x="0" y="186"/>
                  </a:lnTo>
                  <a:lnTo>
                    <a:pt x="0" y="0"/>
                  </a:lnTo>
                  <a:lnTo>
                    <a:pt x="102" y="0"/>
                  </a:lnTo>
                  <a:lnTo>
                    <a:pt x="102" y="0"/>
                  </a:lnTo>
                  <a:lnTo>
                    <a:pt x="110" y="0"/>
                  </a:lnTo>
                  <a:lnTo>
                    <a:pt x="118" y="3"/>
                  </a:lnTo>
                  <a:lnTo>
                    <a:pt x="123" y="6"/>
                  </a:lnTo>
                  <a:lnTo>
                    <a:pt x="128" y="12"/>
                  </a:lnTo>
                  <a:lnTo>
                    <a:pt x="132" y="19"/>
                  </a:lnTo>
                  <a:lnTo>
                    <a:pt x="133" y="27"/>
                  </a:lnTo>
                  <a:lnTo>
                    <a:pt x="135" y="39"/>
                  </a:lnTo>
                  <a:lnTo>
                    <a:pt x="135" y="52"/>
                  </a:lnTo>
                  <a:lnTo>
                    <a:pt x="135" y="186"/>
                  </a:lnTo>
                  <a:lnTo>
                    <a:pt x="135" y="186"/>
                  </a:lnTo>
                  <a:lnTo>
                    <a:pt x="132" y="189"/>
                  </a:lnTo>
                  <a:lnTo>
                    <a:pt x="128" y="190"/>
                  </a:lnTo>
                  <a:lnTo>
                    <a:pt x="121" y="191"/>
                  </a:lnTo>
                  <a:lnTo>
                    <a:pt x="115" y="191"/>
                  </a:lnTo>
                  <a:lnTo>
                    <a:pt x="108" y="191"/>
                  </a:lnTo>
                  <a:lnTo>
                    <a:pt x="102" y="190"/>
                  </a:lnTo>
                  <a:lnTo>
                    <a:pt x="96" y="189"/>
                  </a:lnTo>
                  <a:lnTo>
                    <a:pt x="93" y="186"/>
                  </a:lnTo>
                  <a:lnTo>
                    <a:pt x="93" y="144"/>
                  </a:lnTo>
                  <a:lnTo>
                    <a:pt x="110" y="144"/>
                  </a:lnTo>
                  <a:lnTo>
                    <a:pt x="42" y="14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11" name="Freeform 33"/>
            <p:cNvSpPr>
              <a:spLocks/>
            </p:cNvSpPr>
            <p:nvPr userDrawn="1"/>
          </p:nvSpPr>
          <p:spPr bwMode="auto">
            <a:xfrm>
              <a:off x="5629" y="729"/>
              <a:ext cx="17" cy="24"/>
            </a:xfrm>
            <a:custGeom>
              <a:avLst/>
              <a:gdLst>
                <a:gd name="T0" fmla="*/ 51 w 51"/>
                <a:gd name="T1" fmla="*/ 72 h 72"/>
                <a:gd name="T2" fmla="*/ 51 w 51"/>
                <a:gd name="T3" fmla="*/ 5 h 72"/>
                <a:gd name="T4" fmla="*/ 51 w 51"/>
                <a:gd name="T5" fmla="*/ 5 h 72"/>
                <a:gd name="T6" fmla="*/ 44 w 51"/>
                <a:gd name="T7" fmla="*/ 3 h 72"/>
                <a:gd name="T8" fmla="*/ 36 w 51"/>
                <a:gd name="T9" fmla="*/ 2 h 72"/>
                <a:gd name="T10" fmla="*/ 26 w 51"/>
                <a:gd name="T11" fmla="*/ 0 h 72"/>
                <a:gd name="T12" fmla="*/ 17 w 51"/>
                <a:gd name="T13" fmla="*/ 3 h 72"/>
                <a:gd name="T14" fmla="*/ 13 w 51"/>
                <a:gd name="T15" fmla="*/ 5 h 72"/>
                <a:gd name="T16" fmla="*/ 8 w 51"/>
                <a:gd name="T17" fmla="*/ 8 h 72"/>
                <a:gd name="T18" fmla="*/ 6 w 51"/>
                <a:gd name="T19" fmla="*/ 12 h 72"/>
                <a:gd name="T20" fmla="*/ 3 w 51"/>
                <a:gd name="T21" fmla="*/ 16 h 72"/>
                <a:gd name="T22" fmla="*/ 1 w 51"/>
                <a:gd name="T23" fmla="*/ 22 h 72"/>
                <a:gd name="T24" fmla="*/ 0 w 51"/>
                <a:gd name="T25" fmla="*/ 30 h 72"/>
                <a:gd name="T26" fmla="*/ 0 w 51"/>
                <a:gd name="T27"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1" h="72">
                  <a:moveTo>
                    <a:pt x="51" y="72"/>
                  </a:moveTo>
                  <a:lnTo>
                    <a:pt x="51" y="5"/>
                  </a:lnTo>
                  <a:lnTo>
                    <a:pt x="51" y="5"/>
                  </a:lnTo>
                  <a:lnTo>
                    <a:pt x="44" y="3"/>
                  </a:lnTo>
                  <a:lnTo>
                    <a:pt x="36" y="2"/>
                  </a:lnTo>
                  <a:lnTo>
                    <a:pt x="26" y="0"/>
                  </a:lnTo>
                  <a:lnTo>
                    <a:pt x="17" y="3"/>
                  </a:lnTo>
                  <a:lnTo>
                    <a:pt x="13" y="5"/>
                  </a:lnTo>
                  <a:lnTo>
                    <a:pt x="8" y="8"/>
                  </a:lnTo>
                  <a:lnTo>
                    <a:pt x="6" y="12"/>
                  </a:lnTo>
                  <a:lnTo>
                    <a:pt x="3" y="16"/>
                  </a:lnTo>
                  <a:lnTo>
                    <a:pt x="1" y="22"/>
                  </a:lnTo>
                  <a:lnTo>
                    <a:pt x="0" y="30"/>
                  </a:lnTo>
                  <a:lnTo>
                    <a:pt x="0" y="7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12" name="Freeform 34"/>
            <p:cNvSpPr>
              <a:spLocks/>
            </p:cNvSpPr>
            <p:nvPr userDrawn="1"/>
          </p:nvSpPr>
          <p:spPr bwMode="auto">
            <a:xfrm>
              <a:off x="5615" y="717"/>
              <a:ext cx="45" cy="63"/>
            </a:xfrm>
            <a:custGeom>
              <a:avLst/>
              <a:gdLst>
                <a:gd name="T0" fmla="*/ 42 w 135"/>
                <a:gd name="T1" fmla="*/ 144 h 191"/>
                <a:gd name="T2" fmla="*/ 42 w 135"/>
                <a:gd name="T3" fmla="*/ 186 h 191"/>
                <a:gd name="T4" fmla="*/ 42 w 135"/>
                <a:gd name="T5" fmla="*/ 186 h 191"/>
                <a:gd name="T6" fmla="*/ 39 w 135"/>
                <a:gd name="T7" fmla="*/ 189 h 191"/>
                <a:gd name="T8" fmla="*/ 35 w 135"/>
                <a:gd name="T9" fmla="*/ 190 h 191"/>
                <a:gd name="T10" fmla="*/ 27 w 135"/>
                <a:gd name="T11" fmla="*/ 191 h 191"/>
                <a:gd name="T12" fmla="*/ 22 w 135"/>
                <a:gd name="T13" fmla="*/ 191 h 191"/>
                <a:gd name="T14" fmla="*/ 15 w 135"/>
                <a:gd name="T15" fmla="*/ 191 h 191"/>
                <a:gd name="T16" fmla="*/ 9 w 135"/>
                <a:gd name="T17" fmla="*/ 190 h 191"/>
                <a:gd name="T18" fmla="*/ 3 w 135"/>
                <a:gd name="T19" fmla="*/ 189 h 191"/>
                <a:gd name="T20" fmla="*/ 0 w 135"/>
                <a:gd name="T21" fmla="*/ 186 h 191"/>
                <a:gd name="T22" fmla="*/ 0 w 135"/>
                <a:gd name="T23" fmla="*/ 0 h 191"/>
                <a:gd name="T24" fmla="*/ 102 w 135"/>
                <a:gd name="T25" fmla="*/ 0 h 191"/>
                <a:gd name="T26" fmla="*/ 102 w 135"/>
                <a:gd name="T27" fmla="*/ 0 h 191"/>
                <a:gd name="T28" fmla="*/ 110 w 135"/>
                <a:gd name="T29" fmla="*/ 0 h 191"/>
                <a:gd name="T30" fmla="*/ 118 w 135"/>
                <a:gd name="T31" fmla="*/ 3 h 191"/>
                <a:gd name="T32" fmla="*/ 123 w 135"/>
                <a:gd name="T33" fmla="*/ 6 h 191"/>
                <a:gd name="T34" fmla="*/ 128 w 135"/>
                <a:gd name="T35" fmla="*/ 12 h 191"/>
                <a:gd name="T36" fmla="*/ 132 w 135"/>
                <a:gd name="T37" fmla="*/ 19 h 191"/>
                <a:gd name="T38" fmla="*/ 133 w 135"/>
                <a:gd name="T39" fmla="*/ 27 h 191"/>
                <a:gd name="T40" fmla="*/ 135 w 135"/>
                <a:gd name="T41" fmla="*/ 39 h 191"/>
                <a:gd name="T42" fmla="*/ 135 w 135"/>
                <a:gd name="T43" fmla="*/ 52 h 191"/>
                <a:gd name="T44" fmla="*/ 135 w 135"/>
                <a:gd name="T45" fmla="*/ 186 h 191"/>
                <a:gd name="T46" fmla="*/ 135 w 135"/>
                <a:gd name="T47" fmla="*/ 186 h 191"/>
                <a:gd name="T48" fmla="*/ 132 w 135"/>
                <a:gd name="T49" fmla="*/ 189 h 191"/>
                <a:gd name="T50" fmla="*/ 128 w 135"/>
                <a:gd name="T51" fmla="*/ 190 h 191"/>
                <a:gd name="T52" fmla="*/ 121 w 135"/>
                <a:gd name="T53" fmla="*/ 191 h 191"/>
                <a:gd name="T54" fmla="*/ 115 w 135"/>
                <a:gd name="T55" fmla="*/ 191 h 191"/>
                <a:gd name="T56" fmla="*/ 108 w 135"/>
                <a:gd name="T57" fmla="*/ 191 h 191"/>
                <a:gd name="T58" fmla="*/ 102 w 135"/>
                <a:gd name="T59" fmla="*/ 190 h 191"/>
                <a:gd name="T60" fmla="*/ 96 w 135"/>
                <a:gd name="T61" fmla="*/ 189 h 191"/>
                <a:gd name="T62" fmla="*/ 93 w 135"/>
                <a:gd name="T63" fmla="*/ 186 h 191"/>
                <a:gd name="T64" fmla="*/ 93 w 135"/>
                <a:gd name="T65" fmla="*/ 144 h 191"/>
                <a:gd name="T66" fmla="*/ 110 w 135"/>
                <a:gd name="T67" fmla="*/ 144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5" h="191">
                  <a:moveTo>
                    <a:pt x="42" y="144"/>
                  </a:moveTo>
                  <a:lnTo>
                    <a:pt x="42" y="186"/>
                  </a:lnTo>
                  <a:lnTo>
                    <a:pt x="42" y="186"/>
                  </a:lnTo>
                  <a:lnTo>
                    <a:pt x="39" y="189"/>
                  </a:lnTo>
                  <a:lnTo>
                    <a:pt x="35" y="190"/>
                  </a:lnTo>
                  <a:lnTo>
                    <a:pt x="27" y="191"/>
                  </a:lnTo>
                  <a:lnTo>
                    <a:pt x="22" y="191"/>
                  </a:lnTo>
                  <a:lnTo>
                    <a:pt x="15" y="191"/>
                  </a:lnTo>
                  <a:lnTo>
                    <a:pt x="9" y="190"/>
                  </a:lnTo>
                  <a:lnTo>
                    <a:pt x="3" y="189"/>
                  </a:lnTo>
                  <a:lnTo>
                    <a:pt x="0" y="186"/>
                  </a:lnTo>
                  <a:lnTo>
                    <a:pt x="0" y="0"/>
                  </a:lnTo>
                  <a:lnTo>
                    <a:pt x="102" y="0"/>
                  </a:lnTo>
                  <a:lnTo>
                    <a:pt x="102" y="0"/>
                  </a:lnTo>
                  <a:lnTo>
                    <a:pt x="110" y="0"/>
                  </a:lnTo>
                  <a:lnTo>
                    <a:pt x="118" y="3"/>
                  </a:lnTo>
                  <a:lnTo>
                    <a:pt x="123" y="6"/>
                  </a:lnTo>
                  <a:lnTo>
                    <a:pt x="128" y="12"/>
                  </a:lnTo>
                  <a:lnTo>
                    <a:pt x="132" y="19"/>
                  </a:lnTo>
                  <a:lnTo>
                    <a:pt x="133" y="27"/>
                  </a:lnTo>
                  <a:lnTo>
                    <a:pt x="135" y="39"/>
                  </a:lnTo>
                  <a:lnTo>
                    <a:pt x="135" y="52"/>
                  </a:lnTo>
                  <a:lnTo>
                    <a:pt x="135" y="186"/>
                  </a:lnTo>
                  <a:lnTo>
                    <a:pt x="135" y="186"/>
                  </a:lnTo>
                  <a:lnTo>
                    <a:pt x="132" y="189"/>
                  </a:lnTo>
                  <a:lnTo>
                    <a:pt x="128" y="190"/>
                  </a:lnTo>
                  <a:lnTo>
                    <a:pt x="121" y="191"/>
                  </a:lnTo>
                  <a:lnTo>
                    <a:pt x="115" y="191"/>
                  </a:lnTo>
                  <a:lnTo>
                    <a:pt x="108" y="191"/>
                  </a:lnTo>
                  <a:lnTo>
                    <a:pt x="102" y="190"/>
                  </a:lnTo>
                  <a:lnTo>
                    <a:pt x="96" y="189"/>
                  </a:lnTo>
                  <a:lnTo>
                    <a:pt x="93" y="186"/>
                  </a:lnTo>
                  <a:lnTo>
                    <a:pt x="93" y="144"/>
                  </a:lnTo>
                  <a:lnTo>
                    <a:pt x="110" y="14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sp>
        <p:nvSpPr>
          <p:cNvPr id="113" name="Textfeld 112"/>
          <p:cNvSpPr txBox="1"/>
          <p:nvPr userDrawn="1"/>
        </p:nvSpPr>
        <p:spPr>
          <a:xfrm>
            <a:off x="10029282" y="1249779"/>
            <a:ext cx="1320124" cy="461665"/>
          </a:xfrm>
          <a:prstGeom prst="rect">
            <a:avLst/>
          </a:prstGeom>
          <a:noFill/>
        </p:spPr>
        <p:txBody>
          <a:bodyPr wrap="square" rtlCol="0">
            <a:spAutoFit/>
          </a:bodyPr>
          <a:lstStyle/>
          <a:p>
            <a:pPr algn="l">
              <a:lnSpc>
                <a:spcPct val="100000"/>
              </a:lnSpc>
              <a:spcAft>
                <a:spcPts val="167"/>
              </a:spcAft>
            </a:pPr>
            <a:r>
              <a:rPr lang="de-DE" sz="600" b="0" spc="0" baseline="0" dirty="0">
                <a:solidFill>
                  <a:schemeClr val="tx1"/>
                </a:solidFill>
                <a:latin typeface="+mj-lt"/>
              </a:rPr>
              <a:t>FACHGEBIET SYSTEMZUVERLÄSSIGKEIT, ADAPTRONIK UND MASCHINENAKUSTIK</a:t>
            </a:r>
          </a:p>
        </p:txBody>
      </p:sp>
    </p:spTree>
    <p:extLst>
      <p:ext uri="{BB962C8B-B14F-4D97-AF65-F5344CB8AC3E}">
        <p14:creationId xmlns:p14="http://schemas.microsoft.com/office/powerpoint/2010/main" val="4197918652"/>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2_Abschnittsüberschrift">
    <p:spTree>
      <p:nvGrpSpPr>
        <p:cNvPr id="1" name=""/>
        <p:cNvGrpSpPr/>
        <p:nvPr/>
      </p:nvGrpSpPr>
      <p:grpSpPr>
        <a:xfrm>
          <a:off x="0" y="0"/>
          <a:ext cx="0" cy="0"/>
          <a:chOff x="0" y="0"/>
          <a:chExt cx="0" cy="0"/>
        </a:xfrm>
      </p:grpSpPr>
      <p:sp>
        <p:nvSpPr>
          <p:cNvPr id="9" name="Rechteck 8"/>
          <p:cNvSpPr/>
          <p:nvPr/>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sp>
        <p:nvSpPr>
          <p:cNvPr id="17" name="Titel 11"/>
          <p:cNvSpPr>
            <a:spLocks noGrp="1"/>
          </p:cNvSpPr>
          <p:nvPr>
            <p:ph type="title" hasCustomPrompt="1"/>
          </p:nvPr>
        </p:nvSpPr>
        <p:spPr>
          <a:xfrm>
            <a:off x="672001" y="480000"/>
            <a:ext cx="9120000" cy="480000"/>
          </a:xfrm>
        </p:spPr>
        <p:txBody>
          <a:bodyPr/>
          <a:lstStyle>
            <a:lvl1pPr>
              <a:defRPr>
                <a:solidFill>
                  <a:schemeClr val="tx2"/>
                </a:solidFill>
              </a:defRPr>
            </a:lvl1pPr>
          </a:lstStyle>
          <a:p>
            <a:r>
              <a:rPr lang="de-DE" dirty="0"/>
              <a:t>TITELMASTERFORMAT DURCH KLICKEN</a:t>
            </a:r>
          </a:p>
        </p:txBody>
      </p:sp>
      <p:pic>
        <p:nvPicPr>
          <p:cNvPr id="12" name="Bild 11"/>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687712" y="6204469"/>
            <a:ext cx="11192933" cy="508000"/>
          </a:xfrm>
          <a:prstGeom prst="rect">
            <a:avLst/>
          </a:prstGeom>
        </p:spPr>
      </p:pic>
      <p:sp>
        <p:nvSpPr>
          <p:cNvPr id="8" name="Titel 2"/>
          <p:cNvSpPr txBox="1">
            <a:spLocks/>
          </p:cNvSpPr>
          <p:nvPr userDrawn="1"/>
        </p:nvSpPr>
        <p:spPr bwMode="auto">
          <a:xfrm>
            <a:off x="1962782" y="5988089"/>
            <a:ext cx="1812295" cy="1117600"/>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lvl1pPr algn="l" rtl="0" eaLnBrk="1" fontAlgn="base" hangingPunct="1">
              <a:spcBef>
                <a:spcPct val="0"/>
              </a:spcBef>
              <a:spcAft>
                <a:spcPct val="0"/>
              </a:spcAft>
              <a:defRPr sz="2800" b="1" i="0">
                <a:solidFill>
                  <a:srgbClr val="FDCA00"/>
                </a:solidFill>
                <a:latin typeface="+mj-lt"/>
                <a:ea typeface="Verdana" charset="0"/>
                <a:cs typeface="Verdana" charset="0"/>
              </a:defRPr>
            </a:lvl1pPr>
            <a:lvl2pPr algn="l" rtl="0" eaLnBrk="1" fontAlgn="base" hangingPunct="1">
              <a:spcBef>
                <a:spcPct val="0"/>
              </a:spcBef>
              <a:spcAft>
                <a:spcPct val="0"/>
              </a:spcAft>
              <a:defRPr sz="2400" b="1">
                <a:solidFill>
                  <a:schemeClr val="tx1"/>
                </a:solidFill>
                <a:latin typeface="Arial" charset="0"/>
              </a:defRPr>
            </a:lvl2pPr>
            <a:lvl3pPr algn="l" rtl="0" eaLnBrk="1" fontAlgn="base" hangingPunct="1">
              <a:spcBef>
                <a:spcPct val="0"/>
              </a:spcBef>
              <a:spcAft>
                <a:spcPct val="0"/>
              </a:spcAft>
              <a:defRPr sz="2400" b="1">
                <a:solidFill>
                  <a:schemeClr val="tx1"/>
                </a:solidFill>
                <a:latin typeface="Arial" charset="0"/>
              </a:defRPr>
            </a:lvl3pPr>
            <a:lvl4pPr algn="l" rtl="0" eaLnBrk="1" fontAlgn="base" hangingPunct="1">
              <a:spcBef>
                <a:spcPct val="0"/>
              </a:spcBef>
              <a:spcAft>
                <a:spcPct val="0"/>
              </a:spcAft>
              <a:defRPr sz="2400" b="1">
                <a:solidFill>
                  <a:schemeClr val="tx1"/>
                </a:solidFill>
                <a:latin typeface="Arial" charset="0"/>
              </a:defRPr>
            </a:lvl4pPr>
            <a:lvl5pPr algn="l" rtl="0" eaLnBrk="1" fontAlgn="base" hangingPunct="1">
              <a:spcBef>
                <a:spcPct val="0"/>
              </a:spcBef>
              <a:spcAft>
                <a:spcPct val="0"/>
              </a:spcAft>
              <a:defRPr sz="2400" b="1">
                <a:solidFill>
                  <a:schemeClr val="tx1"/>
                </a:solidFill>
                <a:latin typeface="Arial" charset="0"/>
              </a:defRPr>
            </a:lvl5pPr>
            <a:lvl6pPr marL="457200" algn="l" rtl="0" eaLnBrk="1" fontAlgn="base" hangingPunct="1">
              <a:spcBef>
                <a:spcPct val="0"/>
              </a:spcBef>
              <a:spcAft>
                <a:spcPct val="0"/>
              </a:spcAft>
              <a:defRPr sz="2400" b="1">
                <a:solidFill>
                  <a:schemeClr val="tx1"/>
                </a:solidFill>
                <a:latin typeface="Arial" charset="0"/>
              </a:defRPr>
            </a:lvl6pPr>
            <a:lvl7pPr marL="914400" algn="l" rtl="0" eaLnBrk="1" fontAlgn="base" hangingPunct="1">
              <a:spcBef>
                <a:spcPct val="0"/>
              </a:spcBef>
              <a:spcAft>
                <a:spcPct val="0"/>
              </a:spcAft>
              <a:defRPr sz="2400" b="1">
                <a:solidFill>
                  <a:schemeClr val="tx1"/>
                </a:solidFill>
                <a:latin typeface="Arial" charset="0"/>
              </a:defRPr>
            </a:lvl7pPr>
            <a:lvl8pPr marL="1371600" algn="l" rtl="0" eaLnBrk="1" fontAlgn="base" hangingPunct="1">
              <a:spcBef>
                <a:spcPct val="0"/>
              </a:spcBef>
              <a:spcAft>
                <a:spcPct val="0"/>
              </a:spcAft>
              <a:defRPr sz="2400" b="1">
                <a:solidFill>
                  <a:schemeClr val="tx1"/>
                </a:solidFill>
                <a:latin typeface="Arial" charset="0"/>
              </a:defRPr>
            </a:lvl8pPr>
            <a:lvl9pPr marL="1828800" algn="l" rtl="0" eaLnBrk="1" fontAlgn="base" hangingPunct="1">
              <a:spcBef>
                <a:spcPct val="0"/>
              </a:spcBef>
              <a:spcAft>
                <a:spcPct val="0"/>
              </a:spcAft>
              <a:defRPr sz="2400" b="1">
                <a:solidFill>
                  <a:schemeClr val="tx1"/>
                </a:solidFill>
                <a:latin typeface="Arial" charset="0"/>
              </a:defRPr>
            </a:lvl9pPr>
          </a:lstStyle>
          <a:p>
            <a:endParaRPr lang="de-DE" sz="2933" b="0" kern="0" dirty="0">
              <a:solidFill>
                <a:schemeClr val="tx2"/>
              </a:solidFill>
              <a:latin typeface="+mj-lt"/>
            </a:endParaRPr>
          </a:p>
        </p:txBody>
      </p:sp>
      <p:sp>
        <p:nvSpPr>
          <p:cNvPr id="47" name="Rectangle 4"/>
          <p:cNvSpPr>
            <a:spLocks noGrp="1" noChangeArrowheads="1"/>
          </p:cNvSpPr>
          <p:nvPr>
            <p:ph type="subTitle" idx="1" hasCustomPrompt="1"/>
          </p:nvPr>
        </p:nvSpPr>
        <p:spPr>
          <a:xfrm>
            <a:off x="671077" y="1152001"/>
            <a:ext cx="9216012" cy="789519"/>
          </a:xfrm>
        </p:spPr>
        <p:txBody>
          <a:bodyPr lIns="0" tIns="0" rIns="0" bIns="0"/>
          <a:lstStyle>
            <a:lvl1pPr marL="0" marR="0" indent="0" algn="l" defTabSz="1219170" rtl="0" eaLnBrk="1" fontAlgn="base" latinLnBrk="0" hangingPunct="1">
              <a:lnSpc>
                <a:spcPct val="100000"/>
              </a:lnSpc>
              <a:spcBef>
                <a:spcPct val="0"/>
              </a:spcBef>
              <a:spcAft>
                <a:spcPts val="276"/>
              </a:spcAft>
              <a:buClrTx/>
              <a:buSzTx/>
              <a:buFont typeface="Wingdings" pitchFamily="2" charset="2"/>
              <a:buNone/>
              <a:tabLst/>
              <a:defRPr sz="2200" b="0" i="0">
                <a:solidFill>
                  <a:schemeClr val="tx2"/>
                </a:solidFill>
                <a:latin typeface="+mj-lt"/>
                <a:ea typeface="Verdana" charset="0"/>
                <a:cs typeface="Verdana" charset="0"/>
              </a:defRPr>
            </a:lvl1pPr>
          </a:lstStyle>
          <a:p>
            <a:pPr marL="0" marR="0" lvl="0" indent="0" algn="l" defTabSz="1219170" rtl="0" eaLnBrk="1" fontAlgn="base" latinLnBrk="0" hangingPunct="1">
              <a:lnSpc>
                <a:spcPct val="100000"/>
              </a:lnSpc>
              <a:spcBef>
                <a:spcPct val="0"/>
              </a:spcBef>
              <a:spcAft>
                <a:spcPts val="276"/>
              </a:spcAft>
              <a:buClrTx/>
              <a:buSzTx/>
              <a:buFont typeface="Wingdings" pitchFamily="2" charset="2"/>
              <a:buNone/>
              <a:tabLst/>
              <a:defRPr/>
            </a:pPr>
            <a:r>
              <a:rPr lang="de-DE" dirty="0"/>
              <a:t>Master-Untertitelformat bearbeiten</a:t>
            </a:r>
          </a:p>
        </p:txBody>
      </p:sp>
      <p:grpSp>
        <p:nvGrpSpPr>
          <p:cNvPr id="7" name="Gruppierung 9"/>
          <p:cNvGrpSpPr/>
          <p:nvPr userDrawn="1"/>
        </p:nvGrpSpPr>
        <p:grpSpPr>
          <a:xfrm>
            <a:off x="9887088" y="477223"/>
            <a:ext cx="2304912" cy="870205"/>
            <a:chOff x="7415316" y="357917"/>
            <a:chExt cx="1728684" cy="652654"/>
          </a:xfrm>
          <a:solidFill>
            <a:schemeClr val="bg1"/>
          </a:solidFill>
        </p:grpSpPr>
        <p:sp>
          <p:nvSpPr>
            <p:cNvPr id="10" name="Rechteck 9"/>
            <p:cNvSpPr/>
            <p:nvPr/>
          </p:nvSpPr>
          <p:spPr>
            <a:xfrm>
              <a:off x="7415316" y="357917"/>
              <a:ext cx="1728684" cy="65265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1" name="Picture 9" descr="tud_logo"/>
            <p:cNvPicPr>
              <a:picLocks noChangeAspect="1" noChangeArrowheads="1"/>
            </p:cNvPicPr>
            <p:nvPr/>
          </p:nvPicPr>
          <p:blipFill rotWithShape="1">
            <a:blip r:embed="rId3" cstate="print">
              <a:clrChange>
                <a:clrFrom>
                  <a:srgbClr val="FDFDFD"/>
                </a:clrFrom>
                <a:clrTo>
                  <a:srgbClr val="FDFDFD">
                    <a:alpha val="0"/>
                  </a:srgbClr>
                </a:clrTo>
              </a:clrChange>
              <a:extLst>
                <a:ext uri="{28A0092B-C50C-407E-A947-70E740481C1C}">
                  <a14:useLocalDpi xmlns:a14="http://schemas.microsoft.com/office/drawing/2010/main"/>
                </a:ext>
              </a:extLst>
            </a:blip>
            <a:srcRect l="7733" t="6878" r="5453" b="9546"/>
            <a:stretch/>
          </p:blipFill>
          <p:spPr bwMode="auto">
            <a:xfrm>
              <a:off x="7608875" y="407299"/>
              <a:ext cx="1404584" cy="540631"/>
            </a:xfrm>
            <a:prstGeom prst="rect">
              <a:avLst/>
            </a:prstGeom>
            <a:grpFill/>
            <a:ln w="9525">
              <a:noFill/>
              <a:miter lim="800000"/>
              <a:headEnd/>
              <a:tailEnd/>
            </a:ln>
          </p:spPr>
        </p:pic>
      </p:grpSp>
      <p:sp>
        <p:nvSpPr>
          <p:cNvPr id="13" name="Rechteck 12"/>
          <p:cNvSpPr/>
          <p:nvPr userDrawn="1"/>
        </p:nvSpPr>
        <p:spPr>
          <a:xfrm>
            <a:off x="9887088" y="1345096"/>
            <a:ext cx="2304912" cy="429605"/>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14" name="Group 4"/>
          <p:cNvGrpSpPr>
            <a:grpSpLocks noChangeAspect="1"/>
          </p:cNvGrpSpPr>
          <p:nvPr userDrawn="1"/>
        </p:nvGrpSpPr>
        <p:grpSpPr bwMode="auto">
          <a:xfrm>
            <a:off x="11268361" y="1286959"/>
            <a:ext cx="601441" cy="445749"/>
            <a:chOff x="5478" y="637"/>
            <a:chExt cx="282" cy="209"/>
          </a:xfrm>
        </p:grpSpPr>
        <p:sp>
          <p:nvSpPr>
            <p:cNvPr id="15" name="AutoShape 3"/>
            <p:cNvSpPr>
              <a:spLocks noChangeAspect="1" noChangeArrowheads="1" noTextEdit="1"/>
            </p:cNvSpPr>
            <p:nvPr userDrawn="1"/>
          </p:nvSpPr>
          <p:spPr bwMode="auto">
            <a:xfrm>
              <a:off x="5478" y="637"/>
              <a:ext cx="282" cy="2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pic>
          <p:nvPicPr>
            <p:cNvPr id="16" name="Picture 5"/>
            <p:cNvPicPr>
              <a:picLocks noChangeAspect="1" noChangeArrowheads="1"/>
            </p:cNvPicPr>
            <p:nvPr userDrawn="1"/>
          </p:nvPicPr>
          <p:blipFill>
            <a:blip r:embed="rId4" cstate="hqprint">
              <a:extLst>
                <a:ext uri="{28A0092B-C50C-407E-A947-70E740481C1C}">
                  <a14:useLocalDpi xmlns:a14="http://schemas.microsoft.com/office/drawing/2010/main" val="0"/>
                </a:ext>
              </a:extLst>
            </a:blip>
            <a:srcRect/>
            <a:stretch>
              <a:fillRect/>
            </a:stretch>
          </p:blipFill>
          <p:spPr bwMode="auto">
            <a:xfrm>
              <a:off x="5478" y="637"/>
              <a:ext cx="282" cy="2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 name="Freeform 6"/>
            <p:cNvSpPr>
              <a:spLocks noEditPoints="1"/>
            </p:cNvSpPr>
            <p:nvPr userDrawn="1"/>
          </p:nvSpPr>
          <p:spPr bwMode="auto">
            <a:xfrm>
              <a:off x="5486" y="647"/>
              <a:ext cx="185" cy="183"/>
            </a:xfrm>
            <a:custGeom>
              <a:avLst/>
              <a:gdLst>
                <a:gd name="T0" fmla="*/ 554 w 554"/>
                <a:gd name="T1" fmla="*/ 275 h 550"/>
                <a:gd name="T2" fmla="*/ 549 w 554"/>
                <a:gd name="T3" fmla="*/ 331 h 550"/>
                <a:gd name="T4" fmla="*/ 533 w 554"/>
                <a:gd name="T5" fmla="*/ 382 h 550"/>
                <a:gd name="T6" fmla="*/ 507 w 554"/>
                <a:gd name="T7" fmla="*/ 429 h 550"/>
                <a:gd name="T8" fmla="*/ 473 w 554"/>
                <a:gd name="T9" fmla="*/ 470 h 550"/>
                <a:gd name="T10" fmla="*/ 433 w 554"/>
                <a:gd name="T11" fmla="*/ 503 h 550"/>
                <a:gd name="T12" fmla="*/ 385 w 554"/>
                <a:gd name="T13" fmla="*/ 529 h 550"/>
                <a:gd name="T14" fmla="*/ 334 w 554"/>
                <a:gd name="T15" fmla="*/ 544 h 550"/>
                <a:gd name="T16" fmla="*/ 278 w 554"/>
                <a:gd name="T17" fmla="*/ 550 h 550"/>
                <a:gd name="T18" fmla="*/ 249 w 554"/>
                <a:gd name="T19" fmla="*/ 549 h 550"/>
                <a:gd name="T20" fmla="*/ 195 w 554"/>
                <a:gd name="T21" fmla="*/ 539 h 550"/>
                <a:gd name="T22" fmla="*/ 145 w 554"/>
                <a:gd name="T23" fmla="*/ 517 h 550"/>
                <a:gd name="T24" fmla="*/ 102 w 554"/>
                <a:gd name="T25" fmla="*/ 487 h 550"/>
                <a:gd name="T26" fmla="*/ 63 w 554"/>
                <a:gd name="T27" fmla="*/ 450 h 550"/>
                <a:gd name="T28" fmla="*/ 33 w 554"/>
                <a:gd name="T29" fmla="*/ 406 h 550"/>
                <a:gd name="T30" fmla="*/ 13 w 554"/>
                <a:gd name="T31" fmla="*/ 358 h 550"/>
                <a:gd name="T32" fmla="*/ 2 w 554"/>
                <a:gd name="T33" fmla="*/ 303 h 550"/>
                <a:gd name="T34" fmla="*/ 0 w 554"/>
                <a:gd name="T35" fmla="*/ 275 h 550"/>
                <a:gd name="T36" fmla="*/ 6 w 554"/>
                <a:gd name="T37" fmla="*/ 219 h 550"/>
                <a:gd name="T38" fmla="*/ 22 w 554"/>
                <a:gd name="T39" fmla="*/ 168 h 550"/>
                <a:gd name="T40" fmla="*/ 48 w 554"/>
                <a:gd name="T41" fmla="*/ 121 h 550"/>
                <a:gd name="T42" fmla="*/ 82 w 554"/>
                <a:gd name="T43" fmla="*/ 80 h 550"/>
                <a:gd name="T44" fmla="*/ 122 w 554"/>
                <a:gd name="T45" fmla="*/ 47 h 550"/>
                <a:gd name="T46" fmla="*/ 169 w 554"/>
                <a:gd name="T47" fmla="*/ 21 h 550"/>
                <a:gd name="T48" fmla="*/ 222 w 554"/>
                <a:gd name="T49" fmla="*/ 6 h 550"/>
                <a:gd name="T50" fmla="*/ 278 w 554"/>
                <a:gd name="T51" fmla="*/ 0 h 550"/>
                <a:gd name="T52" fmla="*/ 305 w 554"/>
                <a:gd name="T53" fmla="*/ 1 h 550"/>
                <a:gd name="T54" fmla="*/ 360 w 554"/>
                <a:gd name="T55" fmla="*/ 11 h 550"/>
                <a:gd name="T56" fmla="*/ 410 w 554"/>
                <a:gd name="T57" fmla="*/ 33 h 550"/>
                <a:gd name="T58" fmla="*/ 454 w 554"/>
                <a:gd name="T59" fmla="*/ 63 h 550"/>
                <a:gd name="T60" fmla="*/ 491 w 554"/>
                <a:gd name="T61" fmla="*/ 100 h 550"/>
                <a:gd name="T62" fmla="*/ 521 w 554"/>
                <a:gd name="T63" fmla="*/ 144 h 550"/>
                <a:gd name="T64" fmla="*/ 541 w 554"/>
                <a:gd name="T65" fmla="*/ 192 h 550"/>
                <a:gd name="T66" fmla="*/ 553 w 554"/>
                <a:gd name="T67" fmla="*/ 246 h 550"/>
                <a:gd name="T68" fmla="*/ 554 w 554"/>
                <a:gd name="T69" fmla="*/ 275 h 550"/>
                <a:gd name="T70" fmla="*/ 554 w 554"/>
                <a:gd name="T71" fmla="*/ 275 h 5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54" h="550">
                  <a:moveTo>
                    <a:pt x="554" y="275"/>
                  </a:moveTo>
                  <a:lnTo>
                    <a:pt x="554" y="275"/>
                  </a:lnTo>
                  <a:lnTo>
                    <a:pt x="553" y="303"/>
                  </a:lnTo>
                  <a:lnTo>
                    <a:pt x="549" y="331"/>
                  </a:lnTo>
                  <a:lnTo>
                    <a:pt x="541" y="358"/>
                  </a:lnTo>
                  <a:lnTo>
                    <a:pt x="533" y="382"/>
                  </a:lnTo>
                  <a:lnTo>
                    <a:pt x="521" y="406"/>
                  </a:lnTo>
                  <a:lnTo>
                    <a:pt x="507" y="429"/>
                  </a:lnTo>
                  <a:lnTo>
                    <a:pt x="491" y="450"/>
                  </a:lnTo>
                  <a:lnTo>
                    <a:pt x="473" y="470"/>
                  </a:lnTo>
                  <a:lnTo>
                    <a:pt x="454" y="487"/>
                  </a:lnTo>
                  <a:lnTo>
                    <a:pt x="433" y="503"/>
                  </a:lnTo>
                  <a:lnTo>
                    <a:pt x="410" y="517"/>
                  </a:lnTo>
                  <a:lnTo>
                    <a:pt x="385" y="529"/>
                  </a:lnTo>
                  <a:lnTo>
                    <a:pt x="360" y="539"/>
                  </a:lnTo>
                  <a:lnTo>
                    <a:pt x="334" y="544"/>
                  </a:lnTo>
                  <a:lnTo>
                    <a:pt x="305" y="549"/>
                  </a:lnTo>
                  <a:lnTo>
                    <a:pt x="278" y="550"/>
                  </a:lnTo>
                  <a:lnTo>
                    <a:pt x="278" y="550"/>
                  </a:lnTo>
                  <a:lnTo>
                    <a:pt x="249" y="549"/>
                  </a:lnTo>
                  <a:lnTo>
                    <a:pt x="222" y="544"/>
                  </a:lnTo>
                  <a:lnTo>
                    <a:pt x="195" y="539"/>
                  </a:lnTo>
                  <a:lnTo>
                    <a:pt x="169" y="529"/>
                  </a:lnTo>
                  <a:lnTo>
                    <a:pt x="145" y="517"/>
                  </a:lnTo>
                  <a:lnTo>
                    <a:pt x="122" y="503"/>
                  </a:lnTo>
                  <a:lnTo>
                    <a:pt x="102" y="487"/>
                  </a:lnTo>
                  <a:lnTo>
                    <a:pt x="82" y="470"/>
                  </a:lnTo>
                  <a:lnTo>
                    <a:pt x="63" y="450"/>
                  </a:lnTo>
                  <a:lnTo>
                    <a:pt x="48" y="429"/>
                  </a:lnTo>
                  <a:lnTo>
                    <a:pt x="33" y="406"/>
                  </a:lnTo>
                  <a:lnTo>
                    <a:pt x="22" y="382"/>
                  </a:lnTo>
                  <a:lnTo>
                    <a:pt x="13" y="358"/>
                  </a:lnTo>
                  <a:lnTo>
                    <a:pt x="6" y="331"/>
                  </a:lnTo>
                  <a:lnTo>
                    <a:pt x="2" y="303"/>
                  </a:lnTo>
                  <a:lnTo>
                    <a:pt x="0" y="275"/>
                  </a:lnTo>
                  <a:lnTo>
                    <a:pt x="0" y="275"/>
                  </a:lnTo>
                  <a:lnTo>
                    <a:pt x="2" y="246"/>
                  </a:lnTo>
                  <a:lnTo>
                    <a:pt x="6" y="219"/>
                  </a:lnTo>
                  <a:lnTo>
                    <a:pt x="13" y="192"/>
                  </a:lnTo>
                  <a:lnTo>
                    <a:pt x="22" y="168"/>
                  </a:lnTo>
                  <a:lnTo>
                    <a:pt x="33" y="144"/>
                  </a:lnTo>
                  <a:lnTo>
                    <a:pt x="48" y="121"/>
                  </a:lnTo>
                  <a:lnTo>
                    <a:pt x="63" y="100"/>
                  </a:lnTo>
                  <a:lnTo>
                    <a:pt x="82" y="80"/>
                  </a:lnTo>
                  <a:lnTo>
                    <a:pt x="102" y="63"/>
                  </a:lnTo>
                  <a:lnTo>
                    <a:pt x="122" y="47"/>
                  </a:lnTo>
                  <a:lnTo>
                    <a:pt x="145" y="33"/>
                  </a:lnTo>
                  <a:lnTo>
                    <a:pt x="169" y="21"/>
                  </a:lnTo>
                  <a:lnTo>
                    <a:pt x="195" y="11"/>
                  </a:lnTo>
                  <a:lnTo>
                    <a:pt x="222" y="6"/>
                  </a:lnTo>
                  <a:lnTo>
                    <a:pt x="249" y="1"/>
                  </a:lnTo>
                  <a:lnTo>
                    <a:pt x="278" y="0"/>
                  </a:lnTo>
                  <a:lnTo>
                    <a:pt x="278" y="0"/>
                  </a:lnTo>
                  <a:lnTo>
                    <a:pt x="305" y="1"/>
                  </a:lnTo>
                  <a:lnTo>
                    <a:pt x="334" y="6"/>
                  </a:lnTo>
                  <a:lnTo>
                    <a:pt x="360" y="11"/>
                  </a:lnTo>
                  <a:lnTo>
                    <a:pt x="385" y="21"/>
                  </a:lnTo>
                  <a:lnTo>
                    <a:pt x="410" y="33"/>
                  </a:lnTo>
                  <a:lnTo>
                    <a:pt x="433" y="47"/>
                  </a:lnTo>
                  <a:lnTo>
                    <a:pt x="454" y="63"/>
                  </a:lnTo>
                  <a:lnTo>
                    <a:pt x="473" y="80"/>
                  </a:lnTo>
                  <a:lnTo>
                    <a:pt x="491" y="100"/>
                  </a:lnTo>
                  <a:lnTo>
                    <a:pt x="507" y="121"/>
                  </a:lnTo>
                  <a:lnTo>
                    <a:pt x="521" y="144"/>
                  </a:lnTo>
                  <a:lnTo>
                    <a:pt x="533" y="168"/>
                  </a:lnTo>
                  <a:lnTo>
                    <a:pt x="541" y="192"/>
                  </a:lnTo>
                  <a:lnTo>
                    <a:pt x="549" y="219"/>
                  </a:lnTo>
                  <a:lnTo>
                    <a:pt x="553" y="246"/>
                  </a:lnTo>
                  <a:lnTo>
                    <a:pt x="554" y="275"/>
                  </a:lnTo>
                  <a:lnTo>
                    <a:pt x="554" y="275"/>
                  </a:lnTo>
                  <a:close/>
                  <a:moveTo>
                    <a:pt x="554" y="275"/>
                  </a:moveTo>
                  <a:lnTo>
                    <a:pt x="554" y="275"/>
                  </a:lnTo>
                  <a:close/>
                </a:path>
              </a:pathLst>
            </a:custGeom>
            <a:solidFill>
              <a:srgbClr val="B61F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9" name="Freeform 7"/>
            <p:cNvSpPr>
              <a:spLocks/>
            </p:cNvSpPr>
            <p:nvPr userDrawn="1"/>
          </p:nvSpPr>
          <p:spPr bwMode="auto">
            <a:xfrm>
              <a:off x="5486" y="647"/>
              <a:ext cx="185" cy="183"/>
            </a:xfrm>
            <a:custGeom>
              <a:avLst/>
              <a:gdLst>
                <a:gd name="T0" fmla="*/ 554 w 554"/>
                <a:gd name="T1" fmla="*/ 275 h 550"/>
                <a:gd name="T2" fmla="*/ 549 w 554"/>
                <a:gd name="T3" fmla="*/ 331 h 550"/>
                <a:gd name="T4" fmla="*/ 533 w 554"/>
                <a:gd name="T5" fmla="*/ 382 h 550"/>
                <a:gd name="T6" fmla="*/ 507 w 554"/>
                <a:gd name="T7" fmla="*/ 429 h 550"/>
                <a:gd name="T8" fmla="*/ 473 w 554"/>
                <a:gd name="T9" fmla="*/ 470 h 550"/>
                <a:gd name="T10" fmla="*/ 433 w 554"/>
                <a:gd name="T11" fmla="*/ 503 h 550"/>
                <a:gd name="T12" fmla="*/ 385 w 554"/>
                <a:gd name="T13" fmla="*/ 529 h 550"/>
                <a:gd name="T14" fmla="*/ 334 w 554"/>
                <a:gd name="T15" fmla="*/ 544 h 550"/>
                <a:gd name="T16" fmla="*/ 278 w 554"/>
                <a:gd name="T17" fmla="*/ 550 h 550"/>
                <a:gd name="T18" fmla="*/ 249 w 554"/>
                <a:gd name="T19" fmla="*/ 549 h 550"/>
                <a:gd name="T20" fmla="*/ 195 w 554"/>
                <a:gd name="T21" fmla="*/ 539 h 550"/>
                <a:gd name="T22" fmla="*/ 145 w 554"/>
                <a:gd name="T23" fmla="*/ 517 h 550"/>
                <a:gd name="T24" fmla="*/ 102 w 554"/>
                <a:gd name="T25" fmla="*/ 487 h 550"/>
                <a:gd name="T26" fmla="*/ 63 w 554"/>
                <a:gd name="T27" fmla="*/ 450 h 550"/>
                <a:gd name="T28" fmla="*/ 33 w 554"/>
                <a:gd name="T29" fmla="*/ 406 h 550"/>
                <a:gd name="T30" fmla="*/ 13 w 554"/>
                <a:gd name="T31" fmla="*/ 358 h 550"/>
                <a:gd name="T32" fmla="*/ 2 w 554"/>
                <a:gd name="T33" fmla="*/ 303 h 550"/>
                <a:gd name="T34" fmla="*/ 0 w 554"/>
                <a:gd name="T35" fmla="*/ 275 h 550"/>
                <a:gd name="T36" fmla="*/ 6 w 554"/>
                <a:gd name="T37" fmla="*/ 219 h 550"/>
                <a:gd name="T38" fmla="*/ 22 w 554"/>
                <a:gd name="T39" fmla="*/ 168 h 550"/>
                <a:gd name="T40" fmla="*/ 48 w 554"/>
                <a:gd name="T41" fmla="*/ 121 h 550"/>
                <a:gd name="T42" fmla="*/ 82 w 554"/>
                <a:gd name="T43" fmla="*/ 80 h 550"/>
                <a:gd name="T44" fmla="*/ 122 w 554"/>
                <a:gd name="T45" fmla="*/ 47 h 550"/>
                <a:gd name="T46" fmla="*/ 169 w 554"/>
                <a:gd name="T47" fmla="*/ 21 h 550"/>
                <a:gd name="T48" fmla="*/ 222 w 554"/>
                <a:gd name="T49" fmla="*/ 6 h 550"/>
                <a:gd name="T50" fmla="*/ 278 w 554"/>
                <a:gd name="T51" fmla="*/ 0 h 550"/>
                <a:gd name="T52" fmla="*/ 305 w 554"/>
                <a:gd name="T53" fmla="*/ 1 h 550"/>
                <a:gd name="T54" fmla="*/ 360 w 554"/>
                <a:gd name="T55" fmla="*/ 11 h 550"/>
                <a:gd name="T56" fmla="*/ 410 w 554"/>
                <a:gd name="T57" fmla="*/ 33 h 550"/>
                <a:gd name="T58" fmla="*/ 454 w 554"/>
                <a:gd name="T59" fmla="*/ 63 h 550"/>
                <a:gd name="T60" fmla="*/ 491 w 554"/>
                <a:gd name="T61" fmla="*/ 100 h 550"/>
                <a:gd name="T62" fmla="*/ 521 w 554"/>
                <a:gd name="T63" fmla="*/ 144 h 550"/>
                <a:gd name="T64" fmla="*/ 541 w 554"/>
                <a:gd name="T65" fmla="*/ 192 h 550"/>
                <a:gd name="T66" fmla="*/ 553 w 554"/>
                <a:gd name="T67" fmla="*/ 246 h 550"/>
                <a:gd name="T68" fmla="*/ 554 w 554"/>
                <a:gd name="T69" fmla="*/ 275 h 5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54" h="550">
                  <a:moveTo>
                    <a:pt x="554" y="275"/>
                  </a:moveTo>
                  <a:lnTo>
                    <a:pt x="554" y="275"/>
                  </a:lnTo>
                  <a:lnTo>
                    <a:pt x="553" y="303"/>
                  </a:lnTo>
                  <a:lnTo>
                    <a:pt x="549" y="331"/>
                  </a:lnTo>
                  <a:lnTo>
                    <a:pt x="541" y="358"/>
                  </a:lnTo>
                  <a:lnTo>
                    <a:pt x="533" y="382"/>
                  </a:lnTo>
                  <a:lnTo>
                    <a:pt x="521" y="406"/>
                  </a:lnTo>
                  <a:lnTo>
                    <a:pt x="507" y="429"/>
                  </a:lnTo>
                  <a:lnTo>
                    <a:pt x="491" y="450"/>
                  </a:lnTo>
                  <a:lnTo>
                    <a:pt x="473" y="470"/>
                  </a:lnTo>
                  <a:lnTo>
                    <a:pt x="454" y="487"/>
                  </a:lnTo>
                  <a:lnTo>
                    <a:pt x="433" y="503"/>
                  </a:lnTo>
                  <a:lnTo>
                    <a:pt x="410" y="517"/>
                  </a:lnTo>
                  <a:lnTo>
                    <a:pt x="385" y="529"/>
                  </a:lnTo>
                  <a:lnTo>
                    <a:pt x="360" y="539"/>
                  </a:lnTo>
                  <a:lnTo>
                    <a:pt x="334" y="544"/>
                  </a:lnTo>
                  <a:lnTo>
                    <a:pt x="305" y="549"/>
                  </a:lnTo>
                  <a:lnTo>
                    <a:pt x="278" y="550"/>
                  </a:lnTo>
                  <a:lnTo>
                    <a:pt x="278" y="550"/>
                  </a:lnTo>
                  <a:lnTo>
                    <a:pt x="249" y="549"/>
                  </a:lnTo>
                  <a:lnTo>
                    <a:pt x="222" y="544"/>
                  </a:lnTo>
                  <a:lnTo>
                    <a:pt x="195" y="539"/>
                  </a:lnTo>
                  <a:lnTo>
                    <a:pt x="169" y="529"/>
                  </a:lnTo>
                  <a:lnTo>
                    <a:pt x="145" y="517"/>
                  </a:lnTo>
                  <a:lnTo>
                    <a:pt x="122" y="503"/>
                  </a:lnTo>
                  <a:lnTo>
                    <a:pt x="102" y="487"/>
                  </a:lnTo>
                  <a:lnTo>
                    <a:pt x="82" y="470"/>
                  </a:lnTo>
                  <a:lnTo>
                    <a:pt x="63" y="450"/>
                  </a:lnTo>
                  <a:lnTo>
                    <a:pt x="48" y="429"/>
                  </a:lnTo>
                  <a:lnTo>
                    <a:pt x="33" y="406"/>
                  </a:lnTo>
                  <a:lnTo>
                    <a:pt x="22" y="382"/>
                  </a:lnTo>
                  <a:lnTo>
                    <a:pt x="13" y="358"/>
                  </a:lnTo>
                  <a:lnTo>
                    <a:pt x="6" y="331"/>
                  </a:lnTo>
                  <a:lnTo>
                    <a:pt x="2" y="303"/>
                  </a:lnTo>
                  <a:lnTo>
                    <a:pt x="0" y="275"/>
                  </a:lnTo>
                  <a:lnTo>
                    <a:pt x="0" y="275"/>
                  </a:lnTo>
                  <a:lnTo>
                    <a:pt x="2" y="246"/>
                  </a:lnTo>
                  <a:lnTo>
                    <a:pt x="6" y="219"/>
                  </a:lnTo>
                  <a:lnTo>
                    <a:pt x="13" y="192"/>
                  </a:lnTo>
                  <a:lnTo>
                    <a:pt x="22" y="168"/>
                  </a:lnTo>
                  <a:lnTo>
                    <a:pt x="33" y="144"/>
                  </a:lnTo>
                  <a:lnTo>
                    <a:pt x="48" y="121"/>
                  </a:lnTo>
                  <a:lnTo>
                    <a:pt x="63" y="100"/>
                  </a:lnTo>
                  <a:lnTo>
                    <a:pt x="82" y="80"/>
                  </a:lnTo>
                  <a:lnTo>
                    <a:pt x="102" y="63"/>
                  </a:lnTo>
                  <a:lnTo>
                    <a:pt x="122" y="47"/>
                  </a:lnTo>
                  <a:lnTo>
                    <a:pt x="145" y="33"/>
                  </a:lnTo>
                  <a:lnTo>
                    <a:pt x="169" y="21"/>
                  </a:lnTo>
                  <a:lnTo>
                    <a:pt x="195" y="11"/>
                  </a:lnTo>
                  <a:lnTo>
                    <a:pt x="222" y="6"/>
                  </a:lnTo>
                  <a:lnTo>
                    <a:pt x="249" y="1"/>
                  </a:lnTo>
                  <a:lnTo>
                    <a:pt x="278" y="0"/>
                  </a:lnTo>
                  <a:lnTo>
                    <a:pt x="278" y="0"/>
                  </a:lnTo>
                  <a:lnTo>
                    <a:pt x="305" y="1"/>
                  </a:lnTo>
                  <a:lnTo>
                    <a:pt x="334" y="6"/>
                  </a:lnTo>
                  <a:lnTo>
                    <a:pt x="360" y="11"/>
                  </a:lnTo>
                  <a:lnTo>
                    <a:pt x="385" y="21"/>
                  </a:lnTo>
                  <a:lnTo>
                    <a:pt x="410" y="33"/>
                  </a:lnTo>
                  <a:lnTo>
                    <a:pt x="433" y="47"/>
                  </a:lnTo>
                  <a:lnTo>
                    <a:pt x="454" y="63"/>
                  </a:lnTo>
                  <a:lnTo>
                    <a:pt x="473" y="80"/>
                  </a:lnTo>
                  <a:lnTo>
                    <a:pt x="491" y="100"/>
                  </a:lnTo>
                  <a:lnTo>
                    <a:pt x="507" y="121"/>
                  </a:lnTo>
                  <a:lnTo>
                    <a:pt x="521" y="144"/>
                  </a:lnTo>
                  <a:lnTo>
                    <a:pt x="533" y="168"/>
                  </a:lnTo>
                  <a:lnTo>
                    <a:pt x="541" y="192"/>
                  </a:lnTo>
                  <a:lnTo>
                    <a:pt x="549" y="219"/>
                  </a:lnTo>
                  <a:lnTo>
                    <a:pt x="553" y="246"/>
                  </a:lnTo>
                  <a:lnTo>
                    <a:pt x="554" y="275"/>
                  </a:lnTo>
                  <a:lnTo>
                    <a:pt x="554" y="27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0" name="Line 8"/>
            <p:cNvSpPr>
              <a:spLocks noChangeShapeType="1"/>
            </p:cNvSpPr>
            <p:nvPr userDrawn="1"/>
          </p:nvSpPr>
          <p:spPr bwMode="auto">
            <a:xfrm>
              <a:off x="5671" y="739"/>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1" name="Freeform 9"/>
            <p:cNvSpPr>
              <a:spLocks/>
            </p:cNvSpPr>
            <p:nvPr userDrawn="1"/>
          </p:nvSpPr>
          <p:spPr bwMode="auto">
            <a:xfrm>
              <a:off x="5486" y="647"/>
              <a:ext cx="185" cy="183"/>
            </a:xfrm>
            <a:custGeom>
              <a:avLst/>
              <a:gdLst>
                <a:gd name="T0" fmla="*/ 554 w 554"/>
                <a:gd name="T1" fmla="*/ 275 h 550"/>
                <a:gd name="T2" fmla="*/ 549 w 554"/>
                <a:gd name="T3" fmla="*/ 331 h 550"/>
                <a:gd name="T4" fmla="*/ 533 w 554"/>
                <a:gd name="T5" fmla="*/ 382 h 550"/>
                <a:gd name="T6" fmla="*/ 507 w 554"/>
                <a:gd name="T7" fmla="*/ 429 h 550"/>
                <a:gd name="T8" fmla="*/ 473 w 554"/>
                <a:gd name="T9" fmla="*/ 470 h 550"/>
                <a:gd name="T10" fmla="*/ 433 w 554"/>
                <a:gd name="T11" fmla="*/ 503 h 550"/>
                <a:gd name="T12" fmla="*/ 385 w 554"/>
                <a:gd name="T13" fmla="*/ 529 h 550"/>
                <a:gd name="T14" fmla="*/ 334 w 554"/>
                <a:gd name="T15" fmla="*/ 544 h 550"/>
                <a:gd name="T16" fmla="*/ 278 w 554"/>
                <a:gd name="T17" fmla="*/ 550 h 550"/>
                <a:gd name="T18" fmla="*/ 249 w 554"/>
                <a:gd name="T19" fmla="*/ 549 h 550"/>
                <a:gd name="T20" fmla="*/ 195 w 554"/>
                <a:gd name="T21" fmla="*/ 539 h 550"/>
                <a:gd name="T22" fmla="*/ 145 w 554"/>
                <a:gd name="T23" fmla="*/ 517 h 550"/>
                <a:gd name="T24" fmla="*/ 102 w 554"/>
                <a:gd name="T25" fmla="*/ 487 h 550"/>
                <a:gd name="T26" fmla="*/ 63 w 554"/>
                <a:gd name="T27" fmla="*/ 450 h 550"/>
                <a:gd name="T28" fmla="*/ 33 w 554"/>
                <a:gd name="T29" fmla="*/ 406 h 550"/>
                <a:gd name="T30" fmla="*/ 13 w 554"/>
                <a:gd name="T31" fmla="*/ 358 h 550"/>
                <a:gd name="T32" fmla="*/ 2 w 554"/>
                <a:gd name="T33" fmla="*/ 303 h 550"/>
                <a:gd name="T34" fmla="*/ 0 w 554"/>
                <a:gd name="T35" fmla="*/ 275 h 550"/>
                <a:gd name="T36" fmla="*/ 6 w 554"/>
                <a:gd name="T37" fmla="*/ 219 h 550"/>
                <a:gd name="T38" fmla="*/ 22 w 554"/>
                <a:gd name="T39" fmla="*/ 168 h 550"/>
                <a:gd name="T40" fmla="*/ 48 w 554"/>
                <a:gd name="T41" fmla="*/ 121 h 550"/>
                <a:gd name="T42" fmla="*/ 82 w 554"/>
                <a:gd name="T43" fmla="*/ 80 h 550"/>
                <a:gd name="T44" fmla="*/ 122 w 554"/>
                <a:gd name="T45" fmla="*/ 47 h 550"/>
                <a:gd name="T46" fmla="*/ 169 w 554"/>
                <a:gd name="T47" fmla="*/ 21 h 550"/>
                <a:gd name="T48" fmla="*/ 222 w 554"/>
                <a:gd name="T49" fmla="*/ 6 h 550"/>
                <a:gd name="T50" fmla="*/ 278 w 554"/>
                <a:gd name="T51" fmla="*/ 0 h 550"/>
                <a:gd name="T52" fmla="*/ 305 w 554"/>
                <a:gd name="T53" fmla="*/ 1 h 550"/>
                <a:gd name="T54" fmla="*/ 360 w 554"/>
                <a:gd name="T55" fmla="*/ 11 h 550"/>
                <a:gd name="T56" fmla="*/ 410 w 554"/>
                <a:gd name="T57" fmla="*/ 33 h 550"/>
                <a:gd name="T58" fmla="*/ 454 w 554"/>
                <a:gd name="T59" fmla="*/ 63 h 550"/>
                <a:gd name="T60" fmla="*/ 491 w 554"/>
                <a:gd name="T61" fmla="*/ 100 h 550"/>
                <a:gd name="T62" fmla="*/ 521 w 554"/>
                <a:gd name="T63" fmla="*/ 144 h 550"/>
                <a:gd name="T64" fmla="*/ 541 w 554"/>
                <a:gd name="T65" fmla="*/ 192 h 550"/>
                <a:gd name="T66" fmla="*/ 553 w 554"/>
                <a:gd name="T67" fmla="*/ 246 h 550"/>
                <a:gd name="T68" fmla="*/ 554 w 554"/>
                <a:gd name="T69" fmla="*/ 275 h 5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54" h="550">
                  <a:moveTo>
                    <a:pt x="554" y="275"/>
                  </a:moveTo>
                  <a:lnTo>
                    <a:pt x="554" y="275"/>
                  </a:lnTo>
                  <a:lnTo>
                    <a:pt x="553" y="303"/>
                  </a:lnTo>
                  <a:lnTo>
                    <a:pt x="549" y="331"/>
                  </a:lnTo>
                  <a:lnTo>
                    <a:pt x="541" y="358"/>
                  </a:lnTo>
                  <a:lnTo>
                    <a:pt x="533" y="382"/>
                  </a:lnTo>
                  <a:lnTo>
                    <a:pt x="521" y="406"/>
                  </a:lnTo>
                  <a:lnTo>
                    <a:pt x="507" y="429"/>
                  </a:lnTo>
                  <a:lnTo>
                    <a:pt x="491" y="450"/>
                  </a:lnTo>
                  <a:lnTo>
                    <a:pt x="473" y="470"/>
                  </a:lnTo>
                  <a:lnTo>
                    <a:pt x="454" y="487"/>
                  </a:lnTo>
                  <a:lnTo>
                    <a:pt x="433" y="503"/>
                  </a:lnTo>
                  <a:lnTo>
                    <a:pt x="410" y="517"/>
                  </a:lnTo>
                  <a:lnTo>
                    <a:pt x="385" y="529"/>
                  </a:lnTo>
                  <a:lnTo>
                    <a:pt x="360" y="539"/>
                  </a:lnTo>
                  <a:lnTo>
                    <a:pt x="334" y="544"/>
                  </a:lnTo>
                  <a:lnTo>
                    <a:pt x="305" y="549"/>
                  </a:lnTo>
                  <a:lnTo>
                    <a:pt x="278" y="550"/>
                  </a:lnTo>
                  <a:lnTo>
                    <a:pt x="278" y="550"/>
                  </a:lnTo>
                  <a:lnTo>
                    <a:pt x="249" y="549"/>
                  </a:lnTo>
                  <a:lnTo>
                    <a:pt x="222" y="544"/>
                  </a:lnTo>
                  <a:lnTo>
                    <a:pt x="195" y="539"/>
                  </a:lnTo>
                  <a:lnTo>
                    <a:pt x="169" y="529"/>
                  </a:lnTo>
                  <a:lnTo>
                    <a:pt x="145" y="517"/>
                  </a:lnTo>
                  <a:lnTo>
                    <a:pt x="122" y="503"/>
                  </a:lnTo>
                  <a:lnTo>
                    <a:pt x="102" y="487"/>
                  </a:lnTo>
                  <a:lnTo>
                    <a:pt x="82" y="470"/>
                  </a:lnTo>
                  <a:lnTo>
                    <a:pt x="63" y="450"/>
                  </a:lnTo>
                  <a:lnTo>
                    <a:pt x="48" y="429"/>
                  </a:lnTo>
                  <a:lnTo>
                    <a:pt x="33" y="406"/>
                  </a:lnTo>
                  <a:lnTo>
                    <a:pt x="22" y="382"/>
                  </a:lnTo>
                  <a:lnTo>
                    <a:pt x="13" y="358"/>
                  </a:lnTo>
                  <a:lnTo>
                    <a:pt x="6" y="331"/>
                  </a:lnTo>
                  <a:lnTo>
                    <a:pt x="2" y="303"/>
                  </a:lnTo>
                  <a:lnTo>
                    <a:pt x="0" y="275"/>
                  </a:lnTo>
                  <a:lnTo>
                    <a:pt x="0" y="275"/>
                  </a:lnTo>
                  <a:lnTo>
                    <a:pt x="2" y="246"/>
                  </a:lnTo>
                  <a:lnTo>
                    <a:pt x="6" y="219"/>
                  </a:lnTo>
                  <a:lnTo>
                    <a:pt x="13" y="192"/>
                  </a:lnTo>
                  <a:lnTo>
                    <a:pt x="22" y="168"/>
                  </a:lnTo>
                  <a:lnTo>
                    <a:pt x="33" y="144"/>
                  </a:lnTo>
                  <a:lnTo>
                    <a:pt x="48" y="121"/>
                  </a:lnTo>
                  <a:lnTo>
                    <a:pt x="63" y="100"/>
                  </a:lnTo>
                  <a:lnTo>
                    <a:pt x="82" y="80"/>
                  </a:lnTo>
                  <a:lnTo>
                    <a:pt x="102" y="63"/>
                  </a:lnTo>
                  <a:lnTo>
                    <a:pt x="122" y="47"/>
                  </a:lnTo>
                  <a:lnTo>
                    <a:pt x="145" y="33"/>
                  </a:lnTo>
                  <a:lnTo>
                    <a:pt x="169" y="21"/>
                  </a:lnTo>
                  <a:lnTo>
                    <a:pt x="195" y="11"/>
                  </a:lnTo>
                  <a:lnTo>
                    <a:pt x="222" y="6"/>
                  </a:lnTo>
                  <a:lnTo>
                    <a:pt x="249" y="1"/>
                  </a:lnTo>
                  <a:lnTo>
                    <a:pt x="278" y="0"/>
                  </a:lnTo>
                  <a:lnTo>
                    <a:pt x="278" y="0"/>
                  </a:lnTo>
                  <a:lnTo>
                    <a:pt x="305" y="1"/>
                  </a:lnTo>
                  <a:lnTo>
                    <a:pt x="334" y="6"/>
                  </a:lnTo>
                  <a:lnTo>
                    <a:pt x="360" y="11"/>
                  </a:lnTo>
                  <a:lnTo>
                    <a:pt x="385" y="21"/>
                  </a:lnTo>
                  <a:lnTo>
                    <a:pt x="410" y="33"/>
                  </a:lnTo>
                  <a:lnTo>
                    <a:pt x="433" y="47"/>
                  </a:lnTo>
                  <a:lnTo>
                    <a:pt x="454" y="63"/>
                  </a:lnTo>
                  <a:lnTo>
                    <a:pt x="473" y="80"/>
                  </a:lnTo>
                  <a:lnTo>
                    <a:pt x="491" y="100"/>
                  </a:lnTo>
                  <a:lnTo>
                    <a:pt x="507" y="121"/>
                  </a:lnTo>
                  <a:lnTo>
                    <a:pt x="521" y="144"/>
                  </a:lnTo>
                  <a:lnTo>
                    <a:pt x="533" y="168"/>
                  </a:lnTo>
                  <a:lnTo>
                    <a:pt x="541" y="192"/>
                  </a:lnTo>
                  <a:lnTo>
                    <a:pt x="549" y="219"/>
                  </a:lnTo>
                  <a:lnTo>
                    <a:pt x="553" y="246"/>
                  </a:lnTo>
                  <a:lnTo>
                    <a:pt x="554" y="275"/>
                  </a:lnTo>
                  <a:lnTo>
                    <a:pt x="554" y="275"/>
                  </a:lnTo>
                </a:path>
              </a:pathLst>
            </a:custGeom>
            <a:noFill/>
            <a:ln w="1588">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2" name="Line 10"/>
            <p:cNvSpPr>
              <a:spLocks noChangeShapeType="1"/>
            </p:cNvSpPr>
            <p:nvPr userDrawn="1"/>
          </p:nvSpPr>
          <p:spPr bwMode="auto">
            <a:xfrm>
              <a:off x="5671" y="739"/>
              <a:ext cx="0" cy="0"/>
            </a:xfrm>
            <a:prstGeom prst="line">
              <a:avLst/>
            </a:prstGeom>
            <a:noFill/>
            <a:ln w="1588">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3" name="Freeform 11"/>
            <p:cNvSpPr>
              <a:spLocks noEditPoints="1"/>
            </p:cNvSpPr>
            <p:nvPr userDrawn="1"/>
          </p:nvSpPr>
          <p:spPr bwMode="auto">
            <a:xfrm>
              <a:off x="5497" y="659"/>
              <a:ext cx="170" cy="170"/>
            </a:xfrm>
            <a:custGeom>
              <a:avLst/>
              <a:gdLst>
                <a:gd name="T0" fmla="*/ 510 w 510"/>
                <a:gd name="T1" fmla="*/ 257 h 511"/>
                <a:gd name="T2" fmla="*/ 504 w 510"/>
                <a:gd name="T3" fmla="*/ 309 h 511"/>
                <a:gd name="T4" fmla="*/ 490 w 510"/>
                <a:gd name="T5" fmla="*/ 356 h 511"/>
                <a:gd name="T6" fmla="*/ 465 w 510"/>
                <a:gd name="T7" fmla="*/ 399 h 511"/>
                <a:gd name="T8" fmla="*/ 434 w 510"/>
                <a:gd name="T9" fmla="*/ 437 h 511"/>
                <a:gd name="T10" fmla="*/ 397 w 510"/>
                <a:gd name="T11" fmla="*/ 467 h 511"/>
                <a:gd name="T12" fmla="*/ 354 w 510"/>
                <a:gd name="T13" fmla="*/ 491 h 511"/>
                <a:gd name="T14" fmla="*/ 307 w 510"/>
                <a:gd name="T15" fmla="*/ 505 h 511"/>
                <a:gd name="T16" fmla="*/ 255 w 510"/>
                <a:gd name="T17" fmla="*/ 511 h 511"/>
                <a:gd name="T18" fmla="*/ 229 w 510"/>
                <a:gd name="T19" fmla="*/ 510 h 511"/>
                <a:gd name="T20" fmla="*/ 179 w 510"/>
                <a:gd name="T21" fmla="*/ 500 h 511"/>
                <a:gd name="T22" fmla="*/ 133 w 510"/>
                <a:gd name="T23" fmla="*/ 480 h 511"/>
                <a:gd name="T24" fmla="*/ 93 w 510"/>
                <a:gd name="T25" fmla="*/ 453 h 511"/>
                <a:gd name="T26" fmla="*/ 59 w 510"/>
                <a:gd name="T27" fmla="*/ 419 h 511"/>
                <a:gd name="T28" fmla="*/ 30 w 510"/>
                <a:gd name="T29" fmla="*/ 379 h 511"/>
                <a:gd name="T30" fmla="*/ 12 w 510"/>
                <a:gd name="T31" fmla="*/ 333 h 511"/>
                <a:gd name="T32" fmla="*/ 2 w 510"/>
                <a:gd name="T33" fmla="*/ 283 h 511"/>
                <a:gd name="T34" fmla="*/ 0 w 510"/>
                <a:gd name="T35" fmla="*/ 257 h 511"/>
                <a:gd name="T36" fmla="*/ 6 w 510"/>
                <a:gd name="T37" fmla="*/ 206 h 511"/>
                <a:gd name="T38" fmla="*/ 20 w 510"/>
                <a:gd name="T39" fmla="*/ 158 h 511"/>
                <a:gd name="T40" fmla="*/ 43 w 510"/>
                <a:gd name="T41" fmla="*/ 115 h 511"/>
                <a:gd name="T42" fmla="*/ 75 w 510"/>
                <a:gd name="T43" fmla="*/ 77 h 511"/>
                <a:gd name="T44" fmla="*/ 112 w 510"/>
                <a:gd name="T45" fmla="*/ 44 h 511"/>
                <a:gd name="T46" fmla="*/ 156 w 510"/>
                <a:gd name="T47" fmla="*/ 21 h 511"/>
                <a:gd name="T48" fmla="*/ 204 w 510"/>
                <a:gd name="T49" fmla="*/ 5 h 511"/>
                <a:gd name="T50" fmla="*/ 255 w 510"/>
                <a:gd name="T51" fmla="*/ 0 h 511"/>
                <a:gd name="T52" fmla="*/ 284 w 510"/>
                <a:gd name="T53" fmla="*/ 1 h 511"/>
                <a:gd name="T54" fmla="*/ 337 w 510"/>
                <a:gd name="T55" fmla="*/ 11 h 511"/>
                <a:gd name="T56" fmla="*/ 384 w 510"/>
                <a:gd name="T57" fmla="*/ 31 h 511"/>
                <a:gd name="T58" fmla="*/ 424 w 510"/>
                <a:gd name="T59" fmla="*/ 59 h 511"/>
                <a:gd name="T60" fmla="*/ 457 w 510"/>
                <a:gd name="T61" fmla="*/ 95 h 511"/>
                <a:gd name="T62" fmla="*/ 481 w 510"/>
                <a:gd name="T63" fmla="*/ 136 h 511"/>
                <a:gd name="T64" fmla="*/ 500 w 510"/>
                <a:gd name="T65" fmla="*/ 182 h 511"/>
                <a:gd name="T66" fmla="*/ 508 w 510"/>
                <a:gd name="T67" fmla="*/ 232 h 511"/>
                <a:gd name="T68" fmla="*/ 510 w 510"/>
                <a:gd name="T69" fmla="*/ 257 h 511"/>
                <a:gd name="T70" fmla="*/ 510 w 510"/>
                <a:gd name="T71" fmla="*/ 257 h 5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0" h="511">
                  <a:moveTo>
                    <a:pt x="510" y="257"/>
                  </a:moveTo>
                  <a:lnTo>
                    <a:pt x="510" y="257"/>
                  </a:lnTo>
                  <a:lnTo>
                    <a:pt x="508" y="283"/>
                  </a:lnTo>
                  <a:lnTo>
                    <a:pt x="504" y="309"/>
                  </a:lnTo>
                  <a:lnTo>
                    <a:pt x="498" y="333"/>
                  </a:lnTo>
                  <a:lnTo>
                    <a:pt x="490" y="356"/>
                  </a:lnTo>
                  <a:lnTo>
                    <a:pt x="478" y="379"/>
                  </a:lnTo>
                  <a:lnTo>
                    <a:pt x="465" y="399"/>
                  </a:lnTo>
                  <a:lnTo>
                    <a:pt x="451" y="419"/>
                  </a:lnTo>
                  <a:lnTo>
                    <a:pt x="434" y="437"/>
                  </a:lnTo>
                  <a:lnTo>
                    <a:pt x="417" y="453"/>
                  </a:lnTo>
                  <a:lnTo>
                    <a:pt x="397" y="467"/>
                  </a:lnTo>
                  <a:lnTo>
                    <a:pt x="377" y="480"/>
                  </a:lnTo>
                  <a:lnTo>
                    <a:pt x="354" y="491"/>
                  </a:lnTo>
                  <a:lnTo>
                    <a:pt x="331" y="500"/>
                  </a:lnTo>
                  <a:lnTo>
                    <a:pt x="307" y="505"/>
                  </a:lnTo>
                  <a:lnTo>
                    <a:pt x="281" y="510"/>
                  </a:lnTo>
                  <a:lnTo>
                    <a:pt x="255" y="511"/>
                  </a:lnTo>
                  <a:lnTo>
                    <a:pt x="255" y="511"/>
                  </a:lnTo>
                  <a:lnTo>
                    <a:pt x="229" y="510"/>
                  </a:lnTo>
                  <a:lnTo>
                    <a:pt x="204" y="505"/>
                  </a:lnTo>
                  <a:lnTo>
                    <a:pt x="179" y="500"/>
                  </a:lnTo>
                  <a:lnTo>
                    <a:pt x="156" y="491"/>
                  </a:lnTo>
                  <a:lnTo>
                    <a:pt x="133" y="480"/>
                  </a:lnTo>
                  <a:lnTo>
                    <a:pt x="112" y="467"/>
                  </a:lnTo>
                  <a:lnTo>
                    <a:pt x="93" y="453"/>
                  </a:lnTo>
                  <a:lnTo>
                    <a:pt x="75" y="437"/>
                  </a:lnTo>
                  <a:lnTo>
                    <a:pt x="59" y="419"/>
                  </a:lnTo>
                  <a:lnTo>
                    <a:pt x="43" y="399"/>
                  </a:lnTo>
                  <a:lnTo>
                    <a:pt x="30" y="379"/>
                  </a:lnTo>
                  <a:lnTo>
                    <a:pt x="20" y="356"/>
                  </a:lnTo>
                  <a:lnTo>
                    <a:pt x="12" y="333"/>
                  </a:lnTo>
                  <a:lnTo>
                    <a:pt x="6" y="309"/>
                  </a:lnTo>
                  <a:lnTo>
                    <a:pt x="2" y="283"/>
                  </a:lnTo>
                  <a:lnTo>
                    <a:pt x="0" y="257"/>
                  </a:lnTo>
                  <a:lnTo>
                    <a:pt x="0" y="257"/>
                  </a:lnTo>
                  <a:lnTo>
                    <a:pt x="2" y="232"/>
                  </a:lnTo>
                  <a:lnTo>
                    <a:pt x="6" y="206"/>
                  </a:lnTo>
                  <a:lnTo>
                    <a:pt x="12" y="182"/>
                  </a:lnTo>
                  <a:lnTo>
                    <a:pt x="20" y="158"/>
                  </a:lnTo>
                  <a:lnTo>
                    <a:pt x="30" y="136"/>
                  </a:lnTo>
                  <a:lnTo>
                    <a:pt x="43" y="115"/>
                  </a:lnTo>
                  <a:lnTo>
                    <a:pt x="59" y="95"/>
                  </a:lnTo>
                  <a:lnTo>
                    <a:pt x="75" y="77"/>
                  </a:lnTo>
                  <a:lnTo>
                    <a:pt x="93" y="59"/>
                  </a:lnTo>
                  <a:lnTo>
                    <a:pt x="112" y="44"/>
                  </a:lnTo>
                  <a:lnTo>
                    <a:pt x="133" y="31"/>
                  </a:lnTo>
                  <a:lnTo>
                    <a:pt x="156" y="21"/>
                  </a:lnTo>
                  <a:lnTo>
                    <a:pt x="179" y="11"/>
                  </a:lnTo>
                  <a:lnTo>
                    <a:pt x="204" y="5"/>
                  </a:lnTo>
                  <a:lnTo>
                    <a:pt x="229" y="1"/>
                  </a:lnTo>
                  <a:lnTo>
                    <a:pt x="255" y="0"/>
                  </a:lnTo>
                  <a:lnTo>
                    <a:pt x="255" y="0"/>
                  </a:lnTo>
                  <a:lnTo>
                    <a:pt x="284" y="1"/>
                  </a:lnTo>
                  <a:lnTo>
                    <a:pt x="311" y="5"/>
                  </a:lnTo>
                  <a:lnTo>
                    <a:pt x="337" y="11"/>
                  </a:lnTo>
                  <a:lnTo>
                    <a:pt x="361" y="21"/>
                  </a:lnTo>
                  <a:lnTo>
                    <a:pt x="384" y="31"/>
                  </a:lnTo>
                  <a:lnTo>
                    <a:pt x="404" y="44"/>
                  </a:lnTo>
                  <a:lnTo>
                    <a:pt x="424" y="59"/>
                  </a:lnTo>
                  <a:lnTo>
                    <a:pt x="441" y="77"/>
                  </a:lnTo>
                  <a:lnTo>
                    <a:pt x="457" y="95"/>
                  </a:lnTo>
                  <a:lnTo>
                    <a:pt x="470" y="115"/>
                  </a:lnTo>
                  <a:lnTo>
                    <a:pt x="481" y="136"/>
                  </a:lnTo>
                  <a:lnTo>
                    <a:pt x="491" y="158"/>
                  </a:lnTo>
                  <a:lnTo>
                    <a:pt x="500" y="182"/>
                  </a:lnTo>
                  <a:lnTo>
                    <a:pt x="504" y="206"/>
                  </a:lnTo>
                  <a:lnTo>
                    <a:pt x="508" y="232"/>
                  </a:lnTo>
                  <a:lnTo>
                    <a:pt x="510" y="257"/>
                  </a:lnTo>
                  <a:lnTo>
                    <a:pt x="510" y="257"/>
                  </a:lnTo>
                  <a:close/>
                  <a:moveTo>
                    <a:pt x="510" y="257"/>
                  </a:moveTo>
                  <a:lnTo>
                    <a:pt x="510" y="257"/>
                  </a:lnTo>
                  <a:close/>
                </a:path>
              </a:pathLst>
            </a:custGeom>
            <a:solidFill>
              <a:srgbClr val="00987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4" name="Freeform 12"/>
            <p:cNvSpPr>
              <a:spLocks/>
            </p:cNvSpPr>
            <p:nvPr userDrawn="1"/>
          </p:nvSpPr>
          <p:spPr bwMode="auto">
            <a:xfrm>
              <a:off x="5497" y="659"/>
              <a:ext cx="170" cy="170"/>
            </a:xfrm>
            <a:custGeom>
              <a:avLst/>
              <a:gdLst>
                <a:gd name="T0" fmla="*/ 510 w 510"/>
                <a:gd name="T1" fmla="*/ 257 h 511"/>
                <a:gd name="T2" fmla="*/ 504 w 510"/>
                <a:gd name="T3" fmla="*/ 309 h 511"/>
                <a:gd name="T4" fmla="*/ 490 w 510"/>
                <a:gd name="T5" fmla="*/ 356 h 511"/>
                <a:gd name="T6" fmla="*/ 465 w 510"/>
                <a:gd name="T7" fmla="*/ 399 h 511"/>
                <a:gd name="T8" fmla="*/ 434 w 510"/>
                <a:gd name="T9" fmla="*/ 437 h 511"/>
                <a:gd name="T10" fmla="*/ 397 w 510"/>
                <a:gd name="T11" fmla="*/ 467 h 511"/>
                <a:gd name="T12" fmla="*/ 354 w 510"/>
                <a:gd name="T13" fmla="*/ 491 h 511"/>
                <a:gd name="T14" fmla="*/ 307 w 510"/>
                <a:gd name="T15" fmla="*/ 505 h 511"/>
                <a:gd name="T16" fmla="*/ 255 w 510"/>
                <a:gd name="T17" fmla="*/ 511 h 511"/>
                <a:gd name="T18" fmla="*/ 229 w 510"/>
                <a:gd name="T19" fmla="*/ 510 h 511"/>
                <a:gd name="T20" fmla="*/ 179 w 510"/>
                <a:gd name="T21" fmla="*/ 500 h 511"/>
                <a:gd name="T22" fmla="*/ 133 w 510"/>
                <a:gd name="T23" fmla="*/ 480 h 511"/>
                <a:gd name="T24" fmla="*/ 93 w 510"/>
                <a:gd name="T25" fmla="*/ 453 h 511"/>
                <a:gd name="T26" fmla="*/ 59 w 510"/>
                <a:gd name="T27" fmla="*/ 419 h 511"/>
                <a:gd name="T28" fmla="*/ 30 w 510"/>
                <a:gd name="T29" fmla="*/ 379 h 511"/>
                <a:gd name="T30" fmla="*/ 12 w 510"/>
                <a:gd name="T31" fmla="*/ 333 h 511"/>
                <a:gd name="T32" fmla="*/ 2 w 510"/>
                <a:gd name="T33" fmla="*/ 283 h 511"/>
                <a:gd name="T34" fmla="*/ 0 w 510"/>
                <a:gd name="T35" fmla="*/ 257 h 511"/>
                <a:gd name="T36" fmla="*/ 6 w 510"/>
                <a:gd name="T37" fmla="*/ 206 h 511"/>
                <a:gd name="T38" fmla="*/ 20 w 510"/>
                <a:gd name="T39" fmla="*/ 158 h 511"/>
                <a:gd name="T40" fmla="*/ 43 w 510"/>
                <a:gd name="T41" fmla="*/ 115 h 511"/>
                <a:gd name="T42" fmla="*/ 75 w 510"/>
                <a:gd name="T43" fmla="*/ 77 h 511"/>
                <a:gd name="T44" fmla="*/ 112 w 510"/>
                <a:gd name="T45" fmla="*/ 44 h 511"/>
                <a:gd name="T46" fmla="*/ 156 w 510"/>
                <a:gd name="T47" fmla="*/ 21 h 511"/>
                <a:gd name="T48" fmla="*/ 204 w 510"/>
                <a:gd name="T49" fmla="*/ 5 h 511"/>
                <a:gd name="T50" fmla="*/ 255 w 510"/>
                <a:gd name="T51" fmla="*/ 0 h 511"/>
                <a:gd name="T52" fmla="*/ 284 w 510"/>
                <a:gd name="T53" fmla="*/ 1 h 511"/>
                <a:gd name="T54" fmla="*/ 337 w 510"/>
                <a:gd name="T55" fmla="*/ 11 h 511"/>
                <a:gd name="T56" fmla="*/ 384 w 510"/>
                <a:gd name="T57" fmla="*/ 31 h 511"/>
                <a:gd name="T58" fmla="*/ 424 w 510"/>
                <a:gd name="T59" fmla="*/ 59 h 511"/>
                <a:gd name="T60" fmla="*/ 457 w 510"/>
                <a:gd name="T61" fmla="*/ 95 h 511"/>
                <a:gd name="T62" fmla="*/ 481 w 510"/>
                <a:gd name="T63" fmla="*/ 136 h 511"/>
                <a:gd name="T64" fmla="*/ 500 w 510"/>
                <a:gd name="T65" fmla="*/ 182 h 511"/>
                <a:gd name="T66" fmla="*/ 508 w 510"/>
                <a:gd name="T67" fmla="*/ 232 h 511"/>
                <a:gd name="T68" fmla="*/ 510 w 510"/>
                <a:gd name="T69" fmla="*/ 257 h 5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0" h="511">
                  <a:moveTo>
                    <a:pt x="510" y="257"/>
                  </a:moveTo>
                  <a:lnTo>
                    <a:pt x="510" y="257"/>
                  </a:lnTo>
                  <a:lnTo>
                    <a:pt x="508" y="283"/>
                  </a:lnTo>
                  <a:lnTo>
                    <a:pt x="504" y="309"/>
                  </a:lnTo>
                  <a:lnTo>
                    <a:pt x="498" y="333"/>
                  </a:lnTo>
                  <a:lnTo>
                    <a:pt x="490" y="356"/>
                  </a:lnTo>
                  <a:lnTo>
                    <a:pt x="478" y="379"/>
                  </a:lnTo>
                  <a:lnTo>
                    <a:pt x="465" y="399"/>
                  </a:lnTo>
                  <a:lnTo>
                    <a:pt x="451" y="419"/>
                  </a:lnTo>
                  <a:lnTo>
                    <a:pt x="434" y="437"/>
                  </a:lnTo>
                  <a:lnTo>
                    <a:pt x="417" y="453"/>
                  </a:lnTo>
                  <a:lnTo>
                    <a:pt x="397" y="467"/>
                  </a:lnTo>
                  <a:lnTo>
                    <a:pt x="377" y="480"/>
                  </a:lnTo>
                  <a:lnTo>
                    <a:pt x="354" y="491"/>
                  </a:lnTo>
                  <a:lnTo>
                    <a:pt x="331" y="500"/>
                  </a:lnTo>
                  <a:lnTo>
                    <a:pt x="307" y="505"/>
                  </a:lnTo>
                  <a:lnTo>
                    <a:pt x="281" y="510"/>
                  </a:lnTo>
                  <a:lnTo>
                    <a:pt x="255" y="511"/>
                  </a:lnTo>
                  <a:lnTo>
                    <a:pt x="255" y="511"/>
                  </a:lnTo>
                  <a:lnTo>
                    <a:pt x="229" y="510"/>
                  </a:lnTo>
                  <a:lnTo>
                    <a:pt x="204" y="505"/>
                  </a:lnTo>
                  <a:lnTo>
                    <a:pt x="179" y="500"/>
                  </a:lnTo>
                  <a:lnTo>
                    <a:pt x="156" y="491"/>
                  </a:lnTo>
                  <a:lnTo>
                    <a:pt x="133" y="480"/>
                  </a:lnTo>
                  <a:lnTo>
                    <a:pt x="112" y="467"/>
                  </a:lnTo>
                  <a:lnTo>
                    <a:pt x="93" y="453"/>
                  </a:lnTo>
                  <a:lnTo>
                    <a:pt x="75" y="437"/>
                  </a:lnTo>
                  <a:lnTo>
                    <a:pt x="59" y="419"/>
                  </a:lnTo>
                  <a:lnTo>
                    <a:pt x="43" y="399"/>
                  </a:lnTo>
                  <a:lnTo>
                    <a:pt x="30" y="379"/>
                  </a:lnTo>
                  <a:lnTo>
                    <a:pt x="20" y="356"/>
                  </a:lnTo>
                  <a:lnTo>
                    <a:pt x="12" y="333"/>
                  </a:lnTo>
                  <a:lnTo>
                    <a:pt x="6" y="309"/>
                  </a:lnTo>
                  <a:lnTo>
                    <a:pt x="2" y="283"/>
                  </a:lnTo>
                  <a:lnTo>
                    <a:pt x="0" y="257"/>
                  </a:lnTo>
                  <a:lnTo>
                    <a:pt x="0" y="257"/>
                  </a:lnTo>
                  <a:lnTo>
                    <a:pt x="2" y="232"/>
                  </a:lnTo>
                  <a:lnTo>
                    <a:pt x="6" y="206"/>
                  </a:lnTo>
                  <a:lnTo>
                    <a:pt x="12" y="182"/>
                  </a:lnTo>
                  <a:lnTo>
                    <a:pt x="20" y="158"/>
                  </a:lnTo>
                  <a:lnTo>
                    <a:pt x="30" y="136"/>
                  </a:lnTo>
                  <a:lnTo>
                    <a:pt x="43" y="115"/>
                  </a:lnTo>
                  <a:lnTo>
                    <a:pt x="59" y="95"/>
                  </a:lnTo>
                  <a:lnTo>
                    <a:pt x="75" y="77"/>
                  </a:lnTo>
                  <a:lnTo>
                    <a:pt x="93" y="59"/>
                  </a:lnTo>
                  <a:lnTo>
                    <a:pt x="112" y="44"/>
                  </a:lnTo>
                  <a:lnTo>
                    <a:pt x="133" y="31"/>
                  </a:lnTo>
                  <a:lnTo>
                    <a:pt x="156" y="21"/>
                  </a:lnTo>
                  <a:lnTo>
                    <a:pt x="179" y="11"/>
                  </a:lnTo>
                  <a:lnTo>
                    <a:pt x="204" y="5"/>
                  </a:lnTo>
                  <a:lnTo>
                    <a:pt x="229" y="1"/>
                  </a:lnTo>
                  <a:lnTo>
                    <a:pt x="255" y="0"/>
                  </a:lnTo>
                  <a:lnTo>
                    <a:pt x="255" y="0"/>
                  </a:lnTo>
                  <a:lnTo>
                    <a:pt x="284" y="1"/>
                  </a:lnTo>
                  <a:lnTo>
                    <a:pt x="311" y="5"/>
                  </a:lnTo>
                  <a:lnTo>
                    <a:pt x="337" y="11"/>
                  </a:lnTo>
                  <a:lnTo>
                    <a:pt x="361" y="21"/>
                  </a:lnTo>
                  <a:lnTo>
                    <a:pt x="384" y="31"/>
                  </a:lnTo>
                  <a:lnTo>
                    <a:pt x="404" y="44"/>
                  </a:lnTo>
                  <a:lnTo>
                    <a:pt x="424" y="59"/>
                  </a:lnTo>
                  <a:lnTo>
                    <a:pt x="441" y="77"/>
                  </a:lnTo>
                  <a:lnTo>
                    <a:pt x="457" y="95"/>
                  </a:lnTo>
                  <a:lnTo>
                    <a:pt x="470" y="115"/>
                  </a:lnTo>
                  <a:lnTo>
                    <a:pt x="481" y="136"/>
                  </a:lnTo>
                  <a:lnTo>
                    <a:pt x="491" y="158"/>
                  </a:lnTo>
                  <a:lnTo>
                    <a:pt x="500" y="182"/>
                  </a:lnTo>
                  <a:lnTo>
                    <a:pt x="504" y="206"/>
                  </a:lnTo>
                  <a:lnTo>
                    <a:pt x="508" y="232"/>
                  </a:lnTo>
                  <a:lnTo>
                    <a:pt x="510" y="257"/>
                  </a:lnTo>
                  <a:lnTo>
                    <a:pt x="510" y="25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5" name="Line 13"/>
            <p:cNvSpPr>
              <a:spLocks noChangeShapeType="1"/>
            </p:cNvSpPr>
            <p:nvPr userDrawn="1"/>
          </p:nvSpPr>
          <p:spPr bwMode="auto">
            <a:xfrm>
              <a:off x="5667" y="745"/>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pic>
          <p:nvPicPr>
            <p:cNvPr id="26" name="Picture 14"/>
            <p:cNvPicPr>
              <a:picLocks noChangeAspect="1" noChangeArrowheads="1"/>
            </p:cNvPicPr>
            <p:nvPr userDrawn="1"/>
          </p:nvPicPr>
          <p:blipFill>
            <a:blip r:embed="rId5" cstate="hqprint">
              <a:extLst>
                <a:ext uri="{28A0092B-C50C-407E-A947-70E740481C1C}">
                  <a14:useLocalDpi xmlns:a14="http://schemas.microsoft.com/office/drawing/2010/main" val="0"/>
                </a:ext>
              </a:extLst>
            </a:blip>
            <a:srcRect/>
            <a:stretch>
              <a:fillRect/>
            </a:stretch>
          </p:blipFill>
          <p:spPr bwMode="auto">
            <a:xfrm>
              <a:off x="5478" y="637"/>
              <a:ext cx="282" cy="2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7" name="Freeform 15"/>
            <p:cNvSpPr>
              <a:spLocks/>
            </p:cNvSpPr>
            <p:nvPr userDrawn="1"/>
          </p:nvSpPr>
          <p:spPr bwMode="auto">
            <a:xfrm>
              <a:off x="5525" y="658"/>
              <a:ext cx="121" cy="25"/>
            </a:xfrm>
            <a:custGeom>
              <a:avLst/>
              <a:gdLst>
                <a:gd name="T0" fmla="*/ 0 w 364"/>
                <a:gd name="T1" fmla="*/ 75 h 75"/>
                <a:gd name="T2" fmla="*/ 0 w 364"/>
                <a:gd name="T3" fmla="*/ 75 h 75"/>
                <a:gd name="T4" fmla="*/ 19 w 364"/>
                <a:gd name="T5" fmla="*/ 58 h 75"/>
                <a:gd name="T6" fmla="*/ 40 w 364"/>
                <a:gd name="T7" fmla="*/ 44 h 75"/>
                <a:gd name="T8" fmla="*/ 62 w 364"/>
                <a:gd name="T9" fmla="*/ 31 h 75"/>
                <a:gd name="T10" fmla="*/ 85 w 364"/>
                <a:gd name="T11" fmla="*/ 20 h 75"/>
                <a:gd name="T12" fmla="*/ 108 w 364"/>
                <a:gd name="T13" fmla="*/ 11 h 75"/>
                <a:gd name="T14" fmla="*/ 132 w 364"/>
                <a:gd name="T15" fmla="*/ 5 h 75"/>
                <a:gd name="T16" fmla="*/ 156 w 364"/>
                <a:gd name="T17" fmla="*/ 1 h 75"/>
                <a:gd name="T18" fmla="*/ 182 w 364"/>
                <a:gd name="T19" fmla="*/ 0 h 75"/>
                <a:gd name="T20" fmla="*/ 206 w 364"/>
                <a:gd name="T21" fmla="*/ 1 h 75"/>
                <a:gd name="T22" fmla="*/ 231 w 364"/>
                <a:gd name="T23" fmla="*/ 4 h 75"/>
                <a:gd name="T24" fmla="*/ 255 w 364"/>
                <a:gd name="T25" fmla="*/ 10 h 75"/>
                <a:gd name="T26" fmla="*/ 278 w 364"/>
                <a:gd name="T27" fmla="*/ 18 h 75"/>
                <a:gd name="T28" fmla="*/ 301 w 364"/>
                <a:gd name="T29" fmla="*/ 28 h 75"/>
                <a:gd name="T30" fmla="*/ 324 w 364"/>
                <a:gd name="T31" fmla="*/ 41 h 75"/>
                <a:gd name="T32" fmla="*/ 344 w 364"/>
                <a:gd name="T33" fmla="*/ 55 h 75"/>
                <a:gd name="T34" fmla="*/ 364 w 364"/>
                <a:gd name="T35" fmla="*/ 72 h 75"/>
                <a:gd name="T36" fmla="*/ 0 w 364"/>
                <a:gd name="T37"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4" h="75">
                  <a:moveTo>
                    <a:pt x="0" y="75"/>
                  </a:moveTo>
                  <a:lnTo>
                    <a:pt x="0" y="75"/>
                  </a:lnTo>
                  <a:lnTo>
                    <a:pt x="19" y="58"/>
                  </a:lnTo>
                  <a:lnTo>
                    <a:pt x="40" y="44"/>
                  </a:lnTo>
                  <a:lnTo>
                    <a:pt x="62" y="31"/>
                  </a:lnTo>
                  <a:lnTo>
                    <a:pt x="85" y="20"/>
                  </a:lnTo>
                  <a:lnTo>
                    <a:pt x="108" y="11"/>
                  </a:lnTo>
                  <a:lnTo>
                    <a:pt x="132" y="5"/>
                  </a:lnTo>
                  <a:lnTo>
                    <a:pt x="156" y="1"/>
                  </a:lnTo>
                  <a:lnTo>
                    <a:pt x="182" y="0"/>
                  </a:lnTo>
                  <a:lnTo>
                    <a:pt x="206" y="1"/>
                  </a:lnTo>
                  <a:lnTo>
                    <a:pt x="231" y="4"/>
                  </a:lnTo>
                  <a:lnTo>
                    <a:pt x="255" y="10"/>
                  </a:lnTo>
                  <a:lnTo>
                    <a:pt x="278" y="18"/>
                  </a:lnTo>
                  <a:lnTo>
                    <a:pt x="301" y="28"/>
                  </a:lnTo>
                  <a:lnTo>
                    <a:pt x="324" y="41"/>
                  </a:lnTo>
                  <a:lnTo>
                    <a:pt x="344" y="55"/>
                  </a:lnTo>
                  <a:lnTo>
                    <a:pt x="364" y="72"/>
                  </a:lnTo>
                  <a:lnTo>
                    <a:pt x="0" y="75"/>
                  </a:lnTo>
                  <a:close/>
                </a:path>
              </a:pathLst>
            </a:custGeom>
            <a:solidFill>
              <a:srgbClr val="00987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8" name="Freeform 16"/>
            <p:cNvSpPr>
              <a:spLocks/>
            </p:cNvSpPr>
            <p:nvPr userDrawn="1"/>
          </p:nvSpPr>
          <p:spPr bwMode="auto">
            <a:xfrm>
              <a:off x="5525" y="658"/>
              <a:ext cx="121" cy="25"/>
            </a:xfrm>
            <a:custGeom>
              <a:avLst/>
              <a:gdLst>
                <a:gd name="T0" fmla="*/ 0 w 364"/>
                <a:gd name="T1" fmla="*/ 75 h 75"/>
                <a:gd name="T2" fmla="*/ 0 w 364"/>
                <a:gd name="T3" fmla="*/ 75 h 75"/>
                <a:gd name="T4" fmla="*/ 19 w 364"/>
                <a:gd name="T5" fmla="*/ 58 h 75"/>
                <a:gd name="T6" fmla="*/ 40 w 364"/>
                <a:gd name="T7" fmla="*/ 44 h 75"/>
                <a:gd name="T8" fmla="*/ 62 w 364"/>
                <a:gd name="T9" fmla="*/ 31 h 75"/>
                <a:gd name="T10" fmla="*/ 85 w 364"/>
                <a:gd name="T11" fmla="*/ 20 h 75"/>
                <a:gd name="T12" fmla="*/ 108 w 364"/>
                <a:gd name="T13" fmla="*/ 11 h 75"/>
                <a:gd name="T14" fmla="*/ 132 w 364"/>
                <a:gd name="T15" fmla="*/ 5 h 75"/>
                <a:gd name="T16" fmla="*/ 156 w 364"/>
                <a:gd name="T17" fmla="*/ 1 h 75"/>
                <a:gd name="T18" fmla="*/ 182 w 364"/>
                <a:gd name="T19" fmla="*/ 0 h 75"/>
                <a:gd name="T20" fmla="*/ 206 w 364"/>
                <a:gd name="T21" fmla="*/ 1 h 75"/>
                <a:gd name="T22" fmla="*/ 231 w 364"/>
                <a:gd name="T23" fmla="*/ 4 h 75"/>
                <a:gd name="T24" fmla="*/ 255 w 364"/>
                <a:gd name="T25" fmla="*/ 10 h 75"/>
                <a:gd name="T26" fmla="*/ 278 w 364"/>
                <a:gd name="T27" fmla="*/ 18 h 75"/>
                <a:gd name="T28" fmla="*/ 301 w 364"/>
                <a:gd name="T29" fmla="*/ 28 h 75"/>
                <a:gd name="T30" fmla="*/ 324 w 364"/>
                <a:gd name="T31" fmla="*/ 41 h 75"/>
                <a:gd name="T32" fmla="*/ 344 w 364"/>
                <a:gd name="T33" fmla="*/ 55 h 75"/>
                <a:gd name="T34" fmla="*/ 364 w 364"/>
                <a:gd name="T35" fmla="*/ 7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64" h="75">
                  <a:moveTo>
                    <a:pt x="0" y="75"/>
                  </a:moveTo>
                  <a:lnTo>
                    <a:pt x="0" y="75"/>
                  </a:lnTo>
                  <a:lnTo>
                    <a:pt x="19" y="58"/>
                  </a:lnTo>
                  <a:lnTo>
                    <a:pt x="40" y="44"/>
                  </a:lnTo>
                  <a:lnTo>
                    <a:pt x="62" y="31"/>
                  </a:lnTo>
                  <a:lnTo>
                    <a:pt x="85" y="20"/>
                  </a:lnTo>
                  <a:lnTo>
                    <a:pt x="108" y="11"/>
                  </a:lnTo>
                  <a:lnTo>
                    <a:pt x="132" y="5"/>
                  </a:lnTo>
                  <a:lnTo>
                    <a:pt x="156" y="1"/>
                  </a:lnTo>
                  <a:lnTo>
                    <a:pt x="182" y="0"/>
                  </a:lnTo>
                  <a:lnTo>
                    <a:pt x="206" y="1"/>
                  </a:lnTo>
                  <a:lnTo>
                    <a:pt x="231" y="4"/>
                  </a:lnTo>
                  <a:lnTo>
                    <a:pt x="255" y="10"/>
                  </a:lnTo>
                  <a:lnTo>
                    <a:pt x="278" y="18"/>
                  </a:lnTo>
                  <a:lnTo>
                    <a:pt x="301" y="28"/>
                  </a:lnTo>
                  <a:lnTo>
                    <a:pt x="324" y="41"/>
                  </a:lnTo>
                  <a:lnTo>
                    <a:pt x="344" y="55"/>
                  </a:lnTo>
                  <a:lnTo>
                    <a:pt x="364" y="7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pic>
          <p:nvPicPr>
            <p:cNvPr id="29" name="Picture 17"/>
            <p:cNvPicPr>
              <a:picLocks noChangeAspect="1" noChangeArrowheads="1"/>
            </p:cNvPicPr>
            <p:nvPr userDrawn="1"/>
          </p:nvPicPr>
          <p:blipFill>
            <a:blip r:embed="rId6" cstate="hqprint">
              <a:extLst>
                <a:ext uri="{28A0092B-C50C-407E-A947-70E740481C1C}">
                  <a14:useLocalDpi xmlns:a14="http://schemas.microsoft.com/office/drawing/2010/main" val="0"/>
                </a:ext>
              </a:extLst>
            </a:blip>
            <a:srcRect/>
            <a:stretch>
              <a:fillRect/>
            </a:stretch>
          </p:blipFill>
          <p:spPr bwMode="auto">
            <a:xfrm>
              <a:off x="5478" y="637"/>
              <a:ext cx="282" cy="2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 name="Freeform 18"/>
            <p:cNvSpPr>
              <a:spLocks noEditPoints="1"/>
            </p:cNvSpPr>
            <p:nvPr userDrawn="1"/>
          </p:nvSpPr>
          <p:spPr bwMode="auto">
            <a:xfrm>
              <a:off x="5510" y="659"/>
              <a:ext cx="160" cy="156"/>
            </a:xfrm>
            <a:custGeom>
              <a:avLst/>
              <a:gdLst>
                <a:gd name="T0" fmla="*/ 478 w 478"/>
                <a:gd name="T1" fmla="*/ 232 h 466"/>
                <a:gd name="T2" fmla="*/ 474 w 478"/>
                <a:gd name="T3" fmla="*/ 279 h 466"/>
                <a:gd name="T4" fmla="*/ 460 w 478"/>
                <a:gd name="T5" fmla="*/ 323 h 466"/>
                <a:gd name="T6" fmla="*/ 437 w 478"/>
                <a:gd name="T7" fmla="*/ 363 h 466"/>
                <a:gd name="T8" fmla="*/ 408 w 478"/>
                <a:gd name="T9" fmla="*/ 398 h 466"/>
                <a:gd name="T10" fmla="*/ 373 w 478"/>
                <a:gd name="T11" fmla="*/ 426 h 466"/>
                <a:gd name="T12" fmla="*/ 332 w 478"/>
                <a:gd name="T13" fmla="*/ 447 h 466"/>
                <a:gd name="T14" fmla="*/ 288 w 478"/>
                <a:gd name="T15" fmla="*/ 460 h 466"/>
                <a:gd name="T16" fmla="*/ 239 w 478"/>
                <a:gd name="T17" fmla="*/ 466 h 466"/>
                <a:gd name="T18" fmla="*/ 215 w 478"/>
                <a:gd name="T19" fmla="*/ 465 h 466"/>
                <a:gd name="T20" fmla="*/ 168 w 478"/>
                <a:gd name="T21" fmla="*/ 455 h 466"/>
                <a:gd name="T22" fmla="*/ 125 w 478"/>
                <a:gd name="T23" fmla="*/ 437 h 466"/>
                <a:gd name="T24" fmla="*/ 88 w 478"/>
                <a:gd name="T25" fmla="*/ 412 h 466"/>
                <a:gd name="T26" fmla="*/ 55 w 478"/>
                <a:gd name="T27" fmla="*/ 380 h 466"/>
                <a:gd name="T28" fmla="*/ 29 w 478"/>
                <a:gd name="T29" fmla="*/ 343 h 466"/>
                <a:gd name="T30" fmla="*/ 12 w 478"/>
                <a:gd name="T31" fmla="*/ 302 h 466"/>
                <a:gd name="T32" fmla="*/ 2 w 478"/>
                <a:gd name="T33" fmla="*/ 256 h 466"/>
                <a:gd name="T34" fmla="*/ 0 w 478"/>
                <a:gd name="T35" fmla="*/ 232 h 466"/>
                <a:gd name="T36" fmla="*/ 5 w 478"/>
                <a:gd name="T37" fmla="*/ 185 h 466"/>
                <a:gd name="T38" fmla="*/ 19 w 478"/>
                <a:gd name="T39" fmla="*/ 141 h 466"/>
                <a:gd name="T40" fmla="*/ 42 w 478"/>
                <a:gd name="T41" fmla="*/ 103 h 466"/>
                <a:gd name="T42" fmla="*/ 70 w 478"/>
                <a:gd name="T43" fmla="*/ 68 h 466"/>
                <a:gd name="T44" fmla="*/ 106 w 478"/>
                <a:gd name="T45" fmla="*/ 40 h 466"/>
                <a:gd name="T46" fmla="*/ 146 w 478"/>
                <a:gd name="T47" fmla="*/ 17 h 466"/>
                <a:gd name="T48" fmla="*/ 191 w 478"/>
                <a:gd name="T49" fmla="*/ 4 h 466"/>
                <a:gd name="T50" fmla="*/ 239 w 478"/>
                <a:gd name="T51" fmla="*/ 0 h 466"/>
                <a:gd name="T52" fmla="*/ 264 w 478"/>
                <a:gd name="T53" fmla="*/ 0 h 466"/>
                <a:gd name="T54" fmla="*/ 311 w 478"/>
                <a:gd name="T55" fmla="*/ 10 h 466"/>
                <a:gd name="T56" fmla="*/ 354 w 478"/>
                <a:gd name="T57" fmla="*/ 27 h 466"/>
                <a:gd name="T58" fmla="*/ 391 w 478"/>
                <a:gd name="T59" fmla="*/ 53 h 466"/>
                <a:gd name="T60" fmla="*/ 424 w 478"/>
                <a:gd name="T61" fmla="*/ 84 h 466"/>
                <a:gd name="T62" fmla="*/ 450 w 478"/>
                <a:gd name="T63" fmla="*/ 121 h 466"/>
                <a:gd name="T64" fmla="*/ 467 w 478"/>
                <a:gd name="T65" fmla="*/ 164 h 466"/>
                <a:gd name="T66" fmla="*/ 477 w 478"/>
                <a:gd name="T67" fmla="*/ 208 h 466"/>
                <a:gd name="T68" fmla="*/ 478 w 478"/>
                <a:gd name="T69" fmla="*/ 232 h 466"/>
                <a:gd name="T70" fmla="*/ 478 w 478"/>
                <a:gd name="T71" fmla="*/ 232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78" h="466">
                  <a:moveTo>
                    <a:pt x="478" y="232"/>
                  </a:moveTo>
                  <a:lnTo>
                    <a:pt x="478" y="232"/>
                  </a:lnTo>
                  <a:lnTo>
                    <a:pt x="477" y="256"/>
                  </a:lnTo>
                  <a:lnTo>
                    <a:pt x="474" y="279"/>
                  </a:lnTo>
                  <a:lnTo>
                    <a:pt x="467" y="302"/>
                  </a:lnTo>
                  <a:lnTo>
                    <a:pt x="460" y="323"/>
                  </a:lnTo>
                  <a:lnTo>
                    <a:pt x="450" y="343"/>
                  </a:lnTo>
                  <a:lnTo>
                    <a:pt x="437" y="363"/>
                  </a:lnTo>
                  <a:lnTo>
                    <a:pt x="424" y="380"/>
                  </a:lnTo>
                  <a:lnTo>
                    <a:pt x="408" y="398"/>
                  </a:lnTo>
                  <a:lnTo>
                    <a:pt x="391" y="412"/>
                  </a:lnTo>
                  <a:lnTo>
                    <a:pt x="373" y="426"/>
                  </a:lnTo>
                  <a:lnTo>
                    <a:pt x="354" y="437"/>
                  </a:lnTo>
                  <a:lnTo>
                    <a:pt x="332" y="447"/>
                  </a:lnTo>
                  <a:lnTo>
                    <a:pt x="311" y="455"/>
                  </a:lnTo>
                  <a:lnTo>
                    <a:pt x="288" y="460"/>
                  </a:lnTo>
                  <a:lnTo>
                    <a:pt x="264" y="465"/>
                  </a:lnTo>
                  <a:lnTo>
                    <a:pt x="239" y="466"/>
                  </a:lnTo>
                  <a:lnTo>
                    <a:pt x="239" y="466"/>
                  </a:lnTo>
                  <a:lnTo>
                    <a:pt x="215" y="465"/>
                  </a:lnTo>
                  <a:lnTo>
                    <a:pt x="191" y="460"/>
                  </a:lnTo>
                  <a:lnTo>
                    <a:pt x="168" y="455"/>
                  </a:lnTo>
                  <a:lnTo>
                    <a:pt x="146" y="447"/>
                  </a:lnTo>
                  <a:lnTo>
                    <a:pt x="125" y="437"/>
                  </a:lnTo>
                  <a:lnTo>
                    <a:pt x="106" y="426"/>
                  </a:lnTo>
                  <a:lnTo>
                    <a:pt x="88" y="412"/>
                  </a:lnTo>
                  <a:lnTo>
                    <a:pt x="70" y="398"/>
                  </a:lnTo>
                  <a:lnTo>
                    <a:pt x="55" y="380"/>
                  </a:lnTo>
                  <a:lnTo>
                    <a:pt x="42" y="363"/>
                  </a:lnTo>
                  <a:lnTo>
                    <a:pt x="29" y="343"/>
                  </a:lnTo>
                  <a:lnTo>
                    <a:pt x="19" y="323"/>
                  </a:lnTo>
                  <a:lnTo>
                    <a:pt x="12" y="302"/>
                  </a:lnTo>
                  <a:lnTo>
                    <a:pt x="5" y="279"/>
                  </a:lnTo>
                  <a:lnTo>
                    <a:pt x="2" y="256"/>
                  </a:lnTo>
                  <a:lnTo>
                    <a:pt x="0" y="232"/>
                  </a:lnTo>
                  <a:lnTo>
                    <a:pt x="0" y="232"/>
                  </a:lnTo>
                  <a:lnTo>
                    <a:pt x="2" y="208"/>
                  </a:lnTo>
                  <a:lnTo>
                    <a:pt x="5" y="185"/>
                  </a:lnTo>
                  <a:lnTo>
                    <a:pt x="12" y="164"/>
                  </a:lnTo>
                  <a:lnTo>
                    <a:pt x="19" y="141"/>
                  </a:lnTo>
                  <a:lnTo>
                    <a:pt x="29" y="121"/>
                  </a:lnTo>
                  <a:lnTo>
                    <a:pt x="42" y="103"/>
                  </a:lnTo>
                  <a:lnTo>
                    <a:pt x="55" y="84"/>
                  </a:lnTo>
                  <a:lnTo>
                    <a:pt x="70" y="68"/>
                  </a:lnTo>
                  <a:lnTo>
                    <a:pt x="88" y="53"/>
                  </a:lnTo>
                  <a:lnTo>
                    <a:pt x="106" y="40"/>
                  </a:lnTo>
                  <a:lnTo>
                    <a:pt x="125" y="27"/>
                  </a:lnTo>
                  <a:lnTo>
                    <a:pt x="146" y="17"/>
                  </a:lnTo>
                  <a:lnTo>
                    <a:pt x="168" y="10"/>
                  </a:lnTo>
                  <a:lnTo>
                    <a:pt x="191" y="4"/>
                  </a:lnTo>
                  <a:lnTo>
                    <a:pt x="215" y="0"/>
                  </a:lnTo>
                  <a:lnTo>
                    <a:pt x="239" y="0"/>
                  </a:lnTo>
                  <a:lnTo>
                    <a:pt x="239" y="0"/>
                  </a:lnTo>
                  <a:lnTo>
                    <a:pt x="264" y="0"/>
                  </a:lnTo>
                  <a:lnTo>
                    <a:pt x="288" y="4"/>
                  </a:lnTo>
                  <a:lnTo>
                    <a:pt x="311" y="10"/>
                  </a:lnTo>
                  <a:lnTo>
                    <a:pt x="332" y="17"/>
                  </a:lnTo>
                  <a:lnTo>
                    <a:pt x="354" y="27"/>
                  </a:lnTo>
                  <a:lnTo>
                    <a:pt x="373" y="40"/>
                  </a:lnTo>
                  <a:lnTo>
                    <a:pt x="391" y="53"/>
                  </a:lnTo>
                  <a:lnTo>
                    <a:pt x="408" y="67"/>
                  </a:lnTo>
                  <a:lnTo>
                    <a:pt x="424" y="84"/>
                  </a:lnTo>
                  <a:lnTo>
                    <a:pt x="437" y="103"/>
                  </a:lnTo>
                  <a:lnTo>
                    <a:pt x="450" y="121"/>
                  </a:lnTo>
                  <a:lnTo>
                    <a:pt x="460" y="141"/>
                  </a:lnTo>
                  <a:lnTo>
                    <a:pt x="467" y="164"/>
                  </a:lnTo>
                  <a:lnTo>
                    <a:pt x="474" y="185"/>
                  </a:lnTo>
                  <a:lnTo>
                    <a:pt x="477" y="208"/>
                  </a:lnTo>
                  <a:lnTo>
                    <a:pt x="478" y="232"/>
                  </a:lnTo>
                  <a:lnTo>
                    <a:pt x="478" y="232"/>
                  </a:lnTo>
                  <a:close/>
                  <a:moveTo>
                    <a:pt x="478" y="232"/>
                  </a:moveTo>
                  <a:lnTo>
                    <a:pt x="478" y="23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1" name="Freeform 19"/>
            <p:cNvSpPr>
              <a:spLocks/>
            </p:cNvSpPr>
            <p:nvPr userDrawn="1"/>
          </p:nvSpPr>
          <p:spPr bwMode="auto">
            <a:xfrm>
              <a:off x="5510" y="659"/>
              <a:ext cx="160" cy="156"/>
            </a:xfrm>
            <a:custGeom>
              <a:avLst/>
              <a:gdLst>
                <a:gd name="T0" fmla="*/ 478 w 478"/>
                <a:gd name="T1" fmla="*/ 232 h 466"/>
                <a:gd name="T2" fmla="*/ 474 w 478"/>
                <a:gd name="T3" fmla="*/ 279 h 466"/>
                <a:gd name="T4" fmla="*/ 460 w 478"/>
                <a:gd name="T5" fmla="*/ 323 h 466"/>
                <a:gd name="T6" fmla="*/ 437 w 478"/>
                <a:gd name="T7" fmla="*/ 363 h 466"/>
                <a:gd name="T8" fmla="*/ 408 w 478"/>
                <a:gd name="T9" fmla="*/ 398 h 466"/>
                <a:gd name="T10" fmla="*/ 373 w 478"/>
                <a:gd name="T11" fmla="*/ 426 h 466"/>
                <a:gd name="T12" fmla="*/ 332 w 478"/>
                <a:gd name="T13" fmla="*/ 447 h 466"/>
                <a:gd name="T14" fmla="*/ 288 w 478"/>
                <a:gd name="T15" fmla="*/ 460 h 466"/>
                <a:gd name="T16" fmla="*/ 239 w 478"/>
                <a:gd name="T17" fmla="*/ 466 h 466"/>
                <a:gd name="T18" fmla="*/ 215 w 478"/>
                <a:gd name="T19" fmla="*/ 465 h 466"/>
                <a:gd name="T20" fmla="*/ 168 w 478"/>
                <a:gd name="T21" fmla="*/ 455 h 466"/>
                <a:gd name="T22" fmla="*/ 125 w 478"/>
                <a:gd name="T23" fmla="*/ 437 h 466"/>
                <a:gd name="T24" fmla="*/ 88 w 478"/>
                <a:gd name="T25" fmla="*/ 412 h 466"/>
                <a:gd name="T26" fmla="*/ 55 w 478"/>
                <a:gd name="T27" fmla="*/ 380 h 466"/>
                <a:gd name="T28" fmla="*/ 29 w 478"/>
                <a:gd name="T29" fmla="*/ 343 h 466"/>
                <a:gd name="T30" fmla="*/ 12 w 478"/>
                <a:gd name="T31" fmla="*/ 302 h 466"/>
                <a:gd name="T32" fmla="*/ 2 w 478"/>
                <a:gd name="T33" fmla="*/ 256 h 466"/>
                <a:gd name="T34" fmla="*/ 0 w 478"/>
                <a:gd name="T35" fmla="*/ 232 h 466"/>
                <a:gd name="T36" fmla="*/ 5 w 478"/>
                <a:gd name="T37" fmla="*/ 185 h 466"/>
                <a:gd name="T38" fmla="*/ 19 w 478"/>
                <a:gd name="T39" fmla="*/ 141 h 466"/>
                <a:gd name="T40" fmla="*/ 42 w 478"/>
                <a:gd name="T41" fmla="*/ 103 h 466"/>
                <a:gd name="T42" fmla="*/ 70 w 478"/>
                <a:gd name="T43" fmla="*/ 68 h 466"/>
                <a:gd name="T44" fmla="*/ 106 w 478"/>
                <a:gd name="T45" fmla="*/ 40 h 466"/>
                <a:gd name="T46" fmla="*/ 146 w 478"/>
                <a:gd name="T47" fmla="*/ 17 h 466"/>
                <a:gd name="T48" fmla="*/ 191 w 478"/>
                <a:gd name="T49" fmla="*/ 4 h 466"/>
                <a:gd name="T50" fmla="*/ 239 w 478"/>
                <a:gd name="T51" fmla="*/ 0 h 466"/>
                <a:gd name="T52" fmla="*/ 264 w 478"/>
                <a:gd name="T53" fmla="*/ 0 h 466"/>
                <a:gd name="T54" fmla="*/ 311 w 478"/>
                <a:gd name="T55" fmla="*/ 10 h 466"/>
                <a:gd name="T56" fmla="*/ 354 w 478"/>
                <a:gd name="T57" fmla="*/ 27 h 466"/>
                <a:gd name="T58" fmla="*/ 391 w 478"/>
                <a:gd name="T59" fmla="*/ 53 h 466"/>
                <a:gd name="T60" fmla="*/ 424 w 478"/>
                <a:gd name="T61" fmla="*/ 84 h 466"/>
                <a:gd name="T62" fmla="*/ 450 w 478"/>
                <a:gd name="T63" fmla="*/ 121 h 466"/>
                <a:gd name="T64" fmla="*/ 467 w 478"/>
                <a:gd name="T65" fmla="*/ 164 h 466"/>
                <a:gd name="T66" fmla="*/ 477 w 478"/>
                <a:gd name="T67" fmla="*/ 208 h 466"/>
                <a:gd name="T68" fmla="*/ 478 w 478"/>
                <a:gd name="T69" fmla="*/ 232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78" h="466">
                  <a:moveTo>
                    <a:pt x="478" y="232"/>
                  </a:moveTo>
                  <a:lnTo>
                    <a:pt x="478" y="232"/>
                  </a:lnTo>
                  <a:lnTo>
                    <a:pt x="477" y="256"/>
                  </a:lnTo>
                  <a:lnTo>
                    <a:pt x="474" y="279"/>
                  </a:lnTo>
                  <a:lnTo>
                    <a:pt x="467" y="302"/>
                  </a:lnTo>
                  <a:lnTo>
                    <a:pt x="460" y="323"/>
                  </a:lnTo>
                  <a:lnTo>
                    <a:pt x="450" y="343"/>
                  </a:lnTo>
                  <a:lnTo>
                    <a:pt x="437" y="363"/>
                  </a:lnTo>
                  <a:lnTo>
                    <a:pt x="424" y="380"/>
                  </a:lnTo>
                  <a:lnTo>
                    <a:pt x="408" y="398"/>
                  </a:lnTo>
                  <a:lnTo>
                    <a:pt x="391" y="412"/>
                  </a:lnTo>
                  <a:lnTo>
                    <a:pt x="373" y="426"/>
                  </a:lnTo>
                  <a:lnTo>
                    <a:pt x="354" y="437"/>
                  </a:lnTo>
                  <a:lnTo>
                    <a:pt x="332" y="447"/>
                  </a:lnTo>
                  <a:lnTo>
                    <a:pt x="311" y="455"/>
                  </a:lnTo>
                  <a:lnTo>
                    <a:pt x="288" y="460"/>
                  </a:lnTo>
                  <a:lnTo>
                    <a:pt x="264" y="465"/>
                  </a:lnTo>
                  <a:lnTo>
                    <a:pt x="239" y="466"/>
                  </a:lnTo>
                  <a:lnTo>
                    <a:pt x="239" y="466"/>
                  </a:lnTo>
                  <a:lnTo>
                    <a:pt x="215" y="465"/>
                  </a:lnTo>
                  <a:lnTo>
                    <a:pt x="191" y="460"/>
                  </a:lnTo>
                  <a:lnTo>
                    <a:pt x="168" y="455"/>
                  </a:lnTo>
                  <a:lnTo>
                    <a:pt x="146" y="447"/>
                  </a:lnTo>
                  <a:lnTo>
                    <a:pt x="125" y="437"/>
                  </a:lnTo>
                  <a:lnTo>
                    <a:pt x="106" y="426"/>
                  </a:lnTo>
                  <a:lnTo>
                    <a:pt x="88" y="412"/>
                  </a:lnTo>
                  <a:lnTo>
                    <a:pt x="70" y="398"/>
                  </a:lnTo>
                  <a:lnTo>
                    <a:pt x="55" y="380"/>
                  </a:lnTo>
                  <a:lnTo>
                    <a:pt x="42" y="363"/>
                  </a:lnTo>
                  <a:lnTo>
                    <a:pt x="29" y="343"/>
                  </a:lnTo>
                  <a:lnTo>
                    <a:pt x="19" y="323"/>
                  </a:lnTo>
                  <a:lnTo>
                    <a:pt x="12" y="302"/>
                  </a:lnTo>
                  <a:lnTo>
                    <a:pt x="5" y="279"/>
                  </a:lnTo>
                  <a:lnTo>
                    <a:pt x="2" y="256"/>
                  </a:lnTo>
                  <a:lnTo>
                    <a:pt x="0" y="232"/>
                  </a:lnTo>
                  <a:lnTo>
                    <a:pt x="0" y="232"/>
                  </a:lnTo>
                  <a:lnTo>
                    <a:pt x="2" y="208"/>
                  </a:lnTo>
                  <a:lnTo>
                    <a:pt x="5" y="185"/>
                  </a:lnTo>
                  <a:lnTo>
                    <a:pt x="12" y="164"/>
                  </a:lnTo>
                  <a:lnTo>
                    <a:pt x="19" y="141"/>
                  </a:lnTo>
                  <a:lnTo>
                    <a:pt x="29" y="121"/>
                  </a:lnTo>
                  <a:lnTo>
                    <a:pt x="42" y="103"/>
                  </a:lnTo>
                  <a:lnTo>
                    <a:pt x="55" y="84"/>
                  </a:lnTo>
                  <a:lnTo>
                    <a:pt x="70" y="68"/>
                  </a:lnTo>
                  <a:lnTo>
                    <a:pt x="88" y="53"/>
                  </a:lnTo>
                  <a:lnTo>
                    <a:pt x="106" y="40"/>
                  </a:lnTo>
                  <a:lnTo>
                    <a:pt x="125" y="27"/>
                  </a:lnTo>
                  <a:lnTo>
                    <a:pt x="146" y="17"/>
                  </a:lnTo>
                  <a:lnTo>
                    <a:pt x="168" y="10"/>
                  </a:lnTo>
                  <a:lnTo>
                    <a:pt x="191" y="4"/>
                  </a:lnTo>
                  <a:lnTo>
                    <a:pt x="215" y="0"/>
                  </a:lnTo>
                  <a:lnTo>
                    <a:pt x="239" y="0"/>
                  </a:lnTo>
                  <a:lnTo>
                    <a:pt x="239" y="0"/>
                  </a:lnTo>
                  <a:lnTo>
                    <a:pt x="264" y="0"/>
                  </a:lnTo>
                  <a:lnTo>
                    <a:pt x="288" y="4"/>
                  </a:lnTo>
                  <a:lnTo>
                    <a:pt x="311" y="10"/>
                  </a:lnTo>
                  <a:lnTo>
                    <a:pt x="332" y="17"/>
                  </a:lnTo>
                  <a:lnTo>
                    <a:pt x="354" y="27"/>
                  </a:lnTo>
                  <a:lnTo>
                    <a:pt x="373" y="40"/>
                  </a:lnTo>
                  <a:lnTo>
                    <a:pt x="391" y="53"/>
                  </a:lnTo>
                  <a:lnTo>
                    <a:pt x="408" y="67"/>
                  </a:lnTo>
                  <a:lnTo>
                    <a:pt x="424" y="84"/>
                  </a:lnTo>
                  <a:lnTo>
                    <a:pt x="437" y="103"/>
                  </a:lnTo>
                  <a:lnTo>
                    <a:pt x="450" y="121"/>
                  </a:lnTo>
                  <a:lnTo>
                    <a:pt x="460" y="141"/>
                  </a:lnTo>
                  <a:lnTo>
                    <a:pt x="467" y="164"/>
                  </a:lnTo>
                  <a:lnTo>
                    <a:pt x="474" y="185"/>
                  </a:lnTo>
                  <a:lnTo>
                    <a:pt x="477" y="208"/>
                  </a:lnTo>
                  <a:lnTo>
                    <a:pt x="478" y="232"/>
                  </a:lnTo>
                  <a:lnTo>
                    <a:pt x="478" y="23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2" name="Line 20"/>
            <p:cNvSpPr>
              <a:spLocks noChangeShapeType="1"/>
            </p:cNvSpPr>
            <p:nvPr userDrawn="1"/>
          </p:nvSpPr>
          <p:spPr bwMode="auto">
            <a:xfrm>
              <a:off x="5670" y="737"/>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pic>
          <p:nvPicPr>
            <p:cNvPr id="33" name="Picture 21"/>
            <p:cNvPicPr>
              <a:picLocks noChangeAspect="1" noChangeArrowheads="1"/>
            </p:cNvPicPr>
            <p:nvPr userDrawn="1"/>
          </p:nvPicPr>
          <p:blipFill>
            <a:blip r:embed="rId7" cstate="hqprint">
              <a:extLst>
                <a:ext uri="{28A0092B-C50C-407E-A947-70E740481C1C}">
                  <a14:useLocalDpi xmlns:a14="http://schemas.microsoft.com/office/drawing/2010/main" val="0"/>
                </a:ext>
              </a:extLst>
            </a:blip>
            <a:srcRect/>
            <a:stretch>
              <a:fillRect/>
            </a:stretch>
          </p:blipFill>
          <p:spPr bwMode="auto">
            <a:xfrm>
              <a:off x="5478" y="637"/>
              <a:ext cx="282" cy="2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4" name="Freeform 22"/>
            <p:cNvSpPr>
              <a:spLocks noEditPoints="1"/>
            </p:cNvSpPr>
            <p:nvPr userDrawn="1"/>
          </p:nvSpPr>
          <p:spPr bwMode="auto">
            <a:xfrm>
              <a:off x="5526" y="673"/>
              <a:ext cx="138" cy="139"/>
            </a:xfrm>
            <a:custGeom>
              <a:avLst/>
              <a:gdLst>
                <a:gd name="T0" fmla="*/ 415 w 415"/>
                <a:gd name="T1" fmla="*/ 209 h 417"/>
                <a:gd name="T2" fmla="*/ 411 w 415"/>
                <a:gd name="T3" fmla="*/ 251 h 417"/>
                <a:gd name="T4" fmla="*/ 400 w 415"/>
                <a:gd name="T5" fmla="*/ 291 h 417"/>
                <a:gd name="T6" fmla="*/ 379 w 415"/>
                <a:gd name="T7" fmla="*/ 325 h 417"/>
                <a:gd name="T8" fmla="*/ 355 w 415"/>
                <a:gd name="T9" fmla="*/ 356 h 417"/>
                <a:gd name="T10" fmla="*/ 324 w 415"/>
                <a:gd name="T11" fmla="*/ 382 h 417"/>
                <a:gd name="T12" fmla="*/ 289 w 415"/>
                <a:gd name="T13" fmla="*/ 400 h 417"/>
                <a:gd name="T14" fmla="*/ 249 w 415"/>
                <a:gd name="T15" fmla="*/ 413 h 417"/>
                <a:gd name="T16" fmla="*/ 208 w 415"/>
                <a:gd name="T17" fmla="*/ 417 h 417"/>
                <a:gd name="T18" fmla="*/ 186 w 415"/>
                <a:gd name="T19" fmla="*/ 416 h 417"/>
                <a:gd name="T20" fmla="*/ 146 w 415"/>
                <a:gd name="T21" fmla="*/ 407 h 417"/>
                <a:gd name="T22" fmla="*/ 109 w 415"/>
                <a:gd name="T23" fmla="*/ 392 h 417"/>
                <a:gd name="T24" fmla="*/ 76 w 415"/>
                <a:gd name="T25" fmla="*/ 370 h 417"/>
                <a:gd name="T26" fmla="*/ 47 w 415"/>
                <a:gd name="T27" fmla="*/ 342 h 417"/>
                <a:gd name="T28" fmla="*/ 26 w 415"/>
                <a:gd name="T29" fmla="*/ 308 h 417"/>
                <a:gd name="T30" fmla="*/ 10 w 415"/>
                <a:gd name="T31" fmla="*/ 271 h 417"/>
                <a:gd name="T32" fmla="*/ 2 w 415"/>
                <a:gd name="T33" fmla="*/ 229 h 417"/>
                <a:gd name="T34" fmla="*/ 0 w 415"/>
                <a:gd name="T35" fmla="*/ 209 h 417"/>
                <a:gd name="T36" fmla="*/ 4 w 415"/>
                <a:gd name="T37" fmla="*/ 167 h 417"/>
                <a:gd name="T38" fmla="*/ 16 w 415"/>
                <a:gd name="T39" fmla="*/ 128 h 417"/>
                <a:gd name="T40" fmla="*/ 36 w 415"/>
                <a:gd name="T41" fmla="*/ 93 h 417"/>
                <a:gd name="T42" fmla="*/ 62 w 415"/>
                <a:gd name="T43" fmla="*/ 61 h 417"/>
                <a:gd name="T44" fmla="*/ 92 w 415"/>
                <a:gd name="T45" fmla="*/ 36 h 417"/>
                <a:gd name="T46" fmla="*/ 128 w 415"/>
                <a:gd name="T47" fmla="*/ 17 h 417"/>
                <a:gd name="T48" fmla="*/ 166 w 415"/>
                <a:gd name="T49" fmla="*/ 4 h 417"/>
                <a:gd name="T50" fmla="*/ 208 w 415"/>
                <a:gd name="T51" fmla="*/ 0 h 417"/>
                <a:gd name="T52" fmla="*/ 229 w 415"/>
                <a:gd name="T53" fmla="*/ 1 h 417"/>
                <a:gd name="T54" fmla="*/ 269 w 415"/>
                <a:gd name="T55" fmla="*/ 10 h 417"/>
                <a:gd name="T56" fmla="*/ 306 w 415"/>
                <a:gd name="T57" fmla="*/ 26 h 417"/>
                <a:gd name="T58" fmla="*/ 339 w 415"/>
                <a:gd name="T59" fmla="*/ 48 h 417"/>
                <a:gd name="T60" fmla="*/ 368 w 415"/>
                <a:gd name="T61" fmla="*/ 75 h 417"/>
                <a:gd name="T62" fmla="*/ 391 w 415"/>
                <a:gd name="T63" fmla="*/ 110 h 417"/>
                <a:gd name="T64" fmla="*/ 407 w 415"/>
                <a:gd name="T65" fmla="*/ 147 h 417"/>
                <a:gd name="T66" fmla="*/ 414 w 415"/>
                <a:gd name="T67" fmla="*/ 188 h 417"/>
                <a:gd name="T68" fmla="*/ 415 w 415"/>
                <a:gd name="T69" fmla="*/ 209 h 417"/>
                <a:gd name="T70" fmla="*/ 415 w 415"/>
                <a:gd name="T71" fmla="*/ 209 h 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15" h="417">
                  <a:moveTo>
                    <a:pt x="415" y="209"/>
                  </a:moveTo>
                  <a:lnTo>
                    <a:pt x="415" y="209"/>
                  </a:lnTo>
                  <a:lnTo>
                    <a:pt x="414" y="229"/>
                  </a:lnTo>
                  <a:lnTo>
                    <a:pt x="411" y="251"/>
                  </a:lnTo>
                  <a:lnTo>
                    <a:pt x="407" y="271"/>
                  </a:lnTo>
                  <a:lnTo>
                    <a:pt x="400" y="291"/>
                  </a:lnTo>
                  <a:lnTo>
                    <a:pt x="391" y="308"/>
                  </a:lnTo>
                  <a:lnTo>
                    <a:pt x="379" y="325"/>
                  </a:lnTo>
                  <a:lnTo>
                    <a:pt x="368" y="342"/>
                  </a:lnTo>
                  <a:lnTo>
                    <a:pt x="355" y="356"/>
                  </a:lnTo>
                  <a:lnTo>
                    <a:pt x="339" y="370"/>
                  </a:lnTo>
                  <a:lnTo>
                    <a:pt x="324" y="382"/>
                  </a:lnTo>
                  <a:lnTo>
                    <a:pt x="306" y="392"/>
                  </a:lnTo>
                  <a:lnTo>
                    <a:pt x="289" y="400"/>
                  </a:lnTo>
                  <a:lnTo>
                    <a:pt x="269" y="407"/>
                  </a:lnTo>
                  <a:lnTo>
                    <a:pt x="249" y="413"/>
                  </a:lnTo>
                  <a:lnTo>
                    <a:pt x="229" y="416"/>
                  </a:lnTo>
                  <a:lnTo>
                    <a:pt x="208" y="417"/>
                  </a:lnTo>
                  <a:lnTo>
                    <a:pt x="208" y="417"/>
                  </a:lnTo>
                  <a:lnTo>
                    <a:pt x="186" y="416"/>
                  </a:lnTo>
                  <a:lnTo>
                    <a:pt x="166" y="413"/>
                  </a:lnTo>
                  <a:lnTo>
                    <a:pt x="146" y="407"/>
                  </a:lnTo>
                  <a:lnTo>
                    <a:pt x="128" y="400"/>
                  </a:lnTo>
                  <a:lnTo>
                    <a:pt x="109" y="392"/>
                  </a:lnTo>
                  <a:lnTo>
                    <a:pt x="92" y="382"/>
                  </a:lnTo>
                  <a:lnTo>
                    <a:pt x="76" y="370"/>
                  </a:lnTo>
                  <a:lnTo>
                    <a:pt x="62" y="356"/>
                  </a:lnTo>
                  <a:lnTo>
                    <a:pt x="47" y="342"/>
                  </a:lnTo>
                  <a:lnTo>
                    <a:pt x="36" y="325"/>
                  </a:lnTo>
                  <a:lnTo>
                    <a:pt x="26" y="308"/>
                  </a:lnTo>
                  <a:lnTo>
                    <a:pt x="16" y="291"/>
                  </a:lnTo>
                  <a:lnTo>
                    <a:pt x="10" y="271"/>
                  </a:lnTo>
                  <a:lnTo>
                    <a:pt x="4" y="251"/>
                  </a:lnTo>
                  <a:lnTo>
                    <a:pt x="2" y="229"/>
                  </a:lnTo>
                  <a:lnTo>
                    <a:pt x="0" y="209"/>
                  </a:lnTo>
                  <a:lnTo>
                    <a:pt x="0" y="209"/>
                  </a:lnTo>
                  <a:lnTo>
                    <a:pt x="2" y="188"/>
                  </a:lnTo>
                  <a:lnTo>
                    <a:pt x="4" y="167"/>
                  </a:lnTo>
                  <a:lnTo>
                    <a:pt x="10" y="147"/>
                  </a:lnTo>
                  <a:lnTo>
                    <a:pt x="16" y="128"/>
                  </a:lnTo>
                  <a:lnTo>
                    <a:pt x="26" y="110"/>
                  </a:lnTo>
                  <a:lnTo>
                    <a:pt x="36" y="93"/>
                  </a:lnTo>
                  <a:lnTo>
                    <a:pt x="47" y="75"/>
                  </a:lnTo>
                  <a:lnTo>
                    <a:pt x="62" y="61"/>
                  </a:lnTo>
                  <a:lnTo>
                    <a:pt x="76" y="48"/>
                  </a:lnTo>
                  <a:lnTo>
                    <a:pt x="92" y="36"/>
                  </a:lnTo>
                  <a:lnTo>
                    <a:pt x="109" y="26"/>
                  </a:lnTo>
                  <a:lnTo>
                    <a:pt x="128" y="17"/>
                  </a:lnTo>
                  <a:lnTo>
                    <a:pt x="146" y="10"/>
                  </a:lnTo>
                  <a:lnTo>
                    <a:pt x="166" y="4"/>
                  </a:lnTo>
                  <a:lnTo>
                    <a:pt x="186" y="1"/>
                  </a:lnTo>
                  <a:lnTo>
                    <a:pt x="208" y="0"/>
                  </a:lnTo>
                  <a:lnTo>
                    <a:pt x="208" y="0"/>
                  </a:lnTo>
                  <a:lnTo>
                    <a:pt x="229" y="1"/>
                  </a:lnTo>
                  <a:lnTo>
                    <a:pt x="249" y="4"/>
                  </a:lnTo>
                  <a:lnTo>
                    <a:pt x="269" y="10"/>
                  </a:lnTo>
                  <a:lnTo>
                    <a:pt x="289" y="17"/>
                  </a:lnTo>
                  <a:lnTo>
                    <a:pt x="306" y="26"/>
                  </a:lnTo>
                  <a:lnTo>
                    <a:pt x="324" y="36"/>
                  </a:lnTo>
                  <a:lnTo>
                    <a:pt x="339" y="48"/>
                  </a:lnTo>
                  <a:lnTo>
                    <a:pt x="355" y="61"/>
                  </a:lnTo>
                  <a:lnTo>
                    <a:pt x="368" y="75"/>
                  </a:lnTo>
                  <a:lnTo>
                    <a:pt x="379" y="93"/>
                  </a:lnTo>
                  <a:lnTo>
                    <a:pt x="391" y="110"/>
                  </a:lnTo>
                  <a:lnTo>
                    <a:pt x="400" y="128"/>
                  </a:lnTo>
                  <a:lnTo>
                    <a:pt x="407" y="147"/>
                  </a:lnTo>
                  <a:lnTo>
                    <a:pt x="411" y="167"/>
                  </a:lnTo>
                  <a:lnTo>
                    <a:pt x="414" y="188"/>
                  </a:lnTo>
                  <a:lnTo>
                    <a:pt x="415" y="209"/>
                  </a:lnTo>
                  <a:lnTo>
                    <a:pt x="415" y="209"/>
                  </a:lnTo>
                  <a:close/>
                  <a:moveTo>
                    <a:pt x="415" y="209"/>
                  </a:moveTo>
                  <a:lnTo>
                    <a:pt x="415" y="20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5" name="Freeform 23"/>
            <p:cNvSpPr>
              <a:spLocks/>
            </p:cNvSpPr>
            <p:nvPr userDrawn="1"/>
          </p:nvSpPr>
          <p:spPr bwMode="auto">
            <a:xfrm>
              <a:off x="5526" y="673"/>
              <a:ext cx="138" cy="139"/>
            </a:xfrm>
            <a:custGeom>
              <a:avLst/>
              <a:gdLst>
                <a:gd name="T0" fmla="*/ 415 w 415"/>
                <a:gd name="T1" fmla="*/ 209 h 417"/>
                <a:gd name="T2" fmla="*/ 411 w 415"/>
                <a:gd name="T3" fmla="*/ 251 h 417"/>
                <a:gd name="T4" fmla="*/ 400 w 415"/>
                <a:gd name="T5" fmla="*/ 291 h 417"/>
                <a:gd name="T6" fmla="*/ 379 w 415"/>
                <a:gd name="T7" fmla="*/ 325 h 417"/>
                <a:gd name="T8" fmla="*/ 355 w 415"/>
                <a:gd name="T9" fmla="*/ 356 h 417"/>
                <a:gd name="T10" fmla="*/ 324 w 415"/>
                <a:gd name="T11" fmla="*/ 382 h 417"/>
                <a:gd name="T12" fmla="*/ 289 w 415"/>
                <a:gd name="T13" fmla="*/ 400 h 417"/>
                <a:gd name="T14" fmla="*/ 249 w 415"/>
                <a:gd name="T15" fmla="*/ 413 h 417"/>
                <a:gd name="T16" fmla="*/ 208 w 415"/>
                <a:gd name="T17" fmla="*/ 417 h 417"/>
                <a:gd name="T18" fmla="*/ 186 w 415"/>
                <a:gd name="T19" fmla="*/ 416 h 417"/>
                <a:gd name="T20" fmla="*/ 146 w 415"/>
                <a:gd name="T21" fmla="*/ 407 h 417"/>
                <a:gd name="T22" fmla="*/ 109 w 415"/>
                <a:gd name="T23" fmla="*/ 392 h 417"/>
                <a:gd name="T24" fmla="*/ 76 w 415"/>
                <a:gd name="T25" fmla="*/ 370 h 417"/>
                <a:gd name="T26" fmla="*/ 47 w 415"/>
                <a:gd name="T27" fmla="*/ 342 h 417"/>
                <a:gd name="T28" fmla="*/ 26 w 415"/>
                <a:gd name="T29" fmla="*/ 308 h 417"/>
                <a:gd name="T30" fmla="*/ 10 w 415"/>
                <a:gd name="T31" fmla="*/ 271 h 417"/>
                <a:gd name="T32" fmla="*/ 2 w 415"/>
                <a:gd name="T33" fmla="*/ 229 h 417"/>
                <a:gd name="T34" fmla="*/ 0 w 415"/>
                <a:gd name="T35" fmla="*/ 209 h 417"/>
                <a:gd name="T36" fmla="*/ 4 w 415"/>
                <a:gd name="T37" fmla="*/ 167 h 417"/>
                <a:gd name="T38" fmla="*/ 16 w 415"/>
                <a:gd name="T39" fmla="*/ 128 h 417"/>
                <a:gd name="T40" fmla="*/ 36 w 415"/>
                <a:gd name="T41" fmla="*/ 93 h 417"/>
                <a:gd name="T42" fmla="*/ 62 w 415"/>
                <a:gd name="T43" fmla="*/ 61 h 417"/>
                <a:gd name="T44" fmla="*/ 92 w 415"/>
                <a:gd name="T45" fmla="*/ 36 h 417"/>
                <a:gd name="T46" fmla="*/ 128 w 415"/>
                <a:gd name="T47" fmla="*/ 17 h 417"/>
                <a:gd name="T48" fmla="*/ 166 w 415"/>
                <a:gd name="T49" fmla="*/ 4 h 417"/>
                <a:gd name="T50" fmla="*/ 208 w 415"/>
                <a:gd name="T51" fmla="*/ 0 h 417"/>
                <a:gd name="T52" fmla="*/ 229 w 415"/>
                <a:gd name="T53" fmla="*/ 1 h 417"/>
                <a:gd name="T54" fmla="*/ 269 w 415"/>
                <a:gd name="T55" fmla="*/ 10 h 417"/>
                <a:gd name="T56" fmla="*/ 306 w 415"/>
                <a:gd name="T57" fmla="*/ 26 h 417"/>
                <a:gd name="T58" fmla="*/ 339 w 415"/>
                <a:gd name="T59" fmla="*/ 48 h 417"/>
                <a:gd name="T60" fmla="*/ 368 w 415"/>
                <a:gd name="T61" fmla="*/ 75 h 417"/>
                <a:gd name="T62" fmla="*/ 391 w 415"/>
                <a:gd name="T63" fmla="*/ 110 h 417"/>
                <a:gd name="T64" fmla="*/ 407 w 415"/>
                <a:gd name="T65" fmla="*/ 147 h 417"/>
                <a:gd name="T66" fmla="*/ 414 w 415"/>
                <a:gd name="T67" fmla="*/ 188 h 417"/>
                <a:gd name="T68" fmla="*/ 415 w 415"/>
                <a:gd name="T69" fmla="*/ 209 h 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15" h="417">
                  <a:moveTo>
                    <a:pt x="415" y="209"/>
                  </a:moveTo>
                  <a:lnTo>
                    <a:pt x="415" y="209"/>
                  </a:lnTo>
                  <a:lnTo>
                    <a:pt x="414" y="229"/>
                  </a:lnTo>
                  <a:lnTo>
                    <a:pt x="411" y="251"/>
                  </a:lnTo>
                  <a:lnTo>
                    <a:pt x="407" y="271"/>
                  </a:lnTo>
                  <a:lnTo>
                    <a:pt x="400" y="291"/>
                  </a:lnTo>
                  <a:lnTo>
                    <a:pt x="391" y="308"/>
                  </a:lnTo>
                  <a:lnTo>
                    <a:pt x="379" y="325"/>
                  </a:lnTo>
                  <a:lnTo>
                    <a:pt x="368" y="342"/>
                  </a:lnTo>
                  <a:lnTo>
                    <a:pt x="355" y="356"/>
                  </a:lnTo>
                  <a:lnTo>
                    <a:pt x="339" y="370"/>
                  </a:lnTo>
                  <a:lnTo>
                    <a:pt x="324" y="382"/>
                  </a:lnTo>
                  <a:lnTo>
                    <a:pt x="306" y="392"/>
                  </a:lnTo>
                  <a:lnTo>
                    <a:pt x="289" y="400"/>
                  </a:lnTo>
                  <a:lnTo>
                    <a:pt x="269" y="407"/>
                  </a:lnTo>
                  <a:lnTo>
                    <a:pt x="249" y="413"/>
                  </a:lnTo>
                  <a:lnTo>
                    <a:pt x="229" y="416"/>
                  </a:lnTo>
                  <a:lnTo>
                    <a:pt x="208" y="417"/>
                  </a:lnTo>
                  <a:lnTo>
                    <a:pt x="208" y="417"/>
                  </a:lnTo>
                  <a:lnTo>
                    <a:pt x="186" y="416"/>
                  </a:lnTo>
                  <a:lnTo>
                    <a:pt x="166" y="413"/>
                  </a:lnTo>
                  <a:lnTo>
                    <a:pt x="146" y="407"/>
                  </a:lnTo>
                  <a:lnTo>
                    <a:pt x="128" y="400"/>
                  </a:lnTo>
                  <a:lnTo>
                    <a:pt x="109" y="392"/>
                  </a:lnTo>
                  <a:lnTo>
                    <a:pt x="92" y="382"/>
                  </a:lnTo>
                  <a:lnTo>
                    <a:pt x="76" y="370"/>
                  </a:lnTo>
                  <a:lnTo>
                    <a:pt x="62" y="356"/>
                  </a:lnTo>
                  <a:lnTo>
                    <a:pt x="47" y="342"/>
                  </a:lnTo>
                  <a:lnTo>
                    <a:pt x="36" y="325"/>
                  </a:lnTo>
                  <a:lnTo>
                    <a:pt x="26" y="308"/>
                  </a:lnTo>
                  <a:lnTo>
                    <a:pt x="16" y="291"/>
                  </a:lnTo>
                  <a:lnTo>
                    <a:pt x="10" y="271"/>
                  </a:lnTo>
                  <a:lnTo>
                    <a:pt x="4" y="251"/>
                  </a:lnTo>
                  <a:lnTo>
                    <a:pt x="2" y="229"/>
                  </a:lnTo>
                  <a:lnTo>
                    <a:pt x="0" y="209"/>
                  </a:lnTo>
                  <a:lnTo>
                    <a:pt x="0" y="209"/>
                  </a:lnTo>
                  <a:lnTo>
                    <a:pt x="2" y="188"/>
                  </a:lnTo>
                  <a:lnTo>
                    <a:pt x="4" y="167"/>
                  </a:lnTo>
                  <a:lnTo>
                    <a:pt x="10" y="147"/>
                  </a:lnTo>
                  <a:lnTo>
                    <a:pt x="16" y="128"/>
                  </a:lnTo>
                  <a:lnTo>
                    <a:pt x="26" y="110"/>
                  </a:lnTo>
                  <a:lnTo>
                    <a:pt x="36" y="93"/>
                  </a:lnTo>
                  <a:lnTo>
                    <a:pt x="47" y="75"/>
                  </a:lnTo>
                  <a:lnTo>
                    <a:pt x="62" y="61"/>
                  </a:lnTo>
                  <a:lnTo>
                    <a:pt x="76" y="48"/>
                  </a:lnTo>
                  <a:lnTo>
                    <a:pt x="92" y="36"/>
                  </a:lnTo>
                  <a:lnTo>
                    <a:pt x="109" y="26"/>
                  </a:lnTo>
                  <a:lnTo>
                    <a:pt x="128" y="17"/>
                  </a:lnTo>
                  <a:lnTo>
                    <a:pt x="146" y="10"/>
                  </a:lnTo>
                  <a:lnTo>
                    <a:pt x="166" y="4"/>
                  </a:lnTo>
                  <a:lnTo>
                    <a:pt x="186" y="1"/>
                  </a:lnTo>
                  <a:lnTo>
                    <a:pt x="208" y="0"/>
                  </a:lnTo>
                  <a:lnTo>
                    <a:pt x="208" y="0"/>
                  </a:lnTo>
                  <a:lnTo>
                    <a:pt x="229" y="1"/>
                  </a:lnTo>
                  <a:lnTo>
                    <a:pt x="249" y="4"/>
                  </a:lnTo>
                  <a:lnTo>
                    <a:pt x="269" y="10"/>
                  </a:lnTo>
                  <a:lnTo>
                    <a:pt x="289" y="17"/>
                  </a:lnTo>
                  <a:lnTo>
                    <a:pt x="306" y="26"/>
                  </a:lnTo>
                  <a:lnTo>
                    <a:pt x="324" y="36"/>
                  </a:lnTo>
                  <a:lnTo>
                    <a:pt x="339" y="48"/>
                  </a:lnTo>
                  <a:lnTo>
                    <a:pt x="355" y="61"/>
                  </a:lnTo>
                  <a:lnTo>
                    <a:pt x="368" y="75"/>
                  </a:lnTo>
                  <a:lnTo>
                    <a:pt x="379" y="93"/>
                  </a:lnTo>
                  <a:lnTo>
                    <a:pt x="391" y="110"/>
                  </a:lnTo>
                  <a:lnTo>
                    <a:pt x="400" y="128"/>
                  </a:lnTo>
                  <a:lnTo>
                    <a:pt x="407" y="147"/>
                  </a:lnTo>
                  <a:lnTo>
                    <a:pt x="411" y="167"/>
                  </a:lnTo>
                  <a:lnTo>
                    <a:pt x="414" y="188"/>
                  </a:lnTo>
                  <a:lnTo>
                    <a:pt x="415" y="209"/>
                  </a:lnTo>
                  <a:lnTo>
                    <a:pt x="415" y="20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6" name="Line 24"/>
            <p:cNvSpPr>
              <a:spLocks noChangeShapeType="1"/>
            </p:cNvSpPr>
            <p:nvPr userDrawn="1"/>
          </p:nvSpPr>
          <p:spPr bwMode="auto">
            <a:xfrm>
              <a:off x="5664" y="742"/>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pic>
          <p:nvPicPr>
            <p:cNvPr id="37" name="Picture 25"/>
            <p:cNvPicPr>
              <a:picLocks noChangeAspect="1" noChangeArrowheads="1"/>
            </p:cNvPicPr>
            <p:nvPr userDrawn="1"/>
          </p:nvPicPr>
          <p:blipFill>
            <a:blip r:embed="rId8" cstate="hqprint">
              <a:extLst>
                <a:ext uri="{28A0092B-C50C-407E-A947-70E740481C1C}">
                  <a14:useLocalDpi xmlns:a14="http://schemas.microsoft.com/office/drawing/2010/main" val="0"/>
                </a:ext>
              </a:extLst>
            </a:blip>
            <a:srcRect/>
            <a:stretch>
              <a:fillRect/>
            </a:stretch>
          </p:blipFill>
          <p:spPr bwMode="auto">
            <a:xfrm>
              <a:off x="5478" y="637"/>
              <a:ext cx="282" cy="2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8" name="Freeform 26"/>
            <p:cNvSpPr>
              <a:spLocks noEditPoints="1"/>
            </p:cNvSpPr>
            <p:nvPr userDrawn="1"/>
          </p:nvSpPr>
          <p:spPr bwMode="auto">
            <a:xfrm>
              <a:off x="5563" y="717"/>
              <a:ext cx="44" cy="62"/>
            </a:xfrm>
            <a:custGeom>
              <a:avLst/>
              <a:gdLst>
                <a:gd name="T0" fmla="*/ 6 w 133"/>
                <a:gd name="T1" fmla="*/ 187 h 187"/>
                <a:gd name="T2" fmla="*/ 1 w 133"/>
                <a:gd name="T3" fmla="*/ 179 h 187"/>
                <a:gd name="T4" fmla="*/ 1 w 133"/>
                <a:gd name="T5" fmla="*/ 151 h 187"/>
                <a:gd name="T6" fmla="*/ 6 w 133"/>
                <a:gd name="T7" fmla="*/ 143 h 187"/>
                <a:gd name="T8" fmla="*/ 61 w 133"/>
                <a:gd name="T9" fmla="*/ 144 h 187"/>
                <a:gd name="T10" fmla="*/ 73 w 133"/>
                <a:gd name="T11" fmla="*/ 144 h 187"/>
                <a:gd name="T12" fmla="*/ 87 w 133"/>
                <a:gd name="T13" fmla="*/ 143 h 187"/>
                <a:gd name="T14" fmla="*/ 91 w 133"/>
                <a:gd name="T15" fmla="*/ 136 h 187"/>
                <a:gd name="T16" fmla="*/ 93 w 133"/>
                <a:gd name="T17" fmla="*/ 130 h 187"/>
                <a:gd name="T18" fmla="*/ 90 w 133"/>
                <a:gd name="T19" fmla="*/ 124 h 187"/>
                <a:gd name="T20" fmla="*/ 66 w 133"/>
                <a:gd name="T21" fmla="*/ 114 h 187"/>
                <a:gd name="T22" fmla="*/ 51 w 133"/>
                <a:gd name="T23" fmla="*/ 107 h 187"/>
                <a:gd name="T24" fmla="*/ 30 w 133"/>
                <a:gd name="T25" fmla="*/ 96 h 187"/>
                <a:gd name="T26" fmla="*/ 17 w 133"/>
                <a:gd name="T27" fmla="*/ 83 h 187"/>
                <a:gd name="T28" fmla="*/ 11 w 133"/>
                <a:gd name="T29" fmla="*/ 76 h 187"/>
                <a:gd name="T30" fmla="*/ 7 w 133"/>
                <a:gd name="T31" fmla="*/ 60 h 187"/>
                <a:gd name="T32" fmla="*/ 6 w 133"/>
                <a:gd name="T33" fmla="*/ 52 h 187"/>
                <a:gd name="T34" fmla="*/ 10 w 133"/>
                <a:gd name="T35" fmla="*/ 27 h 187"/>
                <a:gd name="T36" fmla="*/ 24 w 133"/>
                <a:gd name="T37" fmla="*/ 10 h 187"/>
                <a:gd name="T38" fmla="*/ 28 w 133"/>
                <a:gd name="T39" fmla="*/ 8 h 187"/>
                <a:gd name="T40" fmla="*/ 44 w 133"/>
                <a:gd name="T41" fmla="*/ 2 h 187"/>
                <a:gd name="T42" fmla="*/ 73 w 133"/>
                <a:gd name="T43" fmla="*/ 0 h 187"/>
                <a:gd name="T44" fmla="*/ 121 w 133"/>
                <a:gd name="T45" fmla="*/ 0 h 187"/>
                <a:gd name="T46" fmla="*/ 126 w 133"/>
                <a:gd name="T47" fmla="*/ 9 h 187"/>
                <a:gd name="T48" fmla="*/ 126 w 133"/>
                <a:gd name="T49" fmla="*/ 33 h 187"/>
                <a:gd name="T50" fmla="*/ 121 w 133"/>
                <a:gd name="T51" fmla="*/ 42 h 187"/>
                <a:gd name="T52" fmla="*/ 79 w 133"/>
                <a:gd name="T53" fmla="*/ 42 h 187"/>
                <a:gd name="T54" fmla="*/ 54 w 133"/>
                <a:gd name="T55" fmla="*/ 43 h 187"/>
                <a:gd name="T56" fmla="*/ 47 w 133"/>
                <a:gd name="T57" fmla="*/ 46 h 187"/>
                <a:gd name="T58" fmla="*/ 44 w 133"/>
                <a:gd name="T59" fmla="*/ 53 h 187"/>
                <a:gd name="T60" fmla="*/ 46 w 133"/>
                <a:gd name="T61" fmla="*/ 59 h 187"/>
                <a:gd name="T62" fmla="*/ 57 w 133"/>
                <a:gd name="T63" fmla="*/ 69 h 187"/>
                <a:gd name="T64" fmla="*/ 79 w 133"/>
                <a:gd name="T65" fmla="*/ 79 h 187"/>
                <a:gd name="T66" fmla="*/ 86 w 133"/>
                <a:gd name="T67" fmla="*/ 80 h 187"/>
                <a:gd name="T68" fmla="*/ 116 w 133"/>
                <a:gd name="T69" fmla="*/ 93 h 187"/>
                <a:gd name="T70" fmla="*/ 121 w 133"/>
                <a:gd name="T71" fmla="*/ 99 h 187"/>
                <a:gd name="T72" fmla="*/ 130 w 133"/>
                <a:gd name="T73" fmla="*/ 113 h 187"/>
                <a:gd name="T74" fmla="*/ 133 w 133"/>
                <a:gd name="T75" fmla="*/ 132 h 187"/>
                <a:gd name="T76" fmla="*/ 131 w 133"/>
                <a:gd name="T77" fmla="*/ 143 h 187"/>
                <a:gd name="T78" fmla="*/ 123 w 133"/>
                <a:gd name="T79" fmla="*/ 164 h 187"/>
                <a:gd name="T80" fmla="*/ 114 w 133"/>
                <a:gd name="T81" fmla="*/ 173 h 187"/>
                <a:gd name="T82" fmla="*/ 94 w 133"/>
                <a:gd name="T83" fmla="*/ 184 h 187"/>
                <a:gd name="T84" fmla="*/ 69 w 133"/>
                <a:gd name="T85" fmla="*/ 187 h 187"/>
                <a:gd name="T86" fmla="*/ 6 w 133"/>
                <a:gd name="T87"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3" h="187">
                  <a:moveTo>
                    <a:pt x="6" y="187"/>
                  </a:moveTo>
                  <a:lnTo>
                    <a:pt x="6" y="187"/>
                  </a:lnTo>
                  <a:lnTo>
                    <a:pt x="3" y="184"/>
                  </a:lnTo>
                  <a:lnTo>
                    <a:pt x="1" y="179"/>
                  </a:lnTo>
                  <a:lnTo>
                    <a:pt x="0" y="166"/>
                  </a:lnTo>
                  <a:lnTo>
                    <a:pt x="1" y="151"/>
                  </a:lnTo>
                  <a:lnTo>
                    <a:pt x="3" y="147"/>
                  </a:lnTo>
                  <a:lnTo>
                    <a:pt x="6" y="143"/>
                  </a:lnTo>
                  <a:lnTo>
                    <a:pt x="6" y="143"/>
                  </a:lnTo>
                  <a:lnTo>
                    <a:pt x="61" y="144"/>
                  </a:lnTo>
                  <a:lnTo>
                    <a:pt x="61" y="144"/>
                  </a:lnTo>
                  <a:lnTo>
                    <a:pt x="73" y="144"/>
                  </a:lnTo>
                  <a:lnTo>
                    <a:pt x="83" y="144"/>
                  </a:lnTo>
                  <a:lnTo>
                    <a:pt x="87" y="143"/>
                  </a:lnTo>
                  <a:lnTo>
                    <a:pt x="90" y="140"/>
                  </a:lnTo>
                  <a:lnTo>
                    <a:pt x="91" y="136"/>
                  </a:lnTo>
                  <a:lnTo>
                    <a:pt x="93" y="130"/>
                  </a:lnTo>
                  <a:lnTo>
                    <a:pt x="93" y="130"/>
                  </a:lnTo>
                  <a:lnTo>
                    <a:pt x="91" y="127"/>
                  </a:lnTo>
                  <a:lnTo>
                    <a:pt x="90" y="124"/>
                  </a:lnTo>
                  <a:lnTo>
                    <a:pt x="84" y="122"/>
                  </a:lnTo>
                  <a:lnTo>
                    <a:pt x="66" y="114"/>
                  </a:lnTo>
                  <a:lnTo>
                    <a:pt x="51" y="107"/>
                  </a:lnTo>
                  <a:lnTo>
                    <a:pt x="51" y="107"/>
                  </a:lnTo>
                  <a:lnTo>
                    <a:pt x="40" y="102"/>
                  </a:lnTo>
                  <a:lnTo>
                    <a:pt x="30" y="96"/>
                  </a:lnTo>
                  <a:lnTo>
                    <a:pt x="23" y="89"/>
                  </a:lnTo>
                  <a:lnTo>
                    <a:pt x="17" y="83"/>
                  </a:lnTo>
                  <a:lnTo>
                    <a:pt x="17" y="83"/>
                  </a:lnTo>
                  <a:lnTo>
                    <a:pt x="11" y="76"/>
                  </a:lnTo>
                  <a:lnTo>
                    <a:pt x="8" y="69"/>
                  </a:lnTo>
                  <a:lnTo>
                    <a:pt x="7" y="60"/>
                  </a:lnTo>
                  <a:lnTo>
                    <a:pt x="6" y="52"/>
                  </a:lnTo>
                  <a:lnTo>
                    <a:pt x="6" y="52"/>
                  </a:lnTo>
                  <a:lnTo>
                    <a:pt x="7" y="39"/>
                  </a:lnTo>
                  <a:lnTo>
                    <a:pt x="10" y="27"/>
                  </a:lnTo>
                  <a:lnTo>
                    <a:pt x="16" y="19"/>
                  </a:lnTo>
                  <a:lnTo>
                    <a:pt x="24" y="10"/>
                  </a:lnTo>
                  <a:lnTo>
                    <a:pt x="24" y="10"/>
                  </a:lnTo>
                  <a:lnTo>
                    <a:pt x="28" y="8"/>
                  </a:lnTo>
                  <a:lnTo>
                    <a:pt x="33" y="5"/>
                  </a:lnTo>
                  <a:lnTo>
                    <a:pt x="44" y="2"/>
                  </a:lnTo>
                  <a:lnTo>
                    <a:pt x="58" y="0"/>
                  </a:lnTo>
                  <a:lnTo>
                    <a:pt x="73" y="0"/>
                  </a:lnTo>
                  <a:lnTo>
                    <a:pt x="121" y="0"/>
                  </a:lnTo>
                  <a:lnTo>
                    <a:pt x="121" y="0"/>
                  </a:lnTo>
                  <a:lnTo>
                    <a:pt x="124" y="3"/>
                  </a:lnTo>
                  <a:lnTo>
                    <a:pt x="126" y="9"/>
                  </a:lnTo>
                  <a:lnTo>
                    <a:pt x="127" y="20"/>
                  </a:lnTo>
                  <a:lnTo>
                    <a:pt x="126" y="33"/>
                  </a:lnTo>
                  <a:lnTo>
                    <a:pt x="124" y="39"/>
                  </a:lnTo>
                  <a:lnTo>
                    <a:pt x="121" y="42"/>
                  </a:lnTo>
                  <a:lnTo>
                    <a:pt x="79" y="42"/>
                  </a:lnTo>
                  <a:lnTo>
                    <a:pt x="79" y="42"/>
                  </a:lnTo>
                  <a:lnTo>
                    <a:pt x="66" y="42"/>
                  </a:lnTo>
                  <a:lnTo>
                    <a:pt x="54" y="43"/>
                  </a:lnTo>
                  <a:lnTo>
                    <a:pt x="50" y="45"/>
                  </a:lnTo>
                  <a:lnTo>
                    <a:pt x="47" y="46"/>
                  </a:lnTo>
                  <a:lnTo>
                    <a:pt x="46" y="49"/>
                  </a:lnTo>
                  <a:lnTo>
                    <a:pt x="44" y="53"/>
                  </a:lnTo>
                  <a:lnTo>
                    <a:pt x="44" y="53"/>
                  </a:lnTo>
                  <a:lnTo>
                    <a:pt x="46" y="59"/>
                  </a:lnTo>
                  <a:lnTo>
                    <a:pt x="51" y="63"/>
                  </a:lnTo>
                  <a:lnTo>
                    <a:pt x="57" y="69"/>
                  </a:lnTo>
                  <a:lnTo>
                    <a:pt x="64" y="72"/>
                  </a:lnTo>
                  <a:lnTo>
                    <a:pt x="79" y="79"/>
                  </a:lnTo>
                  <a:lnTo>
                    <a:pt x="86" y="80"/>
                  </a:lnTo>
                  <a:lnTo>
                    <a:pt x="86" y="80"/>
                  </a:lnTo>
                  <a:lnTo>
                    <a:pt x="109" y="89"/>
                  </a:lnTo>
                  <a:lnTo>
                    <a:pt x="116" y="93"/>
                  </a:lnTo>
                  <a:lnTo>
                    <a:pt x="121" y="99"/>
                  </a:lnTo>
                  <a:lnTo>
                    <a:pt x="121" y="99"/>
                  </a:lnTo>
                  <a:lnTo>
                    <a:pt x="127" y="104"/>
                  </a:lnTo>
                  <a:lnTo>
                    <a:pt x="130" y="113"/>
                  </a:lnTo>
                  <a:lnTo>
                    <a:pt x="133" y="122"/>
                  </a:lnTo>
                  <a:lnTo>
                    <a:pt x="133" y="132"/>
                  </a:lnTo>
                  <a:lnTo>
                    <a:pt x="133" y="132"/>
                  </a:lnTo>
                  <a:lnTo>
                    <a:pt x="131" y="143"/>
                  </a:lnTo>
                  <a:lnTo>
                    <a:pt x="129" y="154"/>
                  </a:lnTo>
                  <a:lnTo>
                    <a:pt x="123" y="164"/>
                  </a:lnTo>
                  <a:lnTo>
                    <a:pt x="114" y="173"/>
                  </a:lnTo>
                  <a:lnTo>
                    <a:pt x="114" y="173"/>
                  </a:lnTo>
                  <a:lnTo>
                    <a:pt x="104" y="180"/>
                  </a:lnTo>
                  <a:lnTo>
                    <a:pt x="94" y="184"/>
                  </a:lnTo>
                  <a:lnTo>
                    <a:pt x="83" y="187"/>
                  </a:lnTo>
                  <a:lnTo>
                    <a:pt x="69" y="187"/>
                  </a:lnTo>
                  <a:lnTo>
                    <a:pt x="6" y="187"/>
                  </a:lnTo>
                  <a:close/>
                  <a:moveTo>
                    <a:pt x="6" y="187"/>
                  </a:moveTo>
                  <a:lnTo>
                    <a:pt x="6" y="18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9" name="Freeform 27"/>
            <p:cNvSpPr>
              <a:spLocks/>
            </p:cNvSpPr>
            <p:nvPr userDrawn="1"/>
          </p:nvSpPr>
          <p:spPr bwMode="auto">
            <a:xfrm>
              <a:off x="5563" y="717"/>
              <a:ext cx="44" cy="62"/>
            </a:xfrm>
            <a:custGeom>
              <a:avLst/>
              <a:gdLst>
                <a:gd name="T0" fmla="*/ 6 w 133"/>
                <a:gd name="T1" fmla="*/ 187 h 187"/>
                <a:gd name="T2" fmla="*/ 1 w 133"/>
                <a:gd name="T3" fmla="*/ 179 h 187"/>
                <a:gd name="T4" fmla="*/ 1 w 133"/>
                <a:gd name="T5" fmla="*/ 151 h 187"/>
                <a:gd name="T6" fmla="*/ 6 w 133"/>
                <a:gd name="T7" fmla="*/ 143 h 187"/>
                <a:gd name="T8" fmla="*/ 61 w 133"/>
                <a:gd name="T9" fmla="*/ 144 h 187"/>
                <a:gd name="T10" fmla="*/ 73 w 133"/>
                <a:gd name="T11" fmla="*/ 144 h 187"/>
                <a:gd name="T12" fmla="*/ 87 w 133"/>
                <a:gd name="T13" fmla="*/ 143 h 187"/>
                <a:gd name="T14" fmla="*/ 91 w 133"/>
                <a:gd name="T15" fmla="*/ 136 h 187"/>
                <a:gd name="T16" fmla="*/ 93 w 133"/>
                <a:gd name="T17" fmla="*/ 130 h 187"/>
                <a:gd name="T18" fmla="*/ 90 w 133"/>
                <a:gd name="T19" fmla="*/ 124 h 187"/>
                <a:gd name="T20" fmla="*/ 66 w 133"/>
                <a:gd name="T21" fmla="*/ 114 h 187"/>
                <a:gd name="T22" fmla="*/ 51 w 133"/>
                <a:gd name="T23" fmla="*/ 107 h 187"/>
                <a:gd name="T24" fmla="*/ 30 w 133"/>
                <a:gd name="T25" fmla="*/ 96 h 187"/>
                <a:gd name="T26" fmla="*/ 17 w 133"/>
                <a:gd name="T27" fmla="*/ 83 h 187"/>
                <a:gd name="T28" fmla="*/ 11 w 133"/>
                <a:gd name="T29" fmla="*/ 76 h 187"/>
                <a:gd name="T30" fmla="*/ 7 w 133"/>
                <a:gd name="T31" fmla="*/ 60 h 187"/>
                <a:gd name="T32" fmla="*/ 6 w 133"/>
                <a:gd name="T33" fmla="*/ 52 h 187"/>
                <a:gd name="T34" fmla="*/ 10 w 133"/>
                <a:gd name="T35" fmla="*/ 27 h 187"/>
                <a:gd name="T36" fmla="*/ 24 w 133"/>
                <a:gd name="T37" fmla="*/ 10 h 187"/>
                <a:gd name="T38" fmla="*/ 28 w 133"/>
                <a:gd name="T39" fmla="*/ 8 h 187"/>
                <a:gd name="T40" fmla="*/ 44 w 133"/>
                <a:gd name="T41" fmla="*/ 2 h 187"/>
                <a:gd name="T42" fmla="*/ 73 w 133"/>
                <a:gd name="T43" fmla="*/ 0 h 187"/>
                <a:gd name="T44" fmla="*/ 121 w 133"/>
                <a:gd name="T45" fmla="*/ 0 h 187"/>
                <a:gd name="T46" fmla="*/ 126 w 133"/>
                <a:gd name="T47" fmla="*/ 9 h 187"/>
                <a:gd name="T48" fmla="*/ 126 w 133"/>
                <a:gd name="T49" fmla="*/ 33 h 187"/>
                <a:gd name="T50" fmla="*/ 121 w 133"/>
                <a:gd name="T51" fmla="*/ 42 h 187"/>
                <a:gd name="T52" fmla="*/ 79 w 133"/>
                <a:gd name="T53" fmla="*/ 42 h 187"/>
                <a:gd name="T54" fmla="*/ 54 w 133"/>
                <a:gd name="T55" fmla="*/ 43 h 187"/>
                <a:gd name="T56" fmla="*/ 47 w 133"/>
                <a:gd name="T57" fmla="*/ 46 h 187"/>
                <a:gd name="T58" fmla="*/ 44 w 133"/>
                <a:gd name="T59" fmla="*/ 53 h 187"/>
                <a:gd name="T60" fmla="*/ 46 w 133"/>
                <a:gd name="T61" fmla="*/ 59 h 187"/>
                <a:gd name="T62" fmla="*/ 57 w 133"/>
                <a:gd name="T63" fmla="*/ 69 h 187"/>
                <a:gd name="T64" fmla="*/ 79 w 133"/>
                <a:gd name="T65" fmla="*/ 79 h 187"/>
                <a:gd name="T66" fmla="*/ 86 w 133"/>
                <a:gd name="T67" fmla="*/ 80 h 187"/>
                <a:gd name="T68" fmla="*/ 116 w 133"/>
                <a:gd name="T69" fmla="*/ 93 h 187"/>
                <a:gd name="T70" fmla="*/ 121 w 133"/>
                <a:gd name="T71" fmla="*/ 99 h 187"/>
                <a:gd name="T72" fmla="*/ 130 w 133"/>
                <a:gd name="T73" fmla="*/ 113 h 187"/>
                <a:gd name="T74" fmla="*/ 133 w 133"/>
                <a:gd name="T75" fmla="*/ 132 h 187"/>
                <a:gd name="T76" fmla="*/ 131 w 133"/>
                <a:gd name="T77" fmla="*/ 143 h 187"/>
                <a:gd name="T78" fmla="*/ 123 w 133"/>
                <a:gd name="T79" fmla="*/ 164 h 187"/>
                <a:gd name="T80" fmla="*/ 114 w 133"/>
                <a:gd name="T81" fmla="*/ 173 h 187"/>
                <a:gd name="T82" fmla="*/ 94 w 133"/>
                <a:gd name="T83" fmla="*/ 184 h 187"/>
                <a:gd name="T84" fmla="*/ 69 w 133"/>
                <a:gd name="T85"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33" h="187">
                  <a:moveTo>
                    <a:pt x="6" y="187"/>
                  </a:moveTo>
                  <a:lnTo>
                    <a:pt x="6" y="187"/>
                  </a:lnTo>
                  <a:lnTo>
                    <a:pt x="3" y="184"/>
                  </a:lnTo>
                  <a:lnTo>
                    <a:pt x="1" y="179"/>
                  </a:lnTo>
                  <a:lnTo>
                    <a:pt x="0" y="166"/>
                  </a:lnTo>
                  <a:lnTo>
                    <a:pt x="1" y="151"/>
                  </a:lnTo>
                  <a:lnTo>
                    <a:pt x="3" y="147"/>
                  </a:lnTo>
                  <a:lnTo>
                    <a:pt x="6" y="143"/>
                  </a:lnTo>
                  <a:lnTo>
                    <a:pt x="6" y="143"/>
                  </a:lnTo>
                  <a:lnTo>
                    <a:pt x="61" y="144"/>
                  </a:lnTo>
                  <a:lnTo>
                    <a:pt x="61" y="144"/>
                  </a:lnTo>
                  <a:lnTo>
                    <a:pt x="73" y="144"/>
                  </a:lnTo>
                  <a:lnTo>
                    <a:pt x="83" y="144"/>
                  </a:lnTo>
                  <a:lnTo>
                    <a:pt x="87" y="143"/>
                  </a:lnTo>
                  <a:lnTo>
                    <a:pt x="90" y="140"/>
                  </a:lnTo>
                  <a:lnTo>
                    <a:pt x="91" y="136"/>
                  </a:lnTo>
                  <a:lnTo>
                    <a:pt x="93" y="130"/>
                  </a:lnTo>
                  <a:lnTo>
                    <a:pt x="93" y="130"/>
                  </a:lnTo>
                  <a:lnTo>
                    <a:pt x="91" y="127"/>
                  </a:lnTo>
                  <a:lnTo>
                    <a:pt x="90" y="124"/>
                  </a:lnTo>
                  <a:lnTo>
                    <a:pt x="84" y="122"/>
                  </a:lnTo>
                  <a:lnTo>
                    <a:pt x="66" y="114"/>
                  </a:lnTo>
                  <a:lnTo>
                    <a:pt x="51" y="107"/>
                  </a:lnTo>
                  <a:lnTo>
                    <a:pt x="51" y="107"/>
                  </a:lnTo>
                  <a:lnTo>
                    <a:pt x="40" y="102"/>
                  </a:lnTo>
                  <a:lnTo>
                    <a:pt x="30" y="96"/>
                  </a:lnTo>
                  <a:lnTo>
                    <a:pt x="23" y="89"/>
                  </a:lnTo>
                  <a:lnTo>
                    <a:pt x="17" y="83"/>
                  </a:lnTo>
                  <a:lnTo>
                    <a:pt x="17" y="83"/>
                  </a:lnTo>
                  <a:lnTo>
                    <a:pt x="11" y="76"/>
                  </a:lnTo>
                  <a:lnTo>
                    <a:pt x="8" y="69"/>
                  </a:lnTo>
                  <a:lnTo>
                    <a:pt x="7" y="60"/>
                  </a:lnTo>
                  <a:lnTo>
                    <a:pt x="6" y="52"/>
                  </a:lnTo>
                  <a:lnTo>
                    <a:pt x="6" y="52"/>
                  </a:lnTo>
                  <a:lnTo>
                    <a:pt x="7" y="39"/>
                  </a:lnTo>
                  <a:lnTo>
                    <a:pt x="10" y="27"/>
                  </a:lnTo>
                  <a:lnTo>
                    <a:pt x="16" y="19"/>
                  </a:lnTo>
                  <a:lnTo>
                    <a:pt x="24" y="10"/>
                  </a:lnTo>
                  <a:lnTo>
                    <a:pt x="24" y="10"/>
                  </a:lnTo>
                  <a:lnTo>
                    <a:pt x="28" y="8"/>
                  </a:lnTo>
                  <a:lnTo>
                    <a:pt x="33" y="5"/>
                  </a:lnTo>
                  <a:lnTo>
                    <a:pt x="44" y="2"/>
                  </a:lnTo>
                  <a:lnTo>
                    <a:pt x="58" y="0"/>
                  </a:lnTo>
                  <a:lnTo>
                    <a:pt x="73" y="0"/>
                  </a:lnTo>
                  <a:lnTo>
                    <a:pt x="121" y="0"/>
                  </a:lnTo>
                  <a:lnTo>
                    <a:pt x="121" y="0"/>
                  </a:lnTo>
                  <a:lnTo>
                    <a:pt x="124" y="3"/>
                  </a:lnTo>
                  <a:lnTo>
                    <a:pt x="126" y="9"/>
                  </a:lnTo>
                  <a:lnTo>
                    <a:pt x="127" y="20"/>
                  </a:lnTo>
                  <a:lnTo>
                    <a:pt x="126" y="33"/>
                  </a:lnTo>
                  <a:lnTo>
                    <a:pt x="124" y="39"/>
                  </a:lnTo>
                  <a:lnTo>
                    <a:pt x="121" y="42"/>
                  </a:lnTo>
                  <a:lnTo>
                    <a:pt x="79" y="42"/>
                  </a:lnTo>
                  <a:lnTo>
                    <a:pt x="79" y="42"/>
                  </a:lnTo>
                  <a:lnTo>
                    <a:pt x="66" y="42"/>
                  </a:lnTo>
                  <a:lnTo>
                    <a:pt x="54" y="43"/>
                  </a:lnTo>
                  <a:lnTo>
                    <a:pt x="50" y="45"/>
                  </a:lnTo>
                  <a:lnTo>
                    <a:pt x="47" y="46"/>
                  </a:lnTo>
                  <a:lnTo>
                    <a:pt x="46" y="49"/>
                  </a:lnTo>
                  <a:lnTo>
                    <a:pt x="44" y="53"/>
                  </a:lnTo>
                  <a:lnTo>
                    <a:pt x="44" y="53"/>
                  </a:lnTo>
                  <a:lnTo>
                    <a:pt x="46" y="59"/>
                  </a:lnTo>
                  <a:lnTo>
                    <a:pt x="51" y="63"/>
                  </a:lnTo>
                  <a:lnTo>
                    <a:pt x="57" y="69"/>
                  </a:lnTo>
                  <a:lnTo>
                    <a:pt x="64" y="72"/>
                  </a:lnTo>
                  <a:lnTo>
                    <a:pt x="79" y="79"/>
                  </a:lnTo>
                  <a:lnTo>
                    <a:pt x="86" y="80"/>
                  </a:lnTo>
                  <a:lnTo>
                    <a:pt x="86" y="80"/>
                  </a:lnTo>
                  <a:lnTo>
                    <a:pt x="109" y="89"/>
                  </a:lnTo>
                  <a:lnTo>
                    <a:pt x="116" y="93"/>
                  </a:lnTo>
                  <a:lnTo>
                    <a:pt x="121" y="99"/>
                  </a:lnTo>
                  <a:lnTo>
                    <a:pt x="121" y="99"/>
                  </a:lnTo>
                  <a:lnTo>
                    <a:pt x="127" y="104"/>
                  </a:lnTo>
                  <a:lnTo>
                    <a:pt x="130" y="113"/>
                  </a:lnTo>
                  <a:lnTo>
                    <a:pt x="133" y="122"/>
                  </a:lnTo>
                  <a:lnTo>
                    <a:pt x="133" y="132"/>
                  </a:lnTo>
                  <a:lnTo>
                    <a:pt x="133" y="132"/>
                  </a:lnTo>
                  <a:lnTo>
                    <a:pt x="131" y="143"/>
                  </a:lnTo>
                  <a:lnTo>
                    <a:pt x="129" y="154"/>
                  </a:lnTo>
                  <a:lnTo>
                    <a:pt x="123" y="164"/>
                  </a:lnTo>
                  <a:lnTo>
                    <a:pt x="114" y="173"/>
                  </a:lnTo>
                  <a:lnTo>
                    <a:pt x="114" y="173"/>
                  </a:lnTo>
                  <a:lnTo>
                    <a:pt x="104" y="180"/>
                  </a:lnTo>
                  <a:lnTo>
                    <a:pt x="94" y="184"/>
                  </a:lnTo>
                  <a:lnTo>
                    <a:pt x="83" y="187"/>
                  </a:lnTo>
                  <a:lnTo>
                    <a:pt x="69" y="187"/>
                  </a:lnTo>
                  <a:lnTo>
                    <a:pt x="6" y="18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0" name="Line 28"/>
            <p:cNvSpPr>
              <a:spLocks noChangeShapeType="1"/>
            </p:cNvSpPr>
            <p:nvPr userDrawn="1"/>
          </p:nvSpPr>
          <p:spPr bwMode="auto">
            <a:xfrm>
              <a:off x="5565" y="779"/>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1" name="Freeform 29"/>
            <p:cNvSpPr>
              <a:spLocks noEditPoints="1"/>
            </p:cNvSpPr>
            <p:nvPr userDrawn="1"/>
          </p:nvSpPr>
          <p:spPr bwMode="auto">
            <a:xfrm>
              <a:off x="5671" y="717"/>
              <a:ext cx="80" cy="63"/>
            </a:xfrm>
            <a:custGeom>
              <a:avLst/>
              <a:gdLst>
                <a:gd name="T0" fmla="*/ 0 w 242"/>
                <a:gd name="T1" fmla="*/ 0 h 191"/>
                <a:gd name="T2" fmla="*/ 198 w 242"/>
                <a:gd name="T3" fmla="*/ 0 h 191"/>
                <a:gd name="T4" fmla="*/ 218 w 242"/>
                <a:gd name="T5" fmla="*/ 3 h 191"/>
                <a:gd name="T6" fmla="*/ 231 w 242"/>
                <a:gd name="T7" fmla="*/ 12 h 191"/>
                <a:gd name="T8" fmla="*/ 239 w 242"/>
                <a:gd name="T9" fmla="*/ 27 h 191"/>
                <a:gd name="T10" fmla="*/ 242 w 242"/>
                <a:gd name="T11" fmla="*/ 52 h 191"/>
                <a:gd name="T12" fmla="*/ 242 w 242"/>
                <a:gd name="T13" fmla="*/ 186 h 191"/>
                <a:gd name="T14" fmla="*/ 234 w 242"/>
                <a:gd name="T15" fmla="*/ 190 h 191"/>
                <a:gd name="T16" fmla="*/ 221 w 242"/>
                <a:gd name="T17" fmla="*/ 191 h 191"/>
                <a:gd name="T18" fmla="*/ 209 w 242"/>
                <a:gd name="T19" fmla="*/ 190 h 191"/>
                <a:gd name="T20" fmla="*/ 201 w 242"/>
                <a:gd name="T21" fmla="*/ 186 h 191"/>
                <a:gd name="T22" fmla="*/ 201 w 242"/>
                <a:gd name="T23" fmla="*/ 66 h 191"/>
                <a:gd name="T24" fmla="*/ 198 w 242"/>
                <a:gd name="T25" fmla="*/ 55 h 191"/>
                <a:gd name="T26" fmla="*/ 191 w 242"/>
                <a:gd name="T27" fmla="*/ 46 h 191"/>
                <a:gd name="T28" fmla="*/ 182 w 242"/>
                <a:gd name="T29" fmla="*/ 42 h 191"/>
                <a:gd name="T30" fmla="*/ 161 w 242"/>
                <a:gd name="T31" fmla="*/ 40 h 191"/>
                <a:gd name="T32" fmla="*/ 142 w 242"/>
                <a:gd name="T33" fmla="*/ 43 h 191"/>
                <a:gd name="T34" fmla="*/ 142 w 242"/>
                <a:gd name="T35" fmla="*/ 186 h 191"/>
                <a:gd name="T36" fmla="*/ 133 w 242"/>
                <a:gd name="T37" fmla="*/ 190 h 191"/>
                <a:gd name="T38" fmla="*/ 122 w 242"/>
                <a:gd name="T39" fmla="*/ 191 h 191"/>
                <a:gd name="T40" fmla="*/ 109 w 242"/>
                <a:gd name="T41" fmla="*/ 190 h 191"/>
                <a:gd name="T42" fmla="*/ 101 w 242"/>
                <a:gd name="T43" fmla="*/ 186 h 191"/>
                <a:gd name="T44" fmla="*/ 101 w 242"/>
                <a:gd name="T45" fmla="*/ 67 h 191"/>
                <a:gd name="T46" fmla="*/ 98 w 242"/>
                <a:gd name="T47" fmla="*/ 55 h 191"/>
                <a:gd name="T48" fmla="*/ 92 w 242"/>
                <a:gd name="T49" fmla="*/ 46 h 191"/>
                <a:gd name="T50" fmla="*/ 82 w 242"/>
                <a:gd name="T51" fmla="*/ 42 h 191"/>
                <a:gd name="T52" fmla="*/ 60 w 242"/>
                <a:gd name="T53" fmla="*/ 40 h 191"/>
                <a:gd name="T54" fmla="*/ 43 w 242"/>
                <a:gd name="T55" fmla="*/ 43 h 191"/>
                <a:gd name="T56" fmla="*/ 43 w 242"/>
                <a:gd name="T57" fmla="*/ 186 h 191"/>
                <a:gd name="T58" fmla="*/ 33 w 242"/>
                <a:gd name="T59" fmla="*/ 190 h 191"/>
                <a:gd name="T60" fmla="*/ 22 w 242"/>
                <a:gd name="T61" fmla="*/ 191 h 191"/>
                <a:gd name="T62" fmla="*/ 9 w 242"/>
                <a:gd name="T63" fmla="*/ 190 h 191"/>
                <a:gd name="T64" fmla="*/ 0 w 242"/>
                <a:gd name="T65" fmla="*/ 186 h 191"/>
                <a:gd name="T66" fmla="*/ 0 w 242"/>
                <a:gd name="T67" fmla="*/ 186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42" h="191">
                  <a:moveTo>
                    <a:pt x="0" y="186"/>
                  </a:moveTo>
                  <a:lnTo>
                    <a:pt x="0" y="0"/>
                  </a:lnTo>
                  <a:lnTo>
                    <a:pt x="198" y="0"/>
                  </a:lnTo>
                  <a:lnTo>
                    <a:pt x="198" y="0"/>
                  </a:lnTo>
                  <a:lnTo>
                    <a:pt x="208" y="0"/>
                  </a:lnTo>
                  <a:lnTo>
                    <a:pt x="218" y="3"/>
                  </a:lnTo>
                  <a:lnTo>
                    <a:pt x="225" y="6"/>
                  </a:lnTo>
                  <a:lnTo>
                    <a:pt x="231" y="12"/>
                  </a:lnTo>
                  <a:lnTo>
                    <a:pt x="237" y="19"/>
                  </a:lnTo>
                  <a:lnTo>
                    <a:pt x="239" y="27"/>
                  </a:lnTo>
                  <a:lnTo>
                    <a:pt x="242" y="39"/>
                  </a:lnTo>
                  <a:lnTo>
                    <a:pt x="242" y="52"/>
                  </a:lnTo>
                  <a:lnTo>
                    <a:pt x="242" y="186"/>
                  </a:lnTo>
                  <a:lnTo>
                    <a:pt x="242" y="186"/>
                  </a:lnTo>
                  <a:lnTo>
                    <a:pt x="239" y="189"/>
                  </a:lnTo>
                  <a:lnTo>
                    <a:pt x="234" y="190"/>
                  </a:lnTo>
                  <a:lnTo>
                    <a:pt x="228" y="191"/>
                  </a:lnTo>
                  <a:lnTo>
                    <a:pt x="221" y="191"/>
                  </a:lnTo>
                  <a:lnTo>
                    <a:pt x="215" y="191"/>
                  </a:lnTo>
                  <a:lnTo>
                    <a:pt x="209" y="190"/>
                  </a:lnTo>
                  <a:lnTo>
                    <a:pt x="204" y="189"/>
                  </a:lnTo>
                  <a:lnTo>
                    <a:pt x="201" y="186"/>
                  </a:lnTo>
                  <a:lnTo>
                    <a:pt x="201" y="66"/>
                  </a:lnTo>
                  <a:lnTo>
                    <a:pt x="201" y="66"/>
                  </a:lnTo>
                  <a:lnTo>
                    <a:pt x="199" y="60"/>
                  </a:lnTo>
                  <a:lnTo>
                    <a:pt x="198" y="55"/>
                  </a:lnTo>
                  <a:lnTo>
                    <a:pt x="195" y="50"/>
                  </a:lnTo>
                  <a:lnTo>
                    <a:pt x="191" y="46"/>
                  </a:lnTo>
                  <a:lnTo>
                    <a:pt x="186" y="43"/>
                  </a:lnTo>
                  <a:lnTo>
                    <a:pt x="182" y="42"/>
                  </a:lnTo>
                  <a:lnTo>
                    <a:pt x="171" y="40"/>
                  </a:lnTo>
                  <a:lnTo>
                    <a:pt x="161" y="40"/>
                  </a:lnTo>
                  <a:lnTo>
                    <a:pt x="152" y="40"/>
                  </a:lnTo>
                  <a:lnTo>
                    <a:pt x="142" y="43"/>
                  </a:lnTo>
                  <a:lnTo>
                    <a:pt x="142" y="186"/>
                  </a:lnTo>
                  <a:lnTo>
                    <a:pt x="142" y="186"/>
                  </a:lnTo>
                  <a:lnTo>
                    <a:pt x="139" y="189"/>
                  </a:lnTo>
                  <a:lnTo>
                    <a:pt x="133" y="190"/>
                  </a:lnTo>
                  <a:lnTo>
                    <a:pt x="128" y="191"/>
                  </a:lnTo>
                  <a:lnTo>
                    <a:pt x="122" y="191"/>
                  </a:lnTo>
                  <a:lnTo>
                    <a:pt x="115" y="191"/>
                  </a:lnTo>
                  <a:lnTo>
                    <a:pt x="109" y="190"/>
                  </a:lnTo>
                  <a:lnTo>
                    <a:pt x="103" y="189"/>
                  </a:lnTo>
                  <a:lnTo>
                    <a:pt x="101" y="186"/>
                  </a:lnTo>
                  <a:lnTo>
                    <a:pt x="101" y="67"/>
                  </a:lnTo>
                  <a:lnTo>
                    <a:pt x="101" y="67"/>
                  </a:lnTo>
                  <a:lnTo>
                    <a:pt x="99" y="60"/>
                  </a:lnTo>
                  <a:lnTo>
                    <a:pt x="98" y="55"/>
                  </a:lnTo>
                  <a:lnTo>
                    <a:pt x="95" y="50"/>
                  </a:lnTo>
                  <a:lnTo>
                    <a:pt x="92" y="46"/>
                  </a:lnTo>
                  <a:lnTo>
                    <a:pt x="88" y="43"/>
                  </a:lnTo>
                  <a:lnTo>
                    <a:pt x="82" y="42"/>
                  </a:lnTo>
                  <a:lnTo>
                    <a:pt x="72" y="40"/>
                  </a:lnTo>
                  <a:lnTo>
                    <a:pt x="60" y="40"/>
                  </a:lnTo>
                  <a:lnTo>
                    <a:pt x="52" y="40"/>
                  </a:lnTo>
                  <a:lnTo>
                    <a:pt x="43" y="43"/>
                  </a:lnTo>
                  <a:lnTo>
                    <a:pt x="43" y="186"/>
                  </a:lnTo>
                  <a:lnTo>
                    <a:pt x="43" y="186"/>
                  </a:lnTo>
                  <a:lnTo>
                    <a:pt x="39" y="189"/>
                  </a:lnTo>
                  <a:lnTo>
                    <a:pt x="33" y="190"/>
                  </a:lnTo>
                  <a:lnTo>
                    <a:pt x="28" y="191"/>
                  </a:lnTo>
                  <a:lnTo>
                    <a:pt x="22" y="191"/>
                  </a:lnTo>
                  <a:lnTo>
                    <a:pt x="15" y="191"/>
                  </a:lnTo>
                  <a:lnTo>
                    <a:pt x="9" y="190"/>
                  </a:lnTo>
                  <a:lnTo>
                    <a:pt x="5" y="189"/>
                  </a:lnTo>
                  <a:lnTo>
                    <a:pt x="0" y="186"/>
                  </a:lnTo>
                  <a:lnTo>
                    <a:pt x="0" y="186"/>
                  </a:lnTo>
                  <a:close/>
                  <a:moveTo>
                    <a:pt x="0" y="186"/>
                  </a:moveTo>
                  <a:lnTo>
                    <a:pt x="0" y="18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2" name="Freeform 30"/>
            <p:cNvSpPr>
              <a:spLocks/>
            </p:cNvSpPr>
            <p:nvPr userDrawn="1"/>
          </p:nvSpPr>
          <p:spPr bwMode="auto">
            <a:xfrm>
              <a:off x="5671" y="717"/>
              <a:ext cx="80" cy="63"/>
            </a:xfrm>
            <a:custGeom>
              <a:avLst/>
              <a:gdLst>
                <a:gd name="T0" fmla="*/ 0 w 242"/>
                <a:gd name="T1" fmla="*/ 0 h 191"/>
                <a:gd name="T2" fmla="*/ 198 w 242"/>
                <a:gd name="T3" fmla="*/ 0 h 191"/>
                <a:gd name="T4" fmla="*/ 218 w 242"/>
                <a:gd name="T5" fmla="*/ 3 h 191"/>
                <a:gd name="T6" fmla="*/ 231 w 242"/>
                <a:gd name="T7" fmla="*/ 12 h 191"/>
                <a:gd name="T8" fmla="*/ 239 w 242"/>
                <a:gd name="T9" fmla="*/ 27 h 191"/>
                <a:gd name="T10" fmla="*/ 242 w 242"/>
                <a:gd name="T11" fmla="*/ 52 h 191"/>
                <a:gd name="T12" fmla="*/ 242 w 242"/>
                <a:gd name="T13" fmla="*/ 186 h 191"/>
                <a:gd name="T14" fmla="*/ 234 w 242"/>
                <a:gd name="T15" fmla="*/ 190 h 191"/>
                <a:gd name="T16" fmla="*/ 221 w 242"/>
                <a:gd name="T17" fmla="*/ 191 h 191"/>
                <a:gd name="T18" fmla="*/ 209 w 242"/>
                <a:gd name="T19" fmla="*/ 190 h 191"/>
                <a:gd name="T20" fmla="*/ 201 w 242"/>
                <a:gd name="T21" fmla="*/ 186 h 191"/>
                <a:gd name="T22" fmla="*/ 201 w 242"/>
                <a:gd name="T23" fmla="*/ 66 h 191"/>
                <a:gd name="T24" fmla="*/ 198 w 242"/>
                <a:gd name="T25" fmla="*/ 55 h 191"/>
                <a:gd name="T26" fmla="*/ 191 w 242"/>
                <a:gd name="T27" fmla="*/ 46 h 191"/>
                <a:gd name="T28" fmla="*/ 182 w 242"/>
                <a:gd name="T29" fmla="*/ 42 h 191"/>
                <a:gd name="T30" fmla="*/ 161 w 242"/>
                <a:gd name="T31" fmla="*/ 40 h 191"/>
                <a:gd name="T32" fmla="*/ 142 w 242"/>
                <a:gd name="T33" fmla="*/ 43 h 191"/>
                <a:gd name="T34" fmla="*/ 142 w 242"/>
                <a:gd name="T35" fmla="*/ 186 h 191"/>
                <a:gd name="T36" fmla="*/ 133 w 242"/>
                <a:gd name="T37" fmla="*/ 190 h 191"/>
                <a:gd name="T38" fmla="*/ 122 w 242"/>
                <a:gd name="T39" fmla="*/ 191 h 191"/>
                <a:gd name="T40" fmla="*/ 109 w 242"/>
                <a:gd name="T41" fmla="*/ 190 h 191"/>
                <a:gd name="T42" fmla="*/ 101 w 242"/>
                <a:gd name="T43" fmla="*/ 186 h 191"/>
                <a:gd name="T44" fmla="*/ 101 w 242"/>
                <a:gd name="T45" fmla="*/ 67 h 191"/>
                <a:gd name="T46" fmla="*/ 98 w 242"/>
                <a:gd name="T47" fmla="*/ 55 h 191"/>
                <a:gd name="T48" fmla="*/ 92 w 242"/>
                <a:gd name="T49" fmla="*/ 46 h 191"/>
                <a:gd name="T50" fmla="*/ 82 w 242"/>
                <a:gd name="T51" fmla="*/ 42 h 191"/>
                <a:gd name="T52" fmla="*/ 60 w 242"/>
                <a:gd name="T53" fmla="*/ 40 h 191"/>
                <a:gd name="T54" fmla="*/ 43 w 242"/>
                <a:gd name="T55" fmla="*/ 43 h 191"/>
                <a:gd name="T56" fmla="*/ 43 w 242"/>
                <a:gd name="T57" fmla="*/ 186 h 191"/>
                <a:gd name="T58" fmla="*/ 33 w 242"/>
                <a:gd name="T59" fmla="*/ 190 h 191"/>
                <a:gd name="T60" fmla="*/ 22 w 242"/>
                <a:gd name="T61" fmla="*/ 191 h 191"/>
                <a:gd name="T62" fmla="*/ 9 w 242"/>
                <a:gd name="T63" fmla="*/ 190 h 191"/>
                <a:gd name="T64" fmla="*/ 0 w 242"/>
                <a:gd name="T65" fmla="*/ 186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2" h="191">
                  <a:moveTo>
                    <a:pt x="0" y="186"/>
                  </a:moveTo>
                  <a:lnTo>
                    <a:pt x="0" y="0"/>
                  </a:lnTo>
                  <a:lnTo>
                    <a:pt x="198" y="0"/>
                  </a:lnTo>
                  <a:lnTo>
                    <a:pt x="198" y="0"/>
                  </a:lnTo>
                  <a:lnTo>
                    <a:pt x="208" y="0"/>
                  </a:lnTo>
                  <a:lnTo>
                    <a:pt x="218" y="3"/>
                  </a:lnTo>
                  <a:lnTo>
                    <a:pt x="225" y="6"/>
                  </a:lnTo>
                  <a:lnTo>
                    <a:pt x="231" y="12"/>
                  </a:lnTo>
                  <a:lnTo>
                    <a:pt x="237" y="19"/>
                  </a:lnTo>
                  <a:lnTo>
                    <a:pt x="239" y="27"/>
                  </a:lnTo>
                  <a:lnTo>
                    <a:pt x="242" y="39"/>
                  </a:lnTo>
                  <a:lnTo>
                    <a:pt x="242" y="52"/>
                  </a:lnTo>
                  <a:lnTo>
                    <a:pt x="242" y="186"/>
                  </a:lnTo>
                  <a:lnTo>
                    <a:pt x="242" y="186"/>
                  </a:lnTo>
                  <a:lnTo>
                    <a:pt x="239" y="189"/>
                  </a:lnTo>
                  <a:lnTo>
                    <a:pt x="234" y="190"/>
                  </a:lnTo>
                  <a:lnTo>
                    <a:pt x="228" y="191"/>
                  </a:lnTo>
                  <a:lnTo>
                    <a:pt x="221" y="191"/>
                  </a:lnTo>
                  <a:lnTo>
                    <a:pt x="215" y="191"/>
                  </a:lnTo>
                  <a:lnTo>
                    <a:pt x="209" y="190"/>
                  </a:lnTo>
                  <a:lnTo>
                    <a:pt x="204" y="189"/>
                  </a:lnTo>
                  <a:lnTo>
                    <a:pt x="201" y="186"/>
                  </a:lnTo>
                  <a:lnTo>
                    <a:pt x="201" y="66"/>
                  </a:lnTo>
                  <a:lnTo>
                    <a:pt x="201" y="66"/>
                  </a:lnTo>
                  <a:lnTo>
                    <a:pt x="199" y="60"/>
                  </a:lnTo>
                  <a:lnTo>
                    <a:pt x="198" y="55"/>
                  </a:lnTo>
                  <a:lnTo>
                    <a:pt x="195" y="50"/>
                  </a:lnTo>
                  <a:lnTo>
                    <a:pt x="191" y="46"/>
                  </a:lnTo>
                  <a:lnTo>
                    <a:pt x="186" y="43"/>
                  </a:lnTo>
                  <a:lnTo>
                    <a:pt x="182" y="42"/>
                  </a:lnTo>
                  <a:lnTo>
                    <a:pt x="171" y="40"/>
                  </a:lnTo>
                  <a:lnTo>
                    <a:pt x="161" y="40"/>
                  </a:lnTo>
                  <a:lnTo>
                    <a:pt x="152" y="40"/>
                  </a:lnTo>
                  <a:lnTo>
                    <a:pt x="142" y="43"/>
                  </a:lnTo>
                  <a:lnTo>
                    <a:pt x="142" y="186"/>
                  </a:lnTo>
                  <a:lnTo>
                    <a:pt x="142" y="186"/>
                  </a:lnTo>
                  <a:lnTo>
                    <a:pt x="139" y="189"/>
                  </a:lnTo>
                  <a:lnTo>
                    <a:pt x="133" y="190"/>
                  </a:lnTo>
                  <a:lnTo>
                    <a:pt x="128" y="191"/>
                  </a:lnTo>
                  <a:lnTo>
                    <a:pt x="122" y="191"/>
                  </a:lnTo>
                  <a:lnTo>
                    <a:pt x="115" y="191"/>
                  </a:lnTo>
                  <a:lnTo>
                    <a:pt x="109" y="190"/>
                  </a:lnTo>
                  <a:lnTo>
                    <a:pt x="103" y="189"/>
                  </a:lnTo>
                  <a:lnTo>
                    <a:pt x="101" y="186"/>
                  </a:lnTo>
                  <a:lnTo>
                    <a:pt x="101" y="67"/>
                  </a:lnTo>
                  <a:lnTo>
                    <a:pt x="101" y="67"/>
                  </a:lnTo>
                  <a:lnTo>
                    <a:pt x="99" y="60"/>
                  </a:lnTo>
                  <a:lnTo>
                    <a:pt x="98" y="55"/>
                  </a:lnTo>
                  <a:lnTo>
                    <a:pt x="95" y="50"/>
                  </a:lnTo>
                  <a:lnTo>
                    <a:pt x="92" y="46"/>
                  </a:lnTo>
                  <a:lnTo>
                    <a:pt x="88" y="43"/>
                  </a:lnTo>
                  <a:lnTo>
                    <a:pt x="82" y="42"/>
                  </a:lnTo>
                  <a:lnTo>
                    <a:pt x="72" y="40"/>
                  </a:lnTo>
                  <a:lnTo>
                    <a:pt x="60" y="40"/>
                  </a:lnTo>
                  <a:lnTo>
                    <a:pt x="52" y="40"/>
                  </a:lnTo>
                  <a:lnTo>
                    <a:pt x="43" y="43"/>
                  </a:lnTo>
                  <a:lnTo>
                    <a:pt x="43" y="186"/>
                  </a:lnTo>
                  <a:lnTo>
                    <a:pt x="43" y="186"/>
                  </a:lnTo>
                  <a:lnTo>
                    <a:pt x="39" y="189"/>
                  </a:lnTo>
                  <a:lnTo>
                    <a:pt x="33" y="190"/>
                  </a:lnTo>
                  <a:lnTo>
                    <a:pt x="28" y="191"/>
                  </a:lnTo>
                  <a:lnTo>
                    <a:pt x="22" y="191"/>
                  </a:lnTo>
                  <a:lnTo>
                    <a:pt x="15" y="191"/>
                  </a:lnTo>
                  <a:lnTo>
                    <a:pt x="9" y="190"/>
                  </a:lnTo>
                  <a:lnTo>
                    <a:pt x="5" y="189"/>
                  </a:lnTo>
                  <a:lnTo>
                    <a:pt x="0" y="186"/>
                  </a:lnTo>
                  <a:lnTo>
                    <a:pt x="0" y="18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3" name="Line 31"/>
            <p:cNvSpPr>
              <a:spLocks noChangeShapeType="1"/>
            </p:cNvSpPr>
            <p:nvPr userDrawn="1"/>
          </p:nvSpPr>
          <p:spPr bwMode="auto">
            <a:xfrm>
              <a:off x="5671" y="779"/>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4" name="Freeform 32"/>
            <p:cNvSpPr>
              <a:spLocks noEditPoints="1"/>
            </p:cNvSpPr>
            <p:nvPr userDrawn="1"/>
          </p:nvSpPr>
          <p:spPr bwMode="auto">
            <a:xfrm>
              <a:off x="5615" y="717"/>
              <a:ext cx="45" cy="63"/>
            </a:xfrm>
            <a:custGeom>
              <a:avLst/>
              <a:gdLst>
                <a:gd name="T0" fmla="*/ 93 w 135"/>
                <a:gd name="T1" fmla="*/ 109 h 191"/>
                <a:gd name="T2" fmla="*/ 93 w 135"/>
                <a:gd name="T3" fmla="*/ 42 h 191"/>
                <a:gd name="T4" fmla="*/ 93 w 135"/>
                <a:gd name="T5" fmla="*/ 42 h 191"/>
                <a:gd name="T6" fmla="*/ 86 w 135"/>
                <a:gd name="T7" fmla="*/ 40 h 191"/>
                <a:gd name="T8" fmla="*/ 78 w 135"/>
                <a:gd name="T9" fmla="*/ 39 h 191"/>
                <a:gd name="T10" fmla="*/ 68 w 135"/>
                <a:gd name="T11" fmla="*/ 37 h 191"/>
                <a:gd name="T12" fmla="*/ 59 w 135"/>
                <a:gd name="T13" fmla="*/ 40 h 191"/>
                <a:gd name="T14" fmla="*/ 55 w 135"/>
                <a:gd name="T15" fmla="*/ 42 h 191"/>
                <a:gd name="T16" fmla="*/ 50 w 135"/>
                <a:gd name="T17" fmla="*/ 45 h 191"/>
                <a:gd name="T18" fmla="*/ 48 w 135"/>
                <a:gd name="T19" fmla="*/ 49 h 191"/>
                <a:gd name="T20" fmla="*/ 45 w 135"/>
                <a:gd name="T21" fmla="*/ 53 h 191"/>
                <a:gd name="T22" fmla="*/ 43 w 135"/>
                <a:gd name="T23" fmla="*/ 59 h 191"/>
                <a:gd name="T24" fmla="*/ 42 w 135"/>
                <a:gd name="T25" fmla="*/ 67 h 191"/>
                <a:gd name="T26" fmla="*/ 42 w 135"/>
                <a:gd name="T27" fmla="*/ 109 h 191"/>
                <a:gd name="T28" fmla="*/ 93 w 135"/>
                <a:gd name="T29" fmla="*/ 109 h 191"/>
                <a:gd name="T30" fmla="*/ 42 w 135"/>
                <a:gd name="T31" fmla="*/ 144 h 191"/>
                <a:gd name="T32" fmla="*/ 42 w 135"/>
                <a:gd name="T33" fmla="*/ 186 h 191"/>
                <a:gd name="T34" fmla="*/ 42 w 135"/>
                <a:gd name="T35" fmla="*/ 186 h 191"/>
                <a:gd name="T36" fmla="*/ 39 w 135"/>
                <a:gd name="T37" fmla="*/ 189 h 191"/>
                <a:gd name="T38" fmla="*/ 35 w 135"/>
                <a:gd name="T39" fmla="*/ 190 h 191"/>
                <a:gd name="T40" fmla="*/ 27 w 135"/>
                <a:gd name="T41" fmla="*/ 191 h 191"/>
                <a:gd name="T42" fmla="*/ 22 w 135"/>
                <a:gd name="T43" fmla="*/ 191 h 191"/>
                <a:gd name="T44" fmla="*/ 15 w 135"/>
                <a:gd name="T45" fmla="*/ 191 h 191"/>
                <a:gd name="T46" fmla="*/ 9 w 135"/>
                <a:gd name="T47" fmla="*/ 190 h 191"/>
                <a:gd name="T48" fmla="*/ 3 w 135"/>
                <a:gd name="T49" fmla="*/ 189 h 191"/>
                <a:gd name="T50" fmla="*/ 0 w 135"/>
                <a:gd name="T51" fmla="*/ 186 h 191"/>
                <a:gd name="T52" fmla="*/ 0 w 135"/>
                <a:gd name="T53" fmla="*/ 0 h 191"/>
                <a:gd name="T54" fmla="*/ 102 w 135"/>
                <a:gd name="T55" fmla="*/ 0 h 191"/>
                <a:gd name="T56" fmla="*/ 102 w 135"/>
                <a:gd name="T57" fmla="*/ 0 h 191"/>
                <a:gd name="T58" fmla="*/ 110 w 135"/>
                <a:gd name="T59" fmla="*/ 0 h 191"/>
                <a:gd name="T60" fmla="*/ 118 w 135"/>
                <a:gd name="T61" fmla="*/ 3 h 191"/>
                <a:gd name="T62" fmla="*/ 123 w 135"/>
                <a:gd name="T63" fmla="*/ 6 h 191"/>
                <a:gd name="T64" fmla="*/ 128 w 135"/>
                <a:gd name="T65" fmla="*/ 12 h 191"/>
                <a:gd name="T66" fmla="*/ 132 w 135"/>
                <a:gd name="T67" fmla="*/ 19 h 191"/>
                <a:gd name="T68" fmla="*/ 133 w 135"/>
                <a:gd name="T69" fmla="*/ 27 h 191"/>
                <a:gd name="T70" fmla="*/ 135 w 135"/>
                <a:gd name="T71" fmla="*/ 39 h 191"/>
                <a:gd name="T72" fmla="*/ 135 w 135"/>
                <a:gd name="T73" fmla="*/ 52 h 191"/>
                <a:gd name="T74" fmla="*/ 135 w 135"/>
                <a:gd name="T75" fmla="*/ 186 h 191"/>
                <a:gd name="T76" fmla="*/ 135 w 135"/>
                <a:gd name="T77" fmla="*/ 186 h 191"/>
                <a:gd name="T78" fmla="*/ 132 w 135"/>
                <a:gd name="T79" fmla="*/ 189 h 191"/>
                <a:gd name="T80" fmla="*/ 128 w 135"/>
                <a:gd name="T81" fmla="*/ 190 h 191"/>
                <a:gd name="T82" fmla="*/ 121 w 135"/>
                <a:gd name="T83" fmla="*/ 191 h 191"/>
                <a:gd name="T84" fmla="*/ 115 w 135"/>
                <a:gd name="T85" fmla="*/ 191 h 191"/>
                <a:gd name="T86" fmla="*/ 108 w 135"/>
                <a:gd name="T87" fmla="*/ 191 h 191"/>
                <a:gd name="T88" fmla="*/ 102 w 135"/>
                <a:gd name="T89" fmla="*/ 190 h 191"/>
                <a:gd name="T90" fmla="*/ 96 w 135"/>
                <a:gd name="T91" fmla="*/ 189 h 191"/>
                <a:gd name="T92" fmla="*/ 93 w 135"/>
                <a:gd name="T93" fmla="*/ 186 h 191"/>
                <a:gd name="T94" fmla="*/ 93 w 135"/>
                <a:gd name="T95" fmla="*/ 144 h 191"/>
                <a:gd name="T96" fmla="*/ 110 w 135"/>
                <a:gd name="T97" fmla="*/ 144 h 191"/>
                <a:gd name="T98" fmla="*/ 42 w 135"/>
                <a:gd name="T99" fmla="*/ 144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35" h="191">
                  <a:moveTo>
                    <a:pt x="93" y="109"/>
                  </a:moveTo>
                  <a:lnTo>
                    <a:pt x="93" y="42"/>
                  </a:lnTo>
                  <a:lnTo>
                    <a:pt x="93" y="42"/>
                  </a:lnTo>
                  <a:lnTo>
                    <a:pt x="86" y="40"/>
                  </a:lnTo>
                  <a:lnTo>
                    <a:pt x="78" y="39"/>
                  </a:lnTo>
                  <a:lnTo>
                    <a:pt x="68" y="37"/>
                  </a:lnTo>
                  <a:lnTo>
                    <a:pt x="59" y="40"/>
                  </a:lnTo>
                  <a:lnTo>
                    <a:pt x="55" y="42"/>
                  </a:lnTo>
                  <a:lnTo>
                    <a:pt x="50" y="45"/>
                  </a:lnTo>
                  <a:lnTo>
                    <a:pt x="48" y="49"/>
                  </a:lnTo>
                  <a:lnTo>
                    <a:pt x="45" y="53"/>
                  </a:lnTo>
                  <a:lnTo>
                    <a:pt x="43" y="59"/>
                  </a:lnTo>
                  <a:lnTo>
                    <a:pt x="42" y="67"/>
                  </a:lnTo>
                  <a:lnTo>
                    <a:pt x="42" y="109"/>
                  </a:lnTo>
                  <a:lnTo>
                    <a:pt x="93" y="109"/>
                  </a:lnTo>
                  <a:close/>
                  <a:moveTo>
                    <a:pt x="42" y="144"/>
                  </a:moveTo>
                  <a:lnTo>
                    <a:pt x="42" y="186"/>
                  </a:lnTo>
                  <a:lnTo>
                    <a:pt x="42" y="186"/>
                  </a:lnTo>
                  <a:lnTo>
                    <a:pt x="39" y="189"/>
                  </a:lnTo>
                  <a:lnTo>
                    <a:pt x="35" y="190"/>
                  </a:lnTo>
                  <a:lnTo>
                    <a:pt x="27" y="191"/>
                  </a:lnTo>
                  <a:lnTo>
                    <a:pt x="22" y="191"/>
                  </a:lnTo>
                  <a:lnTo>
                    <a:pt x="15" y="191"/>
                  </a:lnTo>
                  <a:lnTo>
                    <a:pt x="9" y="190"/>
                  </a:lnTo>
                  <a:lnTo>
                    <a:pt x="3" y="189"/>
                  </a:lnTo>
                  <a:lnTo>
                    <a:pt x="0" y="186"/>
                  </a:lnTo>
                  <a:lnTo>
                    <a:pt x="0" y="0"/>
                  </a:lnTo>
                  <a:lnTo>
                    <a:pt x="102" y="0"/>
                  </a:lnTo>
                  <a:lnTo>
                    <a:pt x="102" y="0"/>
                  </a:lnTo>
                  <a:lnTo>
                    <a:pt x="110" y="0"/>
                  </a:lnTo>
                  <a:lnTo>
                    <a:pt x="118" y="3"/>
                  </a:lnTo>
                  <a:lnTo>
                    <a:pt x="123" y="6"/>
                  </a:lnTo>
                  <a:lnTo>
                    <a:pt x="128" y="12"/>
                  </a:lnTo>
                  <a:lnTo>
                    <a:pt x="132" y="19"/>
                  </a:lnTo>
                  <a:lnTo>
                    <a:pt x="133" y="27"/>
                  </a:lnTo>
                  <a:lnTo>
                    <a:pt x="135" y="39"/>
                  </a:lnTo>
                  <a:lnTo>
                    <a:pt x="135" y="52"/>
                  </a:lnTo>
                  <a:lnTo>
                    <a:pt x="135" y="186"/>
                  </a:lnTo>
                  <a:lnTo>
                    <a:pt x="135" y="186"/>
                  </a:lnTo>
                  <a:lnTo>
                    <a:pt x="132" y="189"/>
                  </a:lnTo>
                  <a:lnTo>
                    <a:pt x="128" y="190"/>
                  </a:lnTo>
                  <a:lnTo>
                    <a:pt x="121" y="191"/>
                  </a:lnTo>
                  <a:lnTo>
                    <a:pt x="115" y="191"/>
                  </a:lnTo>
                  <a:lnTo>
                    <a:pt x="108" y="191"/>
                  </a:lnTo>
                  <a:lnTo>
                    <a:pt x="102" y="190"/>
                  </a:lnTo>
                  <a:lnTo>
                    <a:pt x="96" y="189"/>
                  </a:lnTo>
                  <a:lnTo>
                    <a:pt x="93" y="186"/>
                  </a:lnTo>
                  <a:lnTo>
                    <a:pt x="93" y="144"/>
                  </a:lnTo>
                  <a:lnTo>
                    <a:pt x="110" y="144"/>
                  </a:lnTo>
                  <a:lnTo>
                    <a:pt x="42" y="14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5" name="Freeform 33"/>
            <p:cNvSpPr>
              <a:spLocks/>
            </p:cNvSpPr>
            <p:nvPr userDrawn="1"/>
          </p:nvSpPr>
          <p:spPr bwMode="auto">
            <a:xfrm>
              <a:off x="5629" y="729"/>
              <a:ext cx="17" cy="24"/>
            </a:xfrm>
            <a:custGeom>
              <a:avLst/>
              <a:gdLst>
                <a:gd name="T0" fmla="*/ 51 w 51"/>
                <a:gd name="T1" fmla="*/ 72 h 72"/>
                <a:gd name="T2" fmla="*/ 51 w 51"/>
                <a:gd name="T3" fmla="*/ 5 h 72"/>
                <a:gd name="T4" fmla="*/ 51 w 51"/>
                <a:gd name="T5" fmla="*/ 5 h 72"/>
                <a:gd name="T6" fmla="*/ 44 w 51"/>
                <a:gd name="T7" fmla="*/ 3 h 72"/>
                <a:gd name="T8" fmla="*/ 36 w 51"/>
                <a:gd name="T9" fmla="*/ 2 h 72"/>
                <a:gd name="T10" fmla="*/ 26 w 51"/>
                <a:gd name="T11" fmla="*/ 0 h 72"/>
                <a:gd name="T12" fmla="*/ 17 w 51"/>
                <a:gd name="T13" fmla="*/ 3 h 72"/>
                <a:gd name="T14" fmla="*/ 13 w 51"/>
                <a:gd name="T15" fmla="*/ 5 h 72"/>
                <a:gd name="T16" fmla="*/ 8 w 51"/>
                <a:gd name="T17" fmla="*/ 8 h 72"/>
                <a:gd name="T18" fmla="*/ 6 w 51"/>
                <a:gd name="T19" fmla="*/ 12 h 72"/>
                <a:gd name="T20" fmla="*/ 3 w 51"/>
                <a:gd name="T21" fmla="*/ 16 h 72"/>
                <a:gd name="T22" fmla="*/ 1 w 51"/>
                <a:gd name="T23" fmla="*/ 22 h 72"/>
                <a:gd name="T24" fmla="*/ 0 w 51"/>
                <a:gd name="T25" fmla="*/ 30 h 72"/>
                <a:gd name="T26" fmla="*/ 0 w 51"/>
                <a:gd name="T27"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1" h="72">
                  <a:moveTo>
                    <a:pt x="51" y="72"/>
                  </a:moveTo>
                  <a:lnTo>
                    <a:pt x="51" y="5"/>
                  </a:lnTo>
                  <a:lnTo>
                    <a:pt x="51" y="5"/>
                  </a:lnTo>
                  <a:lnTo>
                    <a:pt x="44" y="3"/>
                  </a:lnTo>
                  <a:lnTo>
                    <a:pt x="36" y="2"/>
                  </a:lnTo>
                  <a:lnTo>
                    <a:pt x="26" y="0"/>
                  </a:lnTo>
                  <a:lnTo>
                    <a:pt x="17" y="3"/>
                  </a:lnTo>
                  <a:lnTo>
                    <a:pt x="13" y="5"/>
                  </a:lnTo>
                  <a:lnTo>
                    <a:pt x="8" y="8"/>
                  </a:lnTo>
                  <a:lnTo>
                    <a:pt x="6" y="12"/>
                  </a:lnTo>
                  <a:lnTo>
                    <a:pt x="3" y="16"/>
                  </a:lnTo>
                  <a:lnTo>
                    <a:pt x="1" y="22"/>
                  </a:lnTo>
                  <a:lnTo>
                    <a:pt x="0" y="30"/>
                  </a:lnTo>
                  <a:lnTo>
                    <a:pt x="0" y="7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6" name="Freeform 34"/>
            <p:cNvSpPr>
              <a:spLocks/>
            </p:cNvSpPr>
            <p:nvPr userDrawn="1"/>
          </p:nvSpPr>
          <p:spPr bwMode="auto">
            <a:xfrm>
              <a:off x="5615" y="717"/>
              <a:ext cx="45" cy="63"/>
            </a:xfrm>
            <a:custGeom>
              <a:avLst/>
              <a:gdLst>
                <a:gd name="T0" fmla="*/ 42 w 135"/>
                <a:gd name="T1" fmla="*/ 144 h 191"/>
                <a:gd name="T2" fmla="*/ 42 w 135"/>
                <a:gd name="T3" fmla="*/ 186 h 191"/>
                <a:gd name="T4" fmla="*/ 42 w 135"/>
                <a:gd name="T5" fmla="*/ 186 h 191"/>
                <a:gd name="T6" fmla="*/ 39 w 135"/>
                <a:gd name="T7" fmla="*/ 189 h 191"/>
                <a:gd name="T8" fmla="*/ 35 w 135"/>
                <a:gd name="T9" fmla="*/ 190 h 191"/>
                <a:gd name="T10" fmla="*/ 27 w 135"/>
                <a:gd name="T11" fmla="*/ 191 h 191"/>
                <a:gd name="T12" fmla="*/ 22 w 135"/>
                <a:gd name="T13" fmla="*/ 191 h 191"/>
                <a:gd name="T14" fmla="*/ 15 w 135"/>
                <a:gd name="T15" fmla="*/ 191 h 191"/>
                <a:gd name="T16" fmla="*/ 9 w 135"/>
                <a:gd name="T17" fmla="*/ 190 h 191"/>
                <a:gd name="T18" fmla="*/ 3 w 135"/>
                <a:gd name="T19" fmla="*/ 189 h 191"/>
                <a:gd name="T20" fmla="*/ 0 w 135"/>
                <a:gd name="T21" fmla="*/ 186 h 191"/>
                <a:gd name="T22" fmla="*/ 0 w 135"/>
                <a:gd name="T23" fmla="*/ 0 h 191"/>
                <a:gd name="T24" fmla="*/ 102 w 135"/>
                <a:gd name="T25" fmla="*/ 0 h 191"/>
                <a:gd name="T26" fmla="*/ 102 w 135"/>
                <a:gd name="T27" fmla="*/ 0 h 191"/>
                <a:gd name="T28" fmla="*/ 110 w 135"/>
                <a:gd name="T29" fmla="*/ 0 h 191"/>
                <a:gd name="T30" fmla="*/ 118 w 135"/>
                <a:gd name="T31" fmla="*/ 3 h 191"/>
                <a:gd name="T32" fmla="*/ 123 w 135"/>
                <a:gd name="T33" fmla="*/ 6 h 191"/>
                <a:gd name="T34" fmla="*/ 128 w 135"/>
                <a:gd name="T35" fmla="*/ 12 h 191"/>
                <a:gd name="T36" fmla="*/ 132 w 135"/>
                <a:gd name="T37" fmla="*/ 19 h 191"/>
                <a:gd name="T38" fmla="*/ 133 w 135"/>
                <a:gd name="T39" fmla="*/ 27 h 191"/>
                <a:gd name="T40" fmla="*/ 135 w 135"/>
                <a:gd name="T41" fmla="*/ 39 h 191"/>
                <a:gd name="T42" fmla="*/ 135 w 135"/>
                <a:gd name="T43" fmla="*/ 52 h 191"/>
                <a:gd name="T44" fmla="*/ 135 w 135"/>
                <a:gd name="T45" fmla="*/ 186 h 191"/>
                <a:gd name="T46" fmla="*/ 135 w 135"/>
                <a:gd name="T47" fmla="*/ 186 h 191"/>
                <a:gd name="T48" fmla="*/ 132 w 135"/>
                <a:gd name="T49" fmla="*/ 189 h 191"/>
                <a:gd name="T50" fmla="*/ 128 w 135"/>
                <a:gd name="T51" fmla="*/ 190 h 191"/>
                <a:gd name="T52" fmla="*/ 121 w 135"/>
                <a:gd name="T53" fmla="*/ 191 h 191"/>
                <a:gd name="T54" fmla="*/ 115 w 135"/>
                <a:gd name="T55" fmla="*/ 191 h 191"/>
                <a:gd name="T56" fmla="*/ 108 w 135"/>
                <a:gd name="T57" fmla="*/ 191 h 191"/>
                <a:gd name="T58" fmla="*/ 102 w 135"/>
                <a:gd name="T59" fmla="*/ 190 h 191"/>
                <a:gd name="T60" fmla="*/ 96 w 135"/>
                <a:gd name="T61" fmla="*/ 189 h 191"/>
                <a:gd name="T62" fmla="*/ 93 w 135"/>
                <a:gd name="T63" fmla="*/ 186 h 191"/>
                <a:gd name="T64" fmla="*/ 93 w 135"/>
                <a:gd name="T65" fmla="*/ 144 h 191"/>
                <a:gd name="T66" fmla="*/ 110 w 135"/>
                <a:gd name="T67" fmla="*/ 144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5" h="191">
                  <a:moveTo>
                    <a:pt x="42" y="144"/>
                  </a:moveTo>
                  <a:lnTo>
                    <a:pt x="42" y="186"/>
                  </a:lnTo>
                  <a:lnTo>
                    <a:pt x="42" y="186"/>
                  </a:lnTo>
                  <a:lnTo>
                    <a:pt x="39" y="189"/>
                  </a:lnTo>
                  <a:lnTo>
                    <a:pt x="35" y="190"/>
                  </a:lnTo>
                  <a:lnTo>
                    <a:pt x="27" y="191"/>
                  </a:lnTo>
                  <a:lnTo>
                    <a:pt x="22" y="191"/>
                  </a:lnTo>
                  <a:lnTo>
                    <a:pt x="15" y="191"/>
                  </a:lnTo>
                  <a:lnTo>
                    <a:pt x="9" y="190"/>
                  </a:lnTo>
                  <a:lnTo>
                    <a:pt x="3" y="189"/>
                  </a:lnTo>
                  <a:lnTo>
                    <a:pt x="0" y="186"/>
                  </a:lnTo>
                  <a:lnTo>
                    <a:pt x="0" y="0"/>
                  </a:lnTo>
                  <a:lnTo>
                    <a:pt x="102" y="0"/>
                  </a:lnTo>
                  <a:lnTo>
                    <a:pt x="102" y="0"/>
                  </a:lnTo>
                  <a:lnTo>
                    <a:pt x="110" y="0"/>
                  </a:lnTo>
                  <a:lnTo>
                    <a:pt x="118" y="3"/>
                  </a:lnTo>
                  <a:lnTo>
                    <a:pt x="123" y="6"/>
                  </a:lnTo>
                  <a:lnTo>
                    <a:pt x="128" y="12"/>
                  </a:lnTo>
                  <a:lnTo>
                    <a:pt x="132" y="19"/>
                  </a:lnTo>
                  <a:lnTo>
                    <a:pt x="133" y="27"/>
                  </a:lnTo>
                  <a:lnTo>
                    <a:pt x="135" y="39"/>
                  </a:lnTo>
                  <a:lnTo>
                    <a:pt x="135" y="52"/>
                  </a:lnTo>
                  <a:lnTo>
                    <a:pt x="135" y="186"/>
                  </a:lnTo>
                  <a:lnTo>
                    <a:pt x="135" y="186"/>
                  </a:lnTo>
                  <a:lnTo>
                    <a:pt x="132" y="189"/>
                  </a:lnTo>
                  <a:lnTo>
                    <a:pt x="128" y="190"/>
                  </a:lnTo>
                  <a:lnTo>
                    <a:pt x="121" y="191"/>
                  </a:lnTo>
                  <a:lnTo>
                    <a:pt x="115" y="191"/>
                  </a:lnTo>
                  <a:lnTo>
                    <a:pt x="108" y="191"/>
                  </a:lnTo>
                  <a:lnTo>
                    <a:pt x="102" y="190"/>
                  </a:lnTo>
                  <a:lnTo>
                    <a:pt x="96" y="189"/>
                  </a:lnTo>
                  <a:lnTo>
                    <a:pt x="93" y="186"/>
                  </a:lnTo>
                  <a:lnTo>
                    <a:pt x="93" y="144"/>
                  </a:lnTo>
                  <a:lnTo>
                    <a:pt x="110" y="14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sp>
        <p:nvSpPr>
          <p:cNvPr id="48" name="Textfeld 47"/>
          <p:cNvSpPr txBox="1"/>
          <p:nvPr userDrawn="1"/>
        </p:nvSpPr>
        <p:spPr>
          <a:xfrm>
            <a:off x="10029282" y="1249779"/>
            <a:ext cx="1320124" cy="461665"/>
          </a:xfrm>
          <a:prstGeom prst="rect">
            <a:avLst/>
          </a:prstGeom>
          <a:noFill/>
        </p:spPr>
        <p:txBody>
          <a:bodyPr wrap="square" rtlCol="0">
            <a:spAutoFit/>
          </a:bodyPr>
          <a:lstStyle/>
          <a:p>
            <a:pPr algn="l">
              <a:lnSpc>
                <a:spcPct val="100000"/>
              </a:lnSpc>
              <a:spcAft>
                <a:spcPts val="167"/>
              </a:spcAft>
            </a:pPr>
            <a:r>
              <a:rPr lang="de-DE" sz="600" b="0" spc="0" baseline="0" dirty="0">
                <a:solidFill>
                  <a:schemeClr val="tx1"/>
                </a:solidFill>
                <a:latin typeface="+mj-lt"/>
              </a:rPr>
              <a:t>FACHGEBIET SYSTEMZUVERLÄSSIGKEIT, ADAPTRONIK UND MASCHINENAKUSTIK</a:t>
            </a:r>
          </a:p>
        </p:txBody>
      </p:sp>
    </p:spTree>
    <p:extLst>
      <p:ext uri="{BB962C8B-B14F-4D97-AF65-F5344CB8AC3E}">
        <p14:creationId xmlns:p14="http://schemas.microsoft.com/office/powerpoint/2010/main" val="3249051002"/>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4_Abschnittsüberschrift_Druck">
    <p:spTree>
      <p:nvGrpSpPr>
        <p:cNvPr id="1" name=""/>
        <p:cNvGrpSpPr/>
        <p:nvPr/>
      </p:nvGrpSpPr>
      <p:grpSpPr>
        <a:xfrm>
          <a:off x="0" y="0"/>
          <a:ext cx="0" cy="0"/>
          <a:chOff x="0" y="0"/>
          <a:chExt cx="0" cy="0"/>
        </a:xfrm>
      </p:grpSpPr>
      <p:sp>
        <p:nvSpPr>
          <p:cNvPr id="17" name="Titel 11"/>
          <p:cNvSpPr>
            <a:spLocks noGrp="1"/>
          </p:cNvSpPr>
          <p:nvPr>
            <p:ph type="title" hasCustomPrompt="1"/>
          </p:nvPr>
        </p:nvSpPr>
        <p:spPr>
          <a:xfrm>
            <a:off x="672001" y="480000"/>
            <a:ext cx="9120000" cy="480000"/>
          </a:xfrm>
        </p:spPr>
        <p:txBody>
          <a:bodyPr/>
          <a:lstStyle>
            <a:lvl1pPr>
              <a:defRPr>
                <a:solidFill>
                  <a:schemeClr val="tx2"/>
                </a:solidFill>
              </a:defRPr>
            </a:lvl1pPr>
          </a:lstStyle>
          <a:p>
            <a:r>
              <a:rPr lang="de-DE" dirty="0"/>
              <a:t>TITELMASTERFORMAT DURCH KLICKEN</a:t>
            </a:r>
          </a:p>
        </p:txBody>
      </p:sp>
      <p:sp>
        <p:nvSpPr>
          <p:cNvPr id="2" name="Rechteck 1"/>
          <p:cNvSpPr/>
          <p:nvPr/>
        </p:nvSpPr>
        <p:spPr>
          <a:xfrm>
            <a:off x="0" y="0"/>
            <a:ext cx="12192000" cy="4367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7" name="Rectangle 4"/>
          <p:cNvSpPr>
            <a:spLocks noGrp="1" noChangeArrowheads="1"/>
          </p:cNvSpPr>
          <p:nvPr>
            <p:ph type="subTitle" idx="1"/>
          </p:nvPr>
        </p:nvSpPr>
        <p:spPr>
          <a:xfrm>
            <a:off x="671076" y="1152001"/>
            <a:ext cx="9120000" cy="789519"/>
          </a:xfrm>
        </p:spPr>
        <p:txBody>
          <a:bodyPr lIns="0" tIns="0" rIns="0" bIns="0"/>
          <a:lstStyle>
            <a:lvl1pPr marL="0" indent="0">
              <a:spcBef>
                <a:spcPct val="0"/>
              </a:spcBef>
              <a:buFont typeface="Wingdings" pitchFamily="2" charset="2"/>
              <a:buNone/>
              <a:defRPr sz="2200" b="0" i="0">
                <a:solidFill>
                  <a:schemeClr val="tx2"/>
                </a:solidFill>
                <a:latin typeface="+mj-lt"/>
                <a:ea typeface="Verdana" charset="0"/>
                <a:cs typeface="Verdana" charset="0"/>
              </a:defRPr>
            </a:lvl1pPr>
          </a:lstStyle>
          <a:p>
            <a:r>
              <a:rPr lang="de-DE" dirty="0"/>
              <a:t>Master-Untertitelformat bearbeiten</a:t>
            </a:r>
          </a:p>
        </p:txBody>
      </p:sp>
    </p:spTree>
    <p:extLst>
      <p:ext uri="{BB962C8B-B14F-4D97-AF65-F5344CB8AC3E}">
        <p14:creationId xmlns:p14="http://schemas.microsoft.com/office/powerpoint/2010/main" val="3501745982"/>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1_Benutzerdefiniertes Layou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Rectangle 4"/>
          <p:cNvSpPr>
            <a:spLocks noGrp="1" noChangeArrowheads="1"/>
          </p:cNvSpPr>
          <p:nvPr>
            <p:ph type="subTitle" idx="1" hasCustomPrompt="1"/>
          </p:nvPr>
        </p:nvSpPr>
        <p:spPr>
          <a:xfrm>
            <a:off x="671076" y="1152001"/>
            <a:ext cx="9120000" cy="789519"/>
          </a:xfrm>
        </p:spPr>
        <p:txBody>
          <a:bodyPr lIns="0" tIns="0" rIns="0" bIns="0"/>
          <a:lstStyle>
            <a:lvl1pPr marL="0" indent="0">
              <a:spcBef>
                <a:spcPct val="0"/>
              </a:spcBef>
              <a:buFont typeface="Wingdings" pitchFamily="2" charset="2"/>
              <a:buNone/>
              <a:defRPr sz="2200" b="0" i="0">
                <a:solidFill>
                  <a:schemeClr val="tx1"/>
                </a:solidFill>
                <a:latin typeface="+mj-lt"/>
                <a:ea typeface="Verdana" charset="0"/>
                <a:cs typeface="Verdana" charset="0"/>
              </a:defRPr>
            </a:lvl1pPr>
          </a:lstStyle>
          <a:p>
            <a:r>
              <a:rPr lang="de-DE" dirty="0"/>
              <a:t>Sub-Titel</a:t>
            </a:r>
          </a:p>
          <a:p>
            <a:r>
              <a:rPr lang="de-DE" dirty="0"/>
              <a:t>Sub-Sub-Titel</a:t>
            </a:r>
          </a:p>
        </p:txBody>
      </p:sp>
    </p:spTree>
    <p:extLst>
      <p:ext uri="{BB962C8B-B14F-4D97-AF65-F5344CB8AC3E}">
        <p14:creationId xmlns:p14="http://schemas.microsoft.com/office/powerpoint/2010/main" val="2414719793"/>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Benutzerdefiniertes Layou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4" name="Rectangle 4"/>
          <p:cNvSpPr>
            <a:spLocks noGrp="1" noChangeArrowheads="1"/>
          </p:cNvSpPr>
          <p:nvPr>
            <p:ph type="subTitle" idx="1" hasCustomPrompt="1"/>
          </p:nvPr>
        </p:nvSpPr>
        <p:spPr>
          <a:xfrm>
            <a:off x="671076" y="1152001"/>
            <a:ext cx="9120000" cy="789519"/>
          </a:xfrm>
        </p:spPr>
        <p:txBody>
          <a:bodyPr lIns="0" tIns="0" rIns="0" bIns="0"/>
          <a:lstStyle>
            <a:lvl1pPr marL="0" indent="0">
              <a:spcBef>
                <a:spcPct val="0"/>
              </a:spcBef>
              <a:buFont typeface="Wingdings" pitchFamily="2" charset="2"/>
              <a:buNone/>
              <a:defRPr sz="2200" b="0" i="0">
                <a:solidFill>
                  <a:schemeClr val="tx1"/>
                </a:solidFill>
                <a:latin typeface="+mj-lt"/>
                <a:ea typeface="Verdana" charset="0"/>
                <a:cs typeface="Verdana" charset="0"/>
              </a:defRPr>
            </a:lvl1pPr>
          </a:lstStyle>
          <a:p>
            <a:r>
              <a:rPr lang="de-DE" dirty="0"/>
              <a:t>Sub-Titel</a:t>
            </a:r>
          </a:p>
          <a:p>
            <a:r>
              <a:rPr lang="de-DE" dirty="0"/>
              <a:t>Sub-Sub-Titel</a:t>
            </a:r>
          </a:p>
        </p:txBody>
      </p:sp>
      <p:sp>
        <p:nvSpPr>
          <p:cNvPr id="6" name="Inhaltsplatzhalter 2"/>
          <p:cNvSpPr>
            <a:spLocks noGrp="1"/>
          </p:cNvSpPr>
          <p:nvPr>
            <p:ph sz="half" idx="10"/>
          </p:nvPr>
        </p:nvSpPr>
        <p:spPr>
          <a:xfrm>
            <a:off x="672000" y="2112000"/>
            <a:ext cx="11040000" cy="3936000"/>
          </a:xfrm>
        </p:spPr>
        <p:txBody>
          <a:bodyPr/>
          <a:lstStyle>
            <a:lvl1pPr marL="0" indent="0">
              <a:defRPr sz="1600">
                <a:solidFill>
                  <a:schemeClr val="tx1"/>
                </a:solidFill>
              </a:defRPr>
            </a:lvl1pPr>
            <a:lvl2pPr>
              <a:defRPr sz="1600">
                <a:solidFill>
                  <a:schemeClr val="tx1"/>
                </a:solidFill>
              </a:defRPr>
            </a:lvl2pPr>
            <a:lvl3pPr>
              <a:defRPr sz="1600">
                <a:solidFill>
                  <a:schemeClr val="tx1"/>
                </a:solidFill>
              </a:defRPr>
            </a:lvl3pPr>
            <a:lvl4pPr>
              <a:defRPr sz="1600">
                <a:solidFill>
                  <a:schemeClr val="tx1"/>
                </a:solidFill>
              </a:defRPr>
            </a:lvl4pPr>
            <a:lvl5pPr>
              <a:defRPr sz="1600">
                <a:solidFill>
                  <a:schemeClr val="tx1"/>
                </a:solidFill>
              </a:defRPr>
            </a:lvl5pPr>
            <a:lvl6pPr>
              <a:defRPr sz="2160"/>
            </a:lvl6pPr>
            <a:lvl7pPr>
              <a:defRPr sz="2160"/>
            </a:lvl7pPr>
            <a:lvl8pPr>
              <a:defRPr sz="2160"/>
            </a:lvl8pPr>
            <a:lvl9pPr>
              <a:defRPr sz="2160"/>
            </a:lvl9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Tree>
    <p:extLst>
      <p:ext uri="{BB962C8B-B14F-4D97-AF65-F5344CB8AC3E}">
        <p14:creationId xmlns:p14="http://schemas.microsoft.com/office/powerpoint/2010/main" val="2364786750"/>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Zwei Inhalte">
    <p:spTree>
      <p:nvGrpSpPr>
        <p:cNvPr id="1" name=""/>
        <p:cNvGrpSpPr/>
        <p:nvPr/>
      </p:nvGrpSpPr>
      <p:grpSpPr>
        <a:xfrm>
          <a:off x="0" y="0"/>
          <a:ext cx="0" cy="0"/>
          <a:chOff x="0" y="0"/>
          <a:chExt cx="0" cy="0"/>
        </a:xfrm>
      </p:grpSpPr>
      <p:sp>
        <p:nvSpPr>
          <p:cNvPr id="8" name="Titel 1"/>
          <p:cNvSpPr>
            <a:spLocks noGrp="1"/>
          </p:cNvSpPr>
          <p:nvPr>
            <p:ph type="title" hasCustomPrompt="1"/>
          </p:nvPr>
        </p:nvSpPr>
        <p:spPr>
          <a:xfrm>
            <a:off x="672000" y="480000"/>
            <a:ext cx="9120000" cy="480000"/>
          </a:xfrm>
        </p:spPr>
        <p:txBody>
          <a:bodyPr/>
          <a:lstStyle>
            <a:lvl1pPr>
              <a:defRPr>
                <a:solidFill>
                  <a:schemeClr val="tx1"/>
                </a:solidFill>
              </a:defRPr>
            </a:lvl1pPr>
          </a:lstStyle>
          <a:p>
            <a:r>
              <a:rPr lang="de-DE" dirty="0"/>
              <a:t>Titelmasterformat durch Klicken bearbeiten</a:t>
            </a:r>
          </a:p>
        </p:txBody>
      </p:sp>
      <p:sp>
        <p:nvSpPr>
          <p:cNvPr id="6" name="Rectangle 4"/>
          <p:cNvSpPr>
            <a:spLocks noGrp="1" noChangeArrowheads="1"/>
          </p:cNvSpPr>
          <p:nvPr>
            <p:ph type="subTitle" idx="11" hasCustomPrompt="1"/>
          </p:nvPr>
        </p:nvSpPr>
        <p:spPr>
          <a:xfrm>
            <a:off x="671076" y="1152001"/>
            <a:ext cx="9120000" cy="789519"/>
          </a:xfrm>
        </p:spPr>
        <p:txBody>
          <a:bodyPr lIns="0" tIns="0" rIns="0" bIns="0"/>
          <a:lstStyle>
            <a:lvl1pPr marL="0" indent="0">
              <a:spcBef>
                <a:spcPct val="0"/>
              </a:spcBef>
              <a:buFont typeface="Wingdings" pitchFamily="2" charset="2"/>
              <a:buNone/>
              <a:defRPr sz="2200" b="0" i="0">
                <a:solidFill>
                  <a:schemeClr val="tx1"/>
                </a:solidFill>
                <a:latin typeface="+mj-lt"/>
                <a:ea typeface="Verdana" charset="0"/>
                <a:cs typeface="Verdana" charset="0"/>
              </a:defRPr>
            </a:lvl1pPr>
          </a:lstStyle>
          <a:p>
            <a:r>
              <a:rPr lang="de-DE" dirty="0"/>
              <a:t>Sub-Titel</a:t>
            </a:r>
          </a:p>
          <a:p>
            <a:r>
              <a:rPr lang="de-DE" dirty="0"/>
              <a:t>Sub-Sub-Titel</a:t>
            </a:r>
          </a:p>
        </p:txBody>
      </p:sp>
      <p:sp>
        <p:nvSpPr>
          <p:cNvPr id="9" name="Inhaltsplatzhalter 2"/>
          <p:cNvSpPr>
            <a:spLocks noGrp="1"/>
          </p:cNvSpPr>
          <p:nvPr>
            <p:ph sz="half" idx="1"/>
          </p:nvPr>
        </p:nvSpPr>
        <p:spPr>
          <a:xfrm>
            <a:off x="672000" y="2112000"/>
            <a:ext cx="5376000" cy="3936000"/>
          </a:xfrm>
        </p:spPr>
        <p:txBody>
          <a:bodyPr/>
          <a:lstStyle>
            <a:lvl1pPr marL="0" indent="0">
              <a:defRPr sz="1600">
                <a:solidFill>
                  <a:schemeClr val="tx1"/>
                </a:solidFill>
              </a:defRPr>
            </a:lvl1pPr>
            <a:lvl2pPr>
              <a:defRPr sz="1600">
                <a:solidFill>
                  <a:schemeClr val="tx1"/>
                </a:solidFill>
              </a:defRPr>
            </a:lvl2pPr>
            <a:lvl3pPr>
              <a:defRPr sz="1600">
                <a:solidFill>
                  <a:schemeClr val="tx1"/>
                </a:solidFill>
              </a:defRPr>
            </a:lvl3pPr>
            <a:lvl4pPr>
              <a:defRPr sz="1600">
                <a:solidFill>
                  <a:schemeClr val="tx1"/>
                </a:solidFill>
              </a:defRPr>
            </a:lvl4pPr>
            <a:lvl5pPr>
              <a:defRPr sz="1600">
                <a:solidFill>
                  <a:schemeClr val="tx1"/>
                </a:solidFill>
              </a:defRPr>
            </a:lvl5pPr>
            <a:lvl6pPr>
              <a:defRPr sz="2160"/>
            </a:lvl6pPr>
            <a:lvl7pPr>
              <a:defRPr sz="2160"/>
            </a:lvl7pPr>
            <a:lvl8pPr>
              <a:defRPr sz="2160"/>
            </a:lvl8pPr>
            <a:lvl9pPr>
              <a:defRPr sz="2160"/>
            </a:lvl9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0" name="Inhaltsplatzhalter 2"/>
          <p:cNvSpPr>
            <a:spLocks noGrp="1"/>
          </p:cNvSpPr>
          <p:nvPr>
            <p:ph sz="half" idx="12"/>
          </p:nvPr>
        </p:nvSpPr>
        <p:spPr>
          <a:xfrm>
            <a:off x="6336000" y="2112000"/>
            <a:ext cx="5376000" cy="3936000"/>
          </a:xfrm>
        </p:spPr>
        <p:txBody>
          <a:bodyPr/>
          <a:lstStyle>
            <a:lvl1pPr marL="0" indent="0">
              <a:defRPr sz="1600">
                <a:solidFill>
                  <a:schemeClr val="tx1"/>
                </a:solidFill>
              </a:defRPr>
            </a:lvl1pPr>
            <a:lvl2pPr>
              <a:defRPr sz="1600">
                <a:solidFill>
                  <a:schemeClr val="tx1"/>
                </a:solidFill>
              </a:defRPr>
            </a:lvl2pPr>
            <a:lvl3pPr>
              <a:defRPr sz="1600">
                <a:solidFill>
                  <a:schemeClr val="tx1"/>
                </a:solidFill>
              </a:defRPr>
            </a:lvl3pPr>
            <a:lvl4pPr>
              <a:defRPr sz="1600">
                <a:solidFill>
                  <a:schemeClr val="tx1"/>
                </a:solidFill>
              </a:defRPr>
            </a:lvl4pPr>
            <a:lvl5pPr>
              <a:defRPr sz="1600">
                <a:solidFill>
                  <a:schemeClr val="tx1"/>
                </a:solidFill>
              </a:defRPr>
            </a:lvl5pPr>
            <a:lvl6pPr>
              <a:defRPr sz="2160"/>
            </a:lvl6pPr>
            <a:lvl7pPr>
              <a:defRPr sz="2160"/>
            </a:lvl7pPr>
            <a:lvl8pPr>
              <a:defRPr sz="2160"/>
            </a:lvl8pPr>
            <a:lvl9pPr>
              <a:defRPr sz="2160"/>
            </a:lvl9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Tree>
    <p:extLst>
      <p:ext uri="{BB962C8B-B14F-4D97-AF65-F5344CB8AC3E}">
        <p14:creationId xmlns:p14="http://schemas.microsoft.com/office/powerpoint/2010/main" val="2518739221"/>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Drei Inhalte">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672000" y="480000"/>
            <a:ext cx="9120000" cy="480000"/>
          </a:xfrm>
        </p:spPr>
        <p:txBody>
          <a:bodyPr/>
          <a:lstStyle>
            <a:lvl1pPr>
              <a:defRPr>
                <a:solidFill>
                  <a:schemeClr val="tx1"/>
                </a:solidFill>
              </a:defRPr>
            </a:lvl1pPr>
          </a:lstStyle>
          <a:p>
            <a:r>
              <a:rPr lang="de-DE" dirty="0"/>
              <a:t>Titelmasterformat durch Klicken bearbeiten</a:t>
            </a:r>
          </a:p>
        </p:txBody>
      </p:sp>
      <p:sp>
        <p:nvSpPr>
          <p:cNvPr id="3" name="Inhaltsplatzhalter 2"/>
          <p:cNvSpPr>
            <a:spLocks noGrp="1"/>
          </p:cNvSpPr>
          <p:nvPr>
            <p:ph sz="half" idx="1"/>
          </p:nvPr>
        </p:nvSpPr>
        <p:spPr>
          <a:xfrm>
            <a:off x="672000" y="2112000"/>
            <a:ext cx="3504000" cy="3936000"/>
          </a:xfrm>
        </p:spPr>
        <p:txBody>
          <a:bodyPr/>
          <a:lstStyle>
            <a:lvl1pPr marL="0" indent="0">
              <a:defRPr sz="1600">
                <a:solidFill>
                  <a:schemeClr val="tx1"/>
                </a:solidFill>
              </a:defRPr>
            </a:lvl1pPr>
            <a:lvl2pPr>
              <a:defRPr sz="1600">
                <a:solidFill>
                  <a:schemeClr val="tx1"/>
                </a:solidFill>
              </a:defRPr>
            </a:lvl2pPr>
            <a:lvl3pPr>
              <a:defRPr sz="1600">
                <a:solidFill>
                  <a:schemeClr val="tx1"/>
                </a:solidFill>
              </a:defRPr>
            </a:lvl3pPr>
            <a:lvl4pPr>
              <a:defRPr sz="1600">
                <a:solidFill>
                  <a:schemeClr val="tx1"/>
                </a:solidFill>
              </a:defRPr>
            </a:lvl4pPr>
            <a:lvl5pPr>
              <a:defRPr sz="1600">
                <a:solidFill>
                  <a:schemeClr val="tx1"/>
                </a:solidFill>
              </a:defRPr>
            </a:lvl5pPr>
            <a:lvl6pPr>
              <a:defRPr sz="2160"/>
            </a:lvl6pPr>
            <a:lvl7pPr>
              <a:defRPr sz="2160"/>
            </a:lvl7pPr>
            <a:lvl8pPr>
              <a:defRPr sz="2160"/>
            </a:lvl8pPr>
            <a:lvl9pPr>
              <a:defRPr sz="2160"/>
            </a:lvl9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9" name="Inhaltsplatzhalter 2"/>
          <p:cNvSpPr>
            <a:spLocks noGrp="1"/>
          </p:cNvSpPr>
          <p:nvPr>
            <p:ph sz="half" idx="10"/>
          </p:nvPr>
        </p:nvSpPr>
        <p:spPr>
          <a:xfrm>
            <a:off x="4440000" y="2112000"/>
            <a:ext cx="3504000" cy="3936000"/>
          </a:xfrm>
        </p:spPr>
        <p:txBody>
          <a:bodyPr/>
          <a:lstStyle>
            <a:lvl1pPr marL="0" indent="0">
              <a:defRPr sz="1600">
                <a:solidFill>
                  <a:schemeClr val="tx1"/>
                </a:solidFill>
              </a:defRPr>
            </a:lvl1pPr>
            <a:lvl2pPr>
              <a:defRPr sz="1600">
                <a:solidFill>
                  <a:schemeClr val="tx1"/>
                </a:solidFill>
              </a:defRPr>
            </a:lvl2pPr>
            <a:lvl3pPr>
              <a:defRPr sz="1600">
                <a:solidFill>
                  <a:schemeClr val="tx1"/>
                </a:solidFill>
              </a:defRPr>
            </a:lvl3pPr>
            <a:lvl4pPr>
              <a:defRPr sz="1600">
                <a:solidFill>
                  <a:schemeClr val="tx1"/>
                </a:solidFill>
              </a:defRPr>
            </a:lvl4pPr>
            <a:lvl5pPr>
              <a:defRPr sz="1600">
                <a:solidFill>
                  <a:schemeClr val="tx1"/>
                </a:solidFill>
              </a:defRPr>
            </a:lvl5pPr>
            <a:lvl6pPr>
              <a:defRPr sz="2160"/>
            </a:lvl6pPr>
            <a:lvl7pPr>
              <a:defRPr sz="2160"/>
            </a:lvl7pPr>
            <a:lvl8pPr>
              <a:defRPr sz="2160"/>
            </a:lvl8pPr>
            <a:lvl9pPr>
              <a:defRPr sz="2160"/>
            </a:lvl9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1" name="Inhaltsplatzhalter 2"/>
          <p:cNvSpPr>
            <a:spLocks noGrp="1"/>
          </p:cNvSpPr>
          <p:nvPr>
            <p:ph sz="half" idx="12"/>
          </p:nvPr>
        </p:nvSpPr>
        <p:spPr>
          <a:xfrm>
            <a:off x="8208000" y="2112000"/>
            <a:ext cx="3504000" cy="3936000"/>
          </a:xfrm>
        </p:spPr>
        <p:txBody>
          <a:bodyPr/>
          <a:lstStyle>
            <a:lvl1pPr marL="0" indent="0">
              <a:defRPr sz="1600">
                <a:solidFill>
                  <a:schemeClr val="tx1"/>
                </a:solidFill>
              </a:defRPr>
            </a:lvl1pPr>
            <a:lvl2pPr>
              <a:defRPr sz="1600">
                <a:solidFill>
                  <a:schemeClr val="tx1"/>
                </a:solidFill>
              </a:defRPr>
            </a:lvl2pPr>
            <a:lvl3pPr>
              <a:defRPr sz="1600">
                <a:solidFill>
                  <a:schemeClr val="tx1"/>
                </a:solidFill>
              </a:defRPr>
            </a:lvl3pPr>
            <a:lvl4pPr>
              <a:defRPr sz="1600">
                <a:solidFill>
                  <a:schemeClr val="tx1"/>
                </a:solidFill>
              </a:defRPr>
            </a:lvl4pPr>
            <a:lvl5pPr>
              <a:defRPr sz="1600">
                <a:solidFill>
                  <a:schemeClr val="tx1"/>
                </a:solidFill>
              </a:defRPr>
            </a:lvl5pPr>
            <a:lvl6pPr>
              <a:defRPr sz="2160"/>
            </a:lvl6pPr>
            <a:lvl7pPr>
              <a:defRPr sz="2160"/>
            </a:lvl7pPr>
            <a:lvl8pPr>
              <a:defRPr sz="2160"/>
            </a:lvl8pPr>
            <a:lvl9pPr>
              <a:defRPr sz="2160"/>
            </a:lvl9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6" name="Rectangle 4"/>
          <p:cNvSpPr>
            <a:spLocks noGrp="1" noChangeArrowheads="1"/>
          </p:cNvSpPr>
          <p:nvPr>
            <p:ph type="subTitle" idx="11" hasCustomPrompt="1"/>
          </p:nvPr>
        </p:nvSpPr>
        <p:spPr>
          <a:xfrm>
            <a:off x="671076" y="1152001"/>
            <a:ext cx="9120000" cy="789519"/>
          </a:xfrm>
        </p:spPr>
        <p:txBody>
          <a:bodyPr lIns="0" tIns="0" rIns="0" bIns="0"/>
          <a:lstStyle>
            <a:lvl1pPr marL="0" indent="0">
              <a:spcBef>
                <a:spcPct val="0"/>
              </a:spcBef>
              <a:buFont typeface="Wingdings" pitchFamily="2" charset="2"/>
              <a:buNone/>
              <a:defRPr sz="2200" b="0" i="0">
                <a:solidFill>
                  <a:schemeClr val="tx1"/>
                </a:solidFill>
                <a:latin typeface="+mj-lt"/>
                <a:ea typeface="Verdana" charset="0"/>
                <a:cs typeface="Verdana" charset="0"/>
              </a:defRPr>
            </a:lvl1pPr>
          </a:lstStyle>
          <a:p>
            <a:r>
              <a:rPr lang="de-DE" dirty="0"/>
              <a:t>Sub-Titel</a:t>
            </a:r>
          </a:p>
          <a:p>
            <a:r>
              <a:rPr lang="de-DE" dirty="0"/>
              <a:t>Sub-Sub-Titel</a:t>
            </a:r>
          </a:p>
        </p:txBody>
      </p:sp>
    </p:spTree>
    <p:extLst>
      <p:ext uri="{BB962C8B-B14F-4D97-AF65-F5344CB8AC3E}">
        <p14:creationId xmlns:p14="http://schemas.microsoft.com/office/powerpoint/2010/main" val="281993340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title">
  <p:cSld name="Titelfolie">
    <p:spTree>
      <p:nvGrpSpPr>
        <p:cNvPr id="1" name=""/>
        <p:cNvGrpSpPr/>
        <p:nvPr/>
      </p:nvGrpSpPr>
      <p:grpSpPr>
        <a:xfrm>
          <a:off x="0" y="0"/>
          <a:ext cx="0" cy="0"/>
          <a:chOff x="0" y="0"/>
          <a:chExt cx="0" cy="0"/>
        </a:xfrm>
      </p:grpSpPr>
      <p:sp>
        <p:nvSpPr>
          <p:cNvPr id="2" name="Rectangle 2">
            <a:extLst>
              <a:ext uri="{FF2B5EF4-FFF2-40B4-BE49-F238E27FC236}">
                <a16:creationId xmlns:a16="http://schemas.microsoft.com/office/drawing/2014/main" id="{F43D0C7F-18E0-8BFD-9EC7-4CF662A3A5C8}"/>
              </a:ext>
            </a:extLst>
          </p:cNvPr>
          <p:cNvSpPr>
            <a:spLocks noChangeArrowheads="1"/>
          </p:cNvSpPr>
          <p:nvPr/>
        </p:nvSpPr>
        <p:spPr bwMode="auto">
          <a:xfrm>
            <a:off x="334963" y="368300"/>
            <a:ext cx="11522075" cy="1868488"/>
          </a:xfrm>
          <a:prstGeom prst="rect">
            <a:avLst/>
          </a:prstGeom>
          <a:solidFill>
            <a:srgbClr val="243572"/>
          </a:solidFill>
          <a:ln>
            <a:noFill/>
          </a:ln>
        </p:spPr>
        <p:txBody>
          <a:bodyPr wrap="none" anchor="ctr"/>
          <a:lstStyle>
            <a:lvl1pPr eaLnBrk="0" hangingPunct="0">
              <a:defRPr b="1">
                <a:solidFill>
                  <a:schemeClr val="tx1"/>
                </a:solidFill>
                <a:latin typeface="Verdana" pitchFamily="34" charset="0"/>
              </a:defRPr>
            </a:lvl1pPr>
            <a:lvl2pPr marL="742950" indent="-285750" eaLnBrk="0" hangingPunct="0">
              <a:defRPr b="1">
                <a:solidFill>
                  <a:schemeClr val="tx1"/>
                </a:solidFill>
                <a:latin typeface="Verdana" pitchFamily="34" charset="0"/>
              </a:defRPr>
            </a:lvl2pPr>
            <a:lvl3pPr marL="1143000" indent="-228600" eaLnBrk="0" hangingPunct="0">
              <a:defRPr b="1">
                <a:solidFill>
                  <a:schemeClr val="tx1"/>
                </a:solidFill>
                <a:latin typeface="Verdana" pitchFamily="34" charset="0"/>
              </a:defRPr>
            </a:lvl3pPr>
            <a:lvl4pPr marL="1600200" indent="-228600" eaLnBrk="0" hangingPunct="0">
              <a:defRPr b="1">
                <a:solidFill>
                  <a:schemeClr val="tx1"/>
                </a:solidFill>
                <a:latin typeface="Verdana" pitchFamily="34" charset="0"/>
              </a:defRPr>
            </a:lvl4pPr>
            <a:lvl5pPr marL="2057400" indent="-228600" eaLnBrk="0" hangingPunct="0">
              <a:defRPr b="1">
                <a:solidFill>
                  <a:schemeClr val="tx1"/>
                </a:solidFill>
                <a:latin typeface="Verdana" pitchFamily="34" charset="0"/>
              </a:defRPr>
            </a:lvl5pPr>
            <a:lvl6pPr marL="2514600" indent="-228600" eaLnBrk="0" fontAlgn="base" hangingPunct="0">
              <a:spcBef>
                <a:spcPct val="0"/>
              </a:spcBef>
              <a:spcAft>
                <a:spcPct val="0"/>
              </a:spcAft>
              <a:defRPr b="1">
                <a:solidFill>
                  <a:schemeClr val="tx1"/>
                </a:solidFill>
                <a:latin typeface="Verdana" pitchFamily="34" charset="0"/>
              </a:defRPr>
            </a:lvl6pPr>
            <a:lvl7pPr marL="2971800" indent="-228600" eaLnBrk="0" fontAlgn="base" hangingPunct="0">
              <a:spcBef>
                <a:spcPct val="0"/>
              </a:spcBef>
              <a:spcAft>
                <a:spcPct val="0"/>
              </a:spcAft>
              <a:defRPr b="1">
                <a:solidFill>
                  <a:schemeClr val="tx1"/>
                </a:solidFill>
                <a:latin typeface="Verdana" pitchFamily="34" charset="0"/>
              </a:defRPr>
            </a:lvl7pPr>
            <a:lvl8pPr marL="3429000" indent="-228600" eaLnBrk="0" fontAlgn="base" hangingPunct="0">
              <a:spcBef>
                <a:spcPct val="0"/>
              </a:spcBef>
              <a:spcAft>
                <a:spcPct val="0"/>
              </a:spcAft>
              <a:defRPr b="1">
                <a:solidFill>
                  <a:schemeClr val="tx1"/>
                </a:solidFill>
                <a:latin typeface="Verdana" pitchFamily="34" charset="0"/>
              </a:defRPr>
            </a:lvl8pPr>
            <a:lvl9pPr marL="3886200" indent="-228600" eaLnBrk="0" fontAlgn="base" hangingPunct="0">
              <a:spcBef>
                <a:spcPct val="0"/>
              </a:spcBef>
              <a:spcAft>
                <a:spcPct val="0"/>
              </a:spcAft>
              <a:defRPr b="1">
                <a:solidFill>
                  <a:schemeClr val="tx1"/>
                </a:solidFill>
                <a:latin typeface="Verdana" pitchFamily="34" charset="0"/>
              </a:defRPr>
            </a:lvl9pPr>
          </a:lstStyle>
          <a:p>
            <a:pPr algn="ctr" eaLnBrk="1" hangingPunct="1">
              <a:defRPr/>
            </a:pPr>
            <a:endParaRPr lang="de-DE" altLang="de-DE"/>
          </a:p>
        </p:txBody>
      </p:sp>
      <p:sp>
        <p:nvSpPr>
          <p:cNvPr id="3" name="Rectangle 8">
            <a:extLst>
              <a:ext uri="{FF2B5EF4-FFF2-40B4-BE49-F238E27FC236}">
                <a16:creationId xmlns:a16="http://schemas.microsoft.com/office/drawing/2014/main" id="{279E458C-5F81-9998-969B-D8648CB013DF}"/>
              </a:ext>
            </a:extLst>
          </p:cNvPr>
          <p:cNvSpPr>
            <a:spLocks noChangeArrowheads="1"/>
          </p:cNvSpPr>
          <p:nvPr/>
        </p:nvSpPr>
        <p:spPr bwMode="auto">
          <a:xfrm>
            <a:off x="334963" y="196850"/>
            <a:ext cx="11522075" cy="144463"/>
          </a:xfrm>
          <a:prstGeom prst="rect">
            <a:avLst/>
          </a:prstGeom>
          <a:solidFill>
            <a:srgbClr val="243572"/>
          </a:solidFill>
          <a:ln>
            <a:noFill/>
          </a:ln>
        </p:spPr>
        <p:txBody>
          <a:bodyPr/>
          <a:lstStyle>
            <a:lvl1pPr eaLnBrk="0" hangingPunct="0">
              <a:defRPr b="1">
                <a:solidFill>
                  <a:schemeClr val="tx1"/>
                </a:solidFill>
                <a:latin typeface="Verdana" pitchFamily="34" charset="0"/>
              </a:defRPr>
            </a:lvl1pPr>
            <a:lvl2pPr marL="742950" indent="-285750" eaLnBrk="0" hangingPunct="0">
              <a:defRPr b="1">
                <a:solidFill>
                  <a:schemeClr val="tx1"/>
                </a:solidFill>
                <a:latin typeface="Verdana" pitchFamily="34" charset="0"/>
              </a:defRPr>
            </a:lvl2pPr>
            <a:lvl3pPr marL="1143000" indent="-228600" eaLnBrk="0" hangingPunct="0">
              <a:defRPr b="1">
                <a:solidFill>
                  <a:schemeClr val="tx1"/>
                </a:solidFill>
                <a:latin typeface="Verdana" pitchFamily="34" charset="0"/>
              </a:defRPr>
            </a:lvl3pPr>
            <a:lvl4pPr marL="1600200" indent="-228600" eaLnBrk="0" hangingPunct="0">
              <a:defRPr b="1">
                <a:solidFill>
                  <a:schemeClr val="tx1"/>
                </a:solidFill>
                <a:latin typeface="Verdana" pitchFamily="34" charset="0"/>
              </a:defRPr>
            </a:lvl4pPr>
            <a:lvl5pPr marL="2057400" indent="-228600" eaLnBrk="0" hangingPunct="0">
              <a:defRPr b="1">
                <a:solidFill>
                  <a:schemeClr val="tx1"/>
                </a:solidFill>
                <a:latin typeface="Verdana" pitchFamily="34" charset="0"/>
              </a:defRPr>
            </a:lvl5pPr>
            <a:lvl6pPr marL="2514600" indent="-228600" eaLnBrk="0" fontAlgn="base" hangingPunct="0">
              <a:spcBef>
                <a:spcPct val="0"/>
              </a:spcBef>
              <a:spcAft>
                <a:spcPct val="0"/>
              </a:spcAft>
              <a:defRPr b="1">
                <a:solidFill>
                  <a:schemeClr val="tx1"/>
                </a:solidFill>
                <a:latin typeface="Verdana" pitchFamily="34" charset="0"/>
              </a:defRPr>
            </a:lvl6pPr>
            <a:lvl7pPr marL="2971800" indent="-228600" eaLnBrk="0" fontAlgn="base" hangingPunct="0">
              <a:spcBef>
                <a:spcPct val="0"/>
              </a:spcBef>
              <a:spcAft>
                <a:spcPct val="0"/>
              </a:spcAft>
              <a:defRPr b="1">
                <a:solidFill>
                  <a:schemeClr val="tx1"/>
                </a:solidFill>
                <a:latin typeface="Verdana" pitchFamily="34" charset="0"/>
              </a:defRPr>
            </a:lvl7pPr>
            <a:lvl8pPr marL="3429000" indent="-228600" eaLnBrk="0" fontAlgn="base" hangingPunct="0">
              <a:spcBef>
                <a:spcPct val="0"/>
              </a:spcBef>
              <a:spcAft>
                <a:spcPct val="0"/>
              </a:spcAft>
              <a:defRPr b="1">
                <a:solidFill>
                  <a:schemeClr val="tx1"/>
                </a:solidFill>
                <a:latin typeface="Verdana" pitchFamily="34" charset="0"/>
              </a:defRPr>
            </a:lvl8pPr>
            <a:lvl9pPr marL="3886200" indent="-228600" eaLnBrk="0" fontAlgn="base" hangingPunct="0">
              <a:spcBef>
                <a:spcPct val="0"/>
              </a:spcBef>
              <a:spcAft>
                <a:spcPct val="0"/>
              </a:spcAft>
              <a:defRPr b="1">
                <a:solidFill>
                  <a:schemeClr val="tx1"/>
                </a:solidFill>
                <a:latin typeface="Verdana" pitchFamily="34" charset="0"/>
              </a:defRPr>
            </a:lvl9pPr>
          </a:lstStyle>
          <a:p>
            <a:pPr eaLnBrk="1" hangingPunct="1">
              <a:defRPr/>
            </a:pPr>
            <a:endParaRPr lang="de-DE" altLang="de-DE"/>
          </a:p>
        </p:txBody>
      </p:sp>
      <p:pic>
        <p:nvPicPr>
          <p:cNvPr id="4" name="Picture 9" descr="tud_logo">
            <a:extLst>
              <a:ext uri="{FF2B5EF4-FFF2-40B4-BE49-F238E27FC236}">
                <a16:creationId xmlns:a16="http://schemas.microsoft.com/office/drawing/2014/main" id="{A5DEA1C5-E1E8-02D8-DDB2-15AF69CEB55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r="5453"/>
          <a:stretch>
            <a:fillRect/>
          </a:stretch>
        </p:blipFill>
        <p:spPr bwMode="auto">
          <a:xfrm>
            <a:off x="9563100" y="500063"/>
            <a:ext cx="2497138" cy="792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Line 11">
            <a:extLst>
              <a:ext uri="{FF2B5EF4-FFF2-40B4-BE49-F238E27FC236}">
                <a16:creationId xmlns:a16="http://schemas.microsoft.com/office/drawing/2014/main" id="{672EEDF6-CEB6-290F-56C5-870EC09B2612}"/>
              </a:ext>
            </a:extLst>
          </p:cNvPr>
          <p:cNvSpPr>
            <a:spLocks noChangeShapeType="1"/>
          </p:cNvSpPr>
          <p:nvPr/>
        </p:nvSpPr>
        <p:spPr bwMode="auto">
          <a:xfrm>
            <a:off x="336550" y="6489700"/>
            <a:ext cx="11520488" cy="0"/>
          </a:xfrm>
          <a:prstGeom prst="line">
            <a:avLst/>
          </a:prstGeom>
          <a:noFill/>
          <a:ln w="7620">
            <a:solidFill>
              <a:srgbClr val="000000"/>
            </a:solidFill>
            <a:round/>
            <a:headEnd/>
            <a:tailEnd/>
          </a:ln>
          <a:extLst>
            <a:ext uri="{909E8E84-426E-40DD-AFC4-6F175D3DCCD1}">
              <a14:hiddenFill xmlns:a14="http://schemas.microsoft.com/office/drawing/2010/main">
                <a:noFill/>
              </a14:hiddenFill>
            </a:ext>
          </a:extLst>
        </p:spPr>
        <p:txBody>
          <a:bodyPr/>
          <a:lstStyle/>
          <a:p>
            <a:endParaRPr lang="de-DE"/>
          </a:p>
        </p:txBody>
      </p:sp>
      <p:sp>
        <p:nvSpPr>
          <p:cNvPr id="6" name="Line 15">
            <a:extLst>
              <a:ext uri="{FF2B5EF4-FFF2-40B4-BE49-F238E27FC236}">
                <a16:creationId xmlns:a16="http://schemas.microsoft.com/office/drawing/2014/main" id="{8DE8D5FB-7CF2-9D9D-943B-92CC0EBFCA2A}"/>
              </a:ext>
            </a:extLst>
          </p:cNvPr>
          <p:cNvSpPr>
            <a:spLocks noChangeShapeType="1"/>
          </p:cNvSpPr>
          <p:nvPr/>
        </p:nvSpPr>
        <p:spPr bwMode="auto">
          <a:xfrm>
            <a:off x="336550" y="6489700"/>
            <a:ext cx="11520488" cy="0"/>
          </a:xfrm>
          <a:prstGeom prst="line">
            <a:avLst/>
          </a:prstGeom>
          <a:noFill/>
          <a:ln w="7620">
            <a:solidFill>
              <a:srgbClr val="000000"/>
            </a:solidFill>
            <a:round/>
            <a:headEnd/>
            <a:tailEnd/>
          </a:ln>
          <a:extLst>
            <a:ext uri="{909E8E84-426E-40DD-AFC4-6F175D3DCCD1}">
              <a14:hiddenFill xmlns:a14="http://schemas.microsoft.com/office/drawing/2010/main">
                <a:noFill/>
              </a14:hiddenFill>
            </a:ext>
          </a:extLst>
        </p:spPr>
        <p:txBody>
          <a:bodyPr/>
          <a:lstStyle/>
          <a:p>
            <a:endParaRPr lang="de-DE"/>
          </a:p>
        </p:txBody>
      </p:sp>
      <p:sp>
        <p:nvSpPr>
          <p:cNvPr id="7" name="Rectangle 18">
            <a:extLst>
              <a:ext uri="{FF2B5EF4-FFF2-40B4-BE49-F238E27FC236}">
                <a16:creationId xmlns:a16="http://schemas.microsoft.com/office/drawing/2014/main" id="{A5AC8A1C-09C8-B357-5B0C-A6FF0B281A58}"/>
              </a:ext>
            </a:extLst>
          </p:cNvPr>
          <p:cNvSpPr>
            <a:spLocks noChangeArrowheads="1"/>
          </p:cNvSpPr>
          <p:nvPr/>
        </p:nvSpPr>
        <p:spPr bwMode="auto">
          <a:xfrm>
            <a:off x="334963" y="360363"/>
            <a:ext cx="11520487" cy="14287"/>
          </a:xfrm>
          <a:prstGeom prst="rect">
            <a:avLst/>
          </a:prstGeom>
          <a:solidFill>
            <a:srgbClr val="000000"/>
          </a:solidFill>
          <a:ln>
            <a:noFill/>
          </a:ln>
        </p:spPr>
        <p:txBody>
          <a:bodyPr wrap="none" anchor="ctr"/>
          <a:lstStyle>
            <a:lvl1pPr eaLnBrk="0" hangingPunct="0">
              <a:defRPr b="1">
                <a:solidFill>
                  <a:schemeClr val="tx1"/>
                </a:solidFill>
                <a:latin typeface="Verdana" pitchFamily="34" charset="0"/>
              </a:defRPr>
            </a:lvl1pPr>
            <a:lvl2pPr marL="742950" indent="-285750" eaLnBrk="0" hangingPunct="0">
              <a:defRPr b="1">
                <a:solidFill>
                  <a:schemeClr val="tx1"/>
                </a:solidFill>
                <a:latin typeface="Verdana" pitchFamily="34" charset="0"/>
              </a:defRPr>
            </a:lvl2pPr>
            <a:lvl3pPr marL="1143000" indent="-228600" eaLnBrk="0" hangingPunct="0">
              <a:defRPr b="1">
                <a:solidFill>
                  <a:schemeClr val="tx1"/>
                </a:solidFill>
                <a:latin typeface="Verdana" pitchFamily="34" charset="0"/>
              </a:defRPr>
            </a:lvl3pPr>
            <a:lvl4pPr marL="1600200" indent="-228600" eaLnBrk="0" hangingPunct="0">
              <a:defRPr b="1">
                <a:solidFill>
                  <a:schemeClr val="tx1"/>
                </a:solidFill>
                <a:latin typeface="Verdana" pitchFamily="34" charset="0"/>
              </a:defRPr>
            </a:lvl4pPr>
            <a:lvl5pPr marL="2057400" indent="-228600" eaLnBrk="0" hangingPunct="0">
              <a:defRPr b="1">
                <a:solidFill>
                  <a:schemeClr val="tx1"/>
                </a:solidFill>
                <a:latin typeface="Verdana" pitchFamily="34" charset="0"/>
              </a:defRPr>
            </a:lvl5pPr>
            <a:lvl6pPr marL="2514600" indent="-228600" eaLnBrk="0" fontAlgn="base" hangingPunct="0">
              <a:spcBef>
                <a:spcPct val="0"/>
              </a:spcBef>
              <a:spcAft>
                <a:spcPct val="0"/>
              </a:spcAft>
              <a:defRPr b="1">
                <a:solidFill>
                  <a:schemeClr val="tx1"/>
                </a:solidFill>
                <a:latin typeface="Verdana" pitchFamily="34" charset="0"/>
              </a:defRPr>
            </a:lvl6pPr>
            <a:lvl7pPr marL="2971800" indent="-228600" eaLnBrk="0" fontAlgn="base" hangingPunct="0">
              <a:spcBef>
                <a:spcPct val="0"/>
              </a:spcBef>
              <a:spcAft>
                <a:spcPct val="0"/>
              </a:spcAft>
              <a:defRPr b="1">
                <a:solidFill>
                  <a:schemeClr val="tx1"/>
                </a:solidFill>
                <a:latin typeface="Verdana" pitchFamily="34" charset="0"/>
              </a:defRPr>
            </a:lvl7pPr>
            <a:lvl8pPr marL="3429000" indent="-228600" eaLnBrk="0" fontAlgn="base" hangingPunct="0">
              <a:spcBef>
                <a:spcPct val="0"/>
              </a:spcBef>
              <a:spcAft>
                <a:spcPct val="0"/>
              </a:spcAft>
              <a:defRPr b="1">
                <a:solidFill>
                  <a:schemeClr val="tx1"/>
                </a:solidFill>
                <a:latin typeface="Verdana" pitchFamily="34" charset="0"/>
              </a:defRPr>
            </a:lvl8pPr>
            <a:lvl9pPr marL="3886200" indent="-228600" eaLnBrk="0" fontAlgn="base" hangingPunct="0">
              <a:spcBef>
                <a:spcPct val="0"/>
              </a:spcBef>
              <a:spcAft>
                <a:spcPct val="0"/>
              </a:spcAft>
              <a:defRPr b="1">
                <a:solidFill>
                  <a:schemeClr val="tx1"/>
                </a:solidFill>
                <a:latin typeface="Verdana" pitchFamily="34" charset="0"/>
              </a:defRPr>
            </a:lvl9pPr>
          </a:lstStyle>
          <a:p>
            <a:pPr eaLnBrk="1" hangingPunct="1">
              <a:defRPr/>
            </a:pPr>
            <a:endParaRPr lang="de-DE" altLang="de-DE"/>
          </a:p>
        </p:txBody>
      </p:sp>
      <p:sp>
        <p:nvSpPr>
          <p:cNvPr id="8" name="Rectangle 19">
            <a:extLst>
              <a:ext uri="{FF2B5EF4-FFF2-40B4-BE49-F238E27FC236}">
                <a16:creationId xmlns:a16="http://schemas.microsoft.com/office/drawing/2014/main" id="{04D10510-D6B5-9437-880C-F5D6234221F7}"/>
              </a:ext>
            </a:extLst>
          </p:cNvPr>
          <p:cNvSpPr>
            <a:spLocks noChangeArrowheads="1"/>
          </p:cNvSpPr>
          <p:nvPr/>
        </p:nvSpPr>
        <p:spPr bwMode="auto">
          <a:xfrm>
            <a:off x="334963" y="2239963"/>
            <a:ext cx="11520487" cy="7937"/>
          </a:xfrm>
          <a:prstGeom prst="rect">
            <a:avLst/>
          </a:prstGeom>
          <a:solidFill>
            <a:srgbClr val="000000"/>
          </a:solidFill>
          <a:ln>
            <a:noFill/>
          </a:ln>
        </p:spPr>
        <p:txBody>
          <a:bodyPr wrap="none" anchor="ctr"/>
          <a:lstStyle>
            <a:lvl1pPr eaLnBrk="0" hangingPunct="0">
              <a:defRPr b="1">
                <a:solidFill>
                  <a:schemeClr val="tx1"/>
                </a:solidFill>
                <a:latin typeface="Verdana" pitchFamily="34" charset="0"/>
              </a:defRPr>
            </a:lvl1pPr>
            <a:lvl2pPr marL="742950" indent="-285750" eaLnBrk="0" hangingPunct="0">
              <a:defRPr b="1">
                <a:solidFill>
                  <a:schemeClr val="tx1"/>
                </a:solidFill>
                <a:latin typeface="Verdana" pitchFamily="34" charset="0"/>
              </a:defRPr>
            </a:lvl2pPr>
            <a:lvl3pPr marL="1143000" indent="-228600" eaLnBrk="0" hangingPunct="0">
              <a:defRPr b="1">
                <a:solidFill>
                  <a:schemeClr val="tx1"/>
                </a:solidFill>
                <a:latin typeface="Verdana" pitchFamily="34" charset="0"/>
              </a:defRPr>
            </a:lvl3pPr>
            <a:lvl4pPr marL="1600200" indent="-228600" eaLnBrk="0" hangingPunct="0">
              <a:defRPr b="1">
                <a:solidFill>
                  <a:schemeClr val="tx1"/>
                </a:solidFill>
                <a:latin typeface="Verdana" pitchFamily="34" charset="0"/>
              </a:defRPr>
            </a:lvl4pPr>
            <a:lvl5pPr marL="2057400" indent="-228600" eaLnBrk="0" hangingPunct="0">
              <a:defRPr b="1">
                <a:solidFill>
                  <a:schemeClr val="tx1"/>
                </a:solidFill>
                <a:latin typeface="Verdana" pitchFamily="34" charset="0"/>
              </a:defRPr>
            </a:lvl5pPr>
            <a:lvl6pPr marL="2514600" indent="-228600" eaLnBrk="0" fontAlgn="base" hangingPunct="0">
              <a:spcBef>
                <a:spcPct val="0"/>
              </a:spcBef>
              <a:spcAft>
                <a:spcPct val="0"/>
              </a:spcAft>
              <a:defRPr b="1">
                <a:solidFill>
                  <a:schemeClr val="tx1"/>
                </a:solidFill>
                <a:latin typeface="Verdana" pitchFamily="34" charset="0"/>
              </a:defRPr>
            </a:lvl6pPr>
            <a:lvl7pPr marL="2971800" indent="-228600" eaLnBrk="0" fontAlgn="base" hangingPunct="0">
              <a:spcBef>
                <a:spcPct val="0"/>
              </a:spcBef>
              <a:spcAft>
                <a:spcPct val="0"/>
              </a:spcAft>
              <a:defRPr b="1">
                <a:solidFill>
                  <a:schemeClr val="tx1"/>
                </a:solidFill>
                <a:latin typeface="Verdana" pitchFamily="34" charset="0"/>
              </a:defRPr>
            </a:lvl7pPr>
            <a:lvl8pPr marL="3429000" indent="-228600" eaLnBrk="0" fontAlgn="base" hangingPunct="0">
              <a:spcBef>
                <a:spcPct val="0"/>
              </a:spcBef>
              <a:spcAft>
                <a:spcPct val="0"/>
              </a:spcAft>
              <a:defRPr b="1">
                <a:solidFill>
                  <a:schemeClr val="tx1"/>
                </a:solidFill>
                <a:latin typeface="Verdana" pitchFamily="34" charset="0"/>
              </a:defRPr>
            </a:lvl8pPr>
            <a:lvl9pPr marL="3886200" indent="-228600" eaLnBrk="0" fontAlgn="base" hangingPunct="0">
              <a:spcBef>
                <a:spcPct val="0"/>
              </a:spcBef>
              <a:spcAft>
                <a:spcPct val="0"/>
              </a:spcAft>
              <a:defRPr b="1">
                <a:solidFill>
                  <a:schemeClr val="tx1"/>
                </a:solidFill>
                <a:latin typeface="Verdana" pitchFamily="34" charset="0"/>
              </a:defRPr>
            </a:lvl9pPr>
          </a:lstStyle>
          <a:p>
            <a:pPr eaLnBrk="1" hangingPunct="1">
              <a:defRPr/>
            </a:pPr>
            <a:endParaRPr lang="de-DE" altLang="de-DE"/>
          </a:p>
        </p:txBody>
      </p:sp>
      <p:pic>
        <p:nvPicPr>
          <p:cNvPr id="9" name="Grafik 13" descr="MIM_logo_10x10_web.gif">
            <a:extLst>
              <a:ext uri="{FF2B5EF4-FFF2-40B4-BE49-F238E27FC236}">
                <a16:creationId xmlns:a16="http://schemas.microsoft.com/office/drawing/2014/main" id="{5603FB70-ECED-D5B5-EF85-9126B0735BA0}"/>
              </a:ext>
            </a:extLst>
          </p:cNvPr>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0953750" y="6010275"/>
            <a:ext cx="1106488" cy="830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7043" name="Rectangle 3"/>
          <p:cNvSpPr>
            <a:spLocks noGrp="1" noChangeArrowheads="1"/>
          </p:cNvSpPr>
          <p:nvPr>
            <p:ph type="ctrTitle"/>
          </p:nvPr>
        </p:nvSpPr>
        <p:spPr>
          <a:xfrm>
            <a:off x="478367" y="534967"/>
            <a:ext cx="8978900" cy="577850"/>
          </a:xfrm>
        </p:spPr>
        <p:txBody>
          <a:bodyPr anchor="t"/>
          <a:lstStyle>
            <a:lvl1pPr>
              <a:defRPr sz="2800">
                <a:solidFill>
                  <a:schemeClr val="bg1"/>
                </a:solidFill>
              </a:defRPr>
            </a:lvl1pPr>
          </a:lstStyle>
          <a:p>
            <a:r>
              <a:rPr lang="de-DE" dirty="0"/>
              <a:t>Titelmasterformat durch Klicken bearbeiten</a:t>
            </a:r>
          </a:p>
        </p:txBody>
      </p:sp>
      <p:sp>
        <p:nvSpPr>
          <p:cNvPr id="87044" name="Rectangle 4"/>
          <p:cNvSpPr>
            <a:spLocks noGrp="1" noChangeArrowheads="1"/>
          </p:cNvSpPr>
          <p:nvPr>
            <p:ph type="subTitle" idx="1"/>
          </p:nvPr>
        </p:nvSpPr>
        <p:spPr>
          <a:xfrm>
            <a:off x="478367" y="1292205"/>
            <a:ext cx="8978900" cy="944562"/>
          </a:xfrm>
        </p:spPr>
        <p:txBody>
          <a:bodyPr/>
          <a:lstStyle>
            <a:lvl1pPr marL="0" indent="0">
              <a:spcBef>
                <a:spcPct val="0"/>
              </a:spcBef>
              <a:buFont typeface="Wingdings" pitchFamily="2" charset="2"/>
              <a:buNone/>
              <a:defRPr b="1">
                <a:solidFill>
                  <a:schemeClr val="bg1"/>
                </a:solidFill>
              </a:defRPr>
            </a:lvl1pPr>
          </a:lstStyle>
          <a:p>
            <a:r>
              <a:rPr lang="de-DE" dirty="0"/>
              <a:t>Formatvorlage des Untertitelmasters durch Klicken bearbeiten</a:t>
            </a:r>
          </a:p>
        </p:txBody>
      </p:sp>
    </p:spTree>
    <p:extLst>
      <p:ext uri="{BB962C8B-B14F-4D97-AF65-F5344CB8AC3E}">
        <p14:creationId xmlns:p14="http://schemas.microsoft.com/office/powerpoint/2010/main" val="105621389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a:xfrm>
            <a:off x="478367" y="559974"/>
            <a:ext cx="9169400" cy="838200"/>
          </a:xfrm>
        </p:spPr>
        <p:txBody>
          <a:bodyPr anchor="t"/>
          <a:lstStyle>
            <a:lvl1pPr>
              <a:defRPr sz="2000"/>
            </a:lvl1pPr>
          </a:lstStyle>
          <a:p>
            <a:r>
              <a:rPr lang="de-DE" dirty="0"/>
              <a:t>Titelmasterformat durch Klicken bearbeiten</a:t>
            </a:r>
          </a:p>
        </p:txBody>
      </p:sp>
      <p:sp>
        <p:nvSpPr>
          <p:cNvPr id="3" name="Inhaltsplatzhalter 2"/>
          <p:cNvSpPr>
            <a:spLocks noGrp="1"/>
          </p:cNvSpPr>
          <p:nvPr>
            <p:ph idx="1"/>
          </p:nvPr>
        </p:nvSpPr>
        <p:spPr/>
        <p:txBody>
          <a:bodyPr/>
          <a:lstStyle/>
          <a:p>
            <a:pPr lvl="0"/>
            <a:r>
              <a:rPr lang="de-DE" dirty="0"/>
              <a:t>Textmasterformate durch Klicken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Rectangle 1041">
            <a:extLst>
              <a:ext uri="{FF2B5EF4-FFF2-40B4-BE49-F238E27FC236}">
                <a16:creationId xmlns:a16="http://schemas.microsoft.com/office/drawing/2014/main" id="{60EBB929-8D23-437C-4CE2-682A8BC2F178}"/>
              </a:ext>
            </a:extLst>
          </p:cNvPr>
          <p:cNvSpPr>
            <a:spLocks noGrp="1" noChangeArrowheads="1"/>
          </p:cNvSpPr>
          <p:nvPr>
            <p:ph type="ftr" sz="quarter" idx="10"/>
          </p:nvPr>
        </p:nvSpPr>
        <p:spPr>
          <a:xfrm>
            <a:off x="627063" y="6310313"/>
            <a:ext cx="7007225" cy="215900"/>
          </a:xfrm>
          <a:prstGeom prst="rect">
            <a:avLst/>
          </a:prstGeom>
        </p:spPr>
        <p:txBody>
          <a:bodyPr vert="horz" wrap="square" lIns="91440" tIns="45720" rIns="91440" bIns="45720" numCol="1" anchor="t" anchorCtr="0" compatLnSpc="1">
            <a:prstTxWarp prst="textNoShape">
              <a:avLst/>
            </a:prstTxWarp>
          </a:bodyPr>
          <a:lstStyle>
            <a:lvl1pPr>
              <a:defRPr/>
            </a:lvl1pPr>
          </a:lstStyle>
          <a:p>
            <a:pPr>
              <a:defRPr/>
            </a:pPr>
            <a:r>
              <a:rPr lang="en-GB" altLang="de-DE"/>
              <a:t>Lecture: Interactions in Turbomachinery Rotordynamics - </a:t>
            </a:r>
            <a:fld id="{F47777F5-B2B5-4B5B-A876-EC1E7AF90E20}" type="datetime1">
              <a:rPr lang="en-GB" altLang="de-DE" smtClean="0"/>
              <a:pPr>
                <a:defRPr/>
              </a:pPr>
              <a:t>28/01/2024</a:t>
            </a:fld>
            <a:r>
              <a:rPr lang="en-GB" altLang="de-DE"/>
              <a:t> - P </a:t>
            </a:r>
            <a:fld id="{A06CABB1-754F-49BD-8A82-5D69CFD9FAA7}" type="slidenum">
              <a:rPr lang="en-GB" altLang="de-DE" smtClean="0"/>
              <a:pPr>
                <a:defRPr/>
              </a:pPr>
              <a:t>‹Nr.›</a:t>
            </a:fld>
            <a:endParaRPr lang="en-GB" altLang="de-DE"/>
          </a:p>
        </p:txBody>
      </p:sp>
    </p:spTree>
    <p:extLst>
      <p:ext uri="{BB962C8B-B14F-4D97-AF65-F5344CB8AC3E}">
        <p14:creationId xmlns:p14="http://schemas.microsoft.com/office/powerpoint/2010/main" val="159281900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blank" preserve="1">
  <p:cSld name="Leer">
    <p:spTree>
      <p:nvGrpSpPr>
        <p:cNvPr id="1" name=""/>
        <p:cNvGrpSpPr/>
        <p:nvPr/>
      </p:nvGrpSpPr>
      <p:grpSpPr>
        <a:xfrm>
          <a:off x="0" y="0"/>
          <a:ext cx="0" cy="0"/>
          <a:chOff x="0" y="0"/>
          <a:chExt cx="0" cy="0"/>
        </a:xfrm>
      </p:grpSpPr>
      <p:sp>
        <p:nvSpPr>
          <p:cNvPr id="2" name="Line 1039">
            <a:extLst>
              <a:ext uri="{FF2B5EF4-FFF2-40B4-BE49-F238E27FC236}">
                <a16:creationId xmlns:a16="http://schemas.microsoft.com/office/drawing/2014/main" id="{04E9B084-8697-4352-49DF-DB28A44BEFAE}"/>
              </a:ext>
            </a:extLst>
          </p:cNvPr>
          <p:cNvSpPr>
            <a:spLocks noChangeShapeType="1"/>
          </p:cNvSpPr>
          <p:nvPr userDrawn="1"/>
        </p:nvSpPr>
        <p:spPr bwMode="auto">
          <a:xfrm>
            <a:off x="465138" y="950913"/>
            <a:ext cx="11263312" cy="0"/>
          </a:xfrm>
          <a:prstGeom prst="line">
            <a:avLst/>
          </a:prstGeom>
          <a:noFill/>
          <a:ln w="12700">
            <a:solidFill>
              <a:srgbClr val="5F5F5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Tree>
    <p:extLst>
      <p:ext uri="{BB962C8B-B14F-4D97-AF65-F5344CB8AC3E}">
        <p14:creationId xmlns:p14="http://schemas.microsoft.com/office/powerpoint/2010/main" val="129416396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1_Leer">
    <p:spTree>
      <p:nvGrpSpPr>
        <p:cNvPr id="1" name=""/>
        <p:cNvGrpSpPr/>
        <p:nvPr/>
      </p:nvGrpSpPr>
      <p:grpSpPr>
        <a:xfrm>
          <a:off x="0" y="0"/>
          <a:ext cx="0" cy="0"/>
          <a:chOff x="0" y="0"/>
          <a:chExt cx="0" cy="0"/>
        </a:xfrm>
      </p:grpSpPr>
    </p:spTree>
    <p:extLst>
      <p:ext uri="{BB962C8B-B14F-4D97-AF65-F5344CB8AC3E}">
        <p14:creationId xmlns:p14="http://schemas.microsoft.com/office/powerpoint/2010/main" val="44586271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type="title">
  <p:cSld name="Titelfolie">
    <p:spTree>
      <p:nvGrpSpPr>
        <p:cNvPr id="1" name=""/>
        <p:cNvGrpSpPr/>
        <p:nvPr/>
      </p:nvGrpSpPr>
      <p:grpSpPr>
        <a:xfrm>
          <a:off x="0" y="0"/>
          <a:ext cx="0" cy="0"/>
          <a:chOff x="0" y="0"/>
          <a:chExt cx="0" cy="0"/>
        </a:xfrm>
      </p:grpSpPr>
      <p:sp>
        <p:nvSpPr>
          <p:cNvPr id="2" name="Rectangle 2">
            <a:extLst>
              <a:ext uri="{FF2B5EF4-FFF2-40B4-BE49-F238E27FC236}">
                <a16:creationId xmlns:a16="http://schemas.microsoft.com/office/drawing/2014/main" id="{2E32975F-1B7F-12A7-5C0A-C8D1172DC180}"/>
              </a:ext>
            </a:extLst>
          </p:cNvPr>
          <p:cNvSpPr>
            <a:spLocks noChangeArrowheads="1"/>
          </p:cNvSpPr>
          <p:nvPr/>
        </p:nvSpPr>
        <p:spPr bwMode="auto">
          <a:xfrm>
            <a:off x="334963" y="368300"/>
            <a:ext cx="11522075" cy="1868488"/>
          </a:xfrm>
          <a:prstGeom prst="rect">
            <a:avLst/>
          </a:prstGeom>
          <a:solidFill>
            <a:srgbClr val="243572"/>
          </a:solidFill>
          <a:ln>
            <a:noFill/>
          </a:ln>
        </p:spPr>
        <p:txBody>
          <a:bodyPr wrap="none" anchor="ctr"/>
          <a:lstStyle>
            <a:lvl1pPr eaLnBrk="0" hangingPunct="0">
              <a:defRPr b="1">
                <a:solidFill>
                  <a:schemeClr val="tx1"/>
                </a:solidFill>
                <a:latin typeface="Verdana" pitchFamily="34" charset="0"/>
              </a:defRPr>
            </a:lvl1pPr>
            <a:lvl2pPr marL="742950" indent="-285750" eaLnBrk="0" hangingPunct="0">
              <a:defRPr b="1">
                <a:solidFill>
                  <a:schemeClr val="tx1"/>
                </a:solidFill>
                <a:latin typeface="Verdana" pitchFamily="34" charset="0"/>
              </a:defRPr>
            </a:lvl2pPr>
            <a:lvl3pPr marL="1143000" indent="-228600" eaLnBrk="0" hangingPunct="0">
              <a:defRPr b="1">
                <a:solidFill>
                  <a:schemeClr val="tx1"/>
                </a:solidFill>
                <a:latin typeface="Verdana" pitchFamily="34" charset="0"/>
              </a:defRPr>
            </a:lvl3pPr>
            <a:lvl4pPr marL="1600200" indent="-228600" eaLnBrk="0" hangingPunct="0">
              <a:defRPr b="1">
                <a:solidFill>
                  <a:schemeClr val="tx1"/>
                </a:solidFill>
                <a:latin typeface="Verdana" pitchFamily="34" charset="0"/>
              </a:defRPr>
            </a:lvl4pPr>
            <a:lvl5pPr marL="2057400" indent="-228600" eaLnBrk="0" hangingPunct="0">
              <a:defRPr b="1">
                <a:solidFill>
                  <a:schemeClr val="tx1"/>
                </a:solidFill>
                <a:latin typeface="Verdana" pitchFamily="34" charset="0"/>
              </a:defRPr>
            </a:lvl5pPr>
            <a:lvl6pPr marL="2514600" indent="-228600" eaLnBrk="0" fontAlgn="base" hangingPunct="0">
              <a:spcBef>
                <a:spcPct val="0"/>
              </a:spcBef>
              <a:spcAft>
                <a:spcPct val="0"/>
              </a:spcAft>
              <a:defRPr b="1">
                <a:solidFill>
                  <a:schemeClr val="tx1"/>
                </a:solidFill>
                <a:latin typeface="Verdana" pitchFamily="34" charset="0"/>
              </a:defRPr>
            </a:lvl6pPr>
            <a:lvl7pPr marL="2971800" indent="-228600" eaLnBrk="0" fontAlgn="base" hangingPunct="0">
              <a:spcBef>
                <a:spcPct val="0"/>
              </a:spcBef>
              <a:spcAft>
                <a:spcPct val="0"/>
              </a:spcAft>
              <a:defRPr b="1">
                <a:solidFill>
                  <a:schemeClr val="tx1"/>
                </a:solidFill>
                <a:latin typeface="Verdana" pitchFamily="34" charset="0"/>
              </a:defRPr>
            </a:lvl7pPr>
            <a:lvl8pPr marL="3429000" indent="-228600" eaLnBrk="0" fontAlgn="base" hangingPunct="0">
              <a:spcBef>
                <a:spcPct val="0"/>
              </a:spcBef>
              <a:spcAft>
                <a:spcPct val="0"/>
              </a:spcAft>
              <a:defRPr b="1">
                <a:solidFill>
                  <a:schemeClr val="tx1"/>
                </a:solidFill>
                <a:latin typeface="Verdana" pitchFamily="34" charset="0"/>
              </a:defRPr>
            </a:lvl8pPr>
            <a:lvl9pPr marL="3886200" indent="-228600" eaLnBrk="0" fontAlgn="base" hangingPunct="0">
              <a:spcBef>
                <a:spcPct val="0"/>
              </a:spcBef>
              <a:spcAft>
                <a:spcPct val="0"/>
              </a:spcAft>
              <a:defRPr b="1">
                <a:solidFill>
                  <a:schemeClr val="tx1"/>
                </a:solidFill>
                <a:latin typeface="Verdana" pitchFamily="34" charset="0"/>
              </a:defRPr>
            </a:lvl9pPr>
          </a:lstStyle>
          <a:p>
            <a:pPr algn="ctr" eaLnBrk="1" hangingPunct="1">
              <a:defRPr/>
            </a:pPr>
            <a:endParaRPr lang="de-DE" altLang="de-DE"/>
          </a:p>
        </p:txBody>
      </p:sp>
      <p:sp>
        <p:nvSpPr>
          <p:cNvPr id="3" name="Rectangle 8">
            <a:extLst>
              <a:ext uri="{FF2B5EF4-FFF2-40B4-BE49-F238E27FC236}">
                <a16:creationId xmlns:a16="http://schemas.microsoft.com/office/drawing/2014/main" id="{2920B1A9-6A1D-EF0F-5CCC-F65C2DCA5F4C}"/>
              </a:ext>
            </a:extLst>
          </p:cNvPr>
          <p:cNvSpPr>
            <a:spLocks noChangeArrowheads="1"/>
          </p:cNvSpPr>
          <p:nvPr/>
        </p:nvSpPr>
        <p:spPr bwMode="auto">
          <a:xfrm>
            <a:off x="334963" y="196850"/>
            <a:ext cx="11522075" cy="144463"/>
          </a:xfrm>
          <a:prstGeom prst="rect">
            <a:avLst/>
          </a:prstGeom>
          <a:solidFill>
            <a:srgbClr val="243572"/>
          </a:solidFill>
          <a:ln>
            <a:noFill/>
          </a:ln>
        </p:spPr>
        <p:txBody>
          <a:bodyPr/>
          <a:lstStyle>
            <a:lvl1pPr eaLnBrk="0" hangingPunct="0">
              <a:defRPr b="1">
                <a:solidFill>
                  <a:schemeClr val="tx1"/>
                </a:solidFill>
                <a:latin typeface="Verdana" pitchFamily="34" charset="0"/>
              </a:defRPr>
            </a:lvl1pPr>
            <a:lvl2pPr marL="742950" indent="-285750" eaLnBrk="0" hangingPunct="0">
              <a:defRPr b="1">
                <a:solidFill>
                  <a:schemeClr val="tx1"/>
                </a:solidFill>
                <a:latin typeface="Verdana" pitchFamily="34" charset="0"/>
              </a:defRPr>
            </a:lvl2pPr>
            <a:lvl3pPr marL="1143000" indent="-228600" eaLnBrk="0" hangingPunct="0">
              <a:defRPr b="1">
                <a:solidFill>
                  <a:schemeClr val="tx1"/>
                </a:solidFill>
                <a:latin typeface="Verdana" pitchFamily="34" charset="0"/>
              </a:defRPr>
            </a:lvl3pPr>
            <a:lvl4pPr marL="1600200" indent="-228600" eaLnBrk="0" hangingPunct="0">
              <a:defRPr b="1">
                <a:solidFill>
                  <a:schemeClr val="tx1"/>
                </a:solidFill>
                <a:latin typeface="Verdana" pitchFamily="34" charset="0"/>
              </a:defRPr>
            </a:lvl4pPr>
            <a:lvl5pPr marL="2057400" indent="-228600" eaLnBrk="0" hangingPunct="0">
              <a:defRPr b="1">
                <a:solidFill>
                  <a:schemeClr val="tx1"/>
                </a:solidFill>
                <a:latin typeface="Verdana" pitchFamily="34" charset="0"/>
              </a:defRPr>
            </a:lvl5pPr>
            <a:lvl6pPr marL="2514600" indent="-228600" eaLnBrk="0" fontAlgn="base" hangingPunct="0">
              <a:spcBef>
                <a:spcPct val="0"/>
              </a:spcBef>
              <a:spcAft>
                <a:spcPct val="0"/>
              </a:spcAft>
              <a:defRPr b="1">
                <a:solidFill>
                  <a:schemeClr val="tx1"/>
                </a:solidFill>
                <a:latin typeface="Verdana" pitchFamily="34" charset="0"/>
              </a:defRPr>
            </a:lvl6pPr>
            <a:lvl7pPr marL="2971800" indent="-228600" eaLnBrk="0" fontAlgn="base" hangingPunct="0">
              <a:spcBef>
                <a:spcPct val="0"/>
              </a:spcBef>
              <a:spcAft>
                <a:spcPct val="0"/>
              </a:spcAft>
              <a:defRPr b="1">
                <a:solidFill>
                  <a:schemeClr val="tx1"/>
                </a:solidFill>
                <a:latin typeface="Verdana" pitchFamily="34" charset="0"/>
              </a:defRPr>
            </a:lvl7pPr>
            <a:lvl8pPr marL="3429000" indent="-228600" eaLnBrk="0" fontAlgn="base" hangingPunct="0">
              <a:spcBef>
                <a:spcPct val="0"/>
              </a:spcBef>
              <a:spcAft>
                <a:spcPct val="0"/>
              </a:spcAft>
              <a:defRPr b="1">
                <a:solidFill>
                  <a:schemeClr val="tx1"/>
                </a:solidFill>
                <a:latin typeface="Verdana" pitchFamily="34" charset="0"/>
              </a:defRPr>
            </a:lvl8pPr>
            <a:lvl9pPr marL="3886200" indent="-228600" eaLnBrk="0" fontAlgn="base" hangingPunct="0">
              <a:spcBef>
                <a:spcPct val="0"/>
              </a:spcBef>
              <a:spcAft>
                <a:spcPct val="0"/>
              </a:spcAft>
              <a:defRPr b="1">
                <a:solidFill>
                  <a:schemeClr val="tx1"/>
                </a:solidFill>
                <a:latin typeface="Verdana" pitchFamily="34" charset="0"/>
              </a:defRPr>
            </a:lvl9pPr>
          </a:lstStyle>
          <a:p>
            <a:pPr eaLnBrk="1" hangingPunct="1">
              <a:defRPr/>
            </a:pPr>
            <a:endParaRPr lang="de-DE" altLang="de-DE"/>
          </a:p>
        </p:txBody>
      </p:sp>
      <p:pic>
        <p:nvPicPr>
          <p:cNvPr id="4" name="Picture 9" descr="tud_logo">
            <a:extLst>
              <a:ext uri="{FF2B5EF4-FFF2-40B4-BE49-F238E27FC236}">
                <a16:creationId xmlns:a16="http://schemas.microsoft.com/office/drawing/2014/main" id="{194BFEDC-AF69-9F53-53EC-5E0B5E0A4EE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r="5453"/>
          <a:stretch>
            <a:fillRect/>
          </a:stretch>
        </p:blipFill>
        <p:spPr bwMode="auto">
          <a:xfrm>
            <a:off x="9563100" y="500063"/>
            <a:ext cx="2497138" cy="792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Line 11">
            <a:extLst>
              <a:ext uri="{FF2B5EF4-FFF2-40B4-BE49-F238E27FC236}">
                <a16:creationId xmlns:a16="http://schemas.microsoft.com/office/drawing/2014/main" id="{BB19A541-CFAB-E33A-E3CA-716B92C9369C}"/>
              </a:ext>
            </a:extLst>
          </p:cNvPr>
          <p:cNvSpPr>
            <a:spLocks noChangeShapeType="1"/>
          </p:cNvSpPr>
          <p:nvPr/>
        </p:nvSpPr>
        <p:spPr bwMode="auto">
          <a:xfrm>
            <a:off x="336550" y="6489700"/>
            <a:ext cx="11520488" cy="0"/>
          </a:xfrm>
          <a:prstGeom prst="line">
            <a:avLst/>
          </a:prstGeom>
          <a:noFill/>
          <a:ln w="7620">
            <a:solidFill>
              <a:srgbClr val="000000"/>
            </a:solidFill>
            <a:round/>
            <a:headEnd/>
            <a:tailEnd/>
          </a:ln>
          <a:extLst>
            <a:ext uri="{909E8E84-426E-40DD-AFC4-6F175D3DCCD1}">
              <a14:hiddenFill xmlns:a14="http://schemas.microsoft.com/office/drawing/2010/main">
                <a:noFill/>
              </a14:hiddenFill>
            </a:ext>
          </a:extLst>
        </p:spPr>
        <p:txBody>
          <a:bodyPr/>
          <a:lstStyle/>
          <a:p>
            <a:endParaRPr lang="de-DE"/>
          </a:p>
        </p:txBody>
      </p:sp>
      <p:sp>
        <p:nvSpPr>
          <p:cNvPr id="6" name="Line 15">
            <a:extLst>
              <a:ext uri="{FF2B5EF4-FFF2-40B4-BE49-F238E27FC236}">
                <a16:creationId xmlns:a16="http://schemas.microsoft.com/office/drawing/2014/main" id="{CA9F6D2F-468C-8B42-3F10-D5FC420A3A7B}"/>
              </a:ext>
            </a:extLst>
          </p:cNvPr>
          <p:cNvSpPr>
            <a:spLocks noChangeShapeType="1"/>
          </p:cNvSpPr>
          <p:nvPr/>
        </p:nvSpPr>
        <p:spPr bwMode="auto">
          <a:xfrm>
            <a:off x="336550" y="6489700"/>
            <a:ext cx="11520488" cy="0"/>
          </a:xfrm>
          <a:prstGeom prst="line">
            <a:avLst/>
          </a:prstGeom>
          <a:noFill/>
          <a:ln w="7620">
            <a:solidFill>
              <a:srgbClr val="000000"/>
            </a:solidFill>
            <a:round/>
            <a:headEnd/>
            <a:tailEnd/>
          </a:ln>
          <a:extLst>
            <a:ext uri="{909E8E84-426E-40DD-AFC4-6F175D3DCCD1}">
              <a14:hiddenFill xmlns:a14="http://schemas.microsoft.com/office/drawing/2010/main">
                <a:noFill/>
              </a14:hiddenFill>
            </a:ext>
          </a:extLst>
        </p:spPr>
        <p:txBody>
          <a:bodyPr/>
          <a:lstStyle/>
          <a:p>
            <a:endParaRPr lang="de-DE"/>
          </a:p>
        </p:txBody>
      </p:sp>
      <p:sp>
        <p:nvSpPr>
          <p:cNvPr id="7" name="Rectangle 18">
            <a:extLst>
              <a:ext uri="{FF2B5EF4-FFF2-40B4-BE49-F238E27FC236}">
                <a16:creationId xmlns:a16="http://schemas.microsoft.com/office/drawing/2014/main" id="{8D451400-ACC6-0408-A6C3-23B928CDB0C2}"/>
              </a:ext>
            </a:extLst>
          </p:cNvPr>
          <p:cNvSpPr>
            <a:spLocks noChangeArrowheads="1"/>
          </p:cNvSpPr>
          <p:nvPr/>
        </p:nvSpPr>
        <p:spPr bwMode="auto">
          <a:xfrm>
            <a:off x="334963" y="360363"/>
            <a:ext cx="11520487" cy="14287"/>
          </a:xfrm>
          <a:prstGeom prst="rect">
            <a:avLst/>
          </a:prstGeom>
          <a:solidFill>
            <a:srgbClr val="000000"/>
          </a:solidFill>
          <a:ln>
            <a:noFill/>
          </a:ln>
        </p:spPr>
        <p:txBody>
          <a:bodyPr wrap="none" anchor="ctr"/>
          <a:lstStyle>
            <a:lvl1pPr eaLnBrk="0" hangingPunct="0">
              <a:defRPr b="1">
                <a:solidFill>
                  <a:schemeClr val="tx1"/>
                </a:solidFill>
                <a:latin typeface="Verdana" pitchFamily="34" charset="0"/>
              </a:defRPr>
            </a:lvl1pPr>
            <a:lvl2pPr marL="742950" indent="-285750" eaLnBrk="0" hangingPunct="0">
              <a:defRPr b="1">
                <a:solidFill>
                  <a:schemeClr val="tx1"/>
                </a:solidFill>
                <a:latin typeface="Verdana" pitchFamily="34" charset="0"/>
              </a:defRPr>
            </a:lvl2pPr>
            <a:lvl3pPr marL="1143000" indent="-228600" eaLnBrk="0" hangingPunct="0">
              <a:defRPr b="1">
                <a:solidFill>
                  <a:schemeClr val="tx1"/>
                </a:solidFill>
                <a:latin typeface="Verdana" pitchFamily="34" charset="0"/>
              </a:defRPr>
            </a:lvl3pPr>
            <a:lvl4pPr marL="1600200" indent="-228600" eaLnBrk="0" hangingPunct="0">
              <a:defRPr b="1">
                <a:solidFill>
                  <a:schemeClr val="tx1"/>
                </a:solidFill>
                <a:latin typeface="Verdana" pitchFamily="34" charset="0"/>
              </a:defRPr>
            </a:lvl4pPr>
            <a:lvl5pPr marL="2057400" indent="-228600" eaLnBrk="0" hangingPunct="0">
              <a:defRPr b="1">
                <a:solidFill>
                  <a:schemeClr val="tx1"/>
                </a:solidFill>
                <a:latin typeface="Verdana" pitchFamily="34" charset="0"/>
              </a:defRPr>
            </a:lvl5pPr>
            <a:lvl6pPr marL="2514600" indent="-228600" eaLnBrk="0" fontAlgn="base" hangingPunct="0">
              <a:spcBef>
                <a:spcPct val="0"/>
              </a:spcBef>
              <a:spcAft>
                <a:spcPct val="0"/>
              </a:spcAft>
              <a:defRPr b="1">
                <a:solidFill>
                  <a:schemeClr val="tx1"/>
                </a:solidFill>
                <a:latin typeface="Verdana" pitchFamily="34" charset="0"/>
              </a:defRPr>
            </a:lvl6pPr>
            <a:lvl7pPr marL="2971800" indent="-228600" eaLnBrk="0" fontAlgn="base" hangingPunct="0">
              <a:spcBef>
                <a:spcPct val="0"/>
              </a:spcBef>
              <a:spcAft>
                <a:spcPct val="0"/>
              </a:spcAft>
              <a:defRPr b="1">
                <a:solidFill>
                  <a:schemeClr val="tx1"/>
                </a:solidFill>
                <a:latin typeface="Verdana" pitchFamily="34" charset="0"/>
              </a:defRPr>
            </a:lvl7pPr>
            <a:lvl8pPr marL="3429000" indent="-228600" eaLnBrk="0" fontAlgn="base" hangingPunct="0">
              <a:spcBef>
                <a:spcPct val="0"/>
              </a:spcBef>
              <a:spcAft>
                <a:spcPct val="0"/>
              </a:spcAft>
              <a:defRPr b="1">
                <a:solidFill>
                  <a:schemeClr val="tx1"/>
                </a:solidFill>
                <a:latin typeface="Verdana" pitchFamily="34" charset="0"/>
              </a:defRPr>
            </a:lvl8pPr>
            <a:lvl9pPr marL="3886200" indent="-228600" eaLnBrk="0" fontAlgn="base" hangingPunct="0">
              <a:spcBef>
                <a:spcPct val="0"/>
              </a:spcBef>
              <a:spcAft>
                <a:spcPct val="0"/>
              </a:spcAft>
              <a:defRPr b="1">
                <a:solidFill>
                  <a:schemeClr val="tx1"/>
                </a:solidFill>
                <a:latin typeface="Verdana" pitchFamily="34" charset="0"/>
              </a:defRPr>
            </a:lvl9pPr>
          </a:lstStyle>
          <a:p>
            <a:pPr eaLnBrk="1" hangingPunct="1">
              <a:defRPr/>
            </a:pPr>
            <a:endParaRPr lang="de-DE" altLang="de-DE"/>
          </a:p>
        </p:txBody>
      </p:sp>
      <p:sp>
        <p:nvSpPr>
          <p:cNvPr id="8" name="Rectangle 19">
            <a:extLst>
              <a:ext uri="{FF2B5EF4-FFF2-40B4-BE49-F238E27FC236}">
                <a16:creationId xmlns:a16="http://schemas.microsoft.com/office/drawing/2014/main" id="{C4CA4ABB-CDE7-9841-E742-2C06BD460FB6}"/>
              </a:ext>
            </a:extLst>
          </p:cNvPr>
          <p:cNvSpPr>
            <a:spLocks noChangeArrowheads="1"/>
          </p:cNvSpPr>
          <p:nvPr/>
        </p:nvSpPr>
        <p:spPr bwMode="auto">
          <a:xfrm>
            <a:off x="334963" y="2239963"/>
            <a:ext cx="11520487" cy="7937"/>
          </a:xfrm>
          <a:prstGeom prst="rect">
            <a:avLst/>
          </a:prstGeom>
          <a:solidFill>
            <a:srgbClr val="000000"/>
          </a:solidFill>
          <a:ln>
            <a:noFill/>
          </a:ln>
        </p:spPr>
        <p:txBody>
          <a:bodyPr wrap="none" anchor="ctr"/>
          <a:lstStyle>
            <a:lvl1pPr eaLnBrk="0" hangingPunct="0">
              <a:defRPr b="1">
                <a:solidFill>
                  <a:schemeClr val="tx1"/>
                </a:solidFill>
                <a:latin typeface="Verdana" pitchFamily="34" charset="0"/>
              </a:defRPr>
            </a:lvl1pPr>
            <a:lvl2pPr marL="742950" indent="-285750" eaLnBrk="0" hangingPunct="0">
              <a:defRPr b="1">
                <a:solidFill>
                  <a:schemeClr val="tx1"/>
                </a:solidFill>
                <a:latin typeface="Verdana" pitchFamily="34" charset="0"/>
              </a:defRPr>
            </a:lvl2pPr>
            <a:lvl3pPr marL="1143000" indent="-228600" eaLnBrk="0" hangingPunct="0">
              <a:defRPr b="1">
                <a:solidFill>
                  <a:schemeClr val="tx1"/>
                </a:solidFill>
                <a:latin typeface="Verdana" pitchFamily="34" charset="0"/>
              </a:defRPr>
            </a:lvl3pPr>
            <a:lvl4pPr marL="1600200" indent="-228600" eaLnBrk="0" hangingPunct="0">
              <a:defRPr b="1">
                <a:solidFill>
                  <a:schemeClr val="tx1"/>
                </a:solidFill>
                <a:latin typeface="Verdana" pitchFamily="34" charset="0"/>
              </a:defRPr>
            </a:lvl4pPr>
            <a:lvl5pPr marL="2057400" indent="-228600" eaLnBrk="0" hangingPunct="0">
              <a:defRPr b="1">
                <a:solidFill>
                  <a:schemeClr val="tx1"/>
                </a:solidFill>
                <a:latin typeface="Verdana" pitchFamily="34" charset="0"/>
              </a:defRPr>
            </a:lvl5pPr>
            <a:lvl6pPr marL="2514600" indent="-228600" eaLnBrk="0" fontAlgn="base" hangingPunct="0">
              <a:spcBef>
                <a:spcPct val="0"/>
              </a:spcBef>
              <a:spcAft>
                <a:spcPct val="0"/>
              </a:spcAft>
              <a:defRPr b="1">
                <a:solidFill>
                  <a:schemeClr val="tx1"/>
                </a:solidFill>
                <a:latin typeface="Verdana" pitchFamily="34" charset="0"/>
              </a:defRPr>
            </a:lvl6pPr>
            <a:lvl7pPr marL="2971800" indent="-228600" eaLnBrk="0" fontAlgn="base" hangingPunct="0">
              <a:spcBef>
                <a:spcPct val="0"/>
              </a:spcBef>
              <a:spcAft>
                <a:spcPct val="0"/>
              </a:spcAft>
              <a:defRPr b="1">
                <a:solidFill>
                  <a:schemeClr val="tx1"/>
                </a:solidFill>
                <a:latin typeface="Verdana" pitchFamily="34" charset="0"/>
              </a:defRPr>
            </a:lvl7pPr>
            <a:lvl8pPr marL="3429000" indent="-228600" eaLnBrk="0" fontAlgn="base" hangingPunct="0">
              <a:spcBef>
                <a:spcPct val="0"/>
              </a:spcBef>
              <a:spcAft>
                <a:spcPct val="0"/>
              </a:spcAft>
              <a:defRPr b="1">
                <a:solidFill>
                  <a:schemeClr val="tx1"/>
                </a:solidFill>
                <a:latin typeface="Verdana" pitchFamily="34" charset="0"/>
              </a:defRPr>
            </a:lvl8pPr>
            <a:lvl9pPr marL="3886200" indent="-228600" eaLnBrk="0" fontAlgn="base" hangingPunct="0">
              <a:spcBef>
                <a:spcPct val="0"/>
              </a:spcBef>
              <a:spcAft>
                <a:spcPct val="0"/>
              </a:spcAft>
              <a:defRPr b="1">
                <a:solidFill>
                  <a:schemeClr val="tx1"/>
                </a:solidFill>
                <a:latin typeface="Verdana" pitchFamily="34" charset="0"/>
              </a:defRPr>
            </a:lvl9pPr>
          </a:lstStyle>
          <a:p>
            <a:pPr eaLnBrk="1" hangingPunct="1">
              <a:defRPr/>
            </a:pPr>
            <a:endParaRPr lang="de-DE" altLang="de-DE"/>
          </a:p>
        </p:txBody>
      </p:sp>
      <p:pic>
        <p:nvPicPr>
          <p:cNvPr id="9" name="Grafik 13" descr="MIM_logo_10x10_web.gif">
            <a:extLst>
              <a:ext uri="{FF2B5EF4-FFF2-40B4-BE49-F238E27FC236}">
                <a16:creationId xmlns:a16="http://schemas.microsoft.com/office/drawing/2014/main" id="{6B0B3AF1-A910-1A74-EA56-4E288C573E8E}"/>
              </a:ext>
            </a:extLst>
          </p:cNvPr>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0953750" y="6010275"/>
            <a:ext cx="1106488" cy="830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7043" name="Rectangle 3"/>
          <p:cNvSpPr>
            <a:spLocks noGrp="1" noChangeArrowheads="1"/>
          </p:cNvSpPr>
          <p:nvPr>
            <p:ph type="ctrTitle"/>
          </p:nvPr>
        </p:nvSpPr>
        <p:spPr>
          <a:xfrm>
            <a:off x="478367" y="534967"/>
            <a:ext cx="8978900" cy="577850"/>
          </a:xfrm>
        </p:spPr>
        <p:txBody>
          <a:bodyPr anchor="t"/>
          <a:lstStyle>
            <a:lvl1pPr>
              <a:defRPr sz="2800">
                <a:solidFill>
                  <a:schemeClr val="bg1"/>
                </a:solidFill>
              </a:defRPr>
            </a:lvl1pPr>
          </a:lstStyle>
          <a:p>
            <a:r>
              <a:rPr lang="de-DE" dirty="0"/>
              <a:t>Titelmasterformat durch Klicken bearbeiten</a:t>
            </a:r>
          </a:p>
        </p:txBody>
      </p:sp>
      <p:sp>
        <p:nvSpPr>
          <p:cNvPr id="87044" name="Rectangle 4"/>
          <p:cNvSpPr>
            <a:spLocks noGrp="1" noChangeArrowheads="1"/>
          </p:cNvSpPr>
          <p:nvPr>
            <p:ph type="subTitle" idx="1"/>
          </p:nvPr>
        </p:nvSpPr>
        <p:spPr>
          <a:xfrm>
            <a:off x="478367" y="1292205"/>
            <a:ext cx="8978900" cy="944562"/>
          </a:xfrm>
        </p:spPr>
        <p:txBody>
          <a:bodyPr/>
          <a:lstStyle>
            <a:lvl1pPr marL="0" indent="0">
              <a:spcBef>
                <a:spcPct val="0"/>
              </a:spcBef>
              <a:buFont typeface="Wingdings" pitchFamily="2" charset="2"/>
              <a:buNone/>
              <a:defRPr b="1">
                <a:solidFill>
                  <a:schemeClr val="bg1"/>
                </a:solidFill>
              </a:defRPr>
            </a:lvl1pPr>
          </a:lstStyle>
          <a:p>
            <a:r>
              <a:rPr lang="de-DE" dirty="0"/>
              <a:t>Formatvorlage des Untertitelmasters durch Klicken bearbeiten</a:t>
            </a:r>
          </a:p>
        </p:txBody>
      </p:sp>
    </p:spTree>
    <p:extLst>
      <p:ext uri="{BB962C8B-B14F-4D97-AF65-F5344CB8AC3E}">
        <p14:creationId xmlns:p14="http://schemas.microsoft.com/office/powerpoint/2010/main" val="323302574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a:xfrm>
            <a:off x="478367" y="559974"/>
            <a:ext cx="9169400" cy="838200"/>
          </a:xfrm>
        </p:spPr>
        <p:txBody>
          <a:bodyPr anchor="t"/>
          <a:lstStyle>
            <a:lvl1pPr>
              <a:defRPr sz="2000"/>
            </a:lvl1pPr>
          </a:lstStyle>
          <a:p>
            <a:r>
              <a:rPr lang="de-DE" dirty="0"/>
              <a:t>Titelmasterformat durch Klicken bearbeiten</a:t>
            </a:r>
          </a:p>
        </p:txBody>
      </p:sp>
      <p:sp>
        <p:nvSpPr>
          <p:cNvPr id="3" name="Inhaltsplatzhalter 2"/>
          <p:cNvSpPr>
            <a:spLocks noGrp="1"/>
          </p:cNvSpPr>
          <p:nvPr>
            <p:ph idx="1"/>
          </p:nvPr>
        </p:nvSpPr>
        <p:spPr/>
        <p:txBody>
          <a:bodyPr/>
          <a:lstStyle/>
          <a:p>
            <a:pPr lvl="0"/>
            <a:r>
              <a:rPr lang="de-DE" dirty="0"/>
              <a:t>Textmasterformate durch Klicken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Rectangle 1041">
            <a:extLst>
              <a:ext uri="{FF2B5EF4-FFF2-40B4-BE49-F238E27FC236}">
                <a16:creationId xmlns:a16="http://schemas.microsoft.com/office/drawing/2014/main" id="{CC2DD6E3-989A-3198-3573-CC6DE2A0F84C}"/>
              </a:ext>
            </a:extLst>
          </p:cNvPr>
          <p:cNvSpPr>
            <a:spLocks noGrp="1" noChangeArrowheads="1"/>
          </p:cNvSpPr>
          <p:nvPr>
            <p:ph type="ftr" sz="quarter" idx="10"/>
          </p:nvPr>
        </p:nvSpPr>
        <p:spPr>
          <a:xfrm>
            <a:off x="627063" y="6310313"/>
            <a:ext cx="7007225" cy="215900"/>
          </a:xfrm>
          <a:prstGeom prst="rect">
            <a:avLst/>
          </a:prstGeom>
        </p:spPr>
        <p:txBody>
          <a:bodyPr vert="horz" wrap="square" lIns="91440" tIns="45720" rIns="91440" bIns="45720" numCol="1" anchor="t" anchorCtr="0" compatLnSpc="1">
            <a:prstTxWarp prst="textNoShape">
              <a:avLst/>
            </a:prstTxWarp>
          </a:bodyPr>
          <a:lstStyle>
            <a:lvl1pPr eaLnBrk="1" hangingPunct="1">
              <a:defRPr/>
            </a:lvl1pPr>
          </a:lstStyle>
          <a:p>
            <a:pPr>
              <a:defRPr/>
            </a:pPr>
            <a:r>
              <a:rPr lang="en-GB" altLang="de-DE"/>
              <a:t>Lecture: Interactions in Turbomachinery Rotordynamics - </a:t>
            </a:r>
            <a:fld id="{3A8710CE-48C9-4EC5-9B71-806A9DE276CE}" type="datetime1">
              <a:rPr lang="en-GB" altLang="de-DE" smtClean="0"/>
              <a:pPr>
                <a:defRPr/>
              </a:pPr>
              <a:t>28/01/2024</a:t>
            </a:fld>
            <a:r>
              <a:rPr lang="en-GB" altLang="de-DE"/>
              <a:t> - P </a:t>
            </a:r>
            <a:fld id="{DD684A77-9D13-41CE-9CB2-C5E0890E5485}" type="slidenum">
              <a:rPr lang="en-GB" altLang="de-DE" smtClean="0"/>
              <a:pPr>
                <a:defRPr/>
              </a:pPr>
              <a:t>‹Nr.›</a:t>
            </a:fld>
            <a:endParaRPr lang="en-GB" altLang="de-DE"/>
          </a:p>
        </p:txBody>
      </p:sp>
    </p:spTree>
    <p:extLst>
      <p:ext uri="{BB962C8B-B14F-4D97-AF65-F5344CB8AC3E}">
        <p14:creationId xmlns:p14="http://schemas.microsoft.com/office/powerpoint/2010/main" val="29250889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type="blank" preserve="1">
  <p:cSld name="Leer">
    <p:spTree>
      <p:nvGrpSpPr>
        <p:cNvPr id="1" name=""/>
        <p:cNvGrpSpPr/>
        <p:nvPr/>
      </p:nvGrpSpPr>
      <p:grpSpPr>
        <a:xfrm>
          <a:off x="0" y="0"/>
          <a:ext cx="0" cy="0"/>
          <a:chOff x="0" y="0"/>
          <a:chExt cx="0" cy="0"/>
        </a:xfrm>
      </p:grpSpPr>
      <p:sp>
        <p:nvSpPr>
          <p:cNvPr id="2" name="Line 1039">
            <a:extLst>
              <a:ext uri="{FF2B5EF4-FFF2-40B4-BE49-F238E27FC236}">
                <a16:creationId xmlns:a16="http://schemas.microsoft.com/office/drawing/2014/main" id="{B70BD4E2-BCC3-18F7-D8FB-673164A2D837}"/>
              </a:ext>
            </a:extLst>
          </p:cNvPr>
          <p:cNvSpPr>
            <a:spLocks noChangeShapeType="1"/>
          </p:cNvSpPr>
          <p:nvPr userDrawn="1"/>
        </p:nvSpPr>
        <p:spPr bwMode="auto">
          <a:xfrm>
            <a:off x="465138" y="950913"/>
            <a:ext cx="11263312" cy="0"/>
          </a:xfrm>
          <a:prstGeom prst="line">
            <a:avLst/>
          </a:prstGeom>
          <a:noFill/>
          <a:ln w="12700">
            <a:solidFill>
              <a:srgbClr val="5F5F5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Tree>
    <p:extLst>
      <p:ext uri="{BB962C8B-B14F-4D97-AF65-F5344CB8AC3E}">
        <p14:creationId xmlns:p14="http://schemas.microsoft.com/office/powerpoint/2010/main" val="128863121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1_Leer">
    <p:spTree>
      <p:nvGrpSpPr>
        <p:cNvPr id="1" name=""/>
        <p:cNvGrpSpPr/>
        <p:nvPr/>
      </p:nvGrpSpPr>
      <p:grpSpPr>
        <a:xfrm>
          <a:off x="0" y="0"/>
          <a:ext cx="0" cy="0"/>
          <a:chOff x="0" y="0"/>
          <a:chExt cx="0" cy="0"/>
        </a:xfrm>
      </p:grpSpPr>
    </p:spTree>
    <p:extLst>
      <p:ext uri="{BB962C8B-B14F-4D97-AF65-F5344CB8AC3E}">
        <p14:creationId xmlns:p14="http://schemas.microsoft.com/office/powerpoint/2010/main" val="160546767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blank" preserve="1">
  <p:cSld name="Leer">
    <p:spTree>
      <p:nvGrpSpPr>
        <p:cNvPr id="1" name=""/>
        <p:cNvGrpSpPr/>
        <p:nvPr/>
      </p:nvGrpSpPr>
      <p:grpSpPr>
        <a:xfrm>
          <a:off x="0" y="0"/>
          <a:ext cx="0" cy="0"/>
          <a:chOff x="0" y="0"/>
          <a:chExt cx="0" cy="0"/>
        </a:xfrm>
      </p:grpSpPr>
      <p:sp>
        <p:nvSpPr>
          <p:cNvPr id="2" name="Line 1039">
            <a:extLst>
              <a:ext uri="{FF2B5EF4-FFF2-40B4-BE49-F238E27FC236}">
                <a16:creationId xmlns:a16="http://schemas.microsoft.com/office/drawing/2014/main" id="{3A5F4805-6EA9-E251-F4C6-FC973E061E9B}"/>
              </a:ext>
            </a:extLst>
          </p:cNvPr>
          <p:cNvSpPr>
            <a:spLocks noChangeShapeType="1"/>
          </p:cNvSpPr>
          <p:nvPr userDrawn="1"/>
        </p:nvSpPr>
        <p:spPr bwMode="auto">
          <a:xfrm>
            <a:off x="465138" y="950913"/>
            <a:ext cx="11263312" cy="0"/>
          </a:xfrm>
          <a:prstGeom prst="line">
            <a:avLst/>
          </a:prstGeom>
          <a:noFill/>
          <a:ln w="12700">
            <a:solidFill>
              <a:srgbClr val="5F5F5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Tree>
    <p:extLst>
      <p:ext uri="{BB962C8B-B14F-4D97-AF65-F5344CB8AC3E}">
        <p14:creationId xmlns:p14="http://schemas.microsoft.com/office/powerpoint/2010/main" val="245835611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type="title">
  <p:cSld name="Titelfolie">
    <p:spTree>
      <p:nvGrpSpPr>
        <p:cNvPr id="1" name=""/>
        <p:cNvGrpSpPr/>
        <p:nvPr/>
      </p:nvGrpSpPr>
      <p:grpSpPr>
        <a:xfrm>
          <a:off x="0" y="0"/>
          <a:ext cx="0" cy="0"/>
          <a:chOff x="0" y="0"/>
          <a:chExt cx="0" cy="0"/>
        </a:xfrm>
      </p:grpSpPr>
      <p:sp>
        <p:nvSpPr>
          <p:cNvPr id="2" name="Rectangle 2">
            <a:extLst>
              <a:ext uri="{FF2B5EF4-FFF2-40B4-BE49-F238E27FC236}">
                <a16:creationId xmlns:a16="http://schemas.microsoft.com/office/drawing/2014/main" id="{A372342C-7212-6FC1-25A1-7FA3995BD6DD}"/>
              </a:ext>
            </a:extLst>
          </p:cNvPr>
          <p:cNvSpPr>
            <a:spLocks noChangeArrowheads="1"/>
          </p:cNvSpPr>
          <p:nvPr/>
        </p:nvSpPr>
        <p:spPr bwMode="auto">
          <a:xfrm>
            <a:off x="334963" y="368300"/>
            <a:ext cx="11522075" cy="1868488"/>
          </a:xfrm>
          <a:prstGeom prst="rect">
            <a:avLst/>
          </a:prstGeom>
          <a:solidFill>
            <a:srgbClr val="243572"/>
          </a:solidFill>
          <a:ln>
            <a:noFill/>
          </a:ln>
        </p:spPr>
        <p:txBody>
          <a:bodyPr wrap="none" anchor="ctr"/>
          <a:lstStyle>
            <a:lvl1pPr eaLnBrk="0" hangingPunct="0">
              <a:defRPr b="1">
                <a:solidFill>
                  <a:schemeClr val="tx1"/>
                </a:solidFill>
                <a:latin typeface="Verdana" pitchFamily="34" charset="0"/>
              </a:defRPr>
            </a:lvl1pPr>
            <a:lvl2pPr marL="742950" indent="-285750" eaLnBrk="0" hangingPunct="0">
              <a:defRPr b="1">
                <a:solidFill>
                  <a:schemeClr val="tx1"/>
                </a:solidFill>
                <a:latin typeface="Verdana" pitchFamily="34" charset="0"/>
              </a:defRPr>
            </a:lvl2pPr>
            <a:lvl3pPr marL="1143000" indent="-228600" eaLnBrk="0" hangingPunct="0">
              <a:defRPr b="1">
                <a:solidFill>
                  <a:schemeClr val="tx1"/>
                </a:solidFill>
                <a:latin typeface="Verdana" pitchFamily="34" charset="0"/>
              </a:defRPr>
            </a:lvl3pPr>
            <a:lvl4pPr marL="1600200" indent="-228600" eaLnBrk="0" hangingPunct="0">
              <a:defRPr b="1">
                <a:solidFill>
                  <a:schemeClr val="tx1"/>
                </a:solidFill>
                <a:latin typeface="Verdana" pitchFamily="34" charset="0"/>
              </a:defRPr>
            </a:lvl4pPr>
            <a:lvl5pPr marL="2057400" indent="-228600" eaLnBrk="0" hangingPunct="0">
              <a:defRPr b="1">
                <a:solidFill>
                  <a:schemeClr val="tx1"/>
                </a:solidFill>
                <a:latin typeface="Verdana" pitchFamily="34" charset="0"/>
              </a:defRPr>
            </a:lvl5pPr>
            <a:lvl6pPr marL="2514600" indent="-228600" eaLnBrk="0" fontAlgn="base" hangingPunct="0">
              <a:spcBef>
                <a:spcPct val="0"/>
              </a:spcBef>
              <a:spcAft>
                <a:spcPct val="0"/>
              </a:spcAft>
              <a:defRPr b="1">
                <a:solidFill>
                  <a:schemeClr val="tx1"/>
                </a:solidFill>
                <a:latin typeface="Verdana" pitchFamily="34" charset="0"/>
              </a:defRPr>
            </a:lvl6pPr>
            <a:lvl7pPr marL="2971800" indent="-228600" eaLnBrk="0" fontAlgn="base" hangingPunct="0">
              <a:spcBef>
                <a:spcPct val="0"/>
              </a:spcBef>
              <a:spcAft>
                <a:spcPct val="0"/>
              </a:spcAft>
              <a:defRPr b="1">
                <a:solidFill>
                  <a:schemeClr val="tx1"/>
                </a:solidFill>
                <a:latin typeface="Verdana" pitchFamily="34" charset="0"/>
              </a:defRPr>
            </a:lvl7pPr>
            <a:lvl8pPr marL="3429000" indent="-228600" eaLnBrk="0" fontAlgn="base" hangingPunct="0">
              <a:spcBef>
                <a:spcPct val="0"/>
              </a:spcBef>
              <a:spcAft>
                <a:spcPct val="0"/>
              </a:spcAft>
              <a:defRPr b="1">
                <a:solidFill>
                  <a:schemeClr val="tx1"/>
                </a:solidFill>
                <a:latin typeface="Verdana" pitchFamily="34" charset="0"/>
              </a:defRPr>
            </a:lvl8pPr>
            <a:lvl9pPr marL="3886200" indent="-228600" eaLnBrk="0" fontAlgn="base" hangingPunct="0">
              <a:spcBef>
                <a:spcPct val="0"/>
              </a:spcBef>
              <a:spcAft>
                <a:spcPct val="0"/>
              </a:spcAft>
              <a:defRPr b="1">
                <a:solidFill>
                  <a:schemeClr val="tx1"/>
                </a:solidFill>
                <a:latin typeface="Verdana" pitchFamily="34" charset="0"/>
              </a:defRPr>
            </a:lvl9pPr>
          </a:lstStyle>
          <a:p>
            <a:pPr algn="ctr" eaLnBrk="1" hangingPunct="1">
              <a:defRPr/>
            </a:pPr>
            <a:endParaRPr lang="de-DE" altLang="de-DE"/>
          </a:p>
        </p:txBody>
      </p:sp>
      <p:sp>
        <p:nvSpPr>
          <p:cNvPr id="3" name="Rectangle 8">
            <a:extLst>
              <a:ext uri="{FF2B5EF4-FFF2-40B4-BE49-F238E27FC236}">
                <a16:creationId xmlns:a16="http://schemas.microsoft.com/office/drawing/2014/main" id="{A990BCF6-9C5D-9C63-9A70-379BFE70ECFF}"/>
              </a:ext>
            </a:extLst>
          </p:cNvPr>
          <p:cNvSpPr>
            <a:spLocks noChangeArrowheads="1"/>
          </p:cNvSpPr>
          <p:nvPr/>
        </p:nvSpPr>
        <p:spPr bwMode="auto">
          <a:xfrm>
            <a:off x="334963" y="196850"/>
            <a:ext cx="11522075" cy="144463"/>
          </a:xfrm>
          <a:prstGeom prst="rect">
            <a:avLst/>
          </a:prstGeom>
          <a:solidFill>
            <a:srgbClr val="243572"/>
          </a:solidFill>
          <a:ln>
            <a:noFill/>
          </a:ln>
        </p:spPr>
        <p:txBody>
          <a:bodyPr/>
          <a:lstStyle>
            <a:lvl1pPr eaLnBrk="0" hangingPunct="0">
              <a:defRPr b="1">
                <a:solidFill>
                  <a:schemeClr val="tx1"/>
                </a:solidFill>
                <a:latin typeface="Verdana" pitchFamily="34" charset="0"/>
              </a:defRPr>
            </a:lvl1pPr>
            <a:lvl2pPr marL="742950" indent="-285750" eaLnBrk="0" hangingPunct="0">
              <a:defRPr b="1">
                <a:solidFill>
                  <a:schemeClr val="tx1"/>
                </a:solidFill>
                <a:latin typeface="Verdana" pitchFamily="34" charset="0"/>
              </a:defRPr>
            </a:lvl2pPr>
            <a:lvl3pPr marL="1143000" indent="-228600" eaLnBrk="0" hangingPunct="0">
              <a:defRPr b="1">
                <a:solidFill>
                  <a:schemeClr val="tx1"/>
                </a:solidFill>
                <a:latin typeface="Verdana" pitchFamily="34" charset="0"/>
              </a:defRPr>
            </a:lvl3pPr>
            <a:lvl4pPr marL="1600200" indent="-228600" eaLnBrk="0" hangingPunct="0">
              <a:defRPr b="1">
                <a:solidFill>
                  <a:schemeClr val="tx1"/>
                </a:solidFill>
                <a:latin typeface="Verdana" pitchFamily="34" charset="0"/>
              </a:defRPr>
            </a:lvl4pPr>
            <a:lvl5pPr marL="2057400" indent="-228600" eaLnBrk="0" hangingPunct="0">
              <a:defRPr b="1">
                <a:solidFill>
                  <a:schemeClr val="tx1"/>
                </a:solidFill>
                <a:latin typeface="Verdana" pitchFamily="34" charset="0"/>
              </a:defRPr>
            </a:lvl5pPr>
            <a:lvl6pPr marL="2514600" indent="-228600" eaLnBrk="0" fontAlgn="base" hangingPunct="0">
              <a:spcBef>
                <a:spcPct val="0"/>
              </a:spcBef>
              <a:spcAft>
                <a:spcPct val="0"/>
              </a:spcAft>
              <a:defRPr b="1">
                <a:solidFill>
                  <a:schemeClr val="tx1"/>
                </a:solidFill>
                <a:latin typeface="Verdana" pitchFamily="34" charset="0"/>
              </a:defRPr>
            </a:lvl6pPr>
            <a:lvl7pPr marL="2971800" indent="-228600" eaLnBrk="0" fontAlgn="base" hangingPunct="0">
              <a:spcBef>
                <a:spcPct val="0"/>
              </a:spcBef>
              <a:spcAft>
                <a:spcPct val="0"/>
              </a:spcAft>
              <a:defRPr b="1">
                <a:solidFill>
                  <a:schemeClr val="tx1"/>
                </a:solidFill>
                <a:latin typeface="Verdana" pitchFamily="34" charset="0"/>
              </a:defRPr>
            </a:lvl7pPr>
            <a:lvl8pPr marL="3429000" indent="-228600" eaLnBrk="0" fontAlgn="base" hangingPunct="0">
              <a:spcBef>
                <a:spcPct val="0"/>
              </a:spcBef>
              <a:spcAft>
                <a:spcPct val="0"/>
              </a:spcAft>
              <a:defRPr b="1">
                <a:solidFill>
                  <a:schemeClr val="tx1"/>
                </a:solidFill>
                <a:latin typeface="Verdana" pitchFamily="34" charset="0"/>
              </a:defRPr>
            </a:lvl8pPr>
            <a:lvl9pPr marL="3886200" indent="-228600" eaLnBrk="0" fontAlgn="base" hangingPunct="0">
              <a:spcBef>
                <a:spcPct val="0"/>
              </a:spcBef>
              <a:spcAft>
                <a:spcPct val="0"/>
              </a:spcAft>
              <a:defRPr b="1">
                <a:solidFill>
                  <a:schemeClr val="tx1"/>
                </a:solidFill>
                <a:latin typeface="Verdana" pitchFamily="34" charset="0"/>
              </a:defRPr>
            </a:lvl9pPr>
          </a:lstStyle>
          <a:p>
            <a:pPr eaLnBrk="1" hangingPunct="1">
              <a:defRPr/>
            </a:pPr>
            <a:endParaRPr lang="de-DE" altLang="de-DE"/>
          </a:p>
        </p:txBody>
      </p:sp>
      <p:pic>
        <p:nvPicPr>
          <p:cNvPr id="4" name="Picture 9" descr="tud_logo">
            <a:extLst>
              <a:ext uri="{FF2B5EF4-FFF2-40B4-BE49-F238E27FC236}">
                <a16:creationId xmlns:a16="http://schemas.microsoft.com/office/drawing/2014/main" id="{9FAB1DFC-34AC-2353-A157-1E19AFF2278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r="5453"/>
          <a:stretch>
            <a:fillRect/>
          </a:stretch>
        </p:blipFill>
        <p:spPr bwMode="auto">
          <a:xfrm>
            <a:off x="9563100" y="500063"/>
            <a:ext cx="2497138" cy="792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Line 11">
            <a:extLst>
              <a:ext uri="{FF2B5EF4-FFF2-40B4-BE49-F238E27FC236}">
                <a16:creationId xmlns:a16="http://schemas.microsoft.com/office/drawing/2014/main" id="{08EDAC9A-DC27-E7C6-DECF-EBB926EC2316}"/>
              </a:ext>
            </a:extLst>
          </p:cNvPr>
          <p:cNvSpPr>
            <a:spLocks noChangeShapeType="1"/>
          </p:cNvSpPr>
          <p:nvPr/>
        </p:nvSpPr>
        <p:spPr bwMode="auto">
          <a:xfrm>
            <a:off x="336550" y="6489700"/>
            <a:ext cx="11520488" cy="0"/>
          </a:xfrm>
          <a:prstGeom prst="line">
            <a:avLst/>
          </a:prstGeom>
          <a:noFill/>
          <a:ln w="7620">
            <a:solidFill>
              <a:srgbClr val="000000"/>
            </a:solidFill>
            <a:round/>
            <a:headEnd/>
            <a:tailEnd/>
          </a:ln>
          <a:extLst>
            <a:ext uri="{909E8E84-426E-40DD-AFC4-6F175D3DCCD1}">
              <a14:hiddenFill xmlns:a14="http://schemas.microsoft.com/office/drawing/2010/main">
                <a:noFill/>
              </a14:hiddenFill>
            </a:ext>
          </a:extLst>
        </p:spPr>
        <p:txBody>
          <a:bodyPr/>
          <a:lstStyle/>
          <a:p>
            <a:endParaRPr lang="de-DE"/>
          </a:p>
        </p:txBody>
      </p:sp>
      <p:sp>
        <p:nvSpPr>
          <p:cNvPr id="6" name="Line 15">
            <a:extLst>
              <a:ext uri="{FF2B5EF4-FFF2-40B4-BE49-F238E27FC236}">
                <a16:creationId xmlns:a16="http://schemas.microsoft.com/office/drawing/2014/main" id="{A6EE715E-B892-79B1-BDCD-FE5EB378DD09}"/>
              </a:ext>
            </a:extLst>
          </p:cNvPr>
          <p:cNvSpPr>
            <a:spLocks noChangeShapeType="1"/>
          </p:cNvSpPr>
          <p:nvPr/>
        </p:nvSpPr>
        <p:spPr bwMode="auto">
          <a:xfrm>
            <a:off x="336550" y="6489700"/>
            <a:ext cx="11520488" cy="0"/>
          </a:xfrm>
          <a:prstGeom prst="line">
            <a:avLst/>
          </a:prstGeom>
          <a:noFill/>
          <a:ln w="7620">
            <a:solidFill>
              <a:srgbClr val="000000"/>
            </a:solidFill>
            <a:round/>
            <a:headEnd/>
            <a:tailEnd/>
          </a:ln>
          <a:extLst>
            <a:ext uri="{909E8E84-426E-40DD-AFC4-6F175D3DCCD1}">
              <a14:hiddenFill xmlns:a14="http://schemas.microsoft.com/office/drawing/2010/main">
                <a:noFill/>
              </a14:hiddenFill>
            </a:ext>
          </a:extLst>
        </p:spPr>
        <p:txBody>
          <a:bodyPr/>
          <a:lstStyle/>
          <a:p>
            <a:endParaRPr lang="de-DE"/>
          </a:p>
        </p:txBody>
      </p:sp>
      <p:sp>
        <p:nvSpPr>
          <p:cNvPr id="7" name="Rectangle 18">
            <a:extLst>
              <a:ext uri="{FF2B5EF4-FFF2-40B4-BE49-F238E27FC236}">
                <a16:creationId xmlns:a16="http://schemas.microsoft.com/office/drawing/2014/main" id="{9E575653-AE86-1506-4E3E-E18D5F9349B0}"/>
              </a:ext>
            </a:extLst>
          </p:cNvPr>
          <p:cNvSpPr>
            <a:spLocks noChangeArrowheads="1"/>
          </p:cNvSpPr>
          <p:nvPr/>
        </p:nvSpPr>
        <p:spPr bwMode="auto">
          <a:xfrm>
            <a:off x="334963" y="360363"/>
            <a:ext cx="11520487" cy="14287"/>
          </a:xfrm>
          <a:prstGeom prst="rect">
            <a:avLst/>
          </a:prstGeom>
          <a:solidFill>
            <a:srgbClr val="000000"/>
          </a:solidFill>
          <a:ln>
            <a:noFill/>
          </a:ln>
        </p:spPr>
        <p:txBody>
          <a:bodyPr wrap="none" anchor="ctr"/>
          <a:lstStyle>
            <a:lvl1pPr eaLnBrk="0" hangingPunct="0">
              <a:defRPr b="1">
                <a:solidFill>
                  <a:schemeClr val="tx1"/>
                </a:solidFill>
                <a:latin typeface="Verdana" pitchFamily="34" charset="0"/>
              </a:defRPr>
            </a:lvl1pPr>
            <a:lvl2pPr marL="742950" indent="-285750" eaLnBrk="0" hangingPunct="0">
              <a:defRPr b="1">
                <a:solidFill>
                  <a:schemeClr val="tx1"/>
                </a:solidFill>
                <a:latin typeface="Verdana" pitchFamily="34" charset="0"/>
              </a:defRPr>
            </a:lvl2pPr>
            <a:lvl3pPr marL="1143000" indent="-228600" eaLnBrk="0" hangingPunct="0">
              <a:defRPr b="1">
                <a:solidFill>
                  <a:schemeClr val="tx1"/>
                </a:solidFill>
                <a:latin typeface="Verdana" pitchFamily="34" charset="0"/>
              </a:defRPr>
            </a:lvl3pPr>
            <a:lvl4pPr marL="1600200" indent="-228600" eaLnBrk="0" hangingPunct="0">
              <a:defRPr b="1">
                <a:solidFill>
                  <a:schemeClr val="tx1"/>
                </a:solidFill>
                <a:latin typeface="Verdana" pitchFamily="34" charset="0"/>
              </a:defRPr>
            </a:lvl4pPr>
            <a:lvl5pPr marL="2057400" indent="-228600" eaLnBrk="0" hangingPunct="0">
              <a:defRPr b="1">
                <a:solidFill>
                  <a:schemeClr val="tx1"/>
                </a:solidFill>
                <a:latin typeface="Verdana" pitchFamily="34" charset="0"/>
              </a:defRPr>
            </a:lvl5pPr>
            <a:lvl6pPr marL="2514600" indent="-228600" eaLnBrk="0" fontAlgn="base" hangingPunct="0">
              <a:spcBef>
                <a:spcPct val="0"/>
              </a:spcBef>
              <a:spcAft>
                <a:spcPct val="0"/>
              </a:spcAft>
              <a:defRPr b="1">
                <a:solidFill>
                  <a:schemeClr val="tx1"/>
                </a:solidFill>
                <a:latin typeface="Verdana" pitchFamily="34" charset="0"/>
              </a:defRPr>
            </a:lvl6pPr>
            <a:lvl7pPr marL="2971800" indent="-228600" eaLnBrk="0" fontAlgn="base" hangingPunct="0">
              <a:spcBef>
                <a:spcPct val="0"/>
              </a:spcBef>
              <a:spcAft>
                <a:spcPct val="0"/>
              </a:spcAft>
              <a:defRPr b="1">
                <a:solidFill>
                  <a:schemeClr val="tx1"/>
                </a:solidFill>
                <a:latin typeface="Verdana" pitchFamily="34" charset="0"/>
              </a:defRPr>
            </a:lvl7pPr>
            <a:lvl8pPr marL="3429000" indent="-228600" eaLnBrk="0" fontAlgn="base" hangingPunct="0">
              <a:spcBef>
                <a:spcPct val="0"/>
              </a:spcBef>
              <a:spcAft>
                <a:spcPct val="0"/>
              </a:spcAft>
              <a:defRPr b="1">
                <a:solidFill>
                  <a:schemeClr val="tx1"/>
                </a:solidFill>
                <a:latin typeface="Verdana" pitchFamily="34" charset="0"/>
              </a:defRPr>
            </a:lvl8pPr>
            <a:lvl9pPr marL="3886200" indent="-228600" eaLnBrk="0" fontAlgn="base" hangingPunct="0">
              <a:spcBef>
                <a:spcPct val="0"/>
              </a:spcBef>
              <a:spcAft>
                <a:spcPct val="0"/>
              </a:spcAft>
              <a:defRPr b="1">
                <a:solidFill>
                  <a:schemeClr val="tx1"/>
                </a:solidFill>
                <a:latin typeface="Verdana" pitchFamily="34" charset="0"/>
              </a:defRPr>
            </a:lvl9pPr>
          </a:lstStyle>
          <a:p>
            <a:pPr eaLnBrk="1" hangingPunct="1">
              <a:defRPr/>
            </a:pPr>
            <a:endParaRPr lang="de-DE" altLang="de-DE"/>
          </a:p>
        </p:txBody>
      </p:sp>
      <p:sp>
        <p:nvSpPr>
          <p:cNvPr id="8" name="Rectangle 19">
            <a:extLst>
              <a:ext uri="{FF2B5EF4-FFF2-40B4-BE49-F238E27FC236}">
                <a16:creationId xmlns:a16="http://schemas.microsoft.com/office/drawing/2014/main" id="{AB901BD2-E299-73AF-89AE-685D57746D5A}"/>
              </a:ext>
            </a:extLst>
          </p:cNvPr>
          <p:cNvSpPr>
            <a:spLocks noChangeArrowheads="1"/>
          </p:cNvSpPr>
          <p:nvPr/>
        </p:nvSpPr>
        <p:spPr bwMode="auto">
          <a:xfrm>
            <a:off x="334963" y="2239963"/>
            <a:ext cx="11520487" cy="7937"/>
          </a:xfrm>
          <a:prstGeom prst="rect">
            <a:avLst/>
          </a:prstGeom>
          <a:solidFill>
            <a:srgbClr val="000000"/>
          </a:solidFill>
          <a:ln>
            <a:noFill/>
          </a:ln>
        </p:spPr>
        <p:txBody>
          <a:bodyPr wrap="none" anchor="ctr"/>
          <a:lstStyle>
            <a:lvl1pPr eaLnBrk="0" hangingPunct="0">
              <a:defRPr b="1">
                <a:solidFill>
                  <a:schemeClr val="tx1"/>
                </a:solidFill>
                <a:latin typeface="Verdana" pitchFamily="34" charset="0"/>
              </a:defRPr>
            </a:lvl1pPr>
            <a:lvl2pPr marL="742950" indent="-285750" eaLnBrk="0" hangingPunct="0">
              <a:defRPr b="1">
                <a:solidFill>
                  <a:schemeClr val="tx1"/>
                </a:solidFill>
                <a:latin typeface="Verdana" pitchFamily="34" charset="0"/>
              </a:defRPr>
            </a:lvl2pPr>
            <a:lvl3pPr marL="1143000" indent="-228600" eaLnBrk="0" hangingPunct="0">
              <a:defRPr b="1">
                <a:solidFill>
                  <a:schemeClr val="tx1"/>
                </a:solidFill>
                <a:latin typeface="Verdana" pitchFamily="34" charset="0"/>
              </a:defRPr>
            </a:lvl3pPr>
            <a:lvl4pPr marL="1600200" indent="-228600" eaLnBrk="0" hangingPunct="0">
              <a:defRPr b="1">
                <a:solidFill>
                  <a:schemeClr val="tx1"/>
                </a:solidFill>
                <a:latin typeface="Verdana" pitchFamily="34" charset="0"/>
              </a:defRPr>
            </a:lvl4pPr>
            <a:lvl5pPr marL="2057400" indent="-228600" eaLnBrk="0" hangingPunct="0">
              <a:defRPr b="1">
                <a:solidFill>
                  <a:schemeClr val="tx1"/>
                </a:solidFill>
                <a:latin typeface="Verdana" pitchFamily="34" charset="0"/>
              </a:defRPr>
            </a:lvl5pPr>
            <a:lvl6pPr marL="2514600" indent="-228600" eaLnBrk="0" fontAlgn="base" hangingPunct="0">
              <a:spcBef>
                <a:spcPct val="0"/>
              </a:spcBef>
              <a:spcAft>
                <a:spcPct val="0"/>
              </a:spcAft>
              <a:defRPr b="1">
                <a:solidFill>
                  <a:schemeClr val="tx1"/>
                </a:solidFill>
                <a:latin typeface="Verdana" pitchFamily="34" charset="0"/>
              </a:defRPr>
            </a:lvl6pPr>
            <a:lvl7pPr marL="2971800" indent="-228600" eaLnBrk="0" fontAlgn="base" hangingPunct="0">
              <a:spcBef>
                <a:spcPct val="0"/>
              </a:spcBef>
              <a:spcAft>
                <a:spcPct val="0"/>
              </a:spcAft>
              <a:defRPr b="1">
                <a:solidFill>
                  <a:schemeClr val="tx1"/>
                </a:solidFill>
                <a:latin typeface="Verdana" pitchFamily="34" charset="0"/>
              </a:defRPr>
            </a:lvl7pPr>
            <a:lvl8pPr marL="3429000" indent="-228600" eaLnBrk="0" fontAlgn="base" hangingPunct="0">
              <a:spcBef>
                <a:spcPct val="0"/>
              </a:spcBef>
              <a:spcAft>
                <a:spcPct val="0"/>
              </a:spcAft>
              <a:defRPr b="1">
                <a:solidFill>
                  <a:schemeClr val="tx1"/>
                </a:solidFill>
                <a:latin typeface="Verdana" pitchFamily="34" charset="0"/>
              </a:defRPr>
            </a:lvl8pPr>
            <a:lvl9pPr marL="3886200" indent="-228600" eaLnBrk="0" fontAlgn="base" hangingPunct="0">
              <a:spcBef>
                <a:spcPct val="0"/>
              </a:spcBef>
              <a:spcAft>
                <a:spcPct val="0"/>
              </a:spcAft>
              <a:defRPr b="1">
                <a:solidFill>
                  <a:schemeClr val="tx1"/>
                </a:solidFill>
                <a:latin typeface="Verdana" pitchFamily="34" charset="0"/>
              </a:defRPr>
            </a:lvl9pPr>
          </a:lstStyle>
          <a:p>
            <a:pPr eaLnBrk="1" hangingPunct="1">
              <a:defRPr/>
            </a:pPr>
            <a:endParaRPr lang="de-DE" altLang="de-DE"/>
          </a:p>
        </p:txBody>
      </p:sp>
      <p:sp>
        <p:nvSpPr>
          <p:cNvPr id="87043" name="Rectangle 3"/>
          <p:cNvSpPr>
            <a:spLocks noGrp="1" noChangeArrowheads="1"/>
          </p:cNvSpPr>
          <p:nvPr>
            <p:ph type="ctrTitle"/>
          </p:nvPr>
        </p:nvSpPr>
        <p:spPr>
          <a:xfrm>
            <a:off x="478367" y="534967"/>
            <a:ext cx="8978900" cy="577850"/>
          </a:xfrm>
        </p:spPr>
        <p:txBody>
          <a:bodyPr anchor="t"/>
          <a:lstStyle>
            <a:lvl1pPr>
              <a:defRPr sz="2800">
                <a:solidFill>
                  <a:schemeClr val="bg1"/>
                </a:solidFill>
              </a:defRPr>
            </a:lvl1pPr>
          </a:lstStyle>
          <a:p>
            <a:r>
              <a:rPr lang="de-DE" dirty="0"/>
              <a:t>Titelmasterformat durch Klicken bearbeiten</a:t>
            </a:r>
          </a:p>
        </p:txBody>
      </p:sp>
      <p:sp>
        <p:nvSpPr>
          <p:cNvPr id="87044" name="Rectangle 4"/>
          <p:cNvSpPr>
            <a:spLocks noGrp="1" noChangeArrowheads="1"/>
          </p:cNvSpPr>
          <p:nvPr>
            <p:ph type="subTitle" idx="1"/>
          </p:nvPr>
        </p:nvSpPr>
        <p:spPr>
          <a:xfrm>
            <a:off x="478367" y="1292205"/>
            <a:ext cx="8978900" cy="944562"/>
          </a:xfrm>
        </p:spPr>
        <p:txBody>
          <a:bodyPr/>
          <a:lstStyle>
            <a:lvl1pPr marL="0" indent="0">
              <a:spcBef>
                <a:spcPct val="0"/>
              </a:spcBef>
              <a:buFont typeface="Wingdings" pitchFamily="2" charset="2"/>
              <a:buNone/>
              <a:defRPr b="1">
                <a:solidFill>
                  <a:schemeClr val="bg1"/>
                </a:solidFill>
              </a:defRPr>
            </a:lvl1pPr>
          </a:lstStyle>
          <a:p>
            <a:r>
              <a:rPr lang="de-DE" dirty="0"/>
              <a:t>Formatvorlage des Untertitelmasters durch Klicken bearbeiten</a:t>
            </a:r>
          </a:p>
        </p:txBody>
      </p:sp>
    </p:spTree>
    <p:extLst>
      <p:ext uri="{BB962C8B-B14F-4D97-AF65-F5344CB8AC3E}">
        <p14:creationId xmlns:p14="http://schemas.microsoft.com/office/powerpoint/2010/main" val="411453931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sp>
        <p:nvSpPr>
          <p:cNvPr id="2" name="Titel 1"/>
          <p:cNvSpPr>
            <a:spLocks noGrp="1"/>
          </p:cNvSpPr>
          <p:nvPr>
            <p:ph type="ctrTitle"/>
          </p:nvPr>
        </p:nvSpPr>
        <p:spPr>
          <a:xfrm>
            <a:off x="914400" y="2130426"/>
            <a:ext cx="10363200" cy="1470025"/>
          </a:xfrm>
          <a:prstGeom prst="rect">
            <a:avLst/>
          </a:prstGeom>
        </p:spPr>
        <p:txBody>
          <a:bodyPr/>
          <a:lstStyle/>
          <a:p>
            <a:r>
              <a:rPr lang="de-DE"/>
              <a:t>Titelmasterformat durch Klicken bearbeiten</a:t>
            </a:r>
          </a:p>
        </p:txBody>
      </p:sp>
      <p:sp>
        <p:nvSpPr>
          <p:cNvPr id="3" name="Untertitel 2"/>
          <p:cNvSpPr>
            <a:spLocks noGrp="1"/>
          </p:cNvSpPr>
          <p:nvPr>
            <p:ph type="subTitle" idx="1"/>
          </p:nvPr>
        </p:nvSpPr>
        <p:spPr>
          <a:xfrm>
            <a:off x="1828800" y="3886200"/>
            <a:ext cx="8534400" cy="1752600"/>
          </a:xfrm>
          <a:prstGeom prst="rect">
            <a:avLst/>
          </a:prstGeo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de-DE"/>
              <a:t>Formatvorlage des Untertitelmasters durch Klicken bearbeiten</a:t>
            </a:r>
          </a:p>
        </p:txBody>
      </p:sp>
    </p:spTree>
    <p:extLst>
      <p:ext uri="{BB962C8B-B14F-4D97-AF65-F5344CB8AC3E}">
        <p14:creationId xmlns:p14="http://schemas.microsoft.com/office/powerpoint/2010/main" val="159481750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a:xfrm>
            <a:off x="609600" y="274638"/>
            <a:ext cx="10972800" cy="1143000"/>
          </a:xfrm>
          <a:prstGeom prst="rect">
            <a:avLst/>
          </a:prstGeom>
        </p:spPr>
        <p:txBody>
          <a:bodyPr/>
          <a:lstStyle/>
          <a:p>
            <a:r>
              <a:rPr lang="de-DE"/>
              <a:t>Titelmasterformat durch Klicken bearbeiten</a:t>
            </a:r>
          </a:p>
        </p:txBody>
      </p:sp>
      <p:sp>
        <p:nvSpPr>
          <p:cNvPr id="3" name="Inhaltsplatzhalter 2"/>
          <p:cNvSpPr>
            <a:spLocks noGrp="1"/>
          </p:cNvSpPr>
          <p:nvPr>
            <p:ph idx="1"/>
          </p:nvPr>
        </p:nvSpPr>
        <p:spPr>
          <a:xfrm>
            <a:off x="609600" y="1600201"/>
            <a:ext cx="10972800" cy="4525963"/>
          </a:xfrm>
          <a:prstGeom prst="rect">
            <a:avLst/>
          </a:prstGeo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309225527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963084" y="4406901"/>
            <a:ext cx="10363200" cy="1362075"/>
          </a:xfrm>
          <a:prstGeom prst="rect">
            <a:avLst/>
          </a:prstGeom>
        </p:spPr>
        <p:txBody>
          <a:bodyPr anchor="t"/>
          <a:lstStyle>
            <a:lvl1pPr algn="l">
              <a:defRPr sz="4000" b="1" cap="all"/>
            </a:lvl1pPr>
          </a:lstStyle>
          <a:p>
            <a:r>
              <a:rPr lang="de-DE"/>
              <a:t>Titelmasterformat durch Klicken bearbeiten</a:t>
            </a:r>
          </a:p>
        </p:txBody>
      </p:sp>
      <p:sp>
        <p:nvSpPr>
          <p:cNvPr id="3" name="Textplatzhalter 2"/>
          <p:cNvSpPr>
            <a:spLocks noGrp="1"/>
          </p:cNvSpPr>
          <p:nvPr>
            <p:ph type="body" idx="1"/>
          </p:nvPr>
        </p:nvSpPr>
        <p:spPr>
          <a:xfrm>
            <a:off x="963084" y="2906713"/>
            <a:ext cx="10363200" cy="1500187"/>
          </a:xfrm>
          <a:prstGeom prst="rect">
            <a:avLst/>
          </a:prstGeo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de-DE"/>
              <a:t>Textmasterformat bearbeiten</a:t>
            </a:r>
          </a:p>
        </p:txBody>
      </p:sp>
    </p:spTree>
    <p:extLst>
      <p:ext uri="{BB962C8B-B14F-4D97-AF65-F5344CB8AC3E}">
        <p14:creationId xmlns:p14="http://schemas.microsoft.com/office/powerpoint/2010/main" val="258244011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a:xfrm>
            <a:off x="609600" y="274638"/>
            <a:ext cx="10972800" cy="1143000"/>
          </a:xfrm>
          <a:prstGeom prst="rect">
            <a:avLst/>
          </a:prstGeom>
        </p:spPr>
        <p:txBody>
          <a:bodyPr/>
          <a:lstStyle/>
          <a:p>
            <a:r>
              <a:rPr lang="de-DE"/>
              <a:t>Titelmasterformat durch Klicken bearbeiten</a:t>
            </a:r>
          </a:p>
        </p:txBody>
      </p:sp>
      <p:sp>
        <p:nvSpPr>
          <p:cNvPr id="3" name="Inhaltsplatzhalter 2"/>
          <p:cNvSpPr>
            <a:spLocks noGrp="1"/>
          </p:cNvSpPr>
          <p:nvPr>
            <p:ph sz="half" idx="1"/>
          </p:nvPr>
        </p:nvSpPr>
        <p:spPr>
          <a:xfrm>
            <a:off x="609600" y="1600201"/>
            <a:ext cx="53848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p:cNvSpPr>
            <a:spLocks noGrp="1"/>
          </p:cNvSpPr>
          <p:nvPr>
            <p:ph sz="half" idx="2"/>
          </p:nvPr>
        </p:nvSpPr>
        <p:spPr>
          <a:xfrm>
            <a:off x="6197600" y="1600201"/>
            <a:ext cx="53848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130123947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p:cNvSpPr>
            <a:spLocks noGrp="1"/>
          </p:cNvSpPr>
          <p:nvPr>
            <p:ph type="title"/>
          </p:nvPr>
        </p:nvSpPr>
        <p:spPr>
          <a:xfrm>
            <a:off x="609600" y="274638"/>
            <a:ext cx="10972800" cy="1143000"/>
          </a:xfrm>
          <a:prstGeom prst="rect">
            <a:avLst/>
          </a:prstGeom>
        </p:spPr>
        <p:txBody>
          <a:bodyPr/>
          <a:lstStyle>
            <a:lvl1pPr>
              <a:defRPr/>
            </a:lvl1pPr>
          </a:lstStyle>
          <a:p>
            <a:r>
              <a:rPr lang="de-DE"/>
              <a:t>Titelmasterformat durch Klicken bearbeiten</a:t>
            </a:r>
          </a:p>
        </p:txBody>
      </p:sp>
      <p:sp>
        <p:nvSpPr>
          <p:cNvPr id="3" name="Textplatzhalter 2"/>
          <p:cNvSpPr>
            <a:spLocks noGrp="1"/>
          </p:cNvSpPr>
          <p:nvPr>
            <p:ph type="body" idx="1"/>
          </p:nvPr>
        </p:nvSpPr>
        <p:spPr>
          <a:xfrm>
            <a:off x="609600" y="1535113"/>
            <a:ext cx="5386917"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Textmasterformat bearbeiten</a:t>
            </a:r>
          </a:p>
        </p:txBody>
      </p:sp>
      <p:sp>
        <p:nvSpPr>
          <p:cNvPr id="4" name="Inhaltsplatzhalter 3"/>
          <p:cNvSpPr>
            <a:spLocks noGrp="1"/>
          </p:cNvSpPr>
          <p:nvPr>
            <p:ph sz="half" idx="2"/>
          </p:nvPr>
        </p:nvSpPr>
        <p:spPr>
          <a:xfrm>
            <a:off x="609600" y="2174875"/>
            <a:ext cx="5386917"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5" name="Textplatzhalter 4"/>
          <p:cNvSpPr>
            <a:spLocks noGrp="1"/>
          </p:cNvSpPr>
          <p:nvPr>
            <p:ph type="body" sz="quarter" idx="3"/>
          </p:nvPr>
        </p:nvSpPr>
        <p:spPr>
          <a:xfrm>
            <a:off x="6193368" y="1535113"/>
            <a:ext cx="5389033"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Textmasterformat bearbeiten</a:t>
            </a:r>
          </a:p>
        </p:txBody>
      </p:sp>
      <p:sp>
        <p:nvSpPr>
          <p:cNvPr id="6" name="Inhaltsplatzhalter 5"/>
          <p:cNvSpPr>
            <a:spLocks noGrp="1"/>
          </p:cNvSpPr>
          <p:nvPr>
            <p:ph sz="quarter" idx="4"/>
          </p:nvPr>
        </p:nvSpPr>
        <p:spPr>
          <a:xfrm>
            <a:off x="6193368" y="2174875"/>
            <a:ext cx="5389033"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29298495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a:xfrm>
            <a:off x="609600" y="274638"/>
            <a:ext cx="10972800" cy="1143000"/>
          </a:xfrm>
          <a:prstGeom prst="rect">
            <a:avLst/>
          </a:prstGeom>
        </p:spPr>
        <p:txBody>
          <a:bodyPr/>
          <a:lstStyle/>
          <a:p>
            <a:r>
              <a:rPr lang="de-DE"/>
              <a:t>Titelmasterformat durch Klicken bearbeiten</a:t>
            </a:r>
          </a:p>
        </p:txBody>
      </p:sp>
    </p:spTree>
    <p:extLst>
      <p:ext uri="{BB962C8B-B14F-4D97-AF65-F5344CB8AC3E}">
        <p14:creationId xmlns:p14="http://schemas.microsoft.com/office/powerpoint/2010/main" val="22803287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Tree>
    <p:extLst>
      <p:ext uri="{BB962C8B-B14F-4D97-AF65-F5344CB8AC3E}">
        <p14:creationId xmlns:p14="http://schemas.microsoft.com/office/powerpoint/2010/main" val="265710986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609601" y="273050"/>
            <a:ext cx="4011084" cy="1162050"/>
          </a:xfrm>
          <a:prstGeom prst="rect">
            <a:avLst/>
          </a:prstGeom>
        </p:spPr>
        <p:txBody>
          <a:bodyPr anchor="b"/>
          <a:lstStyle>
            <a:lvl1pPr algn="l">
              <a:defRPr sz="2000" b="1"/>
            </a:lvl1pPr>
          </a:lstStyle>
          <a:p>
            <a:r>
              <a:rPr lang="de-DE"/>
              <a:t>Titelmasterformat durch Klicken bearbeiten</a:t>
            </a:r>
          </a:p>
        </p:txBody>
      </p:sp>
      <p:sp>
        <p:nvSpPr>
          <p:cNvPr id="3" name="Inhaltsplatzhalter 2"/>
          <p:cNvSpPr>
            <a:spLocks noGrp="1"/>
          </p:cNvSpPr>
          <p:nvPr>
            <p:ph idx="1"/>
          </p:nvPr>
        </p:nvSpPr>
        <p:spPr>
          <a:xfrm>
            <a:off x="4766733" y="273051"/>
            <a:ext cx="6815667" cy="58531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Textplatzhalter 3"/>
          <p:cNvSpPr>
            <a:spLocks noGrp="1"/>
          </p:cNvSpPr>
          <p:nvPr>
            <p:ph type="body" sz="half" idx="2"/>
          </p:nvPr>
        </p:nvSpPr>
        <p:spPr>
          <a:xfrm>
            <a:off x="609601" y="1435101"/>
            <a:ext cx="4011084"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a:t>Textmasterformat bearbeiten</a:t>
            </a:r>
          </a:p>
        </p:txBody>
      </p:sp>
    </p:spTree>
    <p:extLst>
      <p:ext uri="{BB962C8B-B14F-4D97-AF65-F5344CB8AC3E}">
        <p14:creationId xmlns:p14="http://schemas.microsoft.com/office/powerpoint/2010/main" val="54765700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2389717" y="4800600"/>
            <a:ext cx="7315200" cy="566738"/>
          </a:xfrm>
          <a:prstGeom prst="rect">
            <a:avLst/>
          </a:prstGeom>
        </p:spPr>
        <p:txBody>
          <a:bodyPr anchor="b"/>
          <a:lstStyle>
            <a:lvl1pPr algn="l">
              <a:defRPr sz="2000" b="1"/>
            </a:lvl1pPr>
          </a:lstStyle>
          <a:p>
            <a:r>
              <a:rPr lang="de-DE"/>
              <a:t>Titelmasterformat durch Klicken bearbeiten</a:t>
            </a:r>
          </a:p>
        </p:txBody>
      </p:sp>
      <p:sp>
        <p:nvSpPr>
          <p:cNvPr id="3" name="Bildplatzhalter 2"/>
          <p:cNvSpPr>
            <a:spLocks noGrp="1"/>
          </p:cNvSpPr>
          <p:nvPr>
            <p:ph type="pic" idx="1"/>
          </p:nvPr>
        </p:nvSpPr>
        <p:spPr>
          <a:xfrm>
            <a:off x="2389717" y="612775"/>
            <a:ext cx="7315200"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de-DE" noProof="0"/>
          </a:p>
        </p:txBody>
      </p:sp>
      <p:sp>
        <p:nvSpPr>
          <p:cNvPr id="4" name="Textplatzhalter 3"/>
          <p:cNvSpPr>
            <a:spLocks noGrp="1"/>
          </p:cNvSpPr>
          <p:nvPr>
            <p:ph type="body" sz="half" idx="2"/>
          </p:nvPr>
        </p:nvSpPr>
        <p:spPr>
          <a:xfrm>
            <a:off x="2389717" y="5367338"/>
            <a:ext cx="7315200"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a:t>Textmasterformat bearbeiten</a:t>
            </a:r>
          </a:p>
        </p:txBody>
      </p:sp>
    </p:spTree>
    <p:extLst>
      <p:ext uri="{BB962C8B-B14F-4D97-AF65-F5344CB8AC3E}">
        <p14:creationId xmlns:p14="http://schemas.microsoft.com/office/powerpoint/2010/main" val="102049296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blank" preserve="1">
  <p:cSld name="1_Leer">
    <p:spTree>
      <p:nvGrpSpPr>
        <p:cNvPr id="1" name=""/>
        <p:cNvGrpSpPr/>
        <p:nvPr/>
      </p:nvGrpSpPr>
      <p:grpSpPr>
        <a:xfrm>
          <a:off x="0" y="0"/>
          <a:ext cx="0" cy="0"/>
          <a:chOff x="0" y="0"/>
          <a:chExt cx="0" cy="0"/>
        </a:xfrm>
      </p:grpSpPr>
    </p:spTree>
    <p:extLst>
      <p:ext uri="{BB962C8B-B14F-4D97-AF65-F5344CB8AC3E}">
        <p14:creationId xmlns:p14="http://schemas.microsoft.com/office/powerpoint/2010/main" val="69370711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p:cNvSpPr>
            <a:spLocks noGrp="1"/>
          </p:cNvSpPr>
          <p:nvPr>
            <p:ph type="title"/>
          </p:nvPr>
        </p:nvSpPr>
        <p:spPr>
          <a:xfrm>
            <a:off x="609600" y="274638"/>
            <a:ext cx="10972800" cy="1143000"/>
          </a:xfrm>
          <a:prstGeom prst="rect">
            <a:avLst/>
          </a:prstGeom>
        </p:spPr>
        <p:txBody>
          <a:bodyPr/>
          <a:lstStyle/>
          <a:p>
            <a:r>
              <a:rPr lang="de-DE"/>
              <a:t>Titelmasterformat durch Klicken bearbeiten</a:t>
            </a:r>
          </a:p>
        </p:txBody>
      </p:sp>
      <p:sp>
        <p:nvSpPr>
          <p:cNvPr id="3" name="Vertikaler Textplatzhalter 2"/>
          <p:cNvSpPr>
            <a:spLocks noGrp="1"/>
          </p:cNvSpPr>
          <p:nvPr>
            <p:ph type="body" orient="vert" idx="1"/>
          </p:nvPr>
        </p:nvSpPr>
        <p:spPr>
          <a:xfrm>
            <a:off x="609600" y="1600201"/>
            <a:ext cx="10972800" cy="4525963"/>
          </a:xfrm>
          <a:prstGeom prst="rect">
            <a:avLst/>
          </a:prstGeom>
        </p:spPr>
        <p:txBody>
          <a:bodyPr vert="eaVert"/>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99754451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p:cNvSpPr>
            <a:spLocks noGrp="1"/>
          </p:cNvSpPr>
          <p:nvPr>
            <p:ph type="title" orient="vert"/>
          </p:nvPr>
        </p:nvSpPr>
        <p:spPr>
          <a:xfrm>
            <a:off x="8839200" y="274639"/>
            <a:ext cx="2743200" cy="5851525"/>
          </a:xfrm>
          <a:prstGeom prst="rect">
            <a:avLst/>
          </a:prstGeom>
        </p:spPr>
        <p:txBody>
          <a:bodyPr vert="eaVert"/>
          <a:lstStyle/>
          <a:p>
            <a:r>
              <a:rPr lang="de-DE"/>
              <a:t>Titelmasterformat durch Klicken bearbeiten</a:t>
            </a:r>
          </a:p>
        </p:txBody>
      </p:sp>
      <p:sp>
        <p:nvSpPr>
          <p:cNvPr id="3" name="Vertikaler Textplatzhalter 2"/>
          <p:cNvSpPr>
            <a:spLocks noGrp="1"/>
          </p:cNvSpPr>
          <p:nvPr>
            <p:ph type="body" orient="vert" idx="1"/>
          </p:nvPr>
        </p:nvSpPr>
        <p:spPr>
          <a:xfrm>
            <a:off x="609600" y="274639"/>
            <a:ext cx="8026400" cy="5851525"/>
          </a:xfrm>
          <a:prstGeom prst="rect">
            <a:avLst/>
          </a:prstGeom>
        </p:spPr>
        <p:txBody>
          <a:bodyPr vert="eaVert"/>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247804415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VTT 2020 Content slide 01a">
    <p:spTree>
      <p:nvGrpSpPr>
        <p:cNvPr id="1" name=""/>
        <p:cNvGrpSpPr/>
        <p:nvPr/>
      </p:nvGrpSpPr>
      <p:grpSpPr>
        <a:xfrm>
          <a:off x="0" y="0"/>
          <a:ext cx="0" cy="0"/>
          <a:chOff x="0" y="0"/>
          <a:chExt cx="0" cy="0"/>
        </a:xfrm>
      </p:grpSpPr>
      <p:grpSp>
        <p:nvGrpSpPr>
          <p:cNvPr id="2" name="VTT_LogoStack_v3_16092019 pienempi koko">
            <a:extLst>
              <a:ext uri="{FF2B5EF4-FFF2-40B4-BE49-F238E27FC236}">
                <a16:creationId xmlns:a16="http://schemas.microsoft.com/office/drawing/2014/main" id="{8B4E10E9-91D2-A9B9-6D89-5F52B9269AFF}"/>
              </a:ext>
            </a:extLst>
          </p:cNvPr>
          <p:cNvGrpSpPr>
            <a:grpSpLocks/>
          </p:cNvGrpSpPr>
          <p:nvPr userDrawn="1"/>
        </p:nvGrpSpPr>
        <p:grpSpPr bwMode="auto">
          <a:xfrm>
            <a:off x="10725150" y="0"/>
            <a:ext cx="1158875" cy="782638"/>
            <a:chOff x="7909204" y="1770762"/>
            <a:chExt cx="971550" cy="655638"/>
          </a:xfrm>
        </p:grpSpPr>
        <p:grpSp>
          <p:nvGrpSpPr>
            <p:cNvPr id="3" name="_VTT_logo_102019_01_white_on_orange">
              <a:extLst>
                <a:ext uri="{FF2B5EF4-FFF2-40B4-BE49-F238E27FC236}">
                  <a16:creationId xmlns:a16="http://schemas.microsoft.com/office/drawing/2014/main" id="{0CFDC700-189C-BC37-0D69-60F573EEA8C4}"/>
                </a:ext>
              </a:extLst>
            </p:cNvPr>
            <p:cNvGrpSpPr>
              <a:grpSpLocks/>
            </p:cNvGrpSpPr>
            <p:nvPr userDrawn="1"/>
          </p:nvGrpSpPr>
          <p:grpSpPr bwMode="auto">
            <a:xfrm>
              <a:off x="7909204" y="1770762"/>
              <a:ext cx="971550" cy="655638"/>
              <a:chOff x="379933" y="-15999"/>
              <a:chExt cx="971550" cy="655638"/>
            </a:xfrm>
          </p:grpSpPr>
          <p:sp>
            <p:nvSpPr>
              <p:cNvPr id="46" name="Box">
                <a:extLst>
                  <a:ext uri="{FF2B5EF4-FFF2-40B4-BE49-F238E27FC236}">
                    <a16:creationId xmlns:a16="http://schemas.microsoft.com/office/drawing/2014/main" id="{D06F3456-F8D1-CC2E-544F-BC88D624FF1A}"/>
                  </a:ext>
                </a:extLst>
              </p:cNvPr>
              <p:cNvSpPr>
                <a:spLocks noChangeArrowheads="1"/>
              </p:cNvSpPr>
              <p:nvPr userDrawn="1"/>
            </p:nvSpPr>
            <p:spPr bwMode="auto">
              <a:xfrm>
                <a:off x="379933" y="-15999"/>
                <a:ext cx="971550" cy="655638"/>
              </a:xfrm>
              <a:prstGeom prst="rect">
                <a:avLst/>
              </a:prstGeom>
              <a:solidFill>
                <a:srgbClr val="F06E00"/>
              </a:solidFill>
              <a:ln>
                <a:noFill/>
              </a:ln>
            </p:spPr>
            <p:txBody>
              <a:bodyPr/>
              <a:lstStyle>
                <a:lvl1pPr defTabSz="455613">
                  <a:defRPr b="1">
                    <a:solidFill>
                      <a:schemeClr val="tx1"/>
                    </a:solidFill>
                    <a:latin typeface="Verdana" panose="020B0604030504040204" pitchFamily="34" charset="0"/>
                  </a:defRPr>
                </a:lvl1pPr>
                <a:lvl2pPr marL="742950" indent="-285750" defTabSz="455613">
                  <a:defRPr b="1">
                    <a:solidFill>
                      <a:schemeClr val="tx1"/>
                    </a:solidFill>
                    <a:latin typeface="Verdana" panose="020B0604030504040204" pitchFamily="34" charset="0"/>
                  </a:defRPr>
                </a:lvl2pPr>
                <a:lvl3pPr marL="1143000" indent="-228600" defTabSz="455613">
                  <a:defRPr b="1">
                    <a:solidFill>
                      <a:schemeClr val="tx1"/>
                    </a:solidFill>
                    <a:latin typeface="Verdana" panose="020B0604030504040204" pitchFamily="34" charset="0"/>
                  </a:defRPr>
                </a:lvl3pPr>
                <a:lvl4pPr marL="1600200" indent="-228600" defTabSz="455613">
                  <a:defRPr b="1">
                    <a:solidFill>
                      <a:schemeClr val="tx1"/>
                    </a:solidFill>
                    <a:latin typeface="Verdana" panose="020B0604030504040204" pitchFamily="34" charset="0"/>
                  </a:defRPr>
                </a:lvl4pPr>
                <a:lvl5pPr marL="2057400" indent="-228600" defTabSz="455613">
                  <a:defRPr b="1">
                    <a:solidFill>
                      <a:schemeClr val="tx1"/>
                    </a:solidFill>
                    <a:latin typeface="Verdana" panose="020B0604030504040204" pitchFamily="34" charset="0"/>
                  </a:defRPr>
                </a:lvl5pPr>
                <a:lvl6pPr marL="2514600" indent="-228600" defTabSz="455613" eaLnBrk="0" fontAlgn="base" hangingPunct="0">
                  <a:spcBef>
                    <a:spcPct val="0"/>
                  </a:spcBef>
                  <a:spcAft>
                    <a:spcPct val="0"/>
                  </a:spcAft>
                  <a:defRPr b="1">
                    <a:solidFill>
                      <a:schemeClr val="tx1"/>
                    </a:solidFill>
                    <a:latin typeface="Verdana" panose="020B0604030504040204" pitchFamily="34" charset="0"/>
                  </a:defRPr>
                </a:lvl6pPr>
                <a:lvl7pPr marL="2971800" indent="-228600" defTabSz="455613" eaLnBrk="0" fontAlgn="base" hangingPunct="0">
                  <a:spcBef>
                    <a:spcPct val="0"/>
                  </a:spcBef>
                  <a:spcAft>
                    <a:spcPct val="0"/>
                  </a:spcAft>
                  <a:defRPr b="1">
                    <a:solidFill>
                      <a:schemeClr val="tx1"/>
                    </a:solidFill>
                    <a:latin typeface="Verdana" panose="020B0604030504040204" pitchFamily="34" charset="0"/>
                  </a:defRPr>
                </a:lvl7pPr>
                <a:lvl8pPr marL="3429000" indent="-228600" defTabSz="455613" eaLnBrk="0" fontAlgn="base" hangingPunct="0">
                  <a:spcBef>
                    <a:spcPct val="0"/>
                  </a:spcBef>
                  <a:spcAft>
                    <a:spcPct val="0"/>
                  </a:spcAft>
                  <a:defRPr b="1">
                    <a:solidFill>
                      <a:schemeClr val="tx1"/>
                    </a:solidFill>
                    <a:latin typeface="Verdana" panose="020B0604030504040204" pitchFamily="34" charset="0"/>
                  </a:defRPr>
                </a:lvl8pPr>
                <a:lvl9pPr marL="3886200" indent="-228600" defTabSz="455613" eaLnBrk="0" fontAlgn="base" hangingPunct="0">
                  <a:spcBef>
                    <a:spcPct val="0"/>
                  </a:spcBef>
                  <a:spcAft>
                    <a:spcPct val="0"/>
                  </a:spcAft>
                  <a:defRPr b="1">
                    <a:solidFill>
                      <a:schemeClr val="tx1"/>
                    </a:solidFill>
                    <a:latin typeface="Verdana" panose="020B0604030504040204" pitchFamily="34" charset="0"/>
                  </a:defRPr>
                </a:lvl9pPr>
              </a:lstStyle>
              <a:p>
                <a:pPr eaLnBrk="1" hangingPunct="1">
                  <a:defRPr/>
                </a:pPr>
                <a:endParaRPr lang="en-GB" altLang="de-DE" b="0">
                  <a:solidFill>
                    <a:srgbClr val="000000"/>
                  </a:solidFill>
                  <a:latin typeface="Arial" panose="020B0604020202020204" pitchFamily="34" charset="0"/>
                </a:endParaRPr>
              </a:p>
            </p:txBody>
          </p:sp>
          <p:sp>
            <p:nvSpPr>
              <p:cNvPr id="47" name="T2">
                <a:extLst>
                  <a:ext uri="{FF2B5EF4-FFF2-40B4-BE49-F238E27FC236}">
                    <a16:creationId xmlns:a16="http://schemas.microsoft.com/office/drawing/2014/main" id="{0D8C0AA1-F00D-1FEA-2A2F-82EABFBF924F}"/>
                  </a:ext>
                </a:extLst>
              </p:cNvPr>
              <p:cNvSpPr>
                <a:spLocks/>
              </p:cNvSpPr>
              <p:nvPr userDrawn="1"/>
            </p:nvSpPr>
            <p:spPr bwMode="auto">
              <a:xfrm>
                <a:off x="1011758" y="168151"/>
                <a:ext cx="176213" cy="258763"/>
              </a:xfrm>
              <a:custGeom>
                <a:avLst/>
                <a:gdLst>
                  <a:gd name="T0" fmla="*/ 98916612 w 222"/>
                  <a:gd name="T1" fmla="*/ 206025508 h 325"/>
                  <a:gd name="T2" fmla="*/ 98916612 w 222"/>
                  <a:gd name="T3" fmla="*/ 49446026 h 325"/>
                  <a:gd name="T4" fmla="*/ 139869466 w 222"/>
                  <a:gd name="T5" fmla="*/ 49446026 h 325"/>
                  <a:gd name="T6" fmla="*/ 139869466 w 222"/>
                  <a:gd name="T7" fmla="*/ 0 h 325"/>
                  <a:gd name="T8" fmla="*/ 0 w 222"/>
                  <a:gd name="T9" fmla="*/ 0 h 325"/>
                  <a:gd name="T10" fmla="*/ 0 w 222"/>
                  <a:gd name="T11" fmla="*/ 49446026 h 325"/>
                  <a:gd name="T12" fmla="*/ 41583093 w 222"/>
                  <a:gd name="T13" fmla="*/ 49446026 h 325"/>
                  <a:gd name="T14" fmla="*/ 41583093 w 222"/>
                  <a:gd name="T15" fmla="*/ 206025508 h 325"/>
                  <a:gd name="T16" fmla="*/ 41583093 w 222"/>
                  <a:gd name="T17" fmla="*/ 206025508 h 325"/>
                  <a:gd name="T18" fmla="*/ 98916612 w 222"/>
                  <a:gd name="T19" fmla="*/ 206025508 h 3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22" h="325">
                    <a:moveTo>
                      <a:pt x="157" y="325"/>
                    </a:moveTo>
                    <a:lnTo>
                      <a:pt x="157" y="78"/>
                    </a:lnTo>
                    <a:lnTo>
                      <a:pt x="222" y="78"/>
                    </a:lnTo>
                    <a:lnTo>
                      <a:pt x="222" y="0"/>
                    </a:lnTo>
                    <a:lnTo>
                      <a:pt x="0" y="0"/>
                    </a:lnTo>
                    <a:lnTo>
                      <a:pt x="0" y="78"/>
                    </a:lnTo>
                    <a:lnTo>
                      <a:pt x="66" y="78"/>
                    </a:lnTo>
                    <a:lnTo>
                      <a:pt x="66" y="325"/>
                    </a:lnTo>
                    <a:lnTo>
                      <a:pt x="157" y="3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48" name="T1">
                <a:extLst>
                  <a:ext uri="{FF2B5EF4-FFF2-40B4-BE49-F238E27FC236}">
                    <a16:creationId xmlns:a16="http://schemas.microsoft.com/office/drawing/2014/main" id="{670D6D13-BD85-5A4E-6B6B-9F2D05C71AAA}"/>
                  </a:ext>
                </a:extLst>
              </p:cNvPr>
              <p:cNvSpPr>
                <a:spLocks/>
              </p:cNvSpPr>
              <p:nvPr userDrawn="1"/>
            </p:nvSpPr>
            <p:spPr bwMode="auto">
              <a:xfrm>
                <a:off x="799033" y="168151"/>
                <a:ext cx="193675" cy="258763"/>
              </a:xfrm>
              <a:custGeom>
                <a:avLst/>
                <a:gdLst>
                  <a:gd name="T0" fmla="*/ 55443438 w 244"/>
                  <a:gd name="T1" fmla="*/ 49446026 h 325"/>
                  <a:gd name="T2" fmla="*/ 55443438 w 244"/>
                  <a:gd name="T3" fmla="*/ 206025508 h 325"/>
                  <a:gd name="T4" fmla="*/ 112776794 w 244"/>
                  <a:gd name="T5" fmla="*/ 206025508 h 325"/>
                  <a:gd name="T6" fmla="*/ 112776794 w 244"/>
                  <a:gd name="T7" fmla="*/ 49446026 h 325"/>
                  <a:gd name="T8" fmla="*/ 153729531 w 244"/>
                  <a:gd name="T9" fmla="*/ 49446026 h 325"/>
                  <a:gd name="T10" fmla="*/ 153729531 w 244"/>
                  <a:gd name="T11" fmla="*/ 0 h 325"/>
                  <a:gd name="T12" fmla="*/ 15751175 w 244"/>
                  <a:gd name="T13" fmla="*/ 0 h 325"/>
                  <a:gd name="T14" fmla="*/ 0 w 244"/>
                  <a:gd name="T15" fmla="*/ 49446026 h 325"/>
                  <a:gd name="T16" fmla="*/ 55443438 w 244"/>
                  <a:gd name="T17" fmla="*/ 49446026 h 3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44" h="325">
                    <a:moveTo>
                      <a:pt x="88" y="78"/>
                    </a:moveTo>
                    <a:lnTo>
                      <a:pt x="88" y="325"/>
                    </a:lnTo>
                    <a:lnTo>
                      <a:pt x="179" y="325"/>
                    </a:lnTo>
                    <a:lnTo>
                      <a:pt x="179" y="78"/>
                    </a:lnTo>
                    <a:lnTo>
                      <a:pt x="244" y="78"/>
                    </a:lnTo>
                    <a:lnTo>
                      <a:pt x="244" y="0"/>
                    </a:lnTo>
                    <a:lnTo>
                      <a:pt x="25" y="0"/>
                    </a:lnTo>
                    <a:lnTo>
                      <a:pt x="0" y="78"/>
                    </a:lnTo>
                    <a:lnTo>
                      <a:pt x="88"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49" name="V">
                <a:extLst>
                  <a:ext uri="{FF2B5EF4-FFF2-40B4-BE49-F238E27FC236}">
                    <a16:creationId xmlns:a16="http://schemas.microsoft.com/office/drawing/2014/main" id="{BD07D1F4-E47B-C08B-A505-23CC15F9B077}"/>
                  </a:ext>
                </a:extLst>
              </p:cNvPr>
              <p:cNvSpPr>
                <a:spLocks/>
              </p:cNvSpPr>
              <p:nvPr userDrawn="1"/>
            </p:nvSpPr>
            <p:spPr bwMode="auto">
              <a:xfrm>
                <a:off x="567258" y="168151"/>
                <a:ext cx="230188" cy="258763"/>
              </a:xfrm>
              <a:custGeom>
                <a:avLst/>
                <a:gdLst>
                  <a:gd name="T0" fmla="*/ 116731600 w 289"/>
                  <a:gd name="T1" fmla="*/ 206025508 h 325"/>
                  <a:gd name="T2" fmla="*/ 183344344 w 289"/>
                  <a:gd name="T3" fmla="*/ 0 h 325"/>
                  <a:gd name="T4" fmla="*/ 124978544 w 289"/>
                  <a:gd name="T5" fmla="*/ 0 h 325"/>
                  <a:gd name="T6" fmla="*/ 90720356 w 289"/>
                  <a:gd name="T7" fmla="*/ 105865119 h 325"/>
                  <a:gd name="T8" fmla="*/ 85645069 w 289"/>
                  <a:gd name="T9" fmla="*/ 121079587 h 325"/>
                  <a:gd name="T10" fmla="*/ 85645069 w 289"/>
                  <a:gd name="T11" fmla="*/ 121079587 h 325"/>
                  <a:gd name="T12" fmla="*/ 85645069 w 289"/>
                  <a:gd name="T13" fmla="*/ 121079587 h 325"/>
                  <a:gd name="T14" fmla="*/ 85645069 w 289"/>
                  <a:gd name="T15" fmla="*/ 121079587 h 325"/>
                  <a:gd name="T16" fmla="*/ 85645069 w 289"/>
                  <a:gd name="T17" fmla="*/ 121079587 h 325"/>
                  <a:gd name="T18" fmla="*/ 85645069 w 289"/>
                  <a:gd name="T19" fmla="*/ 121079587 h 325"/>
                  <a:gd name="T20" fmla="*/ 85645069 w 289"/>
                  <a:gd name="T21" fmla="*/ 121079587 h 325"/>
                  <a:gd name="T22" fmla="*/ 81204592 w 289"/>
                  <a:gd name="T23" fmla="*/ 105865119 h 325"/>
                  <a:gd name="T24" fmla="*/ 57730991 w 289"/>
                  <a:gd name="T25" fmla="*/ 38035772 h 325"/>
                  <a:gd name="T26" fmla="*/ 0 w 289"/>
                  <a:gd name="T27" fmla="*/ 38035772 h 325"/>
                  <a:gd name="T28" fmla="*/ 57096978 w 289"/>
                  <a:gd name="T29" fmla="*/ 206025508 h 325"/>
                  <a:gd name="T30" fmla="*/ 116731600 w 289"/>
                  <a:gd name="T31" fmla="*/ 206025508 h 32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89" h="325">
                    <a:moveTo>
                      <a:pt x="184" y="325"/>
                    </a:moveTo>
                    <a:lnTo>
                      <a:pt x="289" y="0"/>
                    </a:lnTo>
                    <a:lnTo>
                      <a:pt x="197" y="0"/>
                    </a:lnTo>
                    <a:lnTo>
                      <a:pt x="143" y="167"/>
                    </a:lnTo>
                    <a:lnTo>
                      <a:pt x="135" y="191"/>
                    </a:lnTo>
                    <a:lnTo>
                      <a:pt x="128" y="167"/>
                    </a:lnTo>
                    <a:lnTo>
                      <a:pt x="91" y="60"/>
                    </a:lnTo>
                    <a:lnTo>
                      <a:pt x="0" y="60"/>
                    </a:lnTo>
                    <a:lnTo>
                      <a:pt x="90" y="325"/>
                    </a:lnTo>
                    <a:lnTo>
                      <a:pt x="184" y="3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grpSp>
          <p:nvGrpSpPr>
            <p:cNvPr id="4" name="_VTT_logo_102019_02_white_on_black" hidden="1">
              <a:extLst>
                <a:ext uri="{FF2B5EF4-FFF2-40B4-BE49-F238E27FC236}">
                  <a16:creationId xmlns:a16="http://schemas.microsoft.com/office/drawing/2014/main" id="{3F4FEEF2-F822-CF2F-43B5-55F442E413E9}"/>
                </a:ext>
              </a:extLst>
            </p:cNvPr>
            <p:cNvGrpSpPr>
              <a:grpSpLocks/>
            </p:cNvGrpSpPr>
            <p:nvPr userDrawn="1"/>
          </p:nvGrpSpPr>
          <p:grpSpPr bwMode="auto">
            <a:xfrm>
              <a:off x="7909204" y="1770762"/>
              <a:ext cx="971550" cy="655638"/>
              <a:chOff x="379933" y="-15999"/>
              <a:chExt cx="971550" cy="655638"/>
            </a:xfrm>
          </p:grpSpPr>
          <p:sp>
            <p:nvSpPr>
              <p:cNvPr id="42" name="Box">
                <a:extLst>
                  <a:ext uri="{FF2B5EF4-FFF2-40B4-BE49-F238E27FC236}">
                    <a16:creationId xmlns:a16="http://schemas.microsoft.com/office/drawing/2014/main" id="{6C093BBC-AB3F-2A56-CC15-3C1317CC2A05}"/>
                  </a:ext>
                </a:extLst>
              </p:cNvPr>
              <p:cNvSpPr>
                <a:spLocks noChangeArrowheads="1"/>
              </p:cNvSpPr>
              <p:nvPr userDrawn="1"/>
            </p:nvSpPr>
            <p:spPr bwMode="auto">
              <a:xfrm>
                <a:off x="379933" y="-15999"/>
                <a:ext cx="971550" cy="655638"/>
              </a:xfrm>
              <a:prstGeom prst="rect">
                <a:avLst/>
              </a:prstGeom>
              <a:solidFill>
                <a:srgbClr val="000000"/>
              </a:solidFill>
              <a:ln>
                <a:noFill/>
              </a:ln>
            </p:spPr>
            <p:txBody>
              <a:bodyPr/>
              <a:lstStyle>
                <a:lvl1pPr defTabSz="455613">
                  <a:defRPr b="1">
                    <a:solidFill>
                      <a:schemeClr val="tx1"/>
                    </a:solidFill>
                    <a:latin typeface="Verdana" panose="020B0604030504040204" pitchFamily="34" charset="0"/>
                  </a:defRPr>
                </a:lvl1pPr>
                <a:lvl2pPr marL="742950" indent="-285750" defTabSz="455613">
                  <a:defRPr b="1">
                    <a:solidFill>
                      <a:schemeClr val="tx1"/>
                    </a:solidFill>
                    <a:latin typeface="Verdana" panose="020B0604030504040204" pitchFamily="34" charset="0"/>
                  </a:defRPr>
                </a:lvl2pPr>
                <a:lvl3pPr marL="1143000" indent="-228600" defTabSz="455613">
                  <a:defRPr b="1">
                    <a:solidFill>
                      <a:schemeClr val="tx1"/>
                    </a:solidFill>
                    <a:latin typeface="Verdana" panose="020B0604030504040204" pitchFamily="34" charset="0"/>
                  </a:defRPr>
                </a:lvl3pPr>
                <a:lvl4pPr marL="1600200" indent="-228600" defTabSz="455613">
                  <a:defRPr b="1">
                    <a:solidFill>
                      <a:schemeClr val="tx1"/>
                    </a:solidFill>
                    <a:latin typeface="Verdana" panose="020B0604030504040204" pitchFamily="34" charset="0"/>
                  </a:defRPr>
                </a:lvl4pPr>
                <a:lvl5pPr marL="2057400" indent="-228600" defTabSz="455613">
                  <a:defRPr b="1">
                    <a:solidFill>
                      <a:schemeClr val="tx1"/>
                    </a:solidFill>
                    <a:latin typeface="Verdana" panose="020B0604030504040204" pitchFamily="34" charset="0"/>
                  </a:defRPr>
                </a:lvl5pPr>
                <a:lvl6pPr marL="2514600" indent="-228600" defTabSz="455613" eaLnBrk="0" fontAlgn="base" hangingPunct="0">
                  <a:spcBef>
                    <a:spcPct val="0"/>
                  </a:spcBef>
                  <a:spcAft>
                    <a:spcPct val="0"/>
                  </a:spcAft>
                  <a:defRPr b="1">
                    <a:solidFill>
                      <a:schemeClr val="tx1"/>
                    </a:solidFill>
                    <a:latin typeface="Verdana" panose="020B0604030504040204" pitchFamily="34" charset="0"/>
                  </a:defRPr>
                </a:lvl6pPr>
                <a:lvl7pPr marL="2971800" indent="-228600" defTabSz="455613" eaLnBrk="0" fontAlgn="base" hangingPunct="0">
                  <a:spcBef>
                    <a:spcPct val="0"/>
                  </a:spcBef>
                  <a:spcAft>
                    <a:spcPct val="0"/>
                  </a:spcAft>
                  <a:defRPr b="1">
                    <a:solidFill>
                      <a:schemeClr val="tx1"/>
                    </a:solidFill>
                    <a:latin typeface="Verdana" panose="020B0604030504040204" pitchFamily="34" charset="0"/>
                  </a:defRPr>
                </a:lvl7pPr>
                <a:lvl8pPr marL="3429000" indent="-228600" defTabSz="455613" eaLnBrk="0" fontAlgn="base" hangingPunct="0">
                  <a:spcBef>
                    <a:spcPct val="0"/>
                  </a:spcBef>
                  <a:spcAft>
                    <a:spcPct val="0"/>
                  </a:spcAft>
                  <a:defRPr b="1">
                    <a:solidFill>
                      <a:schemeClr val="tx1"/>
                    </a:solidFill>
                    <a:latin typeface="Verdana" panose="020B0604030504040204" pitchFamily="34" charset="0"/>
                  </a:defRPr>
                </a:lvl8pPr>
                <a:lvl9pPr marL="3886200" indent="-228600" defTabSz="455613" eaLnBrk="0" fontAlgn="base" hangingPunct="0">
                  <a:spcBef>
                    <a:spcPct val="0"/>
                  </a:spcBef>
                  <a:spcAft>
                    <a:spcPct val="0"/>
                  </a:spcAft>
                  <a:defRPr b="1">
                    <a:solidFill>
                      <a:schemeClr val="tx1"/>
                    </a:solidFill>
                    <a:latin typeface="Verdana" panose="020B0604030504040204" pitchFamily="34" charset="0"/>
                  </a:defRPr>
                </a:lvl9pPr>
              </a:lstStyle>
              <a:p>
                <a:pPr eaLnBrk="1" hangingPunct="1">
                  <a:defRPr/>
                </a:pPr>
                <a:endParaRPr lang="en-GB" altLang="de-DE" b="0">
                  <a:solidFill>
                    <a:srgbClr val="000000"/>
                  </a:solidFill>
                  <a:latin typeface="Arial" panose="020B0604020202020204" pitchFamily="34" charset="0"/>
                </a:endParaRPr>
              </a:p>
            </p:txBody>
          </p:sp>
          <p:sp>
            <p:nvSpPr>
              <p:cNvPr id="43" name="T2">
                <a:extLst>
                  <a:ext uri="{FF2B5EF4-FFF2-40B4-BE49-F238E27FC236}">
                    <a16:creationId xmlns:a16="http://schemas.microsoft.com/office/drawing/2014/main" id="{E31E5B18-3889-A56F-C8C2-D8D68FC81094}"/>
                  </a:ext>
                </a:extLst>
              </p:cNvPr>
              <p:cNvSpPr>
                <a:spLocks/>
              </p:cNvSpPr>
              <p:nvPr userDrawn="1"/>
            </p:nvSpPr>
            <p:spPr bwMode="auto">
              <a:xfrm>
                <a:off x="1011758" y="168151"/>
                <a:ext cx="176213" cy="258763"/>
              </a:xfrm>
              <a:custGeom>
                <a:avLst/>
                <a:gdLst>
                  <a:gd name="T0" fmla="*/ 98916612 w 222"/>
                  <a:gd name="T1" fmla="*/ 206025508 h 325"/>
                  <a:gd name="T2" fmla="*/ 98916612 w 222"/>
                  <a:gd name="T3" fmla="*/ 49446026 h 325"/>
                  <a:gd name="T4" fmla="*/ 139869466 w 222"/>
                  <a:gd name="T5" fmla="*/ 49446026 h 325"/>
                  <a:gd name="T6" fmla="*/ 139869466 w 222"/>
                  <a:gd name="T7" fmla="*/ 0 h 325"/>
                  <a:gd name="T8" fmla="*/ 0 w 222"/>
                  <a:gd name="T9" fmla="*/ 0 h 325"/>
                  <a:gd name="T10" fmla="*/ 0 w 222"/>
                  <a:gd name="T11" fmla="*/ 49446026 h 325"/>
                  <a:gd name="T12" fmla="*/ 41583093 w 222"/>
                  <a:gd name="T13" fmla="*/ 49446026 h 325"/>
                  <a:gd name="T14" fmla="*/ 41583093 w 222"/>
                  <a:gd name="T15" fmla="*/ 206025508 h 325"/>
                  <a:gd name="T16" fmla="*/ 41583093 w 222"/>
                  <a:gd name="T17" fmla="*/ 206025508 h 325"/>
                  <a:gd name="T18" fmla="*/ 98916612 w 222"/>
                  <a:gd name="T19" fmla="*/ 206025508 h 3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22" h="325">
                    <a:moveTo>
                      <a:pt x="157" y="325"/>
                    </a:moveTo>
                    <a:lnTo>
                      <a:pt x="157" y="78"/>
                    </a:lnTo>
                    <a:lnTo>
                      <a:pt x="222" y="78"/>
                    </a:lnTo>
                    <a:lnTo>
                      <a:pt x="222" y="0"/>
                    </a:lnTo>
                    <a:lnTo>
                      <a:pt x="0" y="0"/>
                    </a:lnTo>
                    <a:lnTo>
                      <a:pt x="0" y="78"/>
                    </a:lnTo>
                    <a:lnTo>
                      <a:pt x="66" y="78"/>
                    </a:lnTo>
                    <a:lnTo>
                      <a:pt x="66" y="325"/>
                    </a:lnTo>
                    <a:lnTo>
                      <a:pt x="157" y="3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44" name="T1">
                <a:extLst>
                  <a:ext uri="{FF2B5EF4-FFF2-40B4-BE49-F238E27FC236}">
                    <a16:creationId xmlns:a16="http://schemas.microsoft.com/office/drawing/2014/main" id="{C931AC1C-6F74-37F5-C278-F187D4E4C1D6}"/>
                  </a:ext>
                </a:extLst>
              </p:cNvPr>
              <p:cNvSpPr>
                <a:spLocks/>
              </p:cNvSpPr>
              <p:nvPr userDrawn="1"/>
            </p:nvSpPr>
            <p:spPr bwMode="auto">
              <a:xfrm>
                <a:off x="799033" y="168151"/>
                <a:ext cx="193675" cy="258763"/>
              </a:xfrm>
              <a:custGeom>
                <a:avLst/>
                <a:gdLst>
                  <a:gd name="T0" fmla="*/ 55443438 w 244"/>
                  <a:gd name="T1" fmla="*/ 49446026 h 325"/>
                  <a:gd name="T2" fmla="*/ 55443438 w 244"/>
                  <a:gd name="T3" fmla="*/ 206025508 h 325"/>
                  <a:gd name="T4" fmla="*/ 112776794 w 244"/>
                  <a:gd name="T5" fmla="*/ 206025508 h 325"/>
                  <a:gd name="T6" fmla="*/ 112776794 w 244"/>
                  <a:gd name="T7" fmla="*/ 49446026 h 325"/>
                  <a:gd name="T8" fmla="*/ 153729531 w 244"/>
                  <a:gd name="T9" fmla="*/ 49446026 h 325"/>
                  <a:gd name="T10" fmla="*/ 153729531 w 244"/>
                  <a:gd name="T11" fmla="*/ 0 h 325"/>
                  <a:gd name="T12" fmla="*/ 15751175 w 244"/>
                  <a:gd name="T13" fmla="*/ 0 h 325"/>
                  <a:gd name="T14" fmla="*/ 0 w 244"/>
                  <a:gd name="T15" fmla="*/ 49446026 h 325"/>
                  <a:gd name="T16" fmla="*/ 55443438 w 244"/>
                  <a:gd name="T17" fmla="*/ 49446026 h 3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44" h="325">
                    <a:moveTo>
                      <a:pt x="88" y="78"/>
                    </a:moveTo>
                    <a:lnTo>
                      <a:pt x="88" y="325"/>
                    </a:lnTo>
                    <a:lnTo>
                      <a:pt x="179" y="325"/>
                    </a:lnTo>
                    <a:lnTo>
                      <a:pt x="179" y="78"/>
                    </a:lnTo>
                    <a:lnTo>
                      <a:pt x="244" y="78"/>
                    </a:lnTo>
                    <a:lnTo>
                      <a:pt x="244" y="0"/>
                    </a:lnTo>
                    <a:lnTo>
                      <a:pt x="25" y="0"/>
                    </a:lnTo>
                    <a:lnTo>
                      <a:pt x="0" y="78"/>
                    </a:lnTo>
                    <a:lnTo>
                      <a:pt x="88"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45" name="V">
                <a:extLst>
                  <a:ext uri="{FF2B5EF4-FFF2-40B4-BE49-F238E27FC236}">
                    <a16:creationId xmlns:a16="http://schemas.microsoft.com/office/drawing/2014/main" id="{0C1509F6-8B29-9C1F-047E-45C781BF9BAD}"/>
                  </a:ext>
                </a:extLst>
              </p:cNvPr>
              <p:cNvSpPr>
                <a:spLocks/>
              </p:cNvSpPr>
              <p:nvPr userDrawn="1"/>
            </p:nvSpPr>
            <p:spPr bwMode="auto">
              <a:xfrm>
                <a:off x="567258" y="168151"/>
                <a:ext cx="230188" cy="258763"/>
              </a:xfrm>
              <a:custGeom>
                <a:avLst/>
                <a:gdLst>
                  <a:gd name="T0" fmla="*/ 116731600 w 289"/>
                  <a:gd name="T1" fmla="*/ 206025508 h 325"/>
                  <a:gd name="T2" fmla="*/ 183344344 w 289"/>
                  <a:gd name="T3" fmla="*/ 0 h 325"/>
                  <a:gd name="T4" fmla="*/ 124978544 w 289"/>
                  <a:gd name="T5" fmla="*/ 0 h 325"/>
                  <a:gd name="T6" fmla="*/ 90720356 w 289"/>
                  <a:gd name="T7" fmla="*/ 105865119 h 325"/>
                  <a:gd name="T8" fmla="*/ 85645069 w 289"/>
                  <a:gd name="T9" fmla="*/ 121079587 h 325"/>
                  <a:gd name="T10" fmla="*/ 85645069 w 289"/>
                  <a:gd name="T11" fmla="*/ 121079587 h 325"/>
                  <a:gd name="T12" fmla="*/ 85645069 w 289"/>
                  <a:gd name="T13" fmla="*/ 121079587 h 325"/>
                  <a:gd name="T14" fmla="*/ 85645069 w 289"/>
                  <a:gd name="T15" fmla="*/ 121079587 h 325"/>
                  <a:gd name="T16" fmla="*/ 85645069 w 289"/>
                  <a:gd name="T17" fmla="*/ 121079587 h 325"/>
                  <a:gd name="T18" fmla="*/ 85645069 w 289"/>
                  <a:gd name="T19" fmla="*/ 121079587 h 325"/>
                  <a:gd name="T20" fmla="*/ 85645069 w 289"/>
                  <a:gd name="T21" fmla="*/ 121079587 h 325"/>
                  <a:gd name="T22" fmla="*/ 81204592 w 289"/>
                  <a:gd name="T23" fmla="*/ 105865119 h 325"/>
                  <a:gd name="T24" fmla="*/ 57730991 w 289"/>
                  <a:gd name="T25" fmla="*/ 38035772 h 325"/>
                  <a:gd name="T26" fmla="*/ 0 w 289"/>
                  <a:gd name="T27" fmla="*/ 38035772 h 325"/>
                  <a:gd name="T28" fmla="*/ 57096978 w 289"/>
                  <a:gd name="T29" fmla="*/ 206025508 h 325"/>
                  <a:gd name="T30" fmla="*/ 116731600 w 289"/>
                  <a:gd name="T31" fmla="*/ 206025508 h 32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89" h="325">
                    <a:moveTo>
                      <a:pt x="184" y="325"/>
                    </a:moveTo>
                    <a:lnTo>
                      <a:pt x="289" y="0"/>
                    </a:lnTo>
                    <a:lnTo>
                      <a:pt x="197" y="0"/>
                    </a:lnTo>
                    <a:lnTo>
                      <a:pt x="143" y="167"/>
                    </a:lnTo>
                    <a:lnTo>
                      <a:pt x="135" y="191"/>
                    </a:lnTo>
                    <a:lnTo>
                      <a:pt x="128" y="167"/>
                    </a:lnTo>
                    <a:lnTo>
                      <a:pt x="91" y="60"/>
                    </a:lnTo>
                    <a:lnTo>
                      <a:pt x="0" y="60"/>
                    </a:lnTo>
                    <a:lnTo>
                      <a:pt x="90" y="325"/>
                    </a:lnTo>
                    <a:lnTo>
                      <a:pt x="184" y="3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grpSp>
          <p:nvGrpSpPr>
            <p:cNvPr id="5" name="_VTT_logo_102019_03_white_on_blue" hidden="1">
              <a:extLst>
                <a:ext uri="{FF2B5EF4-FFF2-40B4-BE49-F238E27FC236}">
                  <a16:creationId xmlns:a16="http://schemas.microsoft.com/office/drawing/2014/main" id="{52776839-E1A7-B520-8F4E-7305665494BE}"/>
                </a:ext>
              </a:extLst>
            </p:cNvPr>
            <p:cNvGrpSpPr>
              <a:grpSpLocks/>
            </p:cNvGrpSpPr>
            <p:nvPr userDrawn="1"/>
          </p:nvGrpSpPr>
          <p:grpSpPr bwMode="auto">
            <a:xfrm>
              <a:off x="7909204" y="1770762"/>
              <a:ext cx="971550" cy="655638"/>
              <a:chOff x="379933" y="-15999"/>
              <a:chExt cx="971550" cy="655638"/>
            </a:xfrm>
          </p:grpSpPr>
          <p:sp>
            <p:nvSpPr>
              <p:cNvPr id="38" name="Box">
                <a:extLst>
                  <a:ext uri="{FF2B5EF4-FFF2-40B4-BE49-F238E27FC236}">
                    <a16:creationId xmlns:a16="http://schemas.microsoft.com/office/drawing/2014/main" id="{88922378-73C4-55B5-23AA-904368CABD07}"/>
                  </a:ext>
                </a:extLst>
              </p:cNvPr>
              <p:cNvSpPr>
                <a:spLocks noChangeArrowheads="1"/>
              </p:cNvSpPr>
              <p:nvPr userDrawn="1"/>
            </p:nvSpPr>
            <p:spPr bwMode="auto">
              <a:xfrm>
                <a:off x="379933" y="-15999"/>
                <a:ext cx="971550" cy="655638"/>
              </a:xfrm>
              <a:prstGeom prst="rect">
                <a:avLst/>
              </a:prstGeom>
              <a:solidFill>
                <a:srgbClr val="005794"/>
              </a:solidFill>
              <a:ln>
                <a:noFill/>
              </a:ln>
            </p:spPr>
            <p:txBody>
              <a:bodyPr/>
              <a:lstStyle>
                <a:lvl1pPr defTabSz="455613">
                  <a:defRPr b="1">
                    <a:solidFill>
                      <a:schemeClr val="tx1"/>
                    </a:solidFill>
                    <a:latin typeface="Verdana" panose="020B0604030504040204" pitchFamily="34" charset="0"/>
                  </a:defRPr>
                </a:lvl1pPr>
                <a:lvl2pPr marL="742950" indent="-285750" defTabSz="455613">
                  <a:defRPr b="1">
                    <a:solidFill>
                      <a:schemeClr val="tx1"/>
                    </a:solidFill>
                    <a:latin typeface="Verdana" panose="020B0604030504040204" pitchFamily="34" charset="0"/>
                  </a:defRPr>
                </a:lvl2pPr>
                <a:lvl3pPr marL="1143000" indent="-228600" defTabSz="455613">
                  <a:defRPr b="1">
                    <a:solidFill>
                      <a:schemeClr val="tx1"/>
                    </a:solidFill>
                    <a:latin typeface="Verdana" panose="020B0604030504040204" pitchFamily="34" charset="0"/>
                  </a:defRPr>
                </a:lvl3pPr>
                <a:lvl4pPr marL="1600200" indent="-228600" defTabSz="455613">
                  <a:defRPr b="1">
                    <a:solidFill>
                      <a:schemeClr val="tx1"/>
                    </a:solidFill>
                    <a:latin typeface="Verdana" panose="020B0604030504040204" pitchFamily="34" charset="0"/>
                  </a:defRPr>
                </a:lvl4pPr>
                <a:lvl5pPr marL="2057400" indent="-228600" defTabSz="455613">
                  <a:defRPr b="1">
                    <a:solidFill>
                      <a:schemeClr val="tx1"/>
                    </a:solidFill>
                    <a:latin typeface="Verdana" panose="020B0604030504040204" pitchFamily="34" charset="0"/>
                  </a:defRPr>
                </a:lvl5pPr>
                <a:lvl6pPr marL="2514600" indent="-228600" defTabSz="455613" eaLnBrk="0" fontAlgn="base" hangingPunct="0">
                  <a:spcBef>
                    <a:spcPct val="0"/>
                  </a:spcBef>
                  <a:spcAft>
                    <a:spcPct val="0"/>
                  </a:spcAft>
                  <a:defRPr b="1">
                    <a:solidFill>
                      <a:schemeClr val="tx1"/>
                    </a:solidFill>
                    <a:latin typeface="Verdana" panose="020B0604030504040204" pitchFamily="34" charset="0"/>
                  </a:defRPr>
                </a:lvl6pPr>
                <a:lvl7pPr marL="2971800" indent="-228600" defTabSz="455613" eaLnBrk="0" fontAlgn="base" hangingPunct="0">
                  <a:spcBef>
                    <a:spcPct val="0"/>
                  </a:spcBef>
                  <a:spcAft>
                    <a:spcPct val="0"/>
                  </a:spcAft>
                  <a:defRPr b="1">
                    <a:solidFill>
                      <a:schemeClr val="tx1"/>
                    </a:solidFill>
                    <a:latin typeface="Verdana" panose="020B0604030504040204" pitchFamily="34" charset="0"/>
                  </a:defRPr>
                </a:lvl7pPr>
                <a:lvl8pPr marL="3429000" indent="-228600" defTabSz="455613" eaLnBrk="0" fontAlgn="base" hangingPunct="0">
                  <a:spcBef>
                    <a:spcPct val="0"/>
                  </a:spcBef>
                  <a:spcAft>
                    <a:spcPct val="0"/>
                  </a:spcAft>
                  <a:defRPr b="1">
                    <a:solidFill>
                      <a:schemeClr val="tx1"/>
                    </a:solidFill>
                    <a:latin typeface="Verdana" panose="020B0604030504040204" pitchFamily="34" charset="0"/>
                  </a:defRPr>
                </a:lvl8pPr>
                <a:lvl9pPr marL="3886200" indent="-228600" defTabSz="455613" eaLnBrk="0" fontAlgn="base" hangingPunct="0">
                  <a:spcBef>
                    <a:spcPct val="0"/>
                  </a:spcBef>
                  <a:spcAft>
                    <a:spcPct val="0"/>
                  </a:spcAft>
                  <a:defRPr b="1">
                    <a:solidFill>
                      <a:schemeClr val="tx1"/>
                    </a:solidFill>
                    <a:latin typeface="Verdana" panose="020B0604030504040204" pitchFamily="34" charset="0"/>
                  </a:defRPr>
                </a:lvl9pPr>
              </a:lstStyle>
              <a:p>
                <a:pPr eaLnBrk="1" hangingPunct="1">
                  <a:defRPr/>
                </a:pPr>
                <a:endParaRPr lang="en-GB" altLang="de-DE" b="0">
                  <a:solidFill>
                    <a:srgbClr val="000000"/>
                  </a:solidFill>
                  <a:latin typeface="Arial" panose="020B0604020202020204" pitchFamily="34" charset="0"/>
                </a:endParaRPr>
              </a:p>
            </p:txBody>
          </p:sp>
          <p:sp>
            <p:nvSpPr>
              <p:cNvPr id="39" name="T2">
                <a:extLst>
                  <a:ext uri="{FF2B5EF4-FFF2-40B4-BE49-F238E27FC236}">
                    <a16:creationId xmlns:a16="http://schemas.microsoft.com/office/drawing/2014/main" id="{51D360E5-3A31-29E1-0BFE-FD86D864B93E}"/>
                  </a:ext>
                </a:extLst>
              </p:cNvPr>
              <p:cNvSpPr>
                <a:spLocks/>
              </p:cNvSpPr>
              <p:nvPr userDrawn="1"/>
            </p:nvSpPr>
            <p:spPr bwMode="auto">
              <a:xfrm>
                <a:off x="1011758" y="168151"/>
                <a:ext cx="176213" cy="258763"/>
              </a:xfrm>
              <a:custGeom>
                <a:avLst/>
                <a:gdLst>
                  <a:gd name="T0" fmla="*/ 98916612 w 222"/>
                  <a:gd name="T1" fmla="*/ 206025508 h 325"/>
                  <a:gd name="T2" fmla="*/ 98916612 w 222"/>
                  <a:gd name="T3" fmla="*/ 49446026 h 325"/>
                  <a:gd name="T4" fmla="*/ 139869466 w 222"/>
                  <a:gd name="T5" fmla="*/ 49446026 h 325"/>
                  <a:gd name="T6" fmla="*/ 139869466 w 222"/>
                  <a:gd name="T7" fmla="*/ 0 h 325"/>
                  <a:gd name="T8" fmla="*/ 0 w 222"/>
                  <a:gd name="T9" fmla="*/ 0 h 325"/>
                  <a:gd name="T10" fmla="*/ 0 w 222"/>
                  <a:gd name="T11" fmla="*/ 49446026 h 325"/>
                  <a:gd name="T12" fmla="*/ 41583093 w 222"/>
                  <a:gd name="T13" fmla="*/ 49446026 h 325"/>
                  <a:gd name="T14" fmla="*/ 41583093 w 222"/>
                  <a:gd name="T15" fmla="*/ 206025508 h 325"/>
                  <a:gd name="T16" fmla="*/ 41583093 w 222"/>
                  <a:gd name="T17" fmla="*/ 206025508 h 325"/>
                  <a:gd name="T18" fmla="*/ 98916612 w 222"/>
                  <a:gd name="T19" fmla="*/ 206025508 h 3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22" h="325">
                    <a:moveTo>
                      <a:pt x="157" y="325"/>
                    </a:moveTo>
                    <a:lnTo>
                      <a:pt x="157" y="78"/>
                    </a:lnTo>
                    <a:lnTo>
                      <a:pt x="222" y="78"/>
                    </a:lnTo>
                    <a:lnTo>
                      <a:pt x="222" y="0"/>
                    </a:lnTo>
                    <a:lnTo>
                      <a:pt x="0" y="0"/>
                    </a:lnTo>
                    <a:lnTo>
                      <a:pt x="0" y="78"/>
                    </a:lnTo>
                    <a:lnTo>
                      <a:pt x="66" y="78"/>
                    </a:lnTo>
                    <a:lnTo>
                      <a:pt x="66" y="325"/>
                    </a:lnTo>
                    <a:lnTo>
                      <a:pt x="157" y="3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40" name="T1">
                <a:extLst>
                  <a:ext uri="{FF2B5EF4-FFF2-40B4-BE49-F238E27FC236}">
                    <a16:creationId xmlns:a16="http://schemas.microsoft.com/office/drawing/2014/main" id="{E14D635D-1B06-2B05-AB2C-0BD02E6850B0}"/>
                  </a:ext>
                </a:extLst>
              </p:cNvPr>
              <p:cNvSpPr>
                <a:spLocks/>
              </p:cNvSpPr>
              <p:nvPr userDrawn="1"/>
            </p:nvSpPr>
            <p:spPr bwMode="auto">
              <a:xfrm>
                <a:off x="799033" y="168151"/>
                <a:ext cx="193675" cy="258763"/>
              </a:xfrm>
              <a:custGeom>
                <a:avLst/>
                <a:gdLst>
                  <a:gd name="T0" fmla="*/ 55443438 w 244"/>
                  <a:gd name="T1" fmla="*/ 49446026 h 325"/>
                  <a:gd name="T2" fmla="*/ 55443438 w 244"/>
                  <a:gd name="T3" fmla="*/ 206025508 h 325"/>
                  <a:gd name="T4" fmla="*/ 112776794 w 244"/>
                  <a:gd name="T5" fmla="*/ 206025508 h 325"/>
                  <a:gd name="T6" fmla="*/ 112776794 w 244"/>
                  <a:gd name="T7" fmla="*/ 49446026 h 325"/>
                  <a:gd name="T8" fmla="*/ 153729531 w 244"/>
                  <a:gd name="T9" fmla="*/ 49446026 h 325"/>
                  <a:gd name="T10" fmla="*/ 153729531 w 244"/>
                  <a:gd name="T11" fmla="*/ 0 h 325"/>
                  <a:gd name="T12" fmla="*/ 15751175 w 244"/>
                  <a:gd name="T13" fmla="*/ 0 h 325"/>
                  <a:gd name="T14" fmla="*/ 0 w 244"/>
                  <a:gd name="T15" fmla="*/ 49446026 h 325"/>
                  <a:gd name="T16" fmla="*/ 55443438 w 244"/>
                  <a:gd name="T17" fmla="*/ 49446026 h 3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44" h="325">
                    <a:moveTo>
                      <a:pt x="88" y="78"/>
                    </a:moveTo>
                    <a:lnTo>
                      <a:pt x="88" y="325"/>
                    </a:lnTo>
                    <a:lnTo>
                      <a:pt x="179" y="325"/>
                    </a:lnTo>
                    <a:lnTo>
                      <a:pt x="179" y="78"/>
                    </a:lnTo>
                    <a:lnTo>
                      <a:pt x="244" y="78"/>
                    </a:lnTo>
                    <a:lnTo>
                      <a:pt x="244" y="0"/>
                    </a:lnTo>
                    <a:lnTo>
                      <a:pt x="25" y="0"/>
                    </a:lnTo>
                    <a:lnTo>
                      <a:pt x="0" y="78"/>
                    </a:lnTo>
                    <a:lnTo>
                      <a:pt x="88"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41" name="V">
                <a:extLst>
                  <a:ext uri="{FF2B5EF4-FFF2-40B4-BE49-F238E27FC236}">
                    <a16:creationId xmlns:a16="http://schemas.microsoft.com/office/drawing/2014/main" id="{24923A50-E32A-D09E-01D3-876835AF6741}"/>
                  </a:ext>
                </a:extLst>
              </p:cNvPr>
              <p:cNvSpPr>
                <a:spLocks/>
              </p:cNvSpPr>
              <p:nvPr userDrawn="1"/>
            </p:nvSpPr>
            <p:spPr bwMode="auto">
              <a:xfrm>
                <a:off x="567258" y="168151"/>
                <a:ext cx="230188" cy="258763"/>
              </a:xfrm>
              <a:custGeom>
                <a:avLst/>
                <a:gdLst>
                  <a:gd name="T0" fmla="*/ 116731600 w 289"/>
                  <a:gd name="T1" fmla="*/ 206025508 h 325"/>
                  <a:gd name="T2" fmla="*/ 183344344 w 289"/>
                  <a:gd name="T3" fmla="*/ 0 h 325"/>
                  <a:gd name="T4" fmla="*/ 124978544 w 289"/>
                  <a:gd name="T5" fmla="*/ 0 h 325"/>
                  <a:gd name="T6" fmla="*/ 90720356 w 289"/>
                  <a:gd name="T7" fmla="*/ 105865119 h 325"/>
                  <a:gd name="T8" fmla="*/ 85645069 w 289"/>
                  <a:gd name="T9" fmla="*/ 121079587 h 325"/>
                  <a:gd name="T10" fmla="*/ 85645069 w 289"/>
                  <a:gd name="T11" fmla="*/ 121079587 h 325"/>
                  <a:gd name="T12" fmla="*/ 85645069 w 289"/>
                  <a:gd name="T13" fmla="*/ 121079587 h 325"/>
                  <a:gd name="T14" fmla="*/ 85645069 w 289"/>
                  <a:gd name="T15" fmla="*/ 121079587 h 325"/>
                  <a:gd name="T16" fmla="*/ 85645069 w 289"/>
                  <a:gd name="T17" fmla="*/ 121079587 h 325"/>
                  <a:gd name="T18" fmla="*/ 85645069 w 289"/>
                  <a:gd name="T19" fmla="*/ 121079587 h 325"/>
                  <a:gd name="T20" fmla="*/ 85645069 w 289"/>
                  <a:gd name="T21" fmla="*/ 121079587 h 325"/>
                  <a:gd name="T22" fmla="*/ 81204592 w 289"/>
                  <a:gd name="T23" fmla="*/ 105865119 h 325"/>
                  <a:gd name="T24" fmla="*/ 57730991 w 289"/>
                  <a:gd name="T25" fmla="*/ 38035772 h 325"/>
                  <a:gd name="T26" fmla="*/ 0 w 289"/>
                  <a:gd name="T27" fmla="*/ 38035772 h 325"/>
                  <a:gd name="T28" fmla="*/ 57096978 w 289"/>
                  <a:gd name="T29" fmla="*/ 206025508 h 325"/>
                  <a:gd name="T30" fmla="*/ 116731600 w 289"/>
                  <a:gd name="T31" fmla="*/ 206025508 h 32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89" h="325">
                    <a:moveTo>
                      <a:pt x="184" y="325"/>
                    </a:moveTo>
                    <a:lnTo>
                      <a:pt x="289" y="0"/>
                    </a:lnTo>
                    <a:lnTo>
                      <a:pt x="197" y="0"/>
                    </a:lnTo>
                    <a:lnTo>
                      <a:pt x="143" y="167"/>
                    </a:lnTo>
                    <a:lnTo>
                      <a:pt x="135" y="191"/>
                    </a:lnTo>
                    <a:lnTo>
                      <a:pt x="128" y="167"/>
                    </a:lnTo>
                    <a:lnTo>
                      <a:pt x="91" y="60"/>
                    </a:lnTo>
                    <a:lnTo>
                      <a:pt x="0" y="60"/>
                    </a:lnTo>
                    <a:lnTo>
                      <a:pt x="90" y="325"/>
                    </a:lnTo>
                    <a:lnTo>
                      <a:pt x="184" y="3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grpSp>
          <p:nvGrpSpPr>
            <p:cNvPr id="7" name="_VTT_logo_102019_04_white_on_dark_grey" hidden="1">
              <a:extLst>
                <a:ext uri="{FF2B5EF4-FFF2-40B4-BE49-F238E27FC236}">
                  <a16:creationId xmlns:a16="http://schemas.microsoft.com/office/drawing/2014/main" id="{0B02CF52-AA99-B581-9F9C-D98AAC186C79}"/>
                </a:ext>
              </a:extLst>
            </p:cNvPr>
            <p:cNvGrpSpPr>
              <a:grpSpLocks/>
            </p:cNvGrpSpPr>
            <p:nvPr userDrawn="1"/>
          </p:nvGrpSpPr>
          <p:grpSpPr bwMode="auto">
            <a:xfrm>
              <a:off x="7909204" y="1770762"/>
              <a:ext cx="971550" cy="655638"/>
              <a:chOff x="379933" y="-15999"/>
              <a:chExt cx="971550" cy="655638"/>
            </a:xfrm>
          </p:grpSpPr>
          <p:sp>
            <p:nvSpPr>
              <p:cNvPr id="34" name="Box">
                <a:extLst>
                  <a:ext uri="{FF2B5EF4-FFF2-40B4-BE49-F238E27FC236}">
                    <a16:creationId xmlns:a16="http://schemas.microsoft.com/office/drawing/2014/main" id="{7EA10397-730F-AB4E-DB39-3A9668069484}"/>
                  </a:ext>
                </a:extLst>
              </p:cNvPr>
              <p:cNvSpPr>
                <a:spLocks noChangeArrowheads="1"/>
              </p:cNvSpPr>
              <p:nvPr userDrawn="1"/>
            </p:nvSpPr>
            <p:spPr bwMode="auto">
              <a:xfrm>
                <a:off x="379933" y="-15999"/>
                <a:ext cx="971550" cy="655638"/>
              </a:xfrm>
              <a:prstGeom prst="rect">
                <a:avLst/>
              </a:prstGeom>
              <a:solidFill>
                <a:srgbClr val="AFAFAF"/>
              </a:solidFill>
              <a:ln>
                <a:noFill/>
              </a:ln>
            </p:spPr>
            <p:txBody>
              <a:bodyPr/>
              <a:lstStyle>
                <a:lvl1pPr defTabSz="455613">
                  <a:defRPr b="1">
                    <a:solidFill>
                      <a:schemeClr val="tx1"/>
                    </a:solidFill>
                    <a:latin typeface="Verdana" panose="020B0604030504040204" pitchFamily="34" charset="0"/>
                  </a:defRPr>
                </a:lvl1pPr>
                <a:lvl2pPr marL="742950" indent="-285750" defTabSz="455613">
                  <a:defRPr b="1">
                    <a:solidFill>
                      <a:schemeClr val="tx1"/>
                    </a:solidFill>
                    <a:latin typeface="Verdana" panose="020B0604030504040204" pitchFamily="34" charset="0"/>
                  </a:defRPr>
                </a:lvl2pPr>
                <a:lvl3pPr marL="1143000" indent="-228600" defTabSz="455613">
                  <a:defRPr b="1">
                    <a:solidFill>
                      <a:schemeClr val="tx1"/>
                    </a:solidFill>
                    <a:latin typeface="Verdana" panose="020B0604030504040204" pitchFamily="34" charset="0"/>
                  </a:defRPr>
                </a:lvl3pPr>
                <a:lvl4pPr marL="1600200" indent="-228600" defTabSz="455613">
                  <a:defRPr b="1">
                    <a:solidFill>
                      <a:schemeClr val="tx1"/>
                    </a:solidFill>
                    <a:latin typeface="Verdana" panose="020B0604030504040204" pitchFamily="34" charset="0"/>
                  </a:defRPr>
                </a:lvl4pPr>
                <a:lvl5pPr marL="2057400" indent="-228600" defTabSz="455613">
                  <a:defRPr b="1">
                    <a:solidFill>
                      <a:schemeClr val="tx1"/>
                    </a:solidFill>
                    <a:latin typeface="Verdana" panose="020B0604030504040204" pitchFamily="34" charset="0"/>
                  </a:defRPr>
                </a:lvl5pPr>
                <a:lvl6pPr marL="2514600" indent="-228600" defTabSz="455613" eaLnBrk="0" fontAlgn="base" hangingPunct="0">
                  <a:spcBef>
                    <a:spcPct val="0"/>
                  </a:spcBef>
                  <a:spcAft>
                    <a:spcPct val="0"/>
                  </a:spcAft>
                  <a:defRPr b="1">
                    <a:solidFill>
                      <a:schemeClr val="tx1"/>
                    </a:solidFill>
                    <a:latin typeface="Verdana" panose="020B0604030504040204" pitchFamily="34" charset="0"/>
                  </a:defRPr>
                </a:lvl6pPr>
                <a:lvl7pPr marL="2971800" indent="-228600" defTabSz="455613" eaLnBrk="0" fontAlgn="base" hangingPunct="0">
                  <a:spcBef>
                    <a:spcPct val="0"/>
                  </a:spcBef>
                  <a:spcAft>
                    <a:spcPct val="0"/>
                  </a:spcAft>
                  <a:defRPr b="1">
                    <a:solidFill>
                      <a:schemeClr val="tx1"/>
                    </a:solidFill>
                    <a:latin typeface="Verdana" panose="020B0604030504040204" pitchFamily="34" charset="0"/>
                  </a:defRPr>
                </a:lvl7pPr>
                <a:lvl8pPr marL="3429000" indent="-228600" defTabSz="455613" eaLnBrk="0" fontAlgn="base" hangingPunct="0">
                  <a:spcBef>
                    <a:spcPct val="0"/>
                  </a:spcBef>
                  <a:spcAft>
                    <a:spcPct val="0"/>
                  </a:spcAft>
                  <a:defRPr b="1">
                    <a:solidFill>
                      <a:schemeClr val="tx1"/>
                    </a:solidFill>
                    <a:latin typeface="Verdana" panose="020B0604030504040204" pitchFamily="34" charset="0"/>
                  </a:defRPr>
                </a:lvl8pPr>
                <a:lvl9pPr marL="3886200" indent="-228600" defTabSz="455613" eaLnBrk="0" fontAlgn="base" hangingPunct="0">
                  <a:spcBef>
                    <a:spcPct val="0"/>
                  </a:spcBef>
                  <a:spcAft>
                    <a:spcPct val="0"/>
                  </a:spcAft>
                  <a:defRPr b="1">
                    <a:solidFill>
                      <a:schemeClr val="tx1"/>
                    </a:solidFill>
                    <a:latin typeface="Verdana" panose="020B0604030504040204" pitchFamily="34" charset="0"/>
                  </a:defRPr>
                </a:lvl9pPr>
              </a:lstStyle>
              <a:p>
                <a:pPr eaLnBrk="1" hangingPunct="1">
                  <a:defRPr/>
                </a:pPr>
                <a:endParaRPr lang="en-GB" altLang="de-DE" b="0">
                  <a:solidFill>
                    <a:srgbClr val="000000"/>
                  </a:solidFill>
                  <a:latin typeface="Arial" panose="020B0604020202020204" pitchFamily="34" charset="0"/>
                </a:endParaRPr>
              </a:p>
            </p:txBody>
          </p:sp>
          <p:sp>
            <p:nvSpPr>
              <p:cNvPr id="35" name="T2">
                <a:extLst>
                  <a:ext uri="{FF2B5EF4-FFF2-40B4-BE49-F238E27FC236}">
                    <a16:creationId xmlns:a16="http://schemas.microsoft.com/office/drawing/2014/main" id="{3C58AD14-5553-8A25-1AC9-4C8BC76647B6}"/>
                  </a:ext>
                </a:extLst>
              </p:cNvPr>
              <p:cNvSpPr>
                <a:spLocks/>
              </p:cNvSpPr>
              <p:nvPr userDrawn="1"/>
            </p:nvSpPr>
            <p:spPr bwMode="auto">
              <a:xfrm>
                <a:off x="1011758" y="168151"/>
                <a:ext cx="176213" cy="258763"/>
              </a:xfrm>
              <a:custGeom>
                <a:avLst/>
                <a:gdLst>
                  <a:gd name="T0" fmla="*/ 98916612 w 222"/>
                  <a:gd name="T1" fmla="*/ 206025508 h 325"/>
                  <a:gd name="T2" fmla="*/ 98916612 w 222"/>
                  <a:gd name="T3" fmla="*/ 49446026 h 325"/>
                  <a:gd name="T4" fmla="*/ 139869466 w 222"/>
                  <a:gd name="T5" fmla="*/ 49446026 h 325"/>
                  <a:gd name="T6" fmla="*/ 139869466 w 222"/>
                  <a:gd name="T7" fmla="*/ 0 h 325"/>
                  <a:gd name="T8" fmla="*/ 0 w 222"/>
                  <a:gd name="T9" fmla="*/ 0 h 325"/>
                  <a:gd name="T10" fmla="*/ 0 w 222"/>
                  <a:gd name="T11" fmla="*/ 49446026 h 325"/>
                  <a:gd name="T12" fmla="*/ 41583093 w 222"/>
                  <a:gd name="T13" fmla="*/ 49446026 h 325"/>
                  <a:gd name="T14" fmla="*/ 41583093 w 222"/>
                  <a:gd name="T15" fmla="*/ 206025508 h 325"/>
                  <a:gd name="T16" fmla="*/ 41583093 w 222"/>
                  <a:gd name="T17" fmla="*/ 206025508 h 325"/>
                  <a:gd name="T18" fmla="*/ 98916612 w 222"/>
                  <a:gd name="T19" fmla="*/ 206025508 h 3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22" h="325">
                    <a:moveTo>
                      <a:pt x="157" y="325"/>
                    </a:moveTo>
                    <a:lnTo>
                      <a:pt x="157" y="78"/>
                    </a:lnTo>
                    <a:lnTo>
                      <a:pt x="222" y="78"/>
                    </a:lnTo>
                    <a:lnTo>
                      <a:pt x="222" y="0"/>
                    </a:lnTo>
                    <a:lnTo>
                      <a:pt x="0" y="0"/>
                    </a:lnTo>
                    <a:lnTo>
                      <a:pt x="0" y="78"/>
                    </a:lnTo>
                    <a:lnTo>
                      <a:pt x="66" y="78"/>
                    </a:lnTo>
                    <a:lnTo>
                      <a:pt x="66" y="325"/>
                    </a:lnTo>
                    <a:lnTo>
                      <a:pt x="157" y="3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36" name="T1">
                <a:extLst>
                  <a:ext uri="{FF2B5EF4-FFF2-40B4-BE49-F238E27FC236}">
                    <a16:creationId xmlns:a16="http://schemas.microsoft.com/office/drawing/2014/main" id="{A7948E2D-B39C-BCC0-C889-4316F413C885}"/>
                  </a:ext>
                </a:extLst>
              </p:cNvPr>
              <p:cNvSpPr>
                <a:spLocks/>
              </p:cNvSpPr>
              <p:nvPr userDrawn="1"/>
            </p:nvSpPr>
            <p:spPr bwMode="auto">
              <a:xfrm>
                <a:off x="799033" y="168151"/>
                <a:ext cx="193675" cy="258763"/>
              </a:xfrm>
              <a:custGeom>
                <a:avLst/>
                <a:gdLst>
                  <a:gd name="T0" fmla="*/ 55443438 w 244"/>
                  <a:gd name="T1" fmla="*/ 49446026 h 325"/>
                  <a:gd name="T2" fmla="*/ 55443438 w 244"/>
                  <a:gd name="T3" fmla="*/ 206025508 h 325"/>
                  <a:gd name="T4" fmla="*/ 112776794 w 244"/>
                  <a:gd name="T5" fmla="*/ 206025508 h 325"/>
                  <a:gd name="T6" fmla="*/ 112776794 w 244"/>
                  <a:gd name="T7" fmla="*/ 49446026 h 325"/>
                  <a:gd name="T8" fmla="*/ 153729531 w 244"/>
                  <a:gd name="T9" fmla="*/ 49446026 h 325"/>
                  <a:gd name="T10" fmla="*/ 153729531 w 244"/>
                  <a:gd name="T11" fmla="*/ 0 h 325"/>
                  <a:gd name="T12" fmla="*/ 15751175 w 244"/>
                  <a:gd name="T13" fmla="*/ 0 h 325"/>
                  <a:gd name="T14" fmla="*/ 0 w 244"/>
                  <a:gd name="T15" fmla="*/ 49446026 h 325"/>
                  <a:gd name="T16" fmla="*/ 55443438 w 244"/>
                  <a:gd name="T17" fmla="*/ 49446026 h 3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44" h="325">
                    <a:moveTo>
                      <a:pt x="88" y="78"/>
                    </a:moveTo>
                    <a:lnTo>
                      <a:pt x="88" y="325"/>
                    </a:lnTo>
                    <a:lnTo>
                      <a:pt x="179" y="325"/>
                    </a:lnTo>
                    <a:lnTo>
                      <a:pt x="179" y="78"/>
                    </a:lnTo>
                    <a:lnTo>
                      <a:pt x="244" y="78"/>
                    </a:lnTo>
                    <a:lnTo>
                      <a:pt x="244" y="0"/>
                    </a:lnTo>
                    <a:lnTo>
                      <a:pt x="25" y="0"/>
                    </a:lnTo>
                    <a:lnTo>
                      <a:pt x="0" y="78"/>
                    </a:lnTo>
                    <a:lnTo>
                      <a:pt x="88"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37" name="V">
                <a:extLst>
                  <a:ext uri="{FF2B5EF4-FFF2-40B4-BE49-F238E27FC236}">
                    <a16:creationId xmlns:a16="http://schemas.microsoft.com/office/drawing/2014/main" id="{288F3150-1A31-EDCA-5C88-AC1CA0F7511C}"/>
                  </a:ext>
                </a:extLst>
              </p:cNvPr>
              <p:cNvSpPr>
                <a:spLocks/>
              </p:cNvSpPr>
              <p:nvPr userDrawn="1"/>
            </p:nvSpPr>
            <p:spPr bwMode="auto">
              <a:xfrm>
                <a:off x="567258" y="168151"/>
                <a:ext cx="230188" cy="258763"/>
              </a:xfrm>
              <a:custGeom>
                <a:avLst/>
                <a:gdLst>
                  <a:gd name="T0" fmla="*/ 116731600 w 289"/>
                  <a:gd name="T1" fmla="*/ 206025508 h 325"/>
                  <a:gd name="T2" fmla="*/ 183344344 w 289"/>
                  <a:gd name="T3" fmla="*/ 0 h 325"/>
                  <a:gd name="T4" fmla="*/ 124978544 w 289"/>
                  <a:gd name="T5" fmla="*/ 0 h 325"/>
                  <a:gd name="T6" fmla="*/ 90720356 w 289"/>
                  <a:gd name="T7" fmla="*/ 105865119 h 325"/>
                  <a:gd name="T8" fmla="*/ 85645069 w 289"/>
                  <a:gd name="T9" fmla="*/ 121079587 h 325"/>
                  <a:gd name="T10" fmla="*/ 85645069 w 289"/>
                  <a:gd name="T11" fmla="*/ 121079587 h 325"/>
                  <a:gd name="T12" fmla="*/ 85645069 w 289"/>
                  <a:gd name="T13" fmla="*/ 121079587 h 325"/>
                  <a:gd name="T14" fmla="*/ 85645069 w 289"/>
                  <a:gd name="T15" fmla="*/ 121079587 h 325"/>
                  <a:gd name="T16" fmla="*/ 85645069 w 289"/>
                  <a:gd name="T17" fmla="*/ 121079587 h 325"/>
                  <a:gd name="T18" fmla="*/ 85645069 w 289"/>
                  <a:gd name="T19" fmla="*/ 121079587 h 325"/>
                  <a:gd name="T20" fmla="*/ 85645069 w 289"/>
                  <a:gd name="T21" fmla="*/ 121079587 h 325"/>
                  <a:gd name="T22" fmla="*/ 81204592 w 289"/>
                  <a:gd name="T23" fmla="*/ 105865119 h 325"/>
                  <a:gd name="T24" fmla="*/ 57730991 w 289"/>
                  <a:gd name="T25" fmla="*/ 38035772 h 325"/>
                  <a:gd name="T26" fmla="*/ 0 w 289"/>
                  <a:gd name="T27" fmla="*/ 38035772 h 325"/>
                  <a:gd name="T28" fmla="*/ 57096978 w 289"/>
                  <a:gd name="T29" fmla="*/ 206025508 h 325"/>
                  <a:gd name="T30" fmla="*/ 116731600 w 289"/>
                  <a:gd name="T31" fmla="*/ 206025508 h 32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89" h="325">
                    <a:moveTo>
                      <a:pt x="184" y="325"/>
                    </a:moveTo>
                    <a:lnTo>
                      <a:pt x="289" y="0"/>
                    </a:lnTo>
                    <a:lnTo>
                      <a:pt x="197" y="0"/>
                    </a:lnTo>
                    <a:lnTo>
                      <a:pt x="143" y="167"/>
                    </a:lnTo>
                    <a:lnTo>
                      <a:pt x="135" y="191"/>
                    </a:lnTo>
                    <a:lnTo>
                      <a:pt x="128" y="167"/>
                    </a:lnTo>
                    <a:lnTo>
                      <a:pt x="91" y="60"/>
                    </a:lnTo>
                    <a:lnTo>
                      <a:pt x="0" y="60"/>
                    </a:lnTo>
                    <a:lnTo>
                      <a:pt x="90" y="325"/>
                    </a:lnTo>
                    <a:lnTo>
                      <a:pt x="184" y="3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grpSp>
          <p:nvGrpSpPr>
            <p:cNvPr id="8" name="_VTT_logo_102019_05_dark_grey_on_white" hidden="1">
              <a:extLst>
                <a:ext uri="{FF2B5EF4-FFF2-40B4-BE49-F238E27FC236}">
                  <a16:creationId xmlns:a16="http://schemas.microsoft.com/office/drawing/2014/main" id="{917D60A6-6994-F9FB-5104-018B1ADD6BCC}"/>
                </a:ext>
              </a:extLst>
            </p:cNvPr>
            <p:cNvGrpSpPr>
              <a:grpSpLocks/>
            </p:cNvGrpSpPr>
            <p:nvPr userDrawn="1"/>
          </p:nvGrpSpPr>
          <p:grpSpPr bwMode="auto">
            <a:xfrm>
              <a:off x="7909204" y="1770762"/>
              <a:ext cx="971550" cy="655638"/>
              <a:chOff x="379933" y="-15999"/>
              <a:chExt cx="971550" cy="655638"/>
            </a:xfrm>
          </p:grpSpPr>
          <p:sp>
            <p:nvSpPr>
              <p:cNvPr id="30" name="Box">
                <a:extLst>
                  <a:ext uri="{FF2B5EF4-FFF2-40B4-BE49-F238E27FC236}">
                    <a16:creationId xmlns:a16="http://schemas.microsoft.com/office/drawing/2014/main" id="{9D7E456A-A8CD-F8EC-F4BE-B2F658B5F739}"/>
                  </a:ext>
                </a:extLst>
              </p:cNvPr>
              <p:cNvSpPr>
                <a:spLocks noChangeArrowheads="1"/>
              </p:cNvSpPr>
              <p:nvPr userDrawn="1"/>
            </p:nvSpPr>
            <p:spPr bwMode="auto">
              <a:xfrm>
                <a:off x="379933" y="-15999"/>
                <a:ext cx="971550" cy="655638"/>
              </a:xfrm>
              <a:prstGeom prst="rect">
                <a:avLst/>
              </a:prstGeom>
              <a:solidFill>
                <a:srgbClr val="FFFFFF"/>
              </a:solidFill>
              <a:ln>
                <a:noFill/>
              </a:ln>
            </p:spPr>
            <p:txBody>
              <a:bodyPr/>
              <a:lstStyle>
                <a:lvl1pPr defTabSz="455613">
                  <a:defRPr b="1">
                    <a:solidFill>
                      <a:schemeClr val="tx1"/>
                    </a:solidFill>
                    <a:latin typeface="Verdana" panose="020B0604030504040204" pitchFamily="34" charset="0"/>
                  </a:defRPr>
                </a:lvl1pPr>
                <a:lvl2pPr marL="742950" indent="-285750" defTabSz="455613">
                  <a:defRPr b="1">
                    <a:solidFill>
                      <a:schemeClr val="tx1"/>
                    </a:solidFill>
                    <a:latin typeface="Verdana" panose="020B0604030504040204" pitchFamily="34" charset="0"/>
                  </a:defRPr>
                </a:lvl2pPr>
                <a:lvl3pPr marL="1143000" indent="-228600" defTabSz="455613">
                  <a:defRPr b="1">
                    <a:solidFill>
                      <a:schemeClr val="tx1"/>
                    </a:solidFill>
                    <a:latin typeface="Verdana" panose="020B0604030504040204" pitchFamily="34" charset="0"/>
                  </a:defRPr>
                </a:lvl3pPr>
                <a:lvl4pPr marL="1600200" indent="-228600" defTabSz="455613">
                  <a:defRPr b="1">
                    <a:solidFill>
                      <a:schemeClr val="tx1"/>
                    </a:solidFill>
                    <a:latin typeface="Verdana" panose="020B0604030504040204" pitchFamily="34" charset="0"/>
                  </a:defRPr>
                </a:lvl4pPr>
                <a:lvl5pPr marL="2057400" indent="-228600" defTabSz="455613">
                  <a:defRPr b="1">
                    <a:solidFill>
                      <a:schemeClr val="tx1"/>
                    </a:solidFill>
                    <a:latin typeface="Verdana" panose="020B0604030504040204" pitchFamily="34" charset="0"/>
                  </a:defRPr>
                </a:lvl5pPr>
                <a:lvl6pPr marL="2514600" indent="-228600" defTabSz="455613" eaLnBrk="0" fontAlgn="base" hangingPunct="0">
                  <a:spcBef>
                    <a:spcPct val="0"/>
                  </a:spcBef>
                  <a:spcAft>
                    <a:spcPct val="0"/>
                  </a:spcAft>
                  <a:defRPr b="1">
                    <a:solidFill>
                      <a:schemeClr val="tx1"/>
                    </a:solidFill>
                    <a:latin typeface="Verdana" panose="020B0604030504040204" pitchFamily="34" charset="0"/>
                  </a:defRPr>
                </a:lvl6pPr>
                <a:lvl7pPr marL="2971800" indent="-228600" defTabSz="455613" eaLnBrk="0" fontAlgn="base" hangingPunct="0">
                  <a:spcBef>
                    <a:spcPct val="0"/>
                  </a:spcBef>
                  <a:spcAft>
                    <a:spcPct val="0"/>
                  </a:spcAft>
                  <a:defRPr b="1">
                    <a:solidFill>
                      <a:schemeClr val="tx1"/>
                    </a:solidFill>
                    <a:latin typeface="Verdana" panose="020B0604030504040204" pitchFamily="34" charset="0"/>
                  </a:defRPr>
                </a:lvl7pPr>
                <a:lvl8pPr marL="3429000" indent="-228600" defTabSz="455613" eaLnBrk="0" fontAlgn="base" hangingPunct="0">
                  <a:spcBef>
                    <a:spcPct val="0"/>
                  </a:spcBef>
                  <a:spcAft>
                    <a:spcPct val="0"/>
                  </a:spcAft>
                  <a:defRPr b="1">
                    <a:solidFill>
                      <a:schemeClr val="tx1"/>
                    </a:solidFill>
                    <a:latin typeface="Verdana" panose="020B0604030504040204" pitchFamily="34" charset="0"/>
                  </a:defRPr>
                </a:lvl8pPr>
                <a:lvl9pPr marL="3886200" indent="-228600" defTabSz="455613" eaLnBrk="0" fontAlgn="base" hangingPunct="0">
                  <a:spcBef>
                    <a:spcPct val="0"/>
                  </a:spcBef>
                  <a:spcAft>
                    <a:spcPct val="0"/>
                  </a:spcAft>
                  <a:defRPr b="1">
                    <a:solidFill>
                      <a:schemeClr val="tx1"/>
                    </a:solidFill>
                    <a:latin typeface="Verdana" panose="020B0604030504040204" pitchFamily="34" charset="0"/>
                  </a:defRPr>
                </a:lvl9pPr>
              </a:lstStyle>
              <a:p>
                <a:pPr eaLnBrk="1" hangingPunct="1">
                  <a:defRPr/>
                </a:pPr>
                <a:endParaRPr lang="en-GB" altLang="de-DE" b="0">
                  <a:solidFill>
                    <a:srgbClr val="000000"/>
                  </a:solidFill>
                  <a:latin typeface="Arial" panose="020B0604020202020204" pitchFamily="34" charset="0"/>
                </a:endParaRPr>
              </a:p>
            </p:txBody>
          </p:sp>
          <p:sp>
            <p:nvSpPr>
              <p:cNvPr id="31" name="T2">
                <a:extLst>
                  <a:ext uri="{FF2B5EF4-FFF2-40B4-BE49-F238E27FC236}">
                    <a16:creationId xmlns:a16="http://schemas.microsoft.com/office/drawing/2014/main" id="{3808B470-03C8-DA45-68EF-3B32BC8FE87B}"/>
                  </a:ext>
                </a:extLst>
              </p:cNvPr>
              <p:cNvSpPr>
                <a:spLocks/>
              </p:cNvSpPr>
              <p:nvPr userDrawn="1"/>
            </p:nvSpPr>
            <p:spPr bwMode="auto">
              <a:xfrm>
                <a:off x="1011758" y="168151"/>
                <a:ext cx="176213" cy="258763"/>
              </a:xfrm>
              <a:custGeom>
                <a:avLst/>
                <a:gdLst>
                  <a:gd name="T0" fmla="*/ 98916612 w 222"/>
                  <a:gd name="T1" fmla="*/ 206025508 h 325"/>
                  <a:gd name="T2" fmla="*/ 98916612 w 222"/>
                  <a:gd name="T3" fmla="*/ 49446026 h 325"/>
                  <a:gd name="T4" fmla="*/ 139869466 w 222"/>
                  <a:gd name="T5" fmla="*/ 49446026 h 325"/>
                  <a:gd name="T6" fmla="*/ 139869466 w 222"/>
                  <a:gd name="T7" fmla="*/ 0 h 325"/>
                  <a:gd name="T8" fmla="*/ 0 w 222"/>
                  <a:gd name="T9" fmla="*/ 0 h 325"/>
                  <a:gd name="T10" fmla="*/ 0 w 222"/>
                  <a:gd name="T11" fmla="*/ 49446026 h 325"/>
                  <a:gd name="T12" fmla="*/ 41583093 w 222"/>
                  <a:gd name="T13" fmla="*/ 49446026 h 325"/>
                  <a:gd name="T14" fmla="*/ 41583093 w 222"/>
                  <a:gd name="T15" fmla="*/ 206025508 h 325"/>
                  <a:gd name="T16" fmla="*/ 41583093 w 222"/>
                  <a:gd name="T17" fmla="*/ 206025508 h 325"/>
                  <a:gd name="T18" fmla="*/ 98916612 w 222"/>
                  <a:gd name="T19" fmla="*/ 206025508 h 3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22" h="325">
                    <a:moveTo>
                      <a:pt x="157" y="325"/>
                    </a:moveTo>
                    <a:lnTo>
                      <a:pt x="157" y="78"/>
                    </a:lnTo>
                    <a:lnTo>
                      <a:pt x="222" y="78"/>
                    </a:lnTo>
                    <a:lnTo>
                      <a:pt x="222" y="0"/>
                    </a:lnTo>
                    <a:lnTo>
                      <a:pt x="0" y="0"/>
                    </a:lnTo>
                    <a:lnTo>
                      <a:pt x="0" y="78"/>
                    </a:lnTo>
                    <a:lnTo>
                      <a:pt x="66" y="78"/>
                    </a:lnTo>
                    <a:lnTo>
                      <a:pt x="66" y="325"/>
                    </a:lnTo>
                    <a:lnTo>
                      <a:pt x="157" y="325"/>
                    </a:lnTo>
                    <a:close/>
                  </a:path>
                </a:pathLst>
              </a:custGeom>
              <a:solidFill>
                <a:srgbClr val="AFAFA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32" name="T1">
                <a:extLst>
                  <a:ext uri="{FF2B5EF4-FFF2-40B4-BE49-F238E27FC236}">
                    <a16:creationId xmlns:a16="http://schemas.microsoft.com/office/drawing/2014/main" id="{E88841EA-A0AB-0D43-8CC0-EBB4EA857FD6}"/>
                  </a:ext>
                </a:extLst>
              </p:cNvPr>
              <p:cNvSpPr>
                <a:spLocks/>
              </p:cNvSpPr>
              <p:nvPr userDrawn="1"/>
            </p:nvSpPr>
            <p:spPr bwMode="auto">
              <a:xfrm>
                <a:off x="799033" y="168151"/>
                <a:ext cx="193675" cy="258763"/>
              </a:xfrm>
              <a:custGeom>
                <a:avLst/>
                <a:gdLst>
                  <a:gd name="T0" fmla="*/ 55443438 w 244"/>
                  <a:gd name="T1" fmla="*/ 49446026 h 325"/>
                  <a:gd name="T2" fmla="*/ 55443438 w 244"/>
                  <a:gd name="T3" fmla="*/ 206025508 h 325"/>
                  <a:gd name="T4" fmla="*/ 112776794 w 244"/>
                  <a:gd name="T5" fmla="*/ 206025508 h 325"/>
                  <a:gd name="T6" fmla="*/ 112776794 w 244"/>
                  <a:gd name="T7" fmla="*/ 49446026 h 325"/>
                  <a:gd name="T8" fmla="*/ 153729531 w 244"/>
                  <a:gd name="T9" fmla="*/ 49446026 h 325"/>
                  <a:gd name="T10" fmla="*/ 153729531 w 244"/>
                  <a:gd name="T11" fmla="*/ 0 h 325"/>
                  <a:gd name="T12" fmla="*/ 15751175 w 244"/>
                  <a:gd name="T13" fmla="*/ 0 h 325"/>
                  <a:gd name="T14" fmla="*/ 0 w 244"/>
                  <a:gd name="T15" fmla="*/ 49446026 h 325"/>
                  <a:gd name="T16" fmla="*/ 55443438 w 244"/>
                  <a:gd name="T17" fmla="*/ 49446026 h 3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44" h="325">
                    <a:moveTo>
                      <a:pt x="88" y="78"/>
                    </a:moveTo>
                    <a:lnTo>
                      <a:pt x="88" y="325"/>
                    </a:lnTo>
                    <a:lnTo>
                      <a:pt x="179" y="325"/>
                    </a:lnTo>
                    <a:lnTo>
                      <a:pt x="179" y="78"/>
                    </a:lnTo>
                    <a:lnTo>
                      <a:pt x="244" y="78"/>
                    </a:lnTo>
                    <a:lnTo>
                      <a:pt x="244" y="0"/>
                    </a:lnTo>
                    <a:lnTo>
                      <a:pt x="25" y="0"/>
                    </a:lnTo>
                    <a:lnTo>
                      <a:pt x="0" y="78"/>
                    </a:lnTo>
                    <a:lnTo>
                      <a:pt x="88" y="78"/>
                    </a:lnTo>
                    <a:close/>
                  </a:path>
                </a:pathLst>
              </a:custGeom>
              <a:solidFill>
                <a:srgbClr val="AFAFA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33" name="V">
                <a:extLst>
                  <a:ext uri="{FF2B5EF4-FFF2-40B4-BE49-F238E27FC236}">
                    <a16:creationId xmlns:a16="http://schemas.microsoft.com/office/drawing/2014/main" id="{A060FE94-F9D4-7109-6CCD-0A0727C45D83}"/>
                  </a:ext>
                </a:extLst>
              </p:cNvPr>
              <p:cNvSpPr>
                <a:spLocks/>
              </p:cNvSpPr>
              <p:nvPr userDrawn="1"/>
            </p:nvSpPr>
            <p:spPr bwMode="auto">
              <a:xfrm>
                <a:off x="567258" y="168151"/>
                <a:ext cx="230188" cy="258763"/>
              </a:xfrm>
              <a:custGeom>
                <a:avLst/>
                <a:gdLst>
                  <a:gd name="T0" fmla="*/ 116731600 w 289"/>
                  <a:gd name="T1" fmla="*/ 206025508 h 325"/>
                  <a:gd name="T2" fmla="*/ 183344344 w 289"/>
                  <a:gd name="T3" fmla="*/ 0 h 325"/>
                  <a:gd name="T4" fmla="*/ 124978544 w 289"/>
                  <a:gd name="T5" fmla="*/ 0 h 325"/>
                  <a:gd name="T6" fmla="*/ 90720356 w 289"/>
                  <a:gd name="T7" fmla="*/ 105865119 h 325"/>
                  <a:gd name="T8" fmla="*/ 85645069 w 289"/>
                  <a:gd name="T9" fmla="*/ 121079587 h 325"/>
                  <a:gd name="T10" fmla="*/ 85645069 w 289"/>
                  <a:gd name="T11" fmla="*/ 121079587 h 325"/>
                  <a:gd name="T12" fmla="*/ 85645069 w 289"/>
                  <a:gd name="T13" fmla="*/ 121079587 h 325"/>
                  <a:gd name="T14" fmla="*/ 85645069 w 289"/>
                  <a:gd name="T15" fmla="*/ 121079587 h 325"/>
                  <a:gd name="T16" fmla="*/ 85645069 w 289"/>
                  <a:gd name="T17" fmla="*/ 121079587 h 325"/>
                  <a:gd name="T18" fmla="*/ 85645069 w 289"/>
                  <a:gd name="T19" fmla="*/ 121079587 h 325"/>
                  <a:gd name="T20" fmla="*/ 85645069 w 289"/>
                  <a:gd name="T21" fmla="*/ 121079587 h 325"/>
                  <a:gd name="T22" fmla="*/ 81204592 w 289"/>
                  <a:gd name="T23" fmla="*/ 105865119 h 325"/>
                  <a:gd name="T24" fmla="*/ 57730991 w 289"/>
                  <a:gd name="T25" fmla="*/ 38035772 h 325"/>
                  <a:gd name="T26" fmla="*/ 0 w 289"/>
                  <a:gd name="T27" fmla="*/ 38035772 h 325"/>
                  <a:gd name="T28" fmla="*/ 57096978 w 289"/>
                  <a:gd name="T29" fmla="*/ 206025508 h 325"/>
                  <a:gd name="T30" fmla="*/ 116731600 w 289"/>
                  <a:gd name="T31" fmla="*/ 206025508 h 32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89" h="325">
                    <a:moveTo>
                      <a:pt x="184" y="325"/>
                    </a:moveTo>
                    <a:lnTo>
                      <a:pt x="289" y="0"/>
                    </a:lnTo>
                    <a:lnTo>
                      <a:pt x="197" y="0"/>
                    </a:lnTo>
                    <a:lnTo>
                      <a:pt x="143" y="167"/>
                    </a:lnTo>
                    <a:lnTo>
                      <a:pt x="135" y="191"/>
                    </a:lnTo>
                    <a:lnTo>
                      <a:pt x="128" y="167"/>
                    </a:lnTo>
                    <a:lnTo>
                      <a:pt x="91" y="60"/>
                    </a:lnTo>
                    <a:lnTo>
                      <a:pt x="0" y="60"/>
                    </a:lnTo>
                    <a:lnTo>
                      <a:pt x="90" y="325"/>
                    </a:lnTo>
                    <a:lnTo>
                      <a:pt x="184" y="325"/>
                    </a:lnTo>
                    <a:close/>
                  </a:path>
                </a:pathLst>
              </a:custGeom>
              <a:solidFill>
                <a:srgbClr val="AFAFA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grpSp>
          <p:nvGrpSpPr>
            <p:cNvPr id="10" name="_VTT_logo_102019_06_orange_blue_on_white" hidden="1">
              <a:extLst>
                <a:ext uri="{FF2B5EF4-FFF2-40B4-BE49-F238E27FC236}">
                  <a16:creationId xmlns:a16="http://schemas.microsoft.com/office/drawing/2014/main" id="{682E52EF-3871-28D5-A36B-657BE789183B}"/>
                </a:ext>
              </a:extLst>
            </p:cNvPr>
            <p:cNvGrpSpPr>
              <a:grpSpLocks/>
            </p:cNvGrpSpPr>
            <p:nvPr userDrawn="1"/>
          </p:nvGrpSpPr>
          <p:grpSpPr bwMode="auto">
            <a:xfrm>
              <a:off x="7909204" y="1770762"/>
              <a:ext cx="971550" cy="655638"/>
              <a:chOff x="379933" y="-15999"/>
              <a:chExt cx="971550" cy="655638"/>
            </a:xfrm>
          </p:grpSpPr>
          <p:sp>
            <p:nvSpPr>
              <p:cNvPr id="26" name="Box">
                <a:extLst>
                  <a:ext uri="{FF2B5EF4-FFF2-40B4-BE49-F238E27FC236}">
                    <a16:creationId xmlns:a16="http://schemas.microsoft.com/office/drawing/2014/main" id="{84CE3FAA-AEDE-F0FA-A47A-86EF5633F158}"/>
                  </a:ext>
                </a:extLst>
              </p:cNvPr>
              <p:cNvSpPr>
                <a:spLocks noChangeArrowheads="1"/>
              </p:cNvSpPr>
              <p:nvPr userDrawn="1"/>
            </p:nvSpPr>
            <p:spPr bwMode="auto">
              <a:xfrm>
                <a:off x="379933" y="-15999"/>
                <a:ext cx="971550" cy="655638"/>
              </a:xfrm>
              <a:prstGeom prst="rect">
                <a:avLst/>
              </a:prstGeom>
              <a:solidFill>
                <a:srgbClr val="FFFFFF"/>
              </a:solidFill>
              <a:ln>
                <a:noFill/>
              </a:ln>
            </p:spPr>
            <p:txBody>
              <a:bodyPr/>
              <a:lstStyle>
                <a:lvl1pPr defTabSz="455613">
                  <a:defRPr b="1">
                    <a:solidFill>
                      <a:schemeClr val="tx1"/>
                    </a:solidFill>
                    <a:latin typeface="Verdana" panose="020B0604030504040204" pitchFamily="34" charset="0"/>
                  </a:defRPr>
                </a:lvl1pPr>
                <a:lvl2pPr marL="742950" indent="-285750" defTabSz="455613">
                  <a:defRPr b="1">
                    <a:solidFill>
                      <a:schemeClr val="tx1"/>
                    </a:solidFill>
                    <a:latin typeface="Verdana" panose="020B0604030504040204" pitchFamily="34" charset="0"/>
                  </a:defRPr>
                </a:lvl2pPr>
                <a:lvl3pPr marL="1143000" indent="-228600" defTabSz="455613">
                  <a:defRPr b="1">
                    <a:solidFill>
                      <a:schemeClr val="tx1"/>
                    </a:solidFill>
                    <a:latin typeface="Verdana" panose="020B0604030504040204" pitchFamily="34" charset="0"/>
                  </a:defRPr>
                </a:lvl3pPr>
                <a:lvl4pPr marL="1600200" indent="-228600" defTabSz="455613">
                  <a:defRPr b="1">
                    <a:solidFill>
                      <a:schemeClr val="tx1"/>
                    </a:solidFill>
                    <a:latin typeface="Verdana" panose="020B0604030504040204" pitchFamily="34" charset="0"/>
                  </a:defRPr>
                </a:lvl4pPr>
                <a:lvl5pPr marL="2057400" indent="-228600" defTabSz="455613">
                  <a:defRPr b="1">
                    <a:solidFill>
                      <a:schemeClr val="tx1"/>
                    </a:solidFill>
                    <a:latin typeface="Verdana" panose="020B0604030504040204" pitchFamily="34" charset="0"/>
                  </a:defRPr>
                </a:lvl5pPr>
                <a:lvl6pPr marL="2514600" indent="-228600" defTabSz="455613" eaLnBrk="0" fontAlgn="base" hangingPunct="0">
                  <a:spcBef>
                    <a:spcPct val="0"/>
                  </a:spcBef>
                  <a:spcAft>
                    <a:spcPct val="0"/>
                  </a:spcAft>
                  <a:defRPr b="1">
                    <a:solidFill>
                      <a:schemeClr val="tx1"/>
                    </a:solidFill>
                    <a:latin typeface="Verdana" panose="020B0604030504040204" pitchFamily="34" charset="0"/>
                  </a:defRPr>
                </a:lvl6pPr>
                <a:lvl7pPr marL="2971800" indent="-228600" defTabSz="455613" eaLnBrk="0" fontAlgn="base" hangingPunct="0">
                  <a:spcBef>
                    <a:spcPct val="0"/>
                  </a:spcBef>
                  <a:spcAft>
                    <a:spcPct val="0"/>
                  </a:spcAft>
                  <a:defRPr b="1">
                    <a:solidFill>
                      <a:schemeClr val="tx1"/>
                    </a:solidFill>
                    <a:latin typeface="Verdana" panose="020B0604030504040204" pitchFamily="34" charset="0"/>
                  </a:defRPr>
                </a:lvl7pPr>
                <a:lvl8pPr marL="3429000" indent="-228600" defTabSz="455613" eaLnBrk="0" fontAlgn="base" hangingPunct="0">
                  <a:spcBef>
                    <a:spcPct val="0"/>
                  </a:spcBef>
                  <a:spcAft>
                    <a:spcPct val="0"/>
                  </a:spcAft>
                  <a:defRPr b="1">
                    <a:solidFill>
                      <a:schemeClr val="tx1"/>
                    </a:solidFill>
                    <a:latin typeface="Verdana" panose="020B0604030504040204" pitchFamily="34" charset="0"/>
                  </a:defRPr>
                </a:lvl8pPr>
                <a:lvl9pPr marL="3886200" indent="-228600" defTabSz="455613" eaLnBrk="0" fontAlgn="base" hangingPunct="0">
                  <a:spcBef>
                    <a:spcPct val="0"/>
                  </a:spcBef>
                  <a:spcAft>
                    <a:spcPct val="0"/>
                  </a:spcAft>
                  <a:defRPr b="1">
                    <a:solidFill>
                      <a:schemeClr val="tx1"/>
                    </a:solidFill>
                    <a:latin typeface="Verdana" panose="020B0604030504040204" pitchFamily="34" charset="0"/>
                  </a:defRPr>
                </a:lvl9pPr>
              </a:lstStyle>
              <a:p>
                <a:pPr eaLnBrk="1" hangingPunct="1">
                  <a:defRPr/>
                </a:pPr>
                <a:endParaRPr lang="en-GB" altLang="de-DE" b="0">
                  <a:solidFill>
                    <a:srgbClr val="000000"/>
                  </a:solidFill>
                  <a:latin typeface="Arial" panose="020B0604020202020204" pitchFamily="34" charset="0"/>
                </a:endParaRPr>
              </a:p>
            </p:txBody>
          </p:sp>
          <p:sp>
            <p:nvSpPr>
              <p:cNvPr id="27" name="T2">
                <a:extLst>
                  <a:ext uri="{FF2B5EF4-FFF2-40B4-BE49-F238E27FC236}">
                    <a16:creationId xmlns:a16="http://schemas.microsoft.com/office/drawing/2014/main" id="{B640A03C-BC8E-55C0-E5FD-8255C1ABB119}"/>
                  </a:ext>
                </a:extLst>
              </p:cNvPr>
              <p:cNvSpPr>
                <a:spLocks/>
              </p:cNvSpPr>
              <p:nvPr userDrawn="1"/>
            </p:nvSpPr>
            <p:spPr bwMode="auto">
              <a:xfrm>
                <a:off x="1011758" y="168151"/>
                <a:ext cx="176213" cy="258763"/>
              </a:xfrm>
              <a:custGeom>
                <a:avLst/>
                <a:gdLst>
                  <a:gd name="T0" fmla="*/ 98916612 w 222"/>
                  <a:gd name="T1" fmla="*/ 206025508 h 325"/>
                  <a:gd name="T2" fmla="*/ 98916612 w 222"/>
                  <a:gd name="T3" fmla="*/ 49446026 h 325"/>
                  <a:gd name="T4" fmla="*/ 139869466 w 222"/>
                  <a:gd name="T5" fmla="*/ 49446026 h 325"/>
                  <a:gd name="T6" fmla="*/ 139869466 w 222"/>
                  <a:gd name="T7" fmla="*/ 0 h 325"/>
                  <a:gd name="T8" fmla="*/ 0 w 222"/>
                  <a:gd name="T9" fmla="*/ 0 h 325"/>
                  <a:gd name="T10" fmla="*/ 0 w 222"/>
                  <a:gd name="T11" fmla="*/ 49446026 h 325"/>
                  <a:gd name="T12" fmla="*/ 41583093 w 222"/>
                  <a:gd name="T13" fmla="*/ 49446026 h 325"/>
                  <a:gd name="T14" fmla="*/ 41583093 w 222"/>
                  <a:gd name="T15" fmla="*/ 206025508 h 325"/>
                  <a:gd name="T16" fmla="*/ 41583093 w 222"/>
                  <a:gd name="T17" fmla="*/ 206025508 h 325"/>
                  <a:gd name="T18" fmla="*/ 98916612 w 222"/>
                  <a:gd name="T19" fmla="*/ 206025508 h 3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22" h="325">
                    <a:moveTo>
                      <a:pt x="157" y="325"/>
                    </a:moveTo>
                    <a:lnTo>
                      <a:pt x="157" y="78"/>
                    </a:lnTo>
                    <a:lnTo>
                      <a:pt x="222" y="78"/>
                    </a:lnTo>
                    <a:lnTo>
                      <a:pt x="222" y="0"/>
                    </a:lnTo>
                    <a:lnTo>
                      <a:pt x="0" y="0"/>
                    </a:lnTo>
                    <a:lnTo>
                      <a:pt x="0" y="78"/>
                    </a:lnTo>
                    <a:lnTo>
                      <a:pt x="66" y="78"/>
                    </a:lnTo>
                    <a:lnTo>
                      <a:pt x="66" y="325"/>
                    </a:lnTo>
                    <a:lnTo>
                      <a:pt x="157" y="325"/>
                    </a:lnTo>
                    <a:close/>
                  </a:path>
                </a:pathLst>
              </a:custGeom>
              <a:solidFill>
                <a:srgbClr val="00579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8" name="T1">
                <a:extLst>
                  <a:ext uri="{FF2B5EF4-FFF2-40B4-BE49-F238E27FC236}">
                    <a16:creationId xmlns:a16="http://schemas.microsoft.com/office/drawing/2014/main" id="{F3CCC03E-90D8-7082-A14B-47BE39273CBC}"/>
                  </a:ext>
                </a:extLst>
              </p:cNvPr>
              <p:cNvSpPr>
                <a:spLocks/>
              </p:cNvSpPr>
              <p:nvPr userDrawn="1"/>
            </p:nvSpPr>
            <p:spPr bwMode="auto">
              <a:xfrm>
                <a:off x="799033" y="168151"/>
                <a:ext cx="193675" cy="258763"/>
              </a:xfrm>
              <a:custGeom>
                <a:avLst/>
                <a:gdLst>
                  <a:gd name="T0" fmla="*/ 55443438 w 244"/>
                  <a:gd name="T1" fmla="*/ 49446026 h 325"/>
                  <a:gd name="T2" fmla="*/ 55443438 w 244"/>
                  <a:gd name="T3" fmla="*/ 206025508 h 325"/>
                  <a:gd name="T4" fmla="*/ 112776794 w 244"/>
                  <a:gd name="T5" fmla="*/ 206025508 h 325"/>
                  <a:gd name="T6" fmla="*/ 112776794 w 244"/>
                  <a:gd name="T7" fmla="*/ 49446026 h 325"/>
                  <a:gd name="T8" fmla="*/ 153729531 w 244"/>
                  <a:gd name="T9" fmla="*/ 49446026 h 325"/>
                  <a:gd name="T10" fmla="*/ 153729531 w 244"/>
                  <a:gd name="T11" fmla="*/ 0 h 325"/>
                  <a:gd name="T12" fmla="*/ 15751175 w 244"/>
                  <a:gd name="T13" fmla="*/ 0 h 325"/>
                  <a:gd name="T14" fmla="*/ 0 w 244"/>
                  <a:gd name="T15" fmla="*/ 49446026 h 325"/>
                  <a:gd name="T16" fmla="*/ 55443438 w 244"/>
                  <a:gd name="T17" fmla="*/ 49446026 h 3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44" h="325">
                    <a:moveTo>
                      <a:pt x="88" y="78"/>
                    </a:moveTo>
                    <a:lnTo>
                      <a:pt x="88" y="325"/>
                    </a:lnTo>
                    <a:lnTo>
                      <a:pt x="179" y="325"/>
                    </a:lnTo>
                    <a:lnTo>
                      <a:pt x="179" y="78"/>
                    </a:lnTo>
                    <a:lnTo>
                      <a:pt x="244" y="78"/>
                    </a:lnTo>
                    <a:lnTo>
                      <a:pt x="244" y="0"/>
                    </a:lnTo>
                    <a:lnTo>
                      <a:pt x="25" y="0"/>
                    </a:lnTo>
                    <a:lnTo>
                      <a:pt x="0" y="78"/>
                    </a:lnTo>
                    <a:lnTo>
                      <a:pt x="88" y="78"/>
                    </a:lnTo>
                    <a:close/>
                  </a:path>
                </a:pathLst>
              </a:custGeom>
              <a:solidFill>
                <a:srgbClr val="00579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9" name="V">
                <a:extLst>
                  <a:ext uri="{FF2B5EF4-FFF2-40B4-BE49-F238E27FC236}">
                    <a16:creationId xmlns:a16="http://schemas.microsoft.com/office/drawing/2014/main" id="{34F15D40-3A49-D04B-EE6B-3D06A4572A76}"/>
                  </a:ext>
                </a:extLst>
              </p:cNvPr>
              <p:cNvSpPr>
                <a:spLocks/>
              </p:cNvSpPr>
              <p:nvPr userDrawn="1"/>
            </p:nvSpPr>
            <p:spPr bwMode="auto">
              <a:xfrm>
                <a:off x="567258" y="168151"/>
                <a:ext cx="230188" cy="258763"/>
              </a:xfrm>
              <a:custGeom>
                <a:avLst/>
                <a:gdLst>
                  <a:gd name="T0" fmla="*/ 116731600 w 289"/>
                  <a:gd name="T1" fmla="*/ 206025508 h 325"/>
                  <a:gd name="T2" fmla="*/ 183344344 w 289"/>
                  <a:gd name="T3" fmla="*/ 0 h 325"/>
                  <a:gd name="T4" fmla="*/ 124978544 w 289"/>
                  <a:gd name="T5" fmla="*/ 0 h 325"/>
                  <a:gd name="T6" fmla="*/ 90720356 w 289"/>
                  <a:gd name="T7" fmla="*/ 105865119 h 325"/>
                  <a:gd name="T8" fmla="*/ 85645069 w 289"/>
                  <a:gd name="T9" fmla="*/ 121079587 h 325"/>
                  <a:gd name="T10" fmla="*/ 85645069 w 289"/>
                  <a:gd name="T11" fmla="*/ 121079587 h 325"/>
                  <a:gd name="T12" fmla="*/ 85645069 w 289"/>
                  <a:gd name="T13" fmla="*/ 121079587 h 325"/>
                  <a:gd name="T14" fmla="*/ 85645069 w 289"/>
                  <a:gd name="T15" fmla="*/ 121079587 h 325"/>
                  <a:gd name="T16" fmla="*/ 85645069 w 289"/>
                  <a:gd name="T17" fmla="*/ 121079587 h 325"/>
                  <a:gd name="T18" fmla="*/ 85645069 w 289"/>
                  <a:gd name="T19" fmla="*/ 121079587 h 325"/>
                  <a:gd name="T20" fmla="*/ 85645069 w 289"/>
                  <a:gd name="T21" fmla="*/ 121079587 h 325"/>
                  <a:gd name="T22" fmla="*/ 81204592 w 289"/>
                  <a:gd name="T23" fmla="*/ 105865119 h 325"/>
                  <a:gd name="T24" fmla="*/ 57730991 w 289"/>
                  <a:gd name="T25" fmla="*/ 38035772 h 325"/>
                  <a:gd name="T26" fmla="*/ 0 w 289"/>
                  <a:gd name="T27" fmla="*/ 38035772 h 325"/>
                  <a:gd name="T28" fmla="*/ 57096978 w 289"/>
                  <a:gd name="T29" fmla="*/ 206025508 h 325"/>
                  <a:gd name="T30" fmla="*/ 116731600 w 289"/>
                  <a:gd name="T31" fmla="*/ 206025508 h 32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89" h="325">
                    <a:moveTo>
                      <a:pt x="184" y="325"/>
                    </a:moveTo>
                    <a:lnTo>
                      <a:pt x="289" y="0"/>
                    </a:lnTo>
                    <a:lnTo>
                      <a:pt x="197" y="0"/>
                    </a:lnTo>
                    <a:lnTo>
                      <a:pt x="143" y="167"/>
                    </a:lnTo>
                    <a:lnTo>
                      <a:pt x="135" y="191"/>
                    </a:lnTo>
                    <a:lnTo>
                      <a:pt x="128" y="167"/>
                    </a:lnTo>
                    <a:lnTo>
                      <a:pt x="91" y="60"/>
                    </a:lnTo>
                    <a:lnTo>
                      <a:pt x="0" y="60"/>
                    </a:lnTo>
                    <a:lnTo>
                      <a:pt x="90" y="325"/>
                    </a:lnTo>
                    <a:lnTo>
                      <a:pt x="184" y="325"/>
                    </a:lnTo>
                    <a:close/>
                  </a:path>
                </a:pathLst>
              </a:custGeom>
              <a:solidFill>
                <a:srgbClr val="F06E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grpSp>
          <p:nvGrpSpPr>
            <p:cNvPr id="11" name="_VTT_logo_102019_07_blue_on_white" hidden="1">
              <a:extLst>
                <a:ext uri="{FF2B5EF4-FFF2-40B4-BE49-F238E27FC236}">
                  <a16:creationId xmlns:a16="http://schemas.microsoft.com/office/drawing/2014/main" id="{04E9D7DB-2D91-8DD5-7B4F-F24AFE8D8DF6}"/>
                </a:ext>
              </a:extLst>
            </p:cNvPr>
            <p:cNvGrpSpPr>
              <a:grpSpLocks/>
            </p:cNvGrpSpPr>
            <p:nvPr userDrawn="1"/>
          </p:nvGrpSpPr>
          <p:grpSpPr bwMode="auto">
            <a:xfrm>
              <a:off x="7909204" y="1770762"/>
              <a:ext cx="971550" cy="655638"/>
              <a:chOff x="379933" y="-15999"/>
              <a:chExt cx="971550" cy="655638"/>
            </a:xfrm>
          </p:grpSpPr>
          <p:sp>
            <p:nvSpPr>
              <p:cNvPr id="22" name="Box">
                <a:extLst>
                  <a:ext uri="{FF2B5EF4-FFF2-40B4-BE49-F238E27FC236}">
                    <a16:creationId xmlns:a16="http://schemas.microsoft.com/office/drawing/2014/main" id="{AFB3F1FC-1391-5563-EEC3-805A96560EF7}"/>
                  </a:ext>
                </a:extLst>
              </p:cNvPr>
              <p:cNvSpPr>
                <a:spLocks noChangeArrowheads="1"/>
              </p:cNvSpPr>
              <p:nvPr userDrawn="1"/>
            </p:nvSpPr>
            <p:spPr bwMode="auto">
              <a:xfrm>
                <a:off x="379933" y="-15999"/>
                <a:ext cx="971550" cy="655638"/>
              </a:xfrm>
              <a:prstGeom prst="rect">
                <a:avLst/>
              </a:prstGeom>
              <a:solidFill>
                <a:srgbClr val="FFFFFF"/>
              </a:solidFill>
              <a:ln>
                <a:noFill/>
              </a:ln>
            </p:spPr>
            <p:txBody>
              <a:bodyPr/>
              <a:lstStyle>
                <a:lvl1pPr defTabSz="455613">
                  <a:defRPr b="1">
                    <a:solidFill>
                      <a:schemeClr val="tx1"/>
                    </a:solidFill>
                    <a:latin typeface="Verdana" panose="020B0604030504040204" pitchFamily="34" charset="0"/>
                  </a:defRPr>
                </a:lvl1pPr>
                <a:lvl2pPr marL="742950" indent="-285750" defTabSz="455613">
                  <a:defRPr b="1">
                    <a:solidFill>
                      <a:schemeClr val="tx1"/>
                    </a:solidFill>
                    <a:latin typeface="Verdana" panose="020B0604030504040204" pitchFamily="34" charset="0"/>
                  </a:defRPr>
                </a:lvl2pPr>
                <a:lvl3pPr marL="1143000" indent="-228600" defTabSz="455613">
                  <a:defRPr b="1">
                    <a:solidFill>
                      <a:schemeClr val="tx1"/>
                    </a:solidFill>
                    <a:latin typeface="Verdana" panose="020B0604030504040204" pitchFamily="34" charset="0"/>
                  </a:defRPr>
                </a:lvl3pPr>
                <a:lvl4pPr marL="1600200" indent="-228600" defTabSz="455613">
                  <a:defRPr b="1">
                    <a:solidFill>
                      <a:schemeClr val="tx1"/>
                    </a:solidFill>
                    <a:latin typeface="Verdana" panose="020B0604030504040204" pitchFamily="34" charset="0"/>
                  </a:defRPr>
                </a:lvl4pPr>
                <a:lvl5pPr marL="2057400" indent="-228600" defTabSz="455613">
                  <a:defRPr b="1">
                    <a:solidFill>
                      <a:schemeClr val="tx1"/>
                    </a:solidFill>
                    <a:latin typeface="Verdana" panose="020B0604030504040204" pitchFamily="34" charset="0"/>
                  </a:defRPr>
                </a:lvl5pPr>
                <a:lvl6pPr marL="2514600" indent="-228600" defTabSz="455613" eaLnBrk="0" fontAlgn="base" hangingPunct="0">
                  <a:spcBef>
                    <a:spcPct val="0"/>
                  </a:spcBef>
                  <a:spcAft>
                    <a:spcPct val="0"/>
                  </a:spcAft>
                  <a:defRPr b="1">
                    <a:solidFill>
                      <a:schemeClr val="tx1"/>
                    </a:solidFill>
                    <a:latin typeface="Verdana" panose="020B0604030504040204" pitchFamily="34" charset="0"/>
                  </a:defRPr>
                </a:lvl6pPr>
                <a:lvl7pPr marL="2971800" indent="-228600" defTabSz="455613" eaLnBrk="0" fontAlgn="base" hangingPunct="0">
                  <a:spcBef>
                    <a:spcPct val="0"/>
                  </a:spcBef>
                  <a:spcAft>
                    <a:spcPct val="0"/>
                  </a:spcAft>
                  <a:defRPr b="1">
                    <a:solidFill>
                      <a:schemeClr val="tx1"/>
                    </a:solidFill>
                    <a:latin typeface="Verdana" panose="020B0604030504040204" pitchFamily="34" charset="0"/>
                  </a:defRPr>
                </a:lvl7pPr>
                <a:lvl8pPr marL="3429000" indent="-228600" defTabSz="455613" eaLnBrk="0" fontAlgn="base" hangingPunct="0">
                  <a:spcBef>
                    <a:spcPct val="0"/>
                  </a:spcBef>
                  <a:spcAft>
                    <a:spcPct val="0"/>
                  </a:spcAft>
                  <a:defRPr b="1">
                    <a:solidFill>
                      <a:schemeClr val="tx1"/>
                    </a:solidFill>
                    <a:latin typeface="Verdana" panose="020B0604030504040204" pitchFamily="34" charset="0"/>
                  </a:defRPr>
                </a:lvl8pPr>
                <a:lvl9pPr marL="3886200" indent="-228600" defTabSz="455613" eaLnBrk="0" fontAlgn="base" hangingPunct="0">
                  <a:spcBef>
                    <a:spcPct val="0"/>
                  </a:spcBef>
                  <a:spcAft>
                    <a:spcPct val="0"/>
                  </a:spcAft>
                  <a:defRPr b="1">
                    <a:solidFill>
                      <a:schemeClr val="tx1"/>
                    </a:solidFill>
                    <a:latin typeface="Verdana" panose="020B0604030504040204" pitchFamily="34" charset="0"/>
                  </a:defRPr>
                </a:lvl9pPr>
              </a:lstStyle>
              <a:p>
                <a:pPr eaLnBrk="1" hangingPunct="1">
                  <a:defRPr/>
                </a:pPr>
                <a:endParaRPr lang="en-GB" altLang="de-DE" b="0">
                  <a:solidFill>
                    <a:srgbClr val="000000"/>
                  </a:solidFill>
                  <a:latin typeface="Arial" panose="020B0604020202020204" pitchFamily="34" charset="0"/>
                </a:endParaRPr>
              </a:p>
            </p:txBody>
          </p:sp>
          <p:sp>
            <p:nvSpPr>
              <p:cNvPr id="23" name="T2">
                <a:extLst>
                  <a:ext uri="{FF2B5EF4-FFF2-40B4-BE49-F238E27FC236}">
                    <a16:creationId xmlns:a16="http://schemas.microsoft.com/office/drawing/2014/main" id="{6BA3B23E-A695-3C75-2FA5-A7682E485544}"/>
                  </a:ext>
                </a:extLst>
              </p:cNvPr>
              <p:cNvSpPr>
                <a:spLocks/>
              </p:cNvSpPr>
              <p:nvPr userDrawn="1"/>
            </p:nvSpPr>
            <p:spPr bwMode="auto">
              <a:xfrm>
                <a:off x="1011758" y="168151"/>
                <a:ext cx="176213" cy="258763"/>
              </a:xfrm>
              <a:custGeom>
                <a:avLst/>
                <a:gdLst>
                  <a:gd name="T0" fmla="*/ 98916612 w 222"/>
                  <a:gd name="T1" fmla="*/ 206025508 h 325"/>
                  <a:gd name="T2" fmla="*/ 98916612 w 222"/>
                  <a:gd name="T3" fmla="*/ 49446026 h 325"/>
                  <a:gd name="T4" fmla="*/ 139869466 w 222"/>
                  <a:gd name="T5" fmla="*/ 49446026 h 325"/>
                  <a:gd name="T6" fmla="*/ 139869466 w 222"/>
                  <a:gd name="T7" fmla="*/ 0 h 325"/>
                  <a:gd name="T8" fmla="*/ 0 w 222"/>
                  <a:gd name="T9" fmla="*/ 0 h 325"/>
                  <a:gd name="T10" fmla="*/ 0 w 222"/>
                  <a:gd name="T11" fmla="*/ 49446026 h 325"/>
                  <a:gd name="T12" fmla="*/ 41583093 w 222"/>
                  <a:gd name="T13" fmla="*/ 49446026 h 325"/>
                  <a:gd name="T14" fmla="*/ 41583093 w 222"/>
                  <a:gd name="T15" fmla="*/ 206025508 h 325"/>
                  <a:gd name="T16" fmla="*/ 41583093 w 222"/>
                  <a:gd name="T17" fmla="*/ 206025508 h 325"/>
                  <a:gd name="T18" fmla="*/ 98916612 w 222"/>
                  <a:gd name="T19" fmla="*/ 206025508 h 3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22" h="325">
                    <a:moveTo>
                      <a:pt x="157" y="325"/>
                    </a:moveTo>
                    <a:lnTo>
                      <a:pt x="157" y="78"/>
                    </a:lnTo>
                    <a:lnTo>
                      <a:pt x="222" y="78"/>
                    </a:lnTo>
                    <a:lnTo>
                      <a:pt x="222" y="0"/>
                    </a:lnTo>
                    <a:lnTo>
                      <a:pt x="0" y="0"/>
                    </a:lnTo>
                    <a:lnTo>
                      <a:pt x="0" y="78"/>
                    </a:lnTo>
                    <a:lnTo>
                      <a:pt x="66" y="78"/>
                    </a:lnTo>
                    <a:lnTo>
                      <a:pt x="66" y="325"/>
                    </a:lnTo>
                    <a:lnTo>
                      <a:pt x="157" y="325"/>
                    </a:lnTo>
                    <a:close/>
                  </a:path>
                </a:pathLst>
              </a:custGeom>
              <a:solidFill>
                <a:srgbClr val="00579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 name="T1">
                <a:extLst>
                  <a:ext uri="{FF2B5EF4-FFF2-40B4-BE49-F238E27FC236}">
                    <a16:creationId xmlns:a16="http://schemas.microsoft.com/office/drawing/2014/main" id="{5C8740E6-BBD1-F891-11D8-357689155526}"/>
                  </a:ext>
                </a:extLst>
              </p:cNvPr>
              <p:cNvSpPr>
                <a:spLocks/>
              </p:cNvSpPr>
              <p:nvPr userDrawn="1"/>
            </p:nvSpPr>
            <p:spPr bwMode="auto">
              <a:xfrm>
                <a:off x="799033" y="168151"/>
                <a:ext cx="193675" cy="258763"/>
              </a:xfrm>
              <a:custGeom>
                <a:avLst/>
                <a:gdLst>
                  <a:gd name="T0" fmla="*/ 55443438 w 244"/>
                  <a:gd name="T1" fmla="*/ 49446026 h 325"/>
                  <a:gd name="T2" fmla="*/ 55443438 w 244"/>
                  <a:gd name="T3" fmla="*/ 206025508 h 325"/>
                  <a:gd name="T4" fmla="*/ 112776794 w 244"/>
                  <a:gd name="T5" fmla="*/ 206025508 h 325"/>
                  <a:gd name="T6" fmla="*/ 112776794 w 244"/>
                  <a:gd name="T7" fmla="*/ 49446026 h 325"/>
                  <a:gd name="T8" fmla="*/ 153729531 w 244"/>
                  <a:gd name="T9" fmla="*/ 49446026 h 325"/>
                  <a:gd name="T10" fmla="*/ 153729531 w 244"/>
                  <a:gd name="T11" fmla="*/ 0 h 325"/>
                  <a:gd name="T12" fmla="*/ 15751175 w 244"/>
                  <a:gd name="T13" fmla="*/ 0 h 325"/>
                  <a:gd name="T14" fmla="*/ 0 w 244"/>
                  <a:gd name="T15" fmla="*/ 49446026 h 325"/>
                  <a:gd name="T16" fmla="*/ 55443438 w 244"/>
                  <a:gd name="T17" fmla="*/ 49446026 h 3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44" h="325">
                    <a:moveTo>
                      <a:pt x="88" y="78"/>
                    </a:moveTo>
                    <a:lnTo>
                      <a:pt x="88" y="325"/>
                    </a:lnTo>
                    <a:lnTo>
                      <a:pt x="179" y="325"/>
                    </a:lnTo>
                    <a:lnTo>
                      <a:pt x="179" y="78"/>
                    </a:lnTo>
                    <a:lnTo>
                      <a:pt x="244" y="78"/>
                    </a:lnTo>
                    <a:lnTo>
                      <a:pt x="244" y="0"/>
                    </a:lnTo>
                    <a:lnTo>
                      <a:pt x="25" y="0"/>
                    </a:lnTo>
                    <a:lnTo>
                      <a:pt x="0" y="78"/>
                    </a:lnTo>
                    <a:lnTo>
                      <a:pt x="88" y="78"/>
                    </a:lnTo>
                    <a:close/>
                  </a:path>
                </a:pathLst>
              </a:custGeom>
              <a:solidFill>
                <a:srgbClr val="00579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 name="V">
                <a:extLst>
                  <a:ext uri="{FF2B5EF4-FFF2-40B4-BE49-F238E27FC236}">
                    <a16:creationId xmlns:a16="http://schemas.microsoft.com/office/drawing/2014/main" id="{C6033A5D-A25E-C58F-60B5-66FA6F66726D}"/>
                  </a:ext>
                </a:extLst>
              </p:cNvPr>
              <p:cNvSpPr>
                <a:spLocks/>
              </p:cNvSpPr>
              <p:nvPr userDrawn="1"/>
            </p:nvSpPr>
            <p:spPr bwMode="auto">
              <a:xfrm>
                <a:off x="567258" y="168151"/>
                <a:ext cx="230188" cy="258763"/>
              </a:xfrm>
              <a:custGeom>
                <a:avLst/>
                <a:gdLst>
                  <a:gd name="T0" fmla="*/ 116731600 w 289"/>
                  <a:gd name="T1" fmla="*/ 206025508 h 325"/>
                  <a:gd name="T2" fmla="*/ 183344344 w 289"/>
                  <a:gd name="T3" fmla="*/ 0 h 325"/>
                  <a:gd name="T4" fmla="*/ 124978544 w 289"/>
                  <a:gd name="T5" fmla="*/ 0 h 325"/>
                  <a:gd name="T6" fmla="*/ 90720356 w 289"/>
                  <a:gd name="T7" fmla="*/ 105865119 h 325"/>
                  <a:gd name="T8" fmla="*/ 85645069 w 289"/>
                  <a:gd name="T9" fmla="*/ 121079587 h 325"/>
                  <a:gd name="T10" fmla="*/ 85645069 w 289"/>
                  <a:gd name="T11" fmla="*/ 121079587 h 325"/>
                  <a:gd name="T12" fmla="*/ 85645069 w 289"/>
                  <a:gd name="T13" fmla="*/ 121079587 h 325"/>
                  <a:gd name="T14" fmla="*/ 85645069 w 289"/>
                  <a:gd name="T15" fmla="*/ 121079587 h 325"/>
                  <a:gd name="T16" fmla="*/ 85645069 w 289"/>
                  <a:gd name="T17" fmla="*/ 121079587 h 325"/>
                  <a:gd name="T18" fmla="*/ 85645069 w 289"/>
                  <a:gd name="T19" fmla="*/ 121079587 h 325"/>
                  <a:gd name="T20" fmla="*/ 85645069 w 289"/>
                  <a:gd name="T21" fmla="*/ 121079587 h 325"/>
                  <a:gd name="T22" fmla="*/ 81204592 w 289"/>
                  <a:gd name="T23" fmla="*/ 105865119 h 325"/>
                  <a:gd name="T24" fmla="*/ 57730991 w 289"/>
                  <a:gd name="T25" fmla="*/ 38035772 h 325"/>
                  <a:gd name="T26" fmla="*/ 0 w 289"/>
                  <a:gd name="T27" fmla="*/ 38035772 h 325"/>
                  <a:gd name="T28" fmla="*/ 57096978 w 289"/>
                  <a:gd name="T29" fmla="*/ 206025508 h 325"/>
                  <a:gd name="T30" fmla="*/ 116731600 w 289"/>
                  <a:gd name="T31" fmla="*/ 206025508 h 32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89" h="325">
                    <a:moveTo>
                      <a:pt x="184" y="325"/>
                    </a:moveTo>
                    <a:lnTo>
                      <a:pt x="289" y="0"/>
                    </a:lnTo>
                    <a:lnTo>
                      <a:pt x="197" y="0"/>
                    </a:lnTo>
                    <a:lnTo>
                      <a:pt x="143" y="167"/>
                    </a:lnTo>
                    <a:lnTo>
                      <a:pt x="135" y="191"/>
                    </a:lnTo>
                    <a:lnTo>
                      <a:pt x="128" y="167"/>
                    </a:lnTo>
                    <a:lnTo>
                      <a:pt x="91" y="60"/>
                    </a:lnTo>
                    <a:lnTo>
                      <a:pt x="0" y="60"/>
                    </a:lnTo>
                    <a:lnTo>
                      <a:pt x="90" y="325"/>
                    </a:lnTo>
                    <a:lnTo>
                      <a:pt x="184" y="325"/>
                    </a:lnTo>
                    <a:close/>
                  </a:path>
                </a:pathLst>
              </a:custGeom>
              <a:solidFill>
                <a:srgbClr val="00579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grpSp>
          <p:nvGrpSpPr>
            <p:cNvPr id="12" name="_VTT_logo_102019_08_black_on_white" hidden="1">
              <a:extLst>
                <a:ext uri="{FF2B5EF4-FFF2-40B4-BE49-F238E27FC236}">
                  <a16:creationId xmlns:a16="http://schemas.microsoft.com/office/drawing/2014/main" id="{D915C088-EC7A-922E-B382-0E91D58B4152}"/>
                </a:ext>
              </a:extLst>
            </p:cNvPr>
            <p:cNvGrpSpPr>
              <a:grpSpLocks/>
            </p:cNvGrpSpPr>
            <p:nvPr userDrawn="1"/>
          </p:nvGrpSpPr>
          <p:grpSpPr bwMode="auto">
            <a:xfrm>
              <a:off x="7909204" y="1770762"/>
              <a:ext cx="971550" cy="655638"/>
              <a:chOff x="379933" y="-15999"/>
              <a:chExt cx="971550" cy="655638"/>
            </a:xfrm>
          </p:grpSpPr>
          <p:sp>
            <p:nvSpPr>
              <p:cNvPr id="18" name="Box">
                <a:extLst>
                  <a:ext uri="{FF2B5EF4-FFF2-40B4-BE49-F238E27FC236}">
                    <a16:creationId xmlns:a16="http://schemas.microsoft.com/office/drawing/2014/main" id="{CD84887E-8FA7-1C90-4616-7442BD265655}"/>
                  </a:ext>
                </a:extLst>
              </p:cNvPr>
              <p:cNvSpPr>
                <a:spLocks noChangeArrowheads="1"/>
              </p:cNvSpPr>
              <p:nvPr userDrawn="1"/>
            </p:nvSpPr>
            <p:spPr bwMode="auto">
              <a:xfrm>
                <a:off x="379933" y="-15999"/>
                <a:ext cx="971550" cy="655638"/>
              </a:xfrm>
              <a:prstGeom prst="rect">
                <a:avLst/>
              </a:prstGeom>
              <a:solidFill>
                <a:srgbClr val="FFFFFF"/>
              </a:solidFill>
              <a:ln>
                <a:noFill/>
              </a:ln>
            </p:spPr>
            <p:txBody>
              <a:bodyPr/>
              <a:lstStyle>
                <a:lvl1pPr defTabSz="455613">
                  <a:defRPr b="1">
                    <a:solidFill>
                      <a:schemeClr val="tx1"/>
                    </a:solidFill>
                    <a:latin typeface="Verdana" panose="020B0604030504040204" pitchFamily="34" charset="0"/>
                  </a:defRPr>
                </a:lvl1pPr>
                <a:lvl2pPr marL="742950" indent="-285750" defTabSz="455613">
                  <a:defRPr b="1">
                    <a:solidFill>
                      <a:schemeClr val="tx1"/>
                    </a:solidFill>
                    <a:latin typeface="Verdana" panose="020B0604030504040204" pitchFamily="34" charset="0"/>
                  </a:defRPr>
                </a:lvl2pPr>
                <a:lvl3pPr marL="1143000" indent="-228600" defTabSz="455613">
                  <a:defRPr b="1">
                    <a:solidFill>
                      <a:schemeClr val="tx1"/>
                    </a:solidFill>
                    <a:latin typeface="Verdana" panose="020B0604030504040204" pitchFamily="34" charset="0"/>
                  </a:defRPr>
                </a:lvl3pPr>
                <a:lvl4pPr marL="1600200" indent="-228600" defTabSz="455613">
                  <a:defRPr b="1">
                    <a:solidFill>
                      <a:schemeClr val="tx1"/>
                    </a:solidFill>
                    <a:latin typeface="Verdana" panose="020B0604030504040204" pitchFamily="34" charset="0"/>
                  </a:defRPr>
                </a:lvl4pPr>
                <a:lvl5pPr marL="2057400" indent="-228600" defTabSz="455613">
                  <a:defRPr b="1">
                    <a:solidFill>
                      <a:schemeClr val="tx1"/>
                    </a:solidFill>
                    <a:latin typeface="Verdana" panose="020B0604030504040204" pitchFamily="34" charset="0"/>
                  </a:defRPr>
                </a:lvl5pPr>
                <a:lvl6pPr marL="2514600" indent="-228600" defTabSz="455613" eaLnBrk="0" fontAlgn="base" hangingPunct="0">
                  <a:spcBef>
                    <a:spcPct val="0"/>
                  </a:spcBef>
                  <a:spcAft>
                    <a:spcPct val="0"/>
                  </a:spcAft>
                  <a:defRPr b="1">
                    <a:solidFill>
                      <a:schemeClr val="tx1"/>
                    </a:solidFill>
                    <a:latin typeface="Verdana" panose="020B0604030504040204" pitchFamily="34" charset="0"/>
                  </a:defRPr>
                </a:lvl6pPr>
                <a:lvl7pPr marL="2971800" indent="-228600" defTabSz="455613" eaLnBrk="0" fontAlgn="base" hangingPunct="0">
                  <a:spcBef>
                    <a:spcPct val="0"/>
                  </a:spcBef>
                  <a:spcAft>
                    <a:spcPct val="0"/>
                  </a:spcAft>
                  <a:defRPr b="1">
                    <a:solidFill>
                      <a:schemeClr val="tx1"/>
                    </a:solidFill>
                    <a:latin typeface="Verdana" panose="020B0604030504040204" pitchFamily="34" charset="0"/>
                  </a:defRPr>
                </a:lvl7pPr>
                <a:lvl8pPr marL="3429000" indent="-228600" defTabSz="455613" eaLnBrk="0" fontAlgn="base" hangingPunct="0">
                  <a:spcBef>
                    <a:spcPct val="0"/>
                  </a:spcBef>
                  <a:spcAft>
                    <a:spcPct val="0"/>
                  </a:spcAft>
                  <a:defRPr b="1">
                    <a:solidFill>
                      <a:schemeClr val="tx1"/>
                    </a:solidFill>
                    <a:latin typeface="Verdana" panose="020B0604030504040204" pitchFamily="34" charset="0"/>
                  </a:defRPr>
                </a:lvl8pPr>
                <a:lvl9pPr marL="3886200" indent="-228600" defTabSz="455613" eaLnBrk="0" fontAlgn="base" hangingPunct="0">
                  <a:spcBef>
                    <a:spcPct val="0"/>
                  </a:spcBef>
                  <a:spcAft>
                    <a:spcPct val="0"/>
                  </a:spcAft>
                  <a:defRPr b="1">
                    <a:solidFill>
                      <a:schemeClr val="tx1"/>
                    </a:solidFill>
                    <a:latin typeface="Verdana" panose="020B0604030504040204" pitchFamily="34" charset="0"/>
                  </a:defRPr>
                </a:lvl9pPr>
              </a:lstStyle>
              <a:p>
                <a:pPr eaLnBrk="1" hangingPunct="1">
                  <a:defRPr/>
                </a:pPr>
                <a:endParaRPr lang="en-GB" altLang="de-DE" b="0">
                  <a:solidFill>
                    <a:srgbClr val="000000"/>
                  </a:solidFill>
                  <a:latin typeface="Arial" panose="020B0604020202020204" pitchFamily="34" charset="0"/>
                </a:endParaRPr>
              </a:p>
            </p:txBody>
          </p:sp>
          <p:sp>
            <p:nvSpPr>
              <p:cNvPr id="19" name="T2">
                <a:extLst>
                  <a:ext uri="{FF2B5EF4-FFF2-40B4-BE49-F238E27FC236}">
                    <a16:creationId xmlns:a16="http://schemas.microsoft.com/office/drawing/2014/main" id="{E0097916-B9F1-ABF3-DEE1-2AD0B4BB6499}"/>
                  </a:ext>
                </a:extLst>
              </p:cNvPr>
              <p:cNvSpPr>
                <a:spLocks/>
              </p:cNvSpPr>
              <p:nvPr userDrawn="1"/>
            </p:nvSpPr>
            <p:spPr bwMode="auto">
              <a:xfrm>
                <a:off x="1011758" y="168151"/>
                <a:ext cx="176213" cy="258763"/>
              </a:xfrm>
              <a:custGeom>
                <a:avLst/>
                <a:gdLst>
                  <a:gd name="T0" fmla="*/ 98916612 w 222"/>
                  <a:gd name="T1" fmla="*/ 206025508 h 325"/>
                  <a:gd name="T2" fmla="*/ 98916612 w 222"/>
                  <a:gd name="T3" fmla="*/ 49446026 h 325"/>
                  <a:gd name="T4" fmla="*/ 139869466 w 222"/>
                  <a:gd name="T5" fmla="*/ 49446026 h 325"/>
                  <a:gd name="T6" fmla="*/ 139869466 w 222"/>
                  <a:gd name="T7" fmla="*/ 0 h 325"/>
                  <a:gd name="T8" fmla="*/ 0 w 222"/>
                  <a:gd name="T9" fmla="*/ 0 h 325"/>
                  <a:gd name="T10" fmla="*/ 0 w 222"/>
                  <a:gd name="T11" fmla="*/ 49446026 h 325"/>
                  <a:gd name="T12" fmla="*/ 41583093 w 222"/>
                  <a:gd name="T13" fmla="*/ 49446026 h 325"/>
                  <a:gd name="T14" fmla="*/ 41583093 w 222"/>
                  <a:gd name="T15" fmla="*/ 206025508 h 325"/>
                  <a:gd name="T16" fmla="*/ 41583093 w 222"/>
                  <a:gd name="T17" fmla="*/ 206025508 h 325"/>
                  <a:gd name="T18" fmla="*/ 98916612 w 222"/>
                  <a:gd name="T19" fmla="*/ 206025508 h 3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22" h="325">
                    <a:moveTo>
                      <a:pt x="157" y="325"/>
                    </a:moveTo>
                    <a:lnTo>
                      <a:pt x="157" y="78"/>
                    </a:lnTo>
                    <a:lnTo>
                      <a:pt x="222" y="78"/>
                    </a:lnTo>
                    <a:lnTo>
                      <a:pt x="222" y="0"/>
                    </a:lnTo>
                    <a:lnTo>
                      <a:pt x="0" y="0"/>
                    </a:lnTo>
                    <a:lnTo>
                      <a:pt x="0" y="78"/>
                    </a:lnTo>
                    <a:lnTo>
                      <a:pt x="66" y="78"/>
                    </a:lnTo>
                    <a:lnTo>
                      <a:pt x="66" y="325"/>
                    </a:lnTo>
                    <a:lnTo>
                      <a:pt x="157" y="32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 name="T1">
                <a:extLst>
                  <a:ext uri="{FF2B5EF4-FFF2-40B4-BE49-F238E27FC236}">
                    <a16:creationId xmlns:a16="http://schemas.microsoft.com/office/drawing/2014/main" id="{F21F5728-580A-6DD7-3102-4367BC334BF8}"/>
                  </a:ext>
                </a:extLst>
              </p:cNvPr>
              <p:cNvSpPr>
                <a:spLocks/>
              </p:cNvSpPr>
              <p:nvPr userDrawn="1"/>
            </p:nvSpPr>
            <p:spPr bwMode="auto">
              <a:xfrm>
                <a:off x="799033" y="168151"/>
                <a:ext cx="193675" cy="258763"/>
              </a:xfrm>
              <a:custGeom>
                <a:avLst/>
                <a:gdLst>
                  <a:gd name="T0" fmla="*/ 55443438 w 244"/>
                  <a:gd name="T1" fmla="*/ 49446026 h 325"/>
                  <a:gd name="T2" fmla="*/ 55443438 w 244"/>
                  <a:gd name="T3" fmla="*/ 206025508 h 325"/>
                  <a:gd name="T4" fmla="*/ 112776794 w 244"/>
                  <a:gd name="T5" fmla="*/ 206025508 h 325"/>
                  <a:gd name="T6" fmla="*/ 112776794 w 244"/>
                  <a:gd name="T7" fmla="*/ 49446026 h 325"/>
                  <a:gd name="T8" fmla="*/ 153729531 w 244"/>
                  <a:gd name="T9" fmla="*/ 49446026 h 325"/>
                  <a:gd name="T10" fmla="*/ 153729531 w 244"/>
                  <a:gd name="T11" fmla="*/ 0 h 325"/>
                  <a:gd name="T12" fmla="*/ 15751175 w 244"/>
                  <a:gd name="T13" fmla="*/ 0 h 325"/>
                  <a:gd name="T14" fmla="*/ 0 w 244"/>
                  <a:gd name="T15" fmla="*/ 49446026 h 325"/>
                  <a:gd name="T16" fmla="*/ 55443438 w 244"/>
                  <a:gd name="T17" fmla="*/ 49446026 h 3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44" h="325">
                    <a:moveTo>
                      <a:pt x="88" y="78"/>
                    </a:moveTo>
                    <a:lnTo>
                      <a:pt x="88" y="325"/>
                    </a:lnTo>
                    <a:lnTo>
                      <a:pt x="179" y="325"/>
                    </a:lnTo>
                    <a:lnTo>
                      <a:pt x="179" y="78"/>
                    </a:lnTo>
                    <a:lnTo>
                      <a:pt x="244" y="78"/>
                    </a:lnTo>
                    <a:lnTo>
                      <a:pt x="244" y="0"/>
                    </a:lnTo>
                    <a:lnTo>
                      <a:pt x="25" y="0"/>
                    </a:lnTo>
                    <a:lnTo>
                      <a:pt x="0" y="78"/>
                    </a:lnTo>
                    <a:lnTo>
                      <a:pt x="88" y="7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 name="V">
                <a:extLst>
                  <a:ext uri="{FF2B5EF4-FFF2-40B4-BE49-F238E27FC236}">
                    <a16:creationId xmlns:a16="http://schemas.microsoft.com/office/drawing/2014/main" id="{042F5E58-8941-94EF-D726-1921FB80B2D2}"/>
                  </a:ext>
                </a:extLst>
              </p:cNvPr>
              <p:cNvSpPr>
                <a:spLocks/>
              </p:cNvSpPr>
              <p:nvPr userDrawn="1"/>
            </p:nvSpPr>
            <p:spPr bwMode="auto">
              <a:xfrm>
                <a:off x="567258" y="168151"/>
                <a:ext cx="230188" cy="258763"/>
              </a:xfrm>
              <a:custGeom>
                <a:avLst/>
                <a:gdLst>
                  <a:gd name="T0" fmla="*/ 116731600 w 289"/>
                  <a:gd name="T1" fmla="*/ 206025508 h 325"/>
                  <a:gd name="T2" fmla="*/ 183344344 w 289"/>
                  <a:gd name="T3" fmla="*/ 0 h 325"/>
                  <a:gd name="T4" fmla="*/ 124978544 w 289"/>
                  <a:gd name="T5" fmla="*/ 0 h 325"/>
                  <a:gd name="T6" fmla="*/ 90720356 w 289"/>
                  <a:gd name="T7" fmla="*/ 105865119 h 325"/>
                  <a:gd name="T8" fmla="*/ 85645069 w 289"/>
                  <a:gd name="T9" fmla="*/ 121079587 h 325"/>
                  <a:gd name="T10" fmla="*/ 85645069 w 289"/>
                  <a:gd name="T11" fmla="*/ 121079587 h 325"/>
                  <a:gd name="T12" fmla="*/ 85645069 w 289"/>
                  <a:gd name="T13" fmla="*/ 121079587 h 325"/>
                  <a:gd name="T14" fmla="*/ 85645069 w 289"/>
                  <a:gd name="T15" fmla="*/ 121079587 h 325"/>
                  <a:gd name="T16" fmla="*/ 85645069 w 289"/>
                  <a:gd name="T17" fmla="*/ 121079587 h 325"/>
                  <a:gd name="T18" fmla="*/ 85645069 w 289"/>
                  <a:gd name="T19" fmla="*/ 121079587 h 325"/>
                  <a:gd name="T20" fmla="*/ 85645069 w 289"/>
                  <a:gd name="T21" fmla="*/ 121079587 h 325"/>
                  <a:gd name="T22" fmla="*/ 81204592 w 289"/>
                  <a:gd name="T23" fmla="*/ 105865119 h 325"/>
                  <a:gd name="T24" fmla="*/ 57730991 w 289"/>
                  <a:gd name="T25" fmla="*/ 38035772 h 325"/>
                  <a:gd name="T26" fmla="*/ 0 w 289"/>
                  <a:gd name="T27" fmla="*/ 38035772 h 325"/>
                  <a:gd name="T28" fmla="*/ 57096978 w 289"/>
                  <a:gd name="T29" fmla="*/ 206025508 h 325"/>
                  <a:gd name="T30" fmla="*/ 116731600 w 289"/>
                  <a:gd name="T31" fmla="*/ 206025508 h 32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89" h="325">
                    <a:moveTo>
                      <a:pt x="184" y="325"/>
                    </a:moveTo>
                    <a:lnTo>
                      <a:pt x="289" y="0"/>
                    </a:lnTo>
                    <a:lnTo>
                      <a:pt x="197" y="0"/>
                    </a:lnTo>
                    <a:lnTo>
                      <a:pt x="143" y="167"/>
                    </a:lnTo>
                    <a:lnTo>
                      <a:pt x="135" y="191"/>
                    </a:lnTo>
                    <a:lnTo>
                      <a:pt x="128" y="167"/>
                    </a:lnTo>
                    <a:lnTo>
                      <a:pt x="91" y="60"/>
                    </a:lnTo>
                    <a:lnTo>
                      <a:pt x="0" y="60"/>
                    </a:lnTo>
                    <a:lnTo>
                      <a:pt x="90" y="325"/>
                    </a:lnTo>
                    <a:lnTo>
                      <a:pt x="184" y="32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grpSp>
          <p:nvGrpSpPr>
            <p:cNvPr id="13" name="_VTT_logo_102019_09_orange_on_white" hidden="1">
              <a:extLst>
                <a:ext uri="{FF2B5EF4-FFF2-40B4-BE49-F238E27FC236}">
                  <a16:creationId xmlns:a16="http://schemas.microsoft.com/office/drawing/2014/main" id="{CAB5F48D-0DDA-7960-E757-050ACB4C0A69}"/>
                </a:ext>
              </a:extLst>
            </p:cNvPr>
            <p:cNvGrpSpPr>
              <a:grpSpLocks/>
            </p:cNvGrpSpPr>
            <p:nvPr userDrawn="1"/>
          </p:nvGrpSpPr>
          <p:grpSpPr bwMode="auto">
            <a:xfrm>
              <a:off x="7909204" y="1770762"/>
              <a:ext cx="971550" cy="655638"/>
              <a:chOff x="379933" y="-15999"/>
              <a:chExt cx="971550" cy="655638"/>
            </a:xfrm>
          </p:grpSpPr>
          <p:sp>
            <p:nvSpPr>
              <p:cNvPr id="14" name="Box">
                <a:extLst>
                  <a:ext uri="{FF2B5EF4-FFF2-40B4-BE49-F238E27FC236}">
                    <a16:creationId xmlns:a16="http://schemas.microsoft.com/office/drawing/2014/main" id="{34288017-F220-F82F-D740-BEEDFACF7A60}"/>
                  </a:ext>
                </a:extLst>
              </p:cNvPr>
              <p:cNvSpPr>
                <a:spLocks noChangeArrowheads="1"/>
              </p:cNvSpPr>
              <p:nvPr userDrawn="1"/>
            </p:nvSpPr>
            <p:spPr bwMode="auto">
              <a:xfrm>
                <a:off x="379933" y="-15999"/>
                <a:ext cx="971550" cy="655638"/>
              </a:xfrm>
              <a:prstGeom prst="rect">
                <a:avLst/>
              </a:prstGeom>
              <a:solidFill>
                <a:srgbClr val="FFFFFF"/>
              </a:solidFill>
              <a:ln>
                <a:noFill/>
              </a:ln>
            </p:spPr>
            <p:txBody>
              <a:bodyPr/>
              <a:lstStyle>
                <a:lvl1pPr defTabSz="455613">
                  <a:defRPr b="1">
                    <a:solidFill>
                      <a:schemeClr val="tx1"/>
                    </a:solidFill>
                    <a:latin typeface="Verdana" panose="020B0604030504040204" pitchFamily="34" charset="0"/>
                  </a:defRPr>
                </a:lvl1pPr>
                <a:lvl2pPr marL="742950" indent="-285750" defTabSz="455613">
                  <a:defRPr b="1">
                    <a:solidFill>
                      <a:schemeClr val="tx1"/>
                    </a:solidFill>
                    <a:latin typeface="Verdana" panose="020B0604030504040204" pitchFamily="34" charset="0"/>
                  </a:defRPr>
                </a:lvl2pPr>
                <a:lvl3pPr marL="1143000" indent="-228600" defTabSz="455613">
                  <a:defRPr b="1">
                    <a:solidFill>
                      <a:schemeClr val="tx1"/>
                    </a:solidFill>
                    <a:latin typeface="Verdana" panose="020B0604030504040204" pitchFamily="34" charset="0"/>
                  </a:defRPr>
                </a:lvl3pPr>
                <a:lvl4pPr marL="1600200" indent="-228600" defTabSz="455613">
                  <a:defRPr b="1">
                    <a:solidFill>
                      <a:schemeClr val="tx1"/>
                    </a:solidFill>
                    <a:latin typeface="Verdana" panose="020B0604030504040204" pitchFamily="34" charset="0"/>
                  </a:defRPr>
                </a:lvl4pPr>
                <a:lvl5pPr marL="2057400" indent="-228600" defTabSz="455613">
                  <a:defRPr b="1">
                    <a:solidFill>
                      <a:schemeClr val="tx1"/>
                    </a:solidFill>
                    <a:latin typeface="Verdana" panose="020B0604030504040204" pitchFamily="34" charset="0"/>
                  </a:defRPr>
                </a:lvl5pPr>
                <a:lvl6pPr marL="2514600" indent="-228600" defTabSz="455613" eaLnBrk="0" fontAlgn="base" hangingPunct="0">
                  <a:spcBef>
                    <a:spcPct val="0"/>
                  </a:spcBef>
                  <a:spcAft>
                    <a:spcPct val="0"/>
                  </a:spcAft>
                  <a:defRPr b="1">
                    <a:solidFill>
                      <a:schemeClr val="tx1"/>
                    </a:solidFill>
                    <a:latin typeface="Verdana" panose="020B0604030504040204" pitchFamily="34" charset="0"/>
                  </a:defRPr>
                </a:lvl6pPr>
                <a:lvl7pPr marL="2971800" indent="-228600" defTabSz="455613" eaLnBrk="0" fontAlgn="base" hangingPunct="0">
                  <a:spcBef>
                    <a:spcPct val="0"/>
                  </a:spcBef>
                  <a:spcAft>
                    <a:spcPct val="0"/>
                  </a:spcAft>
                  <a:defRPr b="1">
                    <a:solidFill>
                      <a:schemeClr val="tx1"/>
                    </a:solidFill>
                    <a:latin typeface="Verdana" panose="020B0604030504040204" pitchFamily="34" charset="0"/>
                  </a:defRPr>
                </a:lvl7pPr>
                <a:lvl8pPr marL="3429000" indent="-228600" defTabSz="455613" eaLnBrk="0" fontAlgn="base" hangingPunct="0">
                  <a:spcBef>
                    <a:spcPct val="0"/>
                  </a:spcBef>
                  <a:spcAft>
                    <a:spcPct val="0"/>
                  </a:spcAft>
                  <a:defRPr b="1">
                    <a:solidFill>
                      <a:schemeClr val="tx1"/>
                    </a:solidFill>
                    <a:latin typeface="Verdana" panose="020B0604030504040204" pitchFamily="34" charset="0"/>
                  </a:defRPr>
                </a:lvl8pPr>
                <a:lvl9pPr marL="3886200" indent="-228600" defTabSz="455613" eaLnBrk="0" fontAlgn="base" hangingPunct="0">
                  <a:spcBef>
                    <a:spcPct val="0"/>
                  </a:spcBef>
                  <a:spcAft>
                    <a:spcPct val="0"/>
                  </a:spcAft>
                  <a:defRPr b="1">
                    <a:solidFill>
                      <a:schemeClr val="tx1"/>
                    </a:solidFill>
                    <a:latin typeface="Verdana" panose="020B0604030504040204" pitchFamily="34" charset="0"/>
                  </a:defRPr>
                </a:lvl9pPr>
              </a:lstStyle>
              <a:p>
                <a:pPr eaLnBrk="1" hangingPunct="1">
                  <a:defRPr/>
                </a:pPr>
                <a:endParaRPr lang="en-GB" altLang="de-DE" b="0">
                  <a:solidFill>
                    <a:srgbClr val="000000"/>
                  </a:solidFill>
                  <a:latin typeface="Arial" panose="020B0604020202020204" pitchFamily="34" charset="0"/>
                </a:endParaRPr>
              </a:p>
            </p:txBody>
          </p:sp>
          <p:sp>
            <p:nvSpPr>
              <p:cNvPr id="15" name="T2">
                <a:extLst>
                  <a:ext uri="{FF2B5EF4-FFF2-40B4-BE49-F238E27FC236}">
                    <a16:creationId xmlns:a16="http://schemas.microsoft.com/office/drawing/2014/main" id="{38197186-1209-D36A-EFDF-31733B26B653}"/>
                  </a:ext>
                </a:extLst>
              </p:cNvPr>
              <p:cNvSpPr>
                <a:spLocks/>
              </p:cNvSpPr>
              <p:nvPr userDrawn="1"/>
            </p:nvSpPr>
            <p:spPr bwMode="auto">
              <a:xfrm>
                <a:off x="1011758" y="168151"/>
                <a:ext cx="176213" cy="258763"/>
              </a:xfrm>
              <a:custGeom>
                <a:avLst/>
                <a:gdLst>
                  <a:gd name="T0" fmla="*/ 98916612 w 222"/>
                  <a:gd name="T1" fmla="*/ 206025508 h 325"/>
                  <a:gd name="T2" fmla="*/ 98916612 w 222"/>
                  <a:gd name="T3" fmla="*/ 49446026 h 325"/>
                  <a:gd name="T4" fmla="*/ 139869466 w 222"/>
                  <a:gd name="T5" fmla="*/ 49446026 h 325"/>
                  <a:gd name="T6" fmla="*/ 139869466 w 222"/>
                  <a:gd name="T7" fmla="*/ 0 h 325"/>
                  <a:gd name="T8" fmla="*/ 0 w 222"/>
                  <a:gd name="T9" fmla="*/ 0 h 325"/>
                  <a:gd name="T10" fmla="*/ 0 w 222"/>
                  <a:gd name="T11" fmla="*/ 49446026 h 325"/>
                  <a:gd name="T12" fmla="*/ 41583093 w 222"/>
                  <a:gd name="T13" fmla="*/ 49446026 h 325"/>
                  <a:gd name="T14" fmla="*/ 41583093 w 222"/>
                  <a:gd name="T15" fmla="*/ 206025508 h 325"/>
                  <a:gd name="T16" fmla="*/ 41583093 w 222"/>
                  <a:gd name="T17" fmla="*/ 206025508 h 325"/>
                  <a:gd name="T18" fmla="*/ 98916612 w 222"/>
                  <a:gd name="T19" fmla="*/ 206025508 h 3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22" h="325">
                    <a:moveTo>
                      <a:pt x="157" y="325"/>
                    </a:moveTo>
                    <a:lnTo>
                      <a:pt x="157" y="78"/>
                    </a:lnTo>
                    <a:lnTo>
                      <a:pt x="222" y="78"/>
                    </a:lnTo>
                    <a:lnTo>
                      <a:pt x="222" y="0"/>
                    </a:lnTo>
                    <a:lnTo>
                      <a:pt x="0" y="0"/>
                    </a:lnTo>
                    <a:lnTo>
                      <a:pt x="0" y="78"/>
                    </a:lnTo>
                    <a:lnTo>
                      <a:pt x="66" y="78"/>
                    </a:lnTo>
                    <a:lnTo>
                      <a:pt x="66" y="325"/>
                    </a:lnTo>
                    <a:lnTo>
                      <a:pt x="157" y="325"/>
                    </a:lnTo>
                    <a:close/>
                  </a:path>
                </a:pathLst>
              </a:custGeom>
              <a:solidFill>
                <a:srgbClr val="F06E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6" name="T1">
                <a:extLst>
                  <a:ext uri="{FF2B5EF4-FFF2-40B4-BE49-F238E27FC236}">
                    <a16:creationId xmlns:a16="http://schemas.microsoft.com/office/drawing/2014/main" id="{8CB5E8F4-4BD9-635C-6753-740E8FF7D408}"/>
                  </a:ext>
                </a:extLst>
              </p:cNvPr>
              <p:cNvSpPr>
                <a:spLocks/>
              </p:cNvSpPr>
              <p:nvPr userDrawn="1"/>
            </p:nvSpPr>
            <p:spPr bwMode="auto">
              <a:xfrm>
                <a:off x="799033" y="168151"/>
                <a:ext cx="193675" cy="258763"/>
              </a:xfrm>
              <a:custGeom>
                <a:avLst/>
                <a:gdLst>
                  <a:gd name="T0" fmla="*/ 55443438 w 244"/>
                  <a:gd name="T1" fmla="*/ 49446026 h 325"/>
                  <a:gd name="T2" fmla="*/ 55443438 w 244"/>
                  <a:gd name="T3" fmla="*/ 206025508 h 325"/>
                  <a:gd name="T4" fmla="*/ 112776794 w 244"/>
                  <a:gd name="T5" fmla="*/ 206025508 h 325"/>
                  <a:gd name="T6" fmla="*/ 112776794 w 244"/>
                  <a:gd name="T7" fmla="*/ 49446026 h 325"/>
                  <a:gd name="T8" fmla="*/ 153729531 w 244"/>
                  <a:gd name="T9" fmla="*/ 49446026 h 325"/>
                  <a:gd name="T10" fmla="*/ 153729531 w 244"/>
                  <a:gd name="T11" fmla="*/ 0 h 325"/>
                  <a:gd name="T12" fmla="*/ 15751175 w 244"/>
                  <a:gd name="T13" fmla="*/ 0 h 325"/>
                  <a:gd name="T14" fmla="*/ 0 w 244"/>
                  <a:gd name="T15" fmla="*/ 49446026 h 325"/>
                  <a:gd name="T16" fmla="*/ 55443438 w 244"/>
                  <a:gd name="T17" fmla="*/ 49446026 h 3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44" h="325">
                    <a:moveTo>
                      <a:pt x="88" y="78"/>
                    </a:moveTo>
                    <a:lnTo>
                      <a:pt x="88" y="325"/>
                    </a:lnTo>
                    <a:lnTo>
                      <a:pt x="179" y="325"/>
                    </a:lnTo>
                    <a:lnTo>
                      <a:pt x="179" y="78"/>
                    </a:lnTo>
                    <a:lnTo>
                      <a:pt x="244" y="78"/>
                    </a:lnTo>
                    <a:lnTo>
                      <a:pt x="244" y="0"/>
                    </a:lnTo>
                    <a:lnTo>
                      <a:pt x="25" y="0"/>
                    </a:lnTo>
                    <a:lnTo>
                      <a:pt x="0" y="78"/>
                    </a:lnTo>
                    <a:lnTo>
                      <a:pt x="88" y="78"/>
                    </a:lnTo>
                    <a:close/>
                  </a:path>
                </a:pathLst>
              </a:custGeom>
              <a:solidFill>
                <a:srgbClr val="F06E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 name="V">
                <a:extLst>
                  <a:ext uri="{FF2B5EF4-FFF2-40B4-BE49-F238E27FC236}">
                    <a16:creationId xmlns:a16="http://schemas.microsoft.com/office/drawing/2014/main" id="{62C33967-6209-2C54-6C25-42186B829EB5}"/>
                  </a:ext>
                </a:extLst>
              </p:cNvPr>
              <p:cNvSpPr>
                <a:spLocks/>
              </p:cNvSpPr>
              <p:nvPr userDrawn="1"/>
            </p:nvSpPr>
            <p:spPr bwMode="auto">
              <a:xfrm>
                <a:off x="567258" y="168151"/>
                <a:ext cx="230188" cy="258763"/>
              </a:xfrm>
              <a:custGeom>
                <a:avLst/>
                <a:gdLst>
                  <a:gd name="T0" fmla="*/ 116731600 w 289"/>
                  <a:gd name="T1" fmla="*/ 206025508 h 325"/>
                  <a:gd name="T2" fmla="*/ 183344344 w 289"/>
                  <a:gd name="T3" fmla="*/ 0 h 325"/>
                  <a:gd name="T4" fmla="*/ 124978544 w 289"/>
                  <a:gd name="T5" fmla="*/ 0 h 325"/>
                  <a:gd name="T6" fmla="*/ 90720356 w 289"/>
                  <a:gd name="T7" fmla="*/ 105865119 h 325"/>
                  <a:gd name="T8" fmla="*/ 85645069 w 289"/>
                  <a:gd name="T9" fmla="*/ 121079587 h 325"/>
                  <a:gd name="T10" fmla="*/ 85645069 w 289"/>
                  <a:gd name="T11" fmla="*/ 121079587 h 325"/>
                  <a:gd name="T12" fmla="*/ 85645069 w 289"/>
                  <a:gd name="T13" fmla="*/ 121079587 h 325"/>
                  <a:gd name="T14" fmla="*/ 85645069 w 289"/>
                  <a:gd name="T15" fmla="*/ 121079587 h 325"/>
                  <a:gd name="T16" fmla="*/ 85645069 w 289"/>
                  <a:gd name="T17" fmla="*/ 121079587 h 325"/>
                  <a:gd name="T18" fmla="*/ 85645069 w 289"/>
                  <a:gd name="T19" fmla="*/ 121079587 h 325"/>
                  <a:gd name="T20" fmla="*/ 85645069 w 289"/>
                  <a:gd name="T21" fmla="*/ 121079587 h 325"/>
                  <a:gd name="T22" fmla="*/ 81204592 w 289"/>
                  <a:gd name="T23" fmla="*/ 105865119 h 325"/>
                  <a:gd name="T24" fmla="*/ 57730991 w 289"/>
                  <a:gd name="T25" fmla="*/ 38035772 h 325"/>
                  <a:gd name="T26" fmla="*/ 0 w 289"/>
                  <a:gd name="T27" fmla="*/ 38035772 h 325"/>
                  <a:gd name="T28" fmla="*/ 57096978 w 289"/>
                  <a:gd name="T29" fmla="*/ 206025508 h 325"/>
                  <a:gd name="T30" fmla="*/ 116731600 w 289"/>
                  <a:gd name="T31" fmla="*/ 206025508 h 32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89" h="325">
                    <a:moveTo>
                      <a:pt x="184" y="325"/>
                    </a:moveTo>
                    <a:lnTo>
                      <a:pt x="289" y="0"/>
                    </a:lnTo>
                    <a:lnTo>
                      <a:pt x="197" y="0"/>
                    </a:lnTo>
                    <a:lnTo>
                      <a:pt x="143" y="167"/>
                    </a:lnTo>
                    <a:lnTo>
                      <a:pt x="135" y="191"/>
                    </a:lnTo>
                    <a:lnTo>
                      <a:pt x="128" y="167"/>
                    </a:lnTo>
                    <a:lnTo>
                      <a:pt x="91" y="60"/>
                    </a:lnTo>
                    <a:lnTo>
                      <a:pt x="0" y="60"/>
                    </a:lnTo>
                    <a:lnTo>
                      <a:pt x="90" y="325"/>
                    </a:lnTo>
                    <a:lnTo>
                      <a:pt x="184" y="325"/>
                    </a:lnTo>
                    <a:close/>
                  </a:path>
                </a:pathLst>
              </a:custGeom>
              <a:solidFill>
                <a:srgbClr val="F06E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grpSp>
      <p:sp>
        <p:nvSpPr>
          <p:cNvPr id="9" name="Content Placeholder 7"/>
          <p:cNvSpPr>
            <a:spLocks noGrp="1"/>
          </p:cNvSpPr>
          <p:nvPr>
            <p:ph sz="quarter" idx="13"/>
          </p:nvPr>
        </p:nvSpPr>
        <p:spPr>
          <a:xfrm>
            <a:off x="958850" y="2097600"/>
            <a:ext cx="9263999" cy="4065600"/>
          </a:xfrm>
        </p:spPr>
        <p:txBody>
          <a:bodyPr numCol="1" spcCol="360000"/>
          <a:lstStyle>
            <a:lvl5pPr>
              <a:defRPr/>
            </a:lvl5p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GB" noProof="0" dirty="0"/>
          </a:p>
        </p:txBody>
      </p:sp>
      <p:sp>
        <p:nvSpPr>
          <p:cNvPr id="6" name="Title 5"/>
          <p:cNvSpPr>
            <a:spLocks noGrp="1"/>
          </p:cNvSpPr>
          <p:nvPr>
            <p:ph type="title"/>
          </p:nvPr>
        </p:nvSpPr>
        <p:spPr/>
        <p:txBody>
          <a:bodyPr/>
          <a:lstStyle>
            <a:lvl1pPr>
              <a:defRPr/>
            </a:lvl1pPr>
          </a:lstStyle>
          <a:p>
            <a:r>
              <a:rPr lang="en-GB" noProof="0" dirty="0"/>
              <a:t>Click to edit Master title style</a:t>
            </a:r>
          </a:p>
        </p:txBody>
      </p:sp>
      <p:sp>
        <p:nvSpPr>
          <p:cNvPr id="50" name="Date Placeholder 2">
            <a:extLst>
              <a:ext uri="{FF2B5EF4-FFF2-40B4-BE49-F238E27FC236}">
                <a16:creationId xmlns:a16="http://schemas.microsoft.com/office/drawing/2014/main" id="{343028FD-E7DA-AF24-BE50-1BE6E68CA28D}"/>
              </a:ext>
            </a:extLst>
          </p:cNvPr>
          <p:cNvSpPr>
            <a:spLocks noGrp="1"/>
          </p:cNvSpPr>
          <p:nvPr>
            <p:ph type="dt" sz="half" idx="14"/>
          </p:nvPr>
        </p:nvSpPr>
        <p:spPr/>
        <p:txBody>
          <a:bodyPr/>
          <a:lstStyle>
            <a:lvl1pPr>
              <a:defRPr/>
            </a:lvl1pPr>
          </a:lstStyle>
          <a:p>
            <a:pPr>
              <a:defRPr/>
            </a:pPr>
            <a:fld id="{8F365DB9-3935-4D15-BBE5-26264A117717}" type="datetime1">
              <a:rPr lang="en-GB"/>
              <a:pPr>
                <a:defRPr/>
              </a:pPr>
              <a:t>28/01/2024</a:t>
            </a:fld>
            <a:endParaRPr lang="en-GB" dirty="0"/>
          </a:p>
        </p:txBody>
      </p:sp>
      <p:sp>
        <p:nvSpPr>
          <p:cNvPr id="51" name="Footer Placeholder 3">
            <a:extLst>
              <a:ext uri="{FF2B5EF4-FFF2-40B4-BE49-F238E27FC236}">
                <a16:creationId xmlns:a16="http://schemas.microsoft.com/office/drawing/2014/main" id="{39B2EE6E-7013-4921-9ACA-9867A6CA4872}"/>
              </a:ext>
            </a:extLst>
          </p:cNvPr>
          <p:cNvSpPr>
            <a:spLocks noGrp="1"/>
          </p:cNvSpPr>
          <p:nvPr>
            <p:ph type="ftr" sz="quarter" idx="15"/>
          </p:nvPr>
        </p:nvSpPr>
        <p:spPr/>
        <p:txBody>
          <a:bodyPr/>
          <a:lstStyle>
            <a:lvl1pPr>
              <a:defRPr/>
            </a:lvl1pPr>
          </a:lstStyle>
          <a:p>
            <a:pPr>
              <a:defRPr/>
            </a:pPr>
            <a:r>
              <a:rPr lang="en-GB"/>
              <a:t>VTT – beyond the obvious</a:t>
            </a:r>
            <a:endParaRPr lang="en-GB" dirty="0"/>
          </a:p>
        </p:txBody>
      </p:sp>
      <p:sp>
        <p:nvSpPr>
          <p:cNvPr id="52" name="Slide Number Placeholder 4">
            <a:extLst>
              <a:ext uri="{FF2B5EF4-FFF2-40B4-BE49-F238E27FC236}">
                <a16:creationId xmlns:a16="http://schemas.microsoft.com/office/drawing/2014/main" id="{6EC9074B-9614-820D-7B59-7715A40CA216}"/>
              </a:ext>
            </a:extLst>
          </p:cNvPr>
          <p:cNvSpPr>
            <a:spLocks noGrp="1"/>
          </p:cNvSpPr>
          <p:nvPr>
            <p:ph type="sldNum" sz="quarter" idx="16"/>
          </p:nvPr>
        </p:nvSpPr>
        <p:spPr/>
        <p:txBody>
          <a:bodyPr/>
          <a:lstStyle>
            <a:lvl1pPr>
              <a:defRPr/>
            </a:lvl1pPr>
          </a:lstStyle>
          <a:p>
            <a:pPr>
              <a:defRPr/>
            </a:pPr>
            <a:fld id="{185EA12B-3460-4949-83F4-18F3B53CF9A8}" type="slidenum">
              <a:rPr lang="en-GB"/>
              <a:pPr>
                <a:defRPr/>
              </a:pPr>
              <a:t>‹Nr.›</a:t>
            </a:fld>
            <a:endParaRPr lang="en-GB" dirty="0"/>
          </a:p>
        </p:txBody>
      </p:sp>
    </p:spTree>
    <p:extLst>
      <p:ext uri="{BB962C8B-B14F-4D97-AF65-F5344CB8AC3E}">
        <p14:creationId xmlns:p14="http://schemas.microsoft.com/office/powerpoint/2010/main" val="440267959"/>
      </p:ext>
    </p:extLst>
  </p:cSld>
  <p:clrMapOvr>
    <a:masterClrMapping/>
  </p:clrMapOvr>
  <p:transition spd="med">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VTT 2020 Content slide 01b">
    <p:bg>
      <p:bgPr>
        <a:solidFill>
          <a:srgbClr val="005794"/>
        </a:solidFill>
        <a:effectLst/>
      </p:bgPr>
    </p:bg>
    <p:spTree>
      <p:nvGrpSpPr>
        <p:cNvPr id="1" name=""/>
        <p:cNvGrpSpPr/>
        <p:nvPr/>
      </p:nvGrpSpPr>
      <p:grpSpPr>
        <a:xfrm>
          <a:off x="0" y="0"/>
          <a:ext cx="0" cy="0"/>
          <a:chOff x="0" y="0"/>
          <a:chExt cx="0" cy="0"/>
        </a:xfrm>
      </p:grpSpPr>
      <p:grpSp>
        <p:nvGrpSpPr>
          <p:cNvPr id="2" name="VTT_LogoStack_v3_16092019 pienempi koko">
            <a:extLst>
              <a:ext uri="{FF2B5EF4-FFF2-40B4-BE49-F238E27FC236}">
                <a16:creationId xmlns:a16="http://schemas.microsoft.com/office/drawing/2014/main" id="{A4F8F853-B3CD-3854-9146-91BB093E568B}"/>
              </a:ext>
            </a:extLst>
          </p:cNvPr>
          <p:cNvGrpSpPr>
            <a:grpSpLocks/>
          </p:cNvGrpSpPr>
          <p:nvPr userDrawn="1"/>
        </p:nvGrpSpPr>
        <p:grpSpPr bwMode="auto">
          <a:xfrm>
            <a:off x="10725150" y="0"/>
            <a:ext cx="1158875" cy="782638"/>
            <a:chOff x="7909204" y="1770762"/>
            <a:chExt cx="971550" cy="655638"/>
          </a:xfrm>
        </p:grpSpPr>
        <p:grpSp>
          <p:nvGrpSpPr>
            <p:cNvPr id="3" name="_VTT_logo_102019_01_white_on_orange" hidden="1">
              <a:extLst>
                <a:ext uri="{FF2B5EF4-FFF2-40B4-BE49-F238E27FC236}">
                  <a16:creationId xmlns:a16="http://schemas.microsoft.com/office/drawing/2014/main" id="{E636577B-DB89-8F11-96CF-80A1080F8F18}"/>
                </a:ext>
              </a:extLst>
            </p:cNvPr>
            <p:cNvGrpSpPr>
              <a:grpSpLocks/>
            </p:cNvGrpSpPr>
            <p:nvPr userDrawn="1"/>
          </p:nvGrpSpPr>
          <p:grpSpPr bwMode="auto">
            <a:xfrm>
              <a:off x="7909204" y="1770762"/>
              <a:ext cx="971550" cy="655638"/>
              <a:chOff x="379933" y="-15999"/>
              <a:chExt cx="971550" cy="655638"/>
            </a:xfrm>
          </p:grpSpPr>
          <p:sp>
            <p:nvSpPr>
              <p:cNvPr id="46" name="Box">
                <a:extLst>
                  <a:ext uri="{FF2B5EF4-FFF2-40B4-BE49-F238E27FC236}">
                    <a16:creationId xmlns:a16="http://schemas.microsoft.com/office/drawing/2014/main" id="{B9B4D403-D727-DB0A-461D-B1665413137E}"/>
                  </a:ext>
                </a:extLst>
              </p:cNvPr>
              <p:cNvSpPr>
                <a:spLocks noChangeArrowheads="1"/>
              </p:cNvSpPr>
              <p:nvPr userDrawn="1"/>
            </p:nvSpPr>
            <p:spPr bwMode="auto">
              <a:xfrm>
                <a:off x="379933" y="-15999"/>
                <a:ext cx="971550" cy="655638"/>
              </a:xfrm>
              <a:prstGeom prst="rect">
                <a:avLst/>
              </a:prstGeom>
              <a:solidFill>
                <a:srgbClr val="F06E00"/>
              </a:solidFill>
              <a:ln>
                <a:noFill/>
              </a:ln>
            </p:spPr>
            <p:txBody>
              <a:bodyPr/>
              <a:lstStyle>
                <a:lvl1pPr defTabSz="455613">
                  <a:defRPr b="1">
                    <a:solidFill>
                      <a:schemeClr val="tx1"/>
                    </a:solidFill>
                    <a:latin typeface="Verdana" panose="020B0604030504040204" pitchFamily="34" charset="0"/>
                  </a:defRPr>
                </a:lvl1pPr>
                <a:lvl2pPr marL="742950" indent="-285750" defTabSz="455613">
                  <a:defRPr b="1">
                    <a:solidFill>
                      <a:schemeClr val="tx1"/>
                    </a:solidFill>
                    <a:latin typeface="Verdana" panose="020B0604030504040204" pitchFamily="34" charset="0"/>
                  </a:defRPr>
                </a:lvl2pPr>
                <a:lvl3pPr marL="1143000" indent="-228600" defTabSz="455613">
                  <a:defRPr b="1">
                    <a:solidFill>
                      <a:schemeClr val="tx1"/>
                    </a:solidFill>
                    <a:latin typeface="Verdana" panose="020B0604030504040204" pitchFamily="34" charset="0"/>
                  </a:defRPr>
                </a:lvl3pPr>
                <a:lvl4pPr marL="1600200" indent="-228600" defTabSz="455613">
                  <a:defRPr b="1">
                    <a:solidFill>
                      <a:schemeClr val="tx1"/>
                    </a:solidFill>
                    <a:latin typeface="Verdana" panose="020B0604030504040204" pitchFamily="34" charset="0"/>
                  </a:defRPr>
                </a:lvl4pPr>
                <a:lvl5pPr marL="2057400" indent="-228600" defTabSz="455613">
                  <a:defRPr b="1">
                    <a:solidFill>
                      <a:schemeClr val="tx1"/>
                    </a:solidFill>
                    <a:latin typeface="Verdana" panose="020B0604030504040204" pitchFamily="34" charset="0"/>
                  </a:defRPr>
                </a:lvl5pPr>
                <a:lvl6pPr marL="2514600" indent="-228600" defTabSz="455613" eaLnBrk="0" fontAlgn="base" hangingPunct="0">
                  <a:spcBef>
                    <a:spcPct val="0"/>
                  </a:spcBef>
                  <a:spcAft>
                    <a:spcPct val="0"/>
                  </a:spcAft>
                  <a:defRPr b="1">
                    <a:solidFill>
                      <a:schemeClr val="tx1"/>
                    </a:solidFill>
                    <a:latin typeface="Verdana" panose="020B0604030504040204" pitchFamily="34" charset="0"/>
                  </a:defRPr>
                </a:lvl6pPr>
                <a:lvl7pPr marL="2971800" indent="-228600" defTabSz="455613" eaLnBrk="0" fontAlgn="base" hangingPunct="0">
                  <a:spcBef>
                    <a:spcPct val="0"/>
                  </a:spcBef>
                  <a:spcAft>
                    <a:spcPct val="0"/>
                  </a:spcAft>
                  <a:defRPr b="1">
                    <a:solidFill>
                      <a:schemeClr val="tx1"/>
                    </a:solidFill>
                    <a:latin typeface="Verdana" panose="020B0604030504040204" pitchFamily="34" charset="0"/>
                  </a:defRPr>
                </a:lvl7pPr>
                <a:lvl8pPr marL="3429000" indent="-228600" defTabSz="455613" eaLnBrk="0" fontAlgn="base" hangingPunct="0">
                  <a:spcBef>
                    <a:spcPct val="0"/>
                  </a:spcBef>
                  <a:spcAft>
                    <a:spcPct val="0"/>
                  </a:spcAft>
                  <a:defRPr b="1">
                    <a:solidFill>
                      <a:schemeClr val="tx1"/>
                    </a:solidFill>
                    <a:latin typeface="Verdana" panose="020B0604030504040204" pitchFamily="34" charset="0"/>
                  </a:defRPr>
                </a:lvl8pPr>
                <a:lvl9pPr marL="3886200" indent="-228600" defTabSz="455613" eaLnBrk="0" fontAlgn="base" hangingPunct="0">
                  <a:spcBef>
                    <a:spcPct val="0"/>
                  </a:spcBef>
                  <a:spcAft>
                    <a:spcPct val="0"/>
                  </a:spcAft>
                  <a:defRPr b="1">
                    <a:solidFill>
                      <a:schemeClr val="tx1"/>
                    </a:solidFill>
                    <a:latin typeface="Verdana" panose="020B0604030504040204" pitchFamily="34" charset="0"/>
                  </a:defRPr>
                </a:lvl9pPr>
              </a:lstStyle>
              <a:p>
                <a:pPr eaLnBrk="1" hangingPunct="1">
                  <a:defRPr/>
                </a:pPr>
                <a:endParaRPr lang="en-GB" altLang="de-DE" b="0">
                  <a:solidFill>
                    <a:srgbClr val="000000"/>
                  </a:solidFill>
                  <a:latin typeface="Arial" panose="020B0604020202020204" pitchFamily="34" charset="0"/>
                </a:endParaRPr>
              </a:p>
            </p:txBody>
          </p:sp>
          <p:sp>
            <p:nvSpPr>
              <p:cNvPr id="47" name="T2">
                <a:extLst>
                  <a:ext uri="{FF2B5EF4-FFF2-40B4-BE49-F238E27FC236}">
                    <a16:creationId xmlns:a16="http://schemas.microsoft.com/office/drawing/2014/main" id="{D043AC38-5378-85D1-59A9-51FE70149FA4}"/>
                  </a:ext>
                </a:extLst>
              </p:cNvPr>
              <p:cNvSpPr>
                <a:spLocks/>
              </p:cNvSpPr>
              <p:nvPr userDrawn="1"/>
            </p:nvSpPr>
            <p:spPr bwMode="auto">
              <a:xfrm>
                <a:off x="1011758" y="168151"/>
                <a:ext cx="176213" cy="258763"/>
              </a:xfrm>
              <a:custGeom>
                <a:avLst/>
                <a:gdLst>
                  <a:gd name="T0" fmla="*/ 98916612 w 222"/>
                  <a:gd name="T1" fmla="*/ 206025508 h 325"/>
                  <a:gd name="T2" fmla="*/ 98916612 w 222"/>
                  <a:gd name="T3" fmla="*/ 49446026 h 325"/>
                  <a:gd name="T4" fmla="*/ 139869466 w 222"/>
                  <a:gd name="T5" fmla="*/ 49446026 h 325"/>
                  <a:gd name="T6" fmla="*/ 139869466 w 222"/>
                  <a:gd name="T7" fmla="*/ 0 h 325"/>
                  <a:gd name="T8" fmla="*/ 0 w 222"/>
                  <a:gd name="T9" fmla="*/ 0 h 325"/>
                  <a:gd name="T10" fmla="*/ 0 w 222"/>
                  <a:gd name="T11" fmla="*/ 49446026 h 325"/>
                  <a:gd name="T12" fmla="*/ 41583093 w 222"/>
                  <a:gd name="T13" fmla="*/ 49446026 h 325"/>
                  <a:gd name="T14" fmla="*/ 41583093 w 222"/>
                  <a:gd name="T15" fmla="*/ 206025508 h 325"/>
                  <a:gd name="T16" fmla="*/ 41583093 w 222"/>
                  <a:gd name="T17" fmla="*/ 206025508 h 325"/>
                  <a:gd name="T18" fmla="*/ 98916612 w 222"/>
                  <a:gd name="T19" fmla="*/ 206025508 h 3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22" h="325">
                    <a:moveTo>
                      <a:pt x="157" y="325"/>
                    </a:moveTo>
                    <a:lnTo>
                      <a:pt x="157" y="78"/>
                    </a:lnTo>
                    <a:lnTo>
                      <a:pt x="222" y="78"/>
                    </a:lnTo>
                    <a:lnTo>
                      <a:pt x="222" y="0"/>
                    </a:lnTo>
                    <a:lnTo>
                      <a:pt x="0" y="0"/>
                    </a:lnTo>
                    <a:lnTo>
                      <a:pt x="0" y="78"/>
                    </a:lnTo>
                    <a:lnTo>
                      <a:pt x="66" y="78"/>
                    </a:lnTo>
                    <a:lnTo>
                      <a:pt x="66" y="325"/>
                    </a:lnTo>
                    <a:lnTo>
                      <a:pt x="157" y="3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48" name="T1">
                <a:extLst>
                  <a:ext uri="{FF2B5EF4-FFF2-40B4-BE49-F238E27FC236}">
                    <a16:creationId xmlns:a16="http://schemas.microsoft.com/office/drawing/2014/main" id="{E650C063-E569-C28A-6053-7E45192959C0}"/>
                  </a:ext>
                </a:extLst>
              </p:cNvPr>
              <p:cNvSpPr>
                <a:spLocks/>
              </p:cNvSpPr>
              <p:nvPr userDrawn="1"/>
            </p:nvSpPr>
            <p:spPr bwMode="auto">
              <a:xfrm>
                <a:off x="799033" y="168151"/>
                <a:ext cx="193675" cy="258763"/>
              </a:xfrm>
              <a:custGeom>
                <a:avLst/>
                <a:gdLst>
                  <a:gd name="T0" fmla="*/ 55443438 w 244"/>
                  <a:gd name="T1" fmla="*/ 49446026 h 325"/>
                  <a:gd name="T2" fmla="*/ 55443438 w 244"/>
                  <a:gd name="T3" fmla="*/ 206025508 h 325"/>
                  <a:gd name="T4" fmla="*/ 112776794 w 244"/>
                  <a:gd name="T5" fmla="*/ 206025508 h 325"/>
                  <a:gd name="T6" fmla="*/ 112776794 w 244"/>
                  <a:gd name="T7" fmla="*/ 49446026 h 325"/>
                  <a:gd name="T8" fmla="*/ 153729531 w 244"/>
                  <a:gd name="T9" fmla="*/ 49446026 h 325"/>
                  <a:gd name="T10" fmla="*/ 153729531 w 244"/>
                  <a:gd name="T11" fmla="*/ 0 h 325"/>
                  <a:gd name="T12" fmla="*/ 15751175 w 244"/>
                  <a:gd name="T13" fmla="*/ 0 h 325"/>
                  <a:gd name="T14" fmla="*/ 0 w 244"/>
                  <a:gd name="T15" fmla="*/ 49446026 h 325"/>
                  <a:gd name="T16" fmla="*/ 55443438 w 244"/>
                  <a:gd name="T17" fmla="*/ 49446026 h 3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44" h="325">
                    <a:moveTo>
                      <a:pt x="88" y="78"/>
                    </a:moveTo>
                    <a:lnTo>
                      <a:pt x="88" y="325"/>
                    </a:lnTo>
                    <a:lnTo>
                      <a:pt x="179" y="325"/>
                    </a:lnTo>
                    <a:lnTo>
                      <a:pt x="179" y="78"/>
                    </a:lnTo>
                    <a:lnTo>
                      <a:pt x="244" y="78"/>
                    </a:lnTo>
                    <a:lnTo>
                      <a:pt x="244" y="0"/>
                    </a:lnTo>
                    <a:lnTo>
                      <a:pt x="25" y="0"/>
                    </a:lnTo>
                    <a:lnTo>
                      <a:pt x="0" y="78"/>
                    </a:lnTo>
                    <a:lnTo>
                      <a:pt x="88"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49" name="V">
                <a:extLst>
                  <a:ext uri="{FF2B5EF4-FFF2-40B4-BE49-F238E27FC236}">
                    <a16:creationId xmlns:a16="http://schemas.microsoft.com/office/drawing/2014/main" id="{21A8C416-92B6-7115-ED7C-0B8FC8E16670}"/>
                  </a:ext>
                </a:extLst>
              </p:cNvPr>
              <p:cNvSpPr>
                <a:spLocks/>
              </p:cNvSpPr>
              <p:nvPr userDrawn="1"/>
            </p:nvSpPr>
            <p:spPr bwMode="auto">
              <a:xfrm>
                <a:off x="567258" y="168151"/>
                <a:ext cx="230188" cy="258763"/>
              </a:xfrm>
              <a:custGeom>
                <a:avLst/>
                <a:gdLst>
                  <a:gd name="T0" fmla="*/ 116731600 w 289"/>
                  <a:gd name="T1" fmla="*/ 206025508 h 325"/>
                  <a:gd name="T2" fmla="*/ 183344344 w 289"/>
                  <a:gd name="T3" fmla="*/ 0 h 325"/>
                  <a:gd name="T4" fmla="*/ 124978544 w 289"/>
                  <a:gd name="T5" fmla="*/ 0 h 325"/>
                  <a:gd name="T6" fmla="*/ 90720356 w 289"/>
                  <a:gd name="T7" fmla="*/ 105865119 h 325"/>
                  <a:gd name="T8" fmla="*/ 85645069 w 289"/>
                  <a:gd name="T9" fmla="*/ 121079587 h 325"/>
                  <a:gd name="T10" fmla="*/ 85645069 w 289"/>
                  <a:gd name="T11" fmla="*/ 121079587 h 325"/>
                  <a:gd name="T12" fmla="*/ 85645069 w 289"/>
                  <a:gd name="T13" fmla="*/ 121079587 h 325"/>
                  <a:gd name="T14" fmla="*/ 85645069 w 289"/>
                  <a:gd name="T15" fmla="*/ 121079587 h 325"/>
                  <a:gd name="T16" fmla="*/ 85645069 w 289"/>
                  <a:gd name="T17" fmla="*/ 121079587 h 325"/>
                  <a:gd name="T18" fmla="*/ 85645069 w 289"/>
                  <a:gd name="T19" fmla="*/ 121079587 h 325"/>
                  <a:gd name="T20" fmla="*/ 85645069 w 289"/>
                  <a:gd name="T21" fmla="*/ 121079587 h 325"/>
                  <a:gd name="T22" fmla="*/ 81204592 w 289"/>
                  <a:gd name="T23" fmla="*/ 105865119 h 325"/>
                  <a:gd name="T24" fmla="*/ 57730991 w 289"/>
                  <a:gd name="T25" fmla="*/ 38035772 h 325"/>
                  <a:gd name="T26" fmla="*/ 0 w 289"/>
                  <a:gd name="T27" fmla="*/ 38035772 h 325"/>
                  <a:gd name="T28" fmla="*/ 57096978 w 289"/>
                  <a:gd name="T29" fmla="*/ 206025508 h 325"/>
                  <a:gd name="T30" fmla="*/ 116731600 w 289"/>
                  <a:gd name="T31" fmla="*/ 206025508 h 32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89" h="325">
                    <a:moveTo>
                      <a:pt x="184" y="325"/>
                    </a:moveTo>
                    <a:lnTo>
                      <a:pt x="289" y="0"/>
                    </a:lnTo>
                    <a:lnTo>
                      <a:pt x="197" y="0"/>
                    </a:lnTo>
                    <a:lnTo>
                      <a:pt x="143" y="167"/>
                    </a:lnTo>
                    <a:lnTo>
                      <a:pt x="135" y="191"/>
                    </a:lnTo>
                    <a:lnTo>
                      <a:pt x="128" y="167"/>
                    </a:lnTo>
                    <a:lnTo>
                      <a:pt x="91" y="60"/>
                    </a:lnTo>
                    <a:lnTo>
                      <a:pt x="0" y="60"/>
                    </a:lnTo>
                    <a:lnTo>
                      <a:pt x="90" y="325"/>
                    </a:lnTo>
                    <a:lnTo>
                      <a:pt x="184" y="3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grpSp>
          <p:nvGrpSpPr>
            <p:cNvPr id="4" name="_VTT_logo_102019_02_white_on_black" hidden="1">
              <a:extLst>
                <a:ext uri="{FF2B5EF4-FFF2-40B4-BE49-F238E27FC236}">
                  <a16:creationId xmlns:a16="http://schemas.microsoft.com/office/drawing/2014/main" id="{6AF34DC4-4C1C-0549-5754-A8849CAF4E57}"/>
                </a:ext>
              </a:extLst>
            </p:cNvPr>
            <p:cNvGrpSpPr>
              <a:grpSpLocks/>
            </p:cNvGrpSpPr>
            <p:nvPr userDrawn="1"/>
          </p:nvGrpSpPr>
          <p:grpSpPr bwMode="auto">
            <a:xfrm>
              <a:off x="7909204" y="1770762"/>
              <a:ext cx="971550" cy="655638"/>
              <a:chOff x="379933" y="-15999"/>
              <a:chExt cx="971550" cy="655638"/>
            </a:xfrm>
          </p:grpSpPr>
          <p:sp>
            <p:nvSpPr>
              <p:cNvPr id="42" name="Box">
                <a:extLst>
                  <a:ext uri="{FF2B5EF4-FFF2-40B4-BE49-F238E27FC236}">
                    <a16:creationId xmlns:a16="http://schemas.microsoft.com/office/drawing/2014/main" id="{9BEA0B16-C05F-0E05-8B77-400A9361086A}"/>
                  </a:ext>
                </a:extLst>
              </p:cNvPr>
              <p:cNvSpPr>
                <a:spLocks noChangeArrowheads="1"/>
              </p:cNvSpPr>
              <p:nvPr userDrawn="1"/>
            </p:nvSpPr>
            <p:spPr bwMode="auto">
              <a:xfrm>
                <a:off x="379933" y="-15999"/>
                <a:ext cx="971550" cy="655638"/>
              </a:xfrm>
              <a:prstGeom prst="rect">
                <a:avLst/>
              </a:prstGeom>
              <a:solidFill>
                <a:srgbClr val="000000"/>
              </a:solidFill>
              <a:ln>
                <a:noFill/>
              </a:ln>
            </p:spPr>
            <p:txBody>
              <a:bodyPr/>
              <a:lstStyle>
                <a:lvl1pPr defTabSz="455613">
                  <a:defRPr b="1">
                    <a:solidFill>
                      <a:schemeClr val="tx1"/>
                    </a:solidFill>
                    <a:latin typeface="Verdana" panose="020B0604030504040204" pitchFamily="34" charset="0"/>
                  </a:defRPr>
                </a:lvl1pPr>
                <a:lvl2pPr marL="742950" indent="-285750" defTabSz="455613">
                  <a:defRPr b="1">
                    <a:solidFill>
                      <a:schemeClr val="tx1"/>
                    </a:solidFill>
                    <a:latin typeface="Verdana" panose="020B0604030504040204" pitchFamily="34" charset="0"/>
                  </a:defRPr>
                </a:lvl2pPr>
                <a:lvl3pPr marL="1143000" indent="-228600" defTabSz="455613">
                  <a:defRPr b="1">
                    <a:solidFill>
                      <a:schemeClr val="tx1"/>
                    </a:solidFill>
                    <a:latin typeface="Verdana" panose="020B0604030504040204" pitchFamily="34" charset="0"/>
                  </a:defRPr>
                </a:lvl3pPr>
                <a:lvl4pPr marL="1600200" indent="-228600" defTabSz="455613">
                  <a:defRPr b="1">
                    <a:solidFill>
                      <a:schemeClr val="tx1"/>
                    </a:solidFill>
                    <a:latin typeface="Verdana" panose="020B0604030504040204" pitchFamily="34" charset="0"/>
                  </a:defRPr>
                </a:lvl4pPr>
                <a:lvl5pPr marL="2057400" indent="-228600" defTabSz="455613">
                  <a:defRPr b="1">
                    <a:solidFill>
                      <a:schemeClr val="tx1"/>
                    </a:solidFill>
                    <a:latin typeface="Verdana" panose="020B0604030504040204" pitchFamily="34" charset="0"/>
                  </a:defRPr>
                </a:lvl5pPr>
                <a:lvl6pPr marL="2514600" indent="-228600" defTabSz="455613" eaLnBrk="0" fontAlgn="base" hangingPunct="0">
                  <a:spcBef>
                    <a:spcPct val="0"/>
                  </a:spcBef>
                  <a:spcAft>
                    <a:spcPct val="0"/>
                  </a:spcAft>
                  <a:defRPr b="1">
                    <a:solidFill>
                      <a:schemeClr val="tx1"/>
                    </a:solidFill>
                    <a:latin typeface="Verdana" panose="020B0604030504040204" pitchFamily="34" charset="0"/>
                  </a:defRPr>
                </a:lvl6pPr>
                <a:lvl7pPr marL="2971800" indent="-228600" defTabSz="455613" eaLnBrk="0" fontAlgn="base" hangingPunct="0">
                  <a:spcBef>
                    <a:spcPct val="0"/>
                  </a:spcBef>
                  <a:spcAft>
                    <a:spcPct val="0"/>
                  </a:spcAft>
                  <a:defRPr b="1">
                    <a:solidFill>
                      <a:schemeClr val="tx1"/>
                    </a:solidFill>
                    <a:latin typeface="Verdana" panose="020B0604030504040204" pitchFamily="34" charset="0"/>
                  </a:defRPr>
                </a:lvl7pPr>
                <a:lvl8pPr marL="3429000" indent="-228600" defTabSz="455613" eaLnBrk="0" fontAlgn="base" hangingPunct="0">
                  <a:spcBef>
                    <a:spcPct val="0"/>
                  </a:spcBef>
                  <a:spcAft>
                    <a:spcPct val="0"/>
                  </a:spcAft>
                  <a:defRPr b="1">
                    <a:solidFill>
                      <a:schemeClr val="tx1"/>
                    </a:solidFill>
                    <a:latin typeface="Verdana" panose="020B0604030504040204" pitchFamily="34" charset="0"/>
                  </a:defRPr>
                </a:lvl8pPr>
                <a:lvl9pPr marL="3886200" indent="-228600" defTabSz="455613" eaLnBrk="0" fontAlgn="base" hangingPunct="0">
                  <a:spcBef>
                    <a:spcPct val="0"/>
                  </a:spcBef>
                  <a:spcAft>
                    <a:spcPct val="0"/>
                  </a:spcAft>
                  <a:defRPr b="1">
                    <a:solidFill>
                      <a:schemeClr val="tx1"/>
                    </a:solidFill>
                    <a:latin typeface="Verdana" panose="020B0604030504040204" pitchFamily="34" charset="0"/>
                  </a:defRPr>
                </a:lvl9pPr>
              </a:lstStyle>
              <a:p>
                <a:pPr eaLnBrk="1" hangingPunct="1">
                  <a:defRPr/>
                </a:pPr>
                <a:endParaRPr lang="en-GB" altLang="de-DE" b="0">
                  <a:solidFill>
                    <a:srgbClr val="000000"/>
                  </a:solidFill>
                  <a:latin typeface="Arial" panose="020B0604020202020204" pitchFamily="34" charset="0"/>
                </a:endParaRPr>
              </a:p>
            </p:txBody>
          </p:sp>
          <p:sp>
            <p:nvSpPr>
              <p:cNvPr id="43" name="T2">
                <a:extLst>
                  <a:ext uri="{FF2B5EF4-FFF2-40B4-BE49-F238E27FC236}">
                    <a16:creationId xmlns:a16="http://schemas.microsoft.com/office/drawing/2014/main" id="{1EC6D540-5480-5B1C-CBA2-D3875B664D59}"/>
                  </a:ext>
                </a:extLst>
              </p:cNvPr>
              <p:cNvSpPr>
                <a:spLocks/>
              </p:cNvSpPr>
              <p:nvPr userDrawn="1"/>
            </p:nvSpPr>
            <p:spPr bwMode="auto">
              <a:xfrm>
                <a:off x="1011758" y="168151"/>
                <a:ext cx="176213" cy="258763"/>
              </a:xfrm>
              <a:custGeom>
                <a:avLst/>
                <a:gdLst>
                  <a:gd name="T0" fmla="*/ 98916612 w 222"/>
                  <a:gd name="T1" fmla="*/ 206025508 h 325"/>
                  <a:gd name="T2" fmla="*/ 98916612 w 222"/>
                  <a:gd name="T3" fmla="*/ 49446026 h 325"/>
                  <a:gd name="T4" fmla="*/ 139869466 w 222"/>
                  <a:gd name="T5" fmla="*/ 49446026 h 325"/>
                  <a:gd name="T6" fmla="*/ 139869466 w 222"/>
                  <a:gd name="T7" fmla="*/ 0 h 325"/>
                  <a:gd name="T8" fmla="*/ 0 w 222"/>
                  <a:gd name="T9" fmla="*/ 0 h 325"/>
                  <a:gd name="T10" fmla="*/ 0 w 222"/>
                  <a:gd name="T11" fmla="*/ 49446026 h 325"/>
                  <a:gd name="T12" fmla="*/ 41583093 w 222"/>
                  <a:gd name="T13" fmla="*/ 49446026 h 325"/>
                  <a:gd name="T14" fmla="*/ 41583093 w 222"/>
                  <a:gd name="T15" fmla="*/ 206025508 h 325"/>
                  <a:gd name="T16" fmla="*/ 41583093 w 222"/>
                  <a:gd name="T17" fmla="*/ 206025508 h 325"/>
                  <a:gd name="T18" fmla="*/ 98916612 w 222"/>
                  <a:gd name="T19" fmla="*/ 206025508 h 3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22" h="325">
                    <a:moveTo>
                      <a:pt x="157" y="325"/>
                    </a:moveTo>
                    <a:lnTo>
                      <a:pt x="157" y="78"/>
                    </a:lnTo>
                    <a:lnTo>
                      <a:pt x="222" y="78"/>
                    </a:lnTo>
                    <a:lnTo>
                      <a:pt x="222" y="0"/>
                    </a:lnTo>
                    <a:lnTo>
                      <a:pt x="0" y="0"/>
                    </a:lnTo>
                    <a:lnTo>
                      <a:pt x="0" y="78"/>
                    </a:lnTo>
                    <a:lnTo>
                      <a:pt x="66" y="78"/>
                    </a:lnTo>
                    <a:lnTo>
                      <a:pt x="66" y="325"/>
                    </a:lnTo>
                    <a:lnTo>
                      <a:pt x="157" y="3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44" name="T1">
                <a:extLst>
                  <a:ext uri="{FF2B5EF4-FFF2-40B4-BE49-F238E27FC236}">
                    <a16:creationId xmlns:a16="http://schemas.microsoft.com/office/drawing/2014/main" id="{15F7EE69-3230-E3C2-A8B7-522C07708B09}"/>
                  </a:ext>
                </a:extLst>
              </p:cNvPr>
              <p:cNvSpPr>
                <a:spLocks/>
              </p:cNvSpPr>
              <p:nvPr userDrawn="1"/>
            </p:nvSpPr>
            <p:spPr bwMode="auto">
              <a:xfrm>
                <a:off x="799033" y="168151"/>
                <a:ext cx="193675" cy="258763"/>
              </a:xfrm>
              <a:custGeom>
                <a:avLst/>
                <a:gdLst>
                  <a:gd name="T0" fmla="*/ 55443438 w 244"/>
                  <a:gd name="T1" fmla="*/ 49446026 h 325"/>
                  <a:gd name="T2" fmla="*/ 55443438 w 244"/>
                  <a:gd name="T3" fmla="*/ 206025508 h 325"/>
                  <a:gd name="T4" fmla="*/ 112776794 w 244"/>
                  <a:gd name="T5" fmla="*/ 206025508 h 325"/>
                  <a:gd name="T6" fmla="*/ 112776794 w 244"/>
                  <a:gd name="T7" fmla="*/ 49446026 h 325"/>
                  <a:gd name="T8" fmla="*/ 153729531 w 244"/>
                  <a:gd name="T9" fmla="*/ 49446026 h 325"/>
                  <a:gd name="T10" fmla="*/ 153729531 w 244"/>
                  <a:gd name="T11" fmla="*/ 0 h 325"/>
                  <a:gd name="T12" fmla="*/ 15751175 w 244"/>
                  <a:gd name="T13" fmla="*/ 0 h 325"/>
                  <a:gd name="T14" fmla="*/ 0 w 244"/>
                  <a:gd name="T15" fmla="*/ 49446026 h 325"/>
                  <a:gd name="T16" fmla="*/ 55443438 w 244"/>
                  <a:gd name="T17" fmla="*/ 49446026 h 3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44" h="325">
                    <a:moveTo>
                      <a:pt x="88" y="78"/>
                    </a:moveTo>
                    <a:lnTo>
                      <a:pt x="88" y="325"/>
                    </a:lnTo>
                    <a:lnTo>
                      <a:pt x="179" y="325"/>
                    </a:lnTo>
                    <a:lnTo>
                      <a:pt x="179" y="78"/>
                    </a:lnTo>
                    <a:lnTo>
                      <a:pt x="244" y="78"/>
                    </a:lnTo>
                    <a:lnTo>
                      <a:pt x="244" y="0"/>
                    </a:lnTo>
                    <a:lnTo>
                      <a:pt x="25" y="0"/>
                    </a:lnTo>
                    <a:lnTo>
                      <a:pt x="0" y="78"/>
                    </a:lnTo>
                    <a:lnTo>
                      <a:pt x="88"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45" name="V">
                <a:extLst>
                  <a:ext uri="{FF2B5EF4-FFF2-40B4-BE49-F238E27FC236}">
                    <a16:creationId xmlns:a16="http://schemas.microsoft.com/office/drawing/2014/main" id="{7F2334B7-6927-82F2-5932-0BA96804DAAF}"/>
                  </a:ext>
                </a:extLst>
              </p:cNvPr>
              <p:cNvSpPr>
                <a:spLocks/>
              </p:cNvSpPr>
              <p:nvPr userDrawn="1"/>
            </p:nvSpPr>
            <p:spPr bwMode="auto">
              <a:xfrm>
                <a:off x="567258" y="168151"/>
                <a:ext cx="230188" cy="258763"/>
              </a:xfrm>
              <a:custGeom>
                <a:avLst/>
                <a:gdLst>
                  <a:gd name="T0" fmla="*/ 116731600 w 289"/>
                  <a:gd name="T1" fmla="*/ 206025508 h 325"/>
                  <a:gd name="T2" fmla="*/ 183344344 w 289"/>
                  <a:gd name="T3" fmla="*/ 0 h 325"/>
                  <a:gd name="T4" fmla="*/ 124978544 w 289"/>
                  <a:gd name="T5" fmla="*/ 0 h 325"/>
                  <a:gd name="T6" fmla="*/ 90720356 w 289"/>
                  <a:gd name="T7" fmla="*/ 105865119 h 325"/>
                  <a:gd name="T8" fmla="*/ 85645069 w 289"/>
                  <a:gd name="T9" fmla="*/ 121079587 h 325"/>
                  <a:gd name="T10" fmla="*/ 85645069 w 289"/>
                  <a:gd name="T11" fmla="*/ 121079587 h 325"/>
                  <a:gd name="T12" fmla="*/ 85645069 w 289"/>
                  <a:gd name="T13" fmla="*/ 121079587 h 325"/>
                  <a:gd name="T14" fmla="*/ 85645069 w 289"/>
                  <a:gd name="T15" fmla="*/ 121079587 h 325"/>
                  <a:gd name="T16" fmla="*/ 85645069 w 289"/>
                  <a:gd name="T17" fmla="*/ 121079587 h 325"/>
                  <a:gd name="T18" fmla="*/ 85645069 w 289"/>
                  <a:gd name="T19" fmla="*/ 121079587 h 325"/>
                  <a:gd name="T20" fmla="*/ 85645069 w 289"/>
                  <a:gd name="T21" fmla="*/ 121079587 h 325"/>
                  <a:gd name="T22" fmla="*/ 81204592 w 289"/>
                  <a:gd name="T23" fmla="*/ 105865119 h 325"/>
                  <a:gd name="T24" fmla="*/ 57730991 w 289"/>
                  <a:gd name="T25" fmla="*/ 38035772 h 325"/>
                  <a:gd name="T26" fmla="*/ 0 w 289"/>
                  <a:gd name="T27" fmla="*/ 38035772 h 325"/>
                  <a:gd name="T28" fmla="*/ 57096978 w 289"/>
                  <a:gd name="T29" fmla="*/ 206025508 h 325"/>
                  <a:gd name="T30" fmla="*/ 116731600 w 289"/>
                  <a:gd name="T31" fmla="*/ 206025508 h 32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89" h="325">
                    <a:moveTo>
                      <a:pt x="184" y="325"/>
                    </a:moveTo>
                    <a:lnTo>
                      <a:pt x="289" y="0"/>
                    </a:lnTo>
                    <a:lnTo>
                      <a:pt x="197" y="0"/>
                    </a:lnTo>
                    <a:lnTo>
                      <a:pt x="143" y="167"/>
                    </a:lnTo>
                    <a:lnTo>
                      <a:pt x="135" y="191"/>
                    </a:lnTo>
                    <a:lnTo>
                      <a:pt x="128" y="167"/>
                    </a:lnTo>
                    <a:lnTo>
                      <a:pt x="91" y="60"/>
                    </a:lnTo>
                    <a:lnTo>
                      <a:pt x="0" y="60"/>
                    </a:lnTo>
                    <a:lnTo>
                      <a:pt x="90" y="325"/>
                    </a:lnTo>
                    <a:lnTo>
                      <a:pt x="184" y="3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grpSp>
          <p:nvGrpSpPr>
            <p:cNvPr id="5" name="_VTT_logo_102019_03_white_on_blue" hidden="1">
              <a:extLst>
                <a:ext uri="{FF2B5EF4-FFF2-40B4-BE49-F238E27FC236}">
                  <a16:creationId xmlns:a16="http://schemas.microsoft.com/office/drawing/2014/main" id="{D5A9A7B3-03AC-D86E-E5D2-FA96013D76EE}"/>
                </a:ext>
              </a:extLst>
            </p:cNvPr>
            <p:cNvGrpSpPr>
              <a:grpSpLocks/>
            </p:cNvGrpSpPr>
            <p:nvPr userDrawn="1"/>
          </p:nvGrpSpPr>
          <p:grpSpPr bwMode="auto">
            <a:xfrm>
              <a:off x="7909204" y="1770762"/>
              <a:ext cx="971550" cy="655638"/>
              <a:chOff x="379933" y="-15999"/>
              <a:chExt cx="971550" cy="655638"/>
            </a:xfrm>
          </p:grpSpPr>
          <p:sp>
            <p:nvSpPr>
              <p:cNvPr id="38" name="Box">
                <a:extLst>
                  <a:ext uri="{FF2B5EF4-FFF2-40B4-BE49-F238E27FC236}">
                    <a16:creationId xmlns:a16="http://schemas.microsoft.com/office/drawing/2014/main" id="{D39B645E-A860-7099-B10A-19C4165AD8F9}"/>
                  </a:ext>
                </a:extLst>
              </p:cNvPr>
              <p:cNvSpPr>
                <a:spLocks noChangeArrowheads="1"/>
              </p:cNvSpPr>
              <p:nvPr userDrawn="1"/>
            </p:nvSpPr>
            <p:spPr bwMode="auto">
              <a:xfrm>
                <a:off x="379933" y="-15999"/>
                <a:ext cx="971550" cy="655638"/>
              </a:xfrm>
              <a:prstGeom prst="rect">
                <a:avLst/>
              </a:prstGeom>
              <a:solidFill>
                <a:srgbClr val="005794"/>
              </a:solidFill>
              <a:ln>
                <a:noFill/>
              </a:ln>
            </p:spPr>
            <p:txBody>
              <a:bodyPr/>
              <a:lstStyle>
                <a:lvl1pPr defTabSz="455613">
                  <a:defRPr b="1">
                    <a:solidFill>
                      <a:schemeClr val="tx1"/>
                    </a:solidFill>
                    <a:latin typeface="Verdana" panose="020B0604030504040204" pitchFamily="34" charset="0"/>
                  </a:defRPr>
                </a:lvl1pPr>
                <a:lvl2pPr marL="742950" indent="-285750" defTabSz="455613">
                  <a:defRPr b="1">
                    <a:solidFill>
                      <a:schemeClr val="tx1"/>
                    </a:solidFill>
                    <a:latin typeface="Verdana" panose="020B0604030504040204" pitchFamily="34" charset="0"/>
                  </a:defRPr>
                </a:lvl2pPr>
                <a:lvl3pPr marL="1143000" indent="-228600" defTabSz="455613">
                  <a:defRPr b="1">
                    <a:solidFill>
                      <a:schemeClr val="tx1"/>
                    </a:solidFill>
                    <a:latin typeface="Verdana" panose="020B0604030504040204" pitchFamily="34" charset="0"/>
                  </a:defRPr>
                </a:lvl3pPr>
                <a:lvl4pPr marL="1600200" indent="-228600" defTabSz="455613">
                  <a:defRPr b="1">
                    <a:solidFill>
                      <a:schemeClr val="tx1"/>
                    </a:solidFill>
                    <a:latin typeface="Verdana" panose="020B0604030504040204" pitchFamily="34" charset="0"/>
                  </a:defRPr>
                </a:lvl4pPr>
                <a:lvl5pPr marL="2057400" indent="-228600" defTabSz="455613">
                  <a:defRPr b="1">
                    <a:solidFill>
                      <a:schemeClr val="tx1"/>
                    </a:solidFill>
                    <a:latin typeface="Verdana" panose="020B0604030504040204" pitchFamily="34" charset="0"/>
                  </a:defRPr>
                </a:lvl5pPr>
                <a:lvl6pPr marL="2514600" indent="-228600" defTabSz="455613" eaLnBrk="0" fontAlgn="base" hangingPunct="0">
                  <a:spcBef>
                    <a:spcPct val="0"/>
                  </a:spcBef>
                  <a:spcAft>
                    <a:spcPct val="0"/>
                  </a:spcAft>
                  <a:defRPr b="1">
                    <a:solidFill>
                      <a:schemeClr val="tx1"/>
                    </a:solidFill>
                    <a:latin typeface="Verdana" panose="020B0604030504040204" pitchFamily="34" charset="0"/>
                  </a:defRPr>
                </a:lvl6pPr>
                <a:lvl7pPr marL="2971800" indent="-228600" defTabSz="455613" eaLnBrk="0" fontAlgn="base" hangingPunct="0">
                  <a:spcBef>
                    <a:spcPct val="0"/>
                  </a:spcBef>
                  <a:spcAft>
                    <a:spcPct val="0"/>
                  </a:spcAft>
                  <a:defRPr b="1">
                    <a:solidFill>
                      <a:schemeClr val="tx1"/>
                    </a:solidFill>
                    <a:latin typeface="Verdana" panose="020B0604030504040204" pitchFamily="34" charset="0"/>
                  </a:defRPr>
                </a:lvl7pPr>
                <a:lvl8pPr marL="3429000" indent="-228600" defTabSz="455613" eaLnBrk="0" fontAlgn="base" hangingPunct="0">
                  <a:spcBef>
                    <a:spcPct val="0"/>
                  </a:spcBef>
                  <a:spcAft>
                    <a:spcPct val="0"/>
                  </a:spcAft>
                  <a:defRPr b="1">
                    <a:solidFill>
                      <a:schemeClr val="tx1"/>
                    </a:solidFill>
                    <a:latin typeface="Verdana" panose="020B0604030504040204" pitchFamily="34" charset="0"/>
                  </a:defRPr>
                </a:lvl8pPr>
                <a:lvl9pPr marL="3886200" indent="-228600" defTabSz="455613" eaLnBrk="0" fontAlgn="base" hangingPunct="0">
                  <a:spcBef>
                    <a:spcPct val="0"/>
                  </a:spcBef>
                  <a:spcAft>
                    <a:spcPct val="0"/>
                  </a:spcAft>
                  <a:defRPr b="1">
                    <a:solidFill>
                      <a:schemeClr val="tx1"/>
                    </a:solidFill>
                    <a:latin typeface="Verdana" panose="020B0604030504040204" pitchFamily="34" charset="0"/>
                  </a:defRPr>
                </a:lvl9pPr>
              </a:lstStyle>
              <a:p>
                <a:pPr eaLnBrk="1" hangingPunct="1">
                  <a:defRPr/>
                </a:pPr>
                <a:endParaRPr lang="en-GB" altLang="de-DE" b="0">
                  <a:solidFill>
                    <a:srgbClr val="000000"/>
                  </a:solidFill>
                  <a:latin typeface="Arial" panose="020B0604020202020204" pitchFamily="34" charset="0"/>
                </a:endParaRPr>
              </a:p>
            </p:txBody>
          </p:sp>
          <p:sp>
            <p:nvSpPr>
              <p:cNvPr id="39" name="T2">
                <a:extLst>
                  <a:ext uri="{FF2B5EF4-FFF2-40B4-BE49-F238E27FC236}">
                    <a16:creationId xmlns:a16="http://schemas.microsoft.com/office/drawing/2014/main" id="{1F94ECB8-670F-C278-994B-3FEDB6D49232}"/>
                  </a:ext>
                </a:extLst>
              </p:cNvPr>
              <p:cNvSpPr>
                <a:spLocks/>
              </p:cNvSpPr>
              <p:nvPr userDrawn="1"/>
            </p:nvSpPr>
            <p:spPr bwMode="auto">
              <a:xfrm>
                <a:off x="1011758" y="168151"/>
                <a:ext cx="176213" cy="258763"/>
              </a:xfrm>
              <a:custGeom>
                <a:avLst/>
                <a:gdLst>
                  <a:gd name="T0" fmla="*/ 98916612 w 222"/>
                  <a:gd name="T1" fmla="*/ 206025508 h 325"/>
                  <a:gd name="T2" fmla="*/ 98916612 w 222"/>
                  <a:gd name="T3" fmla="*/ 49446026 h 325"/>
                  <a:gd name="T4" fmla="*/ 139869466 w 222"/>
                  <a:gd name="T5" fmla="*/ 49446026 h 325"/>
                  <a:gd name="T6" fmla="*/ 139869466 w 222"/>
                  <a:gd name="T7" fmla="*/ 0 h 325"/>
                  <a:gd name="T8" fmla="*/ 0 w 222"/>
                  <a:gd name="T9" fmla="*/ 0 h 325"/>
                  <a:gd name="T10" fmla="*/ 0 w 222"/>
                  <a:gd name="T11" fmla="*/ 49446026 h 325"/>
                  <a:gd name="T12" fmla="*/ 41583093 w 222"/>
                  <a:gd name="T13" fmla="*/ 49446026 h 325"/>
                  <a:gd name="T14" fmla="*/ 41583093 w 222"/>
                  <a:gd name="T15" fmla="*/ 206025508 h 325"/>
                  <a:gd name="T16" fmla="*/ 41583093 w 222"/>
                  <a:gd name="T17" fmla="*/ 206025508 h 325"/>
                  <a:gd name="T18" fmla="*/ 98916612 w 222"/>
                  <a:gd name="T19" fmla="*/ 206025508 h 3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22" h="325">
                    <a:moveTo>
                      <a:pt x="157" y="325"/>
                    </a:moveTo>
                    <a:lnTo>
                      <a:pt x="157" y="78"/>
                    </a:lnTo>
                    <a:lnTo>
                      <a:pt x="222" y="78"/>
                    </a:lnTo>
                    <a:lnTo>
                      <a:pt x="222" y="0"/>
                    </a:lnTo>
                    <a:lnTo>
                      <a:pt x="0" y="0"/>
                    </a:lnTo>
                    <a:lnTo>
                      <a:pt x="0" y="78"/>
                    </a:lnTo>
                    <a:lnTo>
                      <a:pt x="66" y="78"/>
                    </a:lnTo>
                    <a:lnTo>
                      <a:pt x="66" y="325"/>
                    </a:lnTo>
                    <a:lnTo>
                      <a:pt x="157" y="3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40" name="T1">
                <a:extLst>
                  <a:ext uri="{FF2B5EF4-FFF2-40B4-BE49-F238E27FC236}">
                    <a16:creationId xmlns:a16="http://schemas.microsoft.com/office/drawing/2014/main" id="{7FB8A711-D8AB-100C-F0BB-82BF3E0642DE}"/>
                  </a:ext>
                </a:extLst>
              </p:cNvPr>
              <p:cNvSpPr>
                <a:spLocks/>
              </p:cNvSpPr>
              <p:nvPr userDrawn="1"/>
            </p:nvSpPr>
            <p:spPr bwMode="auto">
              <a:xfrm>
                <a:off x="799033" y="168151"/>
                <a:ext cx="193675" cy="258763"/>
              </a:xfrm>
              <a:custGeom>
                <a:avLst/>
                <a:gdLst>
                  <a:gd name="T0" fmla="*/ 55443438 w 244"/>
                  <a:gd name="T1" fmla="*/ 49446026 h 325"/>
                  <a:gd name="T2" fmla="*/ 55443438 w 244"/>
                  <a:gd name="T3" fmla="*/ 206025508 h 325"/>
                  <a:gd name="T4" fmla="*/ 112776794 w 244"/>
                  <a:gd name="T5" fmla="*/ 206025508 h 325"/>
                  <a:gd name="T6" fmla="*/ 112776794 w 244"/>
                  <a:gd name="T7" fmla="*/ 49446026 h 325"/>
                  <a:gd name="T8" fmla="*/ 153729531 w 244"/>
                  <a:gd name="T9" fmla="*/ 49446026 h 325"/>
                  <a:gd name="T10" fmla="*/ 153729531 w 244"/>
                  <a:gd name="T11" fmla="*/ 0 h 325"/>
                  <a:gd name="T12" fmla="*/ 15751175 w 244"/>
                  <a:gd name="T13" fmla="*/ 0 h 325"/>
                  <a:gd name="T14" fmla="*/ 0 w 244"/>
                  <a:gd name="T15" fmla="*/ 49446026 h 325"/>
                  <a:gd name="T16" fmla="*/ 55443438 w 244"/>
                  <a:gd name="T17" fmla="*/ 49446026 h 3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44" h="325">
                    <a:moveTo>
                      <a:pt x="88" y="78"/>
                    </a:moveTo>
                    <a:lnTo>
                      <a:pt x="88" y="325"/>
                    </a:lnTo>
                    <a:lnTo>
                      <a:pt x="179" y="325"/>
                    </a:lnTo>
                    <a:lnTo>
                      <a:pt x="179" y="78"/>
                    </a:lnTo>
                    <a:lnTo>
                      <a:pt x="244" y="78"/>
                    </a:lnTo>
                    <a:lnTo>
                      <a:pt x="244" y="0"/>
                    </a:lnTo>
                    <a:lnTo>
                      <a:pt x="25" y="0"/>
                    </a:lnTo>
                    <a:lnTo>
                      <a:pt x="0" y="78"/>
                    </a:lnTo>
                    <a:lnTo>
                      <a:pt x="88"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41" name="V">
                <a:extLst>
                  <a:ext uri="{FF2B5EF4-FFF2-40B4-BE49-F238E27FC236}">
                    <a16:creationId xmlns:a16="http://schemas.microsoft.com/office/drawing/2014/main" id="{E490E6D3-38D6-0B1D-B2A4-0BA817900324}"/>
                  </a:ext>
                </a:extLst>
              </p:cNvPr>
              <p:cNvSpPr>
                <a:spLocks/>
              </p:cNvSpPr>
              <p:nvPr userDrawn="1"/>
            </p:nvSpPr>
            <p:spPr bwMode="auto">
              <a:xfrm>
                <a:off x="567258" y="168151"/>
                <a:ext cx="230188" cy="258763"/>
              </a:xfrm>
              <a:custGeom>
                <a:avLst/>
                <a:gdLst>
                  <a:gd name="T0" fmla="*/ 116731600 w 289"/>
                  <a:gd name="T1" fmla="*/ 206025508 h 325"/>
                  <a:gd name="T2" fmla="*/ 183344344 w 289"/>
                  <a:gd name="T3" fmla="*/ 0 h 325"/>
                  <a:gd name="T4" fmla="*/ 124978544 w 289"/>
                  <a:gd name="T5" fmla="*/ 0 h 325"/>
                  <a:gd name="T6" fmla="*/ 90720356 w 289"/>
                  <a:gd name="T7" fmla="*/ 105865119 h 325"/>
                  <a:gd name="T8" fmla="*/ 85645069 w 289"/>
                  <a:gd name="T9" fmla="*/ 121079587 h 325"/>
                  <a:gd name="T10" fmla="*/ 85645069 w 289"/>
                  <a:gd name="T11" fmla="*/ 121079587 h 325"/>
                  <a:gd name="T12" fmla="*/ 85645069 w 289"/>
                  <a:gd name="T13" fmla="*/ 121079587 h 325"/>
                  <a:gd name="T14" fmla="*/ 85645069 w 289"/>
                  <a:gd name="T15" fmla="*/ 121079587 h 325"/>
                  <a:gd name="T16" fmla="*/ 85645069 w 289"/>
                  <a:gd name="T17" fmla="*/ 121079587 h 325"/>
                  <a:gd name="T18" fmla="*/ 85645069 w 289"/>
                  <a:gd name="T19" fmla="*/ 121079587 h 325"/>
                  <a:gd name="T20" fmla="*/ 85645069 w 289"/>
                  <a:gd name="T21" fmla="*/ 121079587 h 325"/>
                  <a:gd name="T22" fmla="*/ 81204592 w 289"/>
                  <a:gd name="T23" fmla="*/ 105865119 h 325"/>
                  <a:gd name="T24" fmla="*/ 57730991 w 289"/>
                  <a:gd name="T25" fmla="*/ 38035772 h 325"/>
                  <a:gd name="T26" fmla="*/ 0 w 289"/>
                  <a:gd name="T27" fmla="*/ 38035772 h 325"/>
                  <a:gd name="T28" fmla="*/ 57096978 w 289"/>
                  <a:gd name="T29" fmla="*/ 206025508 h 325"/>
                  <a:gd name="T30" fmla="*/ 116731600 w 289"/>
                  <a:gd name="T31" fmla="*/ 206025508 h 32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89" h="325">
                    <a:moveTo>
                      <a:pt x="184" y="325"/>
                    </a:moveTo>
                    <a:lnTo>
                      <a:pt x="289" y="0"/>
                    </a:lnTo>
                    <a:lnTo>
                      <a:pt x="197" y="0"/>
                    </a:lnTo>
                    <a:lnTo>
                      <a:pt x="143" y="167"/>
                    </a:lnTo>
                    <a:lnTo>
                      <a:pt x="135" y="191"/>
                    </a:lnTo>
                    <a:lnTo>
                      <a:pt x="128" y="167"/>
                    </a:lnTo>
                    <a:lnTo>
                      <a:pt x="91" y="60"/>
                    </a:lnTo>
                    <a:lnTo>
                      <a:pt x="0" y="60"/>
                    </a:lnTo>
                    <a:lnTo>
                      <a:pt x="90" y="325"/>
                    </a:lnTo>
                    <a:lnTo>
                      <a:pt x="184" y="3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grpSp>
          <p:nvGrpSpPr>
            <p:cNvPr id="7" name="_VTT_logo_102019_04_white_on_dark_grey" hidden="1">
              <a:extLst>
                <a:ext uri="{FF2B5EF4-FFF2-40B4-BE49-F238E27FC236}">
                  <a16:creationId xmlns:a16="http://schemas.microsoft.com/office/drawing/2014/main" id="{597A1A4C-0710-217A-AFDF-D8686DB5DE6E}"/>
                </a:ext>
              </a:extLst>
            </p:cNvPr>
            <p:cNvGrpSpPr>
              <a:grpSpLocks/>
            </p:cNvGrpSpPr>
            <p:nvPr userDrawn="1"/>
          </p:nvGrpSpPr>
          <p:grpSpPr bwMode="auto">
            <a:xfrm>
              <a:off x="7909204" y="1770762"/>
              <a:ext cx="971550" cy="655638"/>
              <a:chOff x="379933" y="-15999"/>
              <a:chExt cx="971550" cy="655638"/>
            </a:xfrm>
          </p:grpSpPr>
          <p:sp>
            <p:nvSpPr>
              <p:cNvPr id="34" name="Box">
                <a:extLst>
                  <a:ext uri="{FF2B5EF4-FFF2-40B4-BE49-F238E27FC236}">
                    <a16:creationId xmlns:a16="http://schemas.microsoft.com/office/drawing/2014/main" id="{1EE3065E-D0AD-F863-5297-2C4D59B8CBA3}"/>
                  </a:ext>
                </a:extLst>
              </p:cNvPr>
              <p:cNvSpPr>
                <a:spLocks noChangeArrowheads="1"/>
              </p:cNvSpPr>
              <p:nvPr userDrawn="1"/>
            </p:nvSpPr>
            <p:spPr bwMode="auto">
              <a:xfrm>
                <a:off x="379933" y="-15999"/>
                <a:ext cx="971550" cy="655638"/>
              </a:xfrm>
              <a:prstGeom prst="rect">
                <a:avLst/>
              </a:prstGeom>
              <a:solidFill>
                <a:srgbClr val="AFAFAF"/>
              </a:solidFill>
              <a:ln>
                <a:noFill/>
              </a:ln>
            </p:spPr>
            <p:txBody>
              <a:bodyPr/>
              <a:lstStyle>
                <a:lvl1pPr defTabSz="455613">
                  <a:defRPr b="1">
                    <a:solidFill>
                      <a:schemeClr val="tx1"/>
                    </a:solidFill>
                    <a:latin typeface="Verdana" panose="020B0604030504040204" pitchFamily="34" charset="0"/>
                  </a:defRPr>
                </a:lvl1pPr>
                <a:lvl2pPr marL="742950" indent="-285750" defTabSz="455613">
                  <a:defRPr b="1">
                    <a:solidFill>
                      <a:schemeClr val="tx1"/>
                    </a:solidFill>
                    <a:latin typeface="Verdana" panose="020B0604030504040204" pitchFamily="34" charset="0"/>
                  </a:defRPr>
                </a:lvl2pPr>
                <a:lvl3pPr marL="1143000" indent="-228600" defTabSz="455613">
                  <a:defRPr b="1">
                    <a:solidFill>
                      <a:schemeClr val="tx1"/>
                    </a:solidFill>
                    <a:latin typeface="Verdana" panose="020B0604030504040204" pitchFamily="34" charset="0"/>
                  </a:defRPr>
                </a:lvl3pPr>
                <a:lvl4pPr marL="1600200" indent="-228600" defTabSz="455613">
                  <a:defRPr b="1">
                    <a:solidFill>
                      <a:schemeClr val="tx1"/>
                    </a:solidFill>
                    <a:latin typeface="Verdana" panose="020B0604030504040204" pitchFamily="34" charset="0"/>
                  </a:defRPr>
                </a:lvl4pPr>
                <a:lvl5pPr marL="2057400" indent="-228600" defTabSz="455613">
                  <a:defRPr b="1">
                    <a:solidFill>
                      <a:schemeClr val="tx1"/>
                    </a:solidFill>
                    <a:latin typeface="Verdana" panose="020B0604030504040204" pitchFamily="34" charset="0"/>
                  </a:defRPr>
                </a:lvl5pPr>
                <a:lvl6pPr marL="2514600" indent="-228600" defTabSz="455613" eaLnBrk="0" fontAlgn="base" hangingPunct="0">
                  <a:spcBef>
                    <a:spcPct val="0"/>
                  </a:spcBef>
                  <a:spcAft>
                    <a:spcPct val="0"/>
                  </a:spcAft>
                  <a:defRPr b="1">
                    <a:solidFill>
                      <a:schemeClr val="tx1"/>
                    </a:solidFill>
                    <a:latin typeface="Verdana" panose="020B0604030504040204" pitchFamily="34" charset="0"/>
                  </a:defRPr>
                </a:lvl6pPr>
                <a:lvl7pPr marL="2971800" indent="-228600" defTabSz="455613" eaLnBrk="0" fontAlgn="base" hangingPunct="0">
                  <a:spcBef>
                    <a:spcPct val="0"/>
                  </a:spcBef>
                  <a:spcAft>
                    <a:spcPct val="0"/>
                  </a:spcAft>
                  <a:defRPr b="1">
                    <a:solidFill>
                      <a:schemeClr val="tx1"/>
                    </a:solidFill>
                    <a:latin typeface="Verdana" panose="020B0604030504040204" pitchFamily="34" charset="0"/>
                  </a:defRPr>
                </a:lvl7pPr>
                <a:lvl8pPr marL="3429000" indent="-228600" defTabSz="455613" eaLnBrk="0" fontAlgn="base" hangingPunct="0">
                  <a:spcBef>
                    <a:spcPct val="0"/>
                  </a:spcBef>
                  <a:spcAft>
                    <a:spcPct val="0"/>
                  </a:spcAft>
                  <a:defRPr b="1">
                    <a:solidFill>
                      <a:schemeClr val="tx1"/>
                    </a:solidFill>
                    <a:latin typeface="Verdana" panose="020B0604030504040204" pitchFamily="34" charset="0"/>
                  </a:defRPr>
                </a:lvl8pPr>
                <a:lvl9pPr marL="3886200" indent="-228600" defTabSz="455613" eaLnBrk="0" fontAlgn="base" hangingPunct="0">
                  <a:spcBef>
                    <a:spcPct val="0"/>
                  </a:spcBef>
                  <a:spcAft>
                    <a:spcPct val="0"/>
                  </a:spcAft>
                  <a:defRPr b="1">
                    <a:solidFill>
                      <a:schemeClr val="tx1"/>
                    </a:solidFill>
                    <a:latin typeface="Verdana" panose="020B0604030504040204" pitchFamily="34" charset="0"/>
                  </a:defRPr>
                </a:lvl9pPr>
              </a:lstStyle>
              <a:p>
                <a:pPr eaLnBrk="1" hangingPunct="1">
                  <a:defRPr/>
                </a:pPr>
                <a:endParaRPr lang="en-GB" altLang="de-DE" b="0">
                  <a:solidFill>
                    <a:srgbClr val="000000"/>
                  </a:solidFill>
                  <a:latin typeface="Arial" panose="020B0604020202020204" pitchFamily="34" charset="0"/>
                </a:endParaRPr>
              </a:p>
            </p:txBody>
          </p:sp>
          <p:sp>
            <p:nvSpPr>
              <p:cNvPr id="35" name="T2">
                <a:extLst>
                  <a:ext uri="{FF2B5EF4-FFF2-40B4-BE49-F238E27FC236}">
                    <a16:creationId xmlns:a16="http://schemas.microsoft.com/office/drawing/2014/main" id="{5E185D81-4B43-B4C1-C9E0-8236F9DD67BF}"/>
                  </a:ext>
                </a:extLst>
              </p:cNvPr>
              <p:cNvSpPr>
                <a:spLocks/>
              </p:cNvSpPr>
              <p:nvPr userDrawn="1"/>
            </p:nvSpPr>
            <p:spPr bwMode="auto">
              <a:xfrm>
                <a:off x="1011758" y="168151"/>
                <a:ext cx="176213" cy="258763"/>
              </a:xfrm>
              <a:custGeom>
                <a:avLst/>
                <a:gdLst>
                  <a:gd name="T0" fmla="*/ 98916612 w 222"/>
                  <a:gd name="T1" fmla="*/ 206025508 h 325"/>
                  <a:gd name="T2" fmla="*/ 98916612 w 222"/>
                  <a:gd name="T3" fmla="*/ 49446026 h 325"/>
                  <a:gd name="T4" fmla="*/ 139869466 w 222"/>
                  <a:gd name="T5" fmla="*/ 49446026 h 325"/>
                  <a:gd name="T6" fmla="*/ 139869466 w 222"/>
                  <a:gd name="T7" fmla="*/ 0 h 325"/>
                  <a:gd name="T8" fmla="*/ 0 w 222"/>
                  <a:gd name="T9" fmla="*/ 0 h 325"/>
                  <a:gd name="T10" fmla="*/ 0 w 222"/>
                  <a:gd name="T11" fmla="*/ 49446026 h 325"/>
                  <a:gd name="T12" fmla="*/ 41583093 w 222"/>
                  <a:gd name="T13" fmla="*/ 49446026 h 325"/>
                  <a:gd name="T14" fmla="*/ 41583093 w 222"/>
                  <a:gd name="T15" fmla="*/ 206025508 h 325"/>
                  <a:gd name="T16" fmla="*/ 41583093 w 222"/>
                  <a:gd name="T17" fmla="*/ 206025508 h 325"/>
                  <a:gd name="T18" fmla="*/ 98916612 w 222"/>
                  <a:gd name="T19" fmla="*/ 206025508 h 3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22" h="325">
                    <a:moveTo>
                      <a:pt x="157" y="325"/>
                    </a:moveTo>
                    <a:lnTo>
                      <a:pt x="157" y="78"/>
                    </a:lnTo>
                    <a:lnTo>
                      <a:pt x="222" y="78"/>
                    </a:lnTo>
                    <a:lnTo>
                      <a:pt x="222" y="0"/>
                    </a:lnTo>
                    <a:lnTo>
                      <a:pt x="0" y="0"/>
                    </a:lnTo>
                    <a:lnTo>
                      <a:pt x="0" y="78"/>
                    </a:lnTo>
                    <a:lnTo>
                      <a:pt x="66" y="78"/>
                    </a:lnTo>
                    <a:lnTo>
                      <a:pt x="66" y="325"/>
                    </a:lnTo>
                    <a:lnTo>
                      <a:pt x="157" y="3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36" name="T1">
                <a:extLst>
                  <a:ext uri="{FF2B5EF4-FFF2-40B4-BE49-F238E27FC236}">
                    <a16:creationId xmlns:a16="http://schemas.microsoft.com/office/drawing/2014/main" id="{2449E9E1-55AF-D8CD-8850-26DAEC25FB1A}"/>
                  </a:ext>
                </a:extLst>
              </p:cNvPr>
              <p:cNvSpPr>
                <a:spLocks/>
              </p:cNvSpPr>
              <p:nvPr userDrawn="1"/>
            </p:nvSpPr>
            <p:spPr bwMode="auto">
              <a:xfrm>
                <a:off x="799033" y="168151"/>
                <a:ext cx="193675" cy="258763"/>
              </a:xfrm>
              <a:custGeom>
                <a:avLst/>
                <a:gdLst>
                  <a:gd name="T0" fmla="*/ 55443438 w 244"/>
                  <a:gd name="T1" fmla="*/ 49446026 h 325"/>
                  <a:gd name="T2" fmla="*/ 55443438 w 244"/>
                  <a:gd name="T3" fmla="*/ 206025508 h 325"/>
                  <a:gd name="T4" fmla="*/ 112776794 w 244"/>
                  <a:gd name="T5" fmla="*/ 206025508 h 325"/>
                  <a:gd name="T6" fmla="*/ 112776794 w 244"/>
                  <a:gd name="T7" fmla="*/ 49446026 h 325"/>
                  <a:gd name="T8" fmla="*/ 153729531 w 244"/>
                  <a:gd name="T9" fmla="*/ 49446026 h 325"/>
                  <a:gd name="T10" fmla="*/ 153729531 w 244"/>
                  <a:gd name="T11" fmla="*/ 0 h 325"/>
                  <a:gd name="T12" fmla="*/ 15751175 w 244"/>
                  <a:gd name="T13" fmla="*/ 0 h 325"/>
                  <a:gd name="T14" fmla="*/ 0 w 244"/>
                  <a:gd name="T15" fmla="*/ 49446026 h 325"/>
                  <a:gd name="T16" fmla="*/ 55443438 w 244"/>
                  <a:gd name="T17" fmla="*/ 49446026 h 3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44" h="325">
                    <a:moveTo>
                      <a:pt x="88" y="78"/>
                    </a:moveTo>
                    <a:lnTo>
                      <a:pt x="88" y="325"/>
                    </a:lnTo>
                    <a:lnTo>
                      <a:pt x="179" y="325"/>
                    </a:lnTo>
                    <a:lnTo>
                      <a:pt x="179" y="78"/>
                    </a:lnTo>
                    <a:lnTo>
                      <a:pt x="244" y="78"/>
                    </a:lnTo>
                    <a:lnTo>
                      <a:pt x="244" y="0"/>
                    </a:lnTo>
                    <a:lnTo>
                      <a:pt x="25" y="0"/>
                    </a:lnTo>
                    <a:lnTo>
                      <a:pt x="0" y="78"/>
                    </a:lnTo>
                    <a:lnTo>
                      <a:pt x="88"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37" name="V">
                <a:extLst>
                  <a:ext uri="{FF2B5EF4-FFF2-40B4-BE49-F238E27FC236}">
                    <a16:creationId xmlns:a16="http://schemas.microsoft.com/office/drawing/2014/main" id="{9F588651-8A3A-C2EF-2ADF-B58BCDA5AFAB}"/>
                  </a:ext>
                </a:extLst>
              </p:cNvPr>
              <p:cNvSpPr>
                <a:spLocks/>
              </p:cNvSpPr>
              <p:nvPr userDrawn="1"/>
            </p:nvSpPr>
            <p:spPr bwMode="auto">
              <a:xfrm>
                <a:off x="567258" y="168151"/>
                <a:ext cx="230188" cy="258763"/>
              </a:xfrm>
              <a:custGeom>
                <a:avLst/>
                <a:gdLst>
                  <a:gd name="T0" fmla="*/ 116731600 w 289"/>
                  <a:gd name="T1" fmla="*/ 206025508 h 325"/>
                  <a:gd name="T2" fmla="*/ 183344344 w 289"/>
                  <a:gd name="T3" fmla="*/ 0 h 325"/>
                  <a:gd name="T4" fmla="*/ 124978544 w 289"/>
                  <a:gd name="T5" fmla="*/ 0 h 325"/>
                  <a:gd name="T6" fmla="*/ 90720356 w 289"/>
                  <a:gd name="T7" fmla="*/ 105865119 h 325"/>
                  <a:gd name="T8" fmla="*/ 85645069 w 289"/>
                  <a:gd name="T9" fmla="*/ 121079587 h 325"/>
                  <a:gd name="T10" fmla="*/ 85645069 w 289"/>
                  <a:gd name="T11" fmla="*/ 121079587 h 325"/>
                  <a:gd name="T12" fmla="*/ 85645069 w 289"/>
                  <a:gd name="T13" fmla="*/ 121079587 h 325"/>
                  <a:gd name="T14" fmla="*/ 85645069 w 289"/>
                  <a:gd name="T15" fmla="*/ 121079587 h 325"/>
                  <a:gd name="T16" fmla="*/ 85645069 w 289"/>
                  <a:gd name="T17" fmla="*/ 121079587 h 325"/>
                  <a:gd name="T18" fmla="*/ 85645069 w 289"/>
                  <a:gd name="T19" fmla="*/ 121079587 h 325"/>
                  <a:gd name="T20" fmla="*/ 85645069 w 289"/>
                  <a:gd name="T21" fmla="*/ 121079587 h 325"/>
                  <a:gd name="T22" fmla="*/ 81204592 w 289"/>
                  <a:gd name="T23" fmla="*/ 105865119 h 325"/>
                  <a:gd name="T24" fmla="*/ 57730991 w 289"/>
                  <a:gd name="T25" fmla="*/ 38035772 h 325"/>
                  <a:gd name="T26" fmla="*/ 0 w 289"/>
                  <a:gd name="T27" fmla="*/ 38035772 h 325"/>
                  <a:gd name="T28" fmla="*/ 57096978 w 289"/>
                  <a:gd name="T29" fmla="*/ 206025508 h 325"/>
                  <a:gd name="T30" fmla="*/ 116731600 w 289"/>
                  <a:gd name="T31" fmla="*/ 206025508 h 32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89" h="325">
                    <a:moveTo>
                      <a:pt x="184" y="325"/>
                    </a:moveTo>
                    <a:lnTo>
                      <a:pt x="289" y="0"/>
                    </a:lnTo>
                    <a:lnTo>
                      <a:pt x="197" y="0"/>
                    </a:lnTo>
                    <a:lnTo>
                      <a:pt x="143" y="167"/>
                    </a:lnTo>
                    <a:lnTo>
                      <a:pt x="135" y="191"/>
                    </a:lnTo>
                    <a:lnTo>
                      <a:pt x="128" y="167"/>
                    </a:lnTo>
                    <a:lnTo>
                      <a:pt x="91" y="60"/>
                    </a:lnTo>
                    <a:lnTo>
                      <a:pt x="0" y="60"/>
                    </a:lnTo>
                    <a:lnTo>
                      <a:pt x="90" y="325"/>
                    </a:lnTo>
                    <a:lnTo>
                      <a:pt x="184" y="3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grpSp>
          <p:nvGrpSpPr>
            <p:cNvPr id="8" name="_VTT_logo_102019_05_dark_grey_on_white" hidden="1">
              <a:extLst>
                <a:ext uri="{FF2B5EF4-FFF2-40B4-BE49-F238E27FC236}">
                  <a16:creationId xmlns:a16="http://schemas.microsoft.com/office/drawing/2014/main" id="{3AB0C1CE-A2C8-3120-0B28-15E508F5359C}"/>
                </a:ext>
              </a:extLst>
            </p:cNvPr>
            <p:cNvGrpSpPr>
              <a:grpSpLocks/>
            </p:cNvGrpSpPr>
            <p:nvPr userDrawn="1"/>
          </p:nvGrpSpPr>
          <p:grpSpPr bwMode="auto">
            <a:xfrm>
              <a:off x="7909204" y="1770762"/>
              <a:ext cx="971550" cy="655638"/>
              <a:chOff x="379933" y="-15999"/>
              <a:chExt cx="971550" cy="655638"/>
            </a:xfrm>
          </p:grpSpPr>
          <p:sp>
            <p:nvSpPr>
              <p:cNvPr id="30" name="Box">
                <a:extLst>
                  <a:ext uri="{FF2B5EF4-FFF2-40B4-BE49-F238E27FC236}">
                    <a16:creationId xmlns:a16="http://schemas.microsoft.com/office/drawing/2014/main" id="{A1E9DF11-5FE9-E7DE-9596-8AC891C981BC}"/>
                  </a:ext>
                </a:extLst>
              </p:cNvPr>
              <p:cNvSpPr>
                <a:spLocks noChangeArrowheads="1"/>
              </p:cNvSpPr>
              <p:nvPr userDrawn="1"/>
            </p:nvSpPr>
            <p:spPr bwMode="auto">
              <a:xfrm>
                <a:off x="379933" y="-15999"/>
                <a:ext cx="971550" cy="655638"/>
              </a:xfrm>
              <a:prstGeom prst="rect">
                <a:avLst/>
              </a:prstGeom>
              <a:solidFill>
                <a:srgbClr val="FFFFFF"/>
              </a:solidFill>
              <a:ln>
                <a:noFill/>
              </a:ln>
            </p:spPr>
            <p:txBody>
              <a:bodyPr/>
              <a:lstStyle>
                <a:lvl1pPr defTabSz="455613">
                  <a:defRPr b="1">
                    <a:solidFill>
                      <a:schemeClr val="tx1"/>
                    </a:solidFill>
                    <a:latin typeface="Verdana" panose="020B0604030504040204" pitchFamily="34" charset="0"/>
                  </a:defRPr>
                </a:lvl1pPr>
                <a:lvl2pPr marL="742950" indent="-285750" defTabSz="455613">
                  <a:defRPr b="1">
                    <a:solidFill>
                      <a:schemeClr val="tx1"/>
                    </a:solidFill>
                    <a:latin typeface="Verdana" panose="020B0604030504040204" pitchFamily="34" charset="0"/>
                  </a:defRPr>
                </a:lvl2pPr>
                <a:lvl3pPr marL="1143000" indent="-228600" defTabSz="455613">
                  <a:defRPr b="1">
                    <a:solidFill>
                      <a:schemeClr val="tx1"/>
                    </a:solidFill>
                    <a:latin typeface="Verdana" panose="020B0604030504040204" pitchFamily="34" charset="0"/>
                  </a:defRPr>
                </a:lvl3pPr>
                <a:lvl4pPr marL="1600200" indent="-228600" defTabSz="455613">
                  <a:defRPr b="1">
                    <a:solidFill>
                      <a:schemeClr val="tx1"/>
                    </a:solidFill>
                    <a:latin typeface="Verdana" panose="020B0604030504040204" pitchFamily="34" charset="0"/>
                  </a:defRPr>
                </a:lvl4pPr>
                <a:lvl5pPr marL="2057400" indent="-228600" defTabSz="455613">
                  <a:defRPr b="1">
                    <a:solidFill>
                      <a:schemeClr val="tx1"/>
                    </a:solidFill>
                    <a:latin typeface="Verdana" panose="020B0604030504040204" pitchFamily="34" charset="0"/>
                  </a:defRPr>
                </a:lvl5pPr>
                <a:lvl6pPr marL="2514600" indent="-228600" defTabSz="455613" eaLnBrk="0" fontAlgn="base" hangingPunct="0">
                  <a:spcBef>
                    <a:spcPct val="0"/>
                  </a:spcBef>
                  <a:spcAft>
                    <a:spcPct val="0"/>
                  </a:spcAft>
                  <a:defRPr b="1">
                    <a:solidFill>
                      <a:schemeClr val="tx1"/>
                    </a:solidFill>
                    <a:latin typeface="Verdana" panose="020B0604030504040204" pitchFamily="34" charset="0"/>
                  </a:defRPr>
                </a:lvl6pPr>
                <a:lvl7pPr marL="2971800" indent="-228600" defTabSz="455613" eaLnBrk="0" fontAlgn="base" hangingPunct="0">
                  <a:spcBef>
                    <a:spcPct val="0"/>
                  </a:spcBef>
                  <a:spcAft>
                    <a:spcPct val="0"/>
                  </a:spcAft>
                  <a:defRPr b="1">
                    <a:solidFill>
                      <a:schemeClr val="tx1"/>
                    </a:solidFill>
                    <a:latin typeface="Verdana" panose="020B0604030504040204" pitchFamily="34" charset="0"/>
                  </a:defRPr>
                </a:lvl7pPr>
                <a:lvl8pPr marL="3429000" indent="-228600" defTabSz="455613" eaLnBrk="0" fontAlgn="base" hangingPunct="0">
                  <a:spcBef>
                    <a:spcPct val="0"/>
                  </a:spcBef>
                  <a:spcAft>
                    <a:spcPct val="0"/>
                  </a:spcAft>
                  <a:defRPr b="1">
                    <a:solidFill>
                      <a:schemeClr val="tx1"/>
                    </a:solidFill>
                    <a:latin typeface="Verdana" panose="020B0604030504040204" pitchFamily="34" charset="0"/>
                  </a:defRPr>
                </a:lvl8pPr>
                <a:lvl9pPr marL="3886200" indent="-228600" defTabSz="455613" eaLnBrk="0" fontAlgn="base" hangingPunct="0">
                  <a:spcBef>
                    <a:spcPct val="0"/>
                  </a:spcBef>
                  <a:spcAft>
                    <a:spcPct val="0"/>
                  </a:spcAft>
                  <a:defRPr b="1">
                    <a:solidFill>
                      <a:schemeClr val="tx1"/>
                    </a:solidFill>
                    <a:latin typeface="Verdana" panose="020B0604030504040204" pitchFamily="34" charset="0"/>
                  </a:defRPr>
                </a:lvl9pPr>
              </a:lstStyle>
              <a:p>
                <a:pPr eaLnBrk="1" hangingPunct="1">
                  <a:defRPr/>
                </a:pPr>
                <a:endParaRPr lang="en-GB" altLang="de-DE" b="0">
                  <a:solidFill>
                    <a:srgbClr val="000000"/>
                  </a:solidFill>
                  <a:latin typeface="Arial" panose="020B0604020202020204" pitchFamily="34" charset="0"/>
                </a:endParaRPr>
              </a:p>
            </p:txBody>
          </p:sp>
          <p:sp>
            <p:nvSpPr>
              <p:cNvPr id="31" name="T2">
                <a:extLst>
                  <a:ext uri="{FF2B5EF4-FFF2-40B4-BE49-F238E27FC236}">
                    <a16:creationId xmlns:a16="http://schemas.microsoft.com/office/drawing/2014/main" id="{2FA88914-D1FB-2E2D-643C-1F4A6D882981}"/>
                  </a:ext>
                </a:extLst>
              </p:cNvPr>
              <p:cNvSpPr>
                <a:spLocks/>
              </p:cNvSpPr>
              <p:nvPr userDrawn="1"/>
            </p:nvSpPr>
            <p:spPr bwMode="auto">
              <a:xfrm>
                <a:off x="1011758" y="168151"/>
                <a:ext cx="176213" cy="258763"/>
              </a:xfrm>
              <a:custGeom>
                <a:avLst/>
                <a:gdLst>
                  <a:gd name="T0" fmla="*/ 98916612 w 222"/>
                  <a:gd name="T1" fmla="*/ 206025508 h 325"/>
                  <a:gd name="T2" fmla="*/ 98916612 w 222"/>
                  <a:gd name="T3" fmla="*/ 49446026 h 325"/>
                  <a:gd name="T4" fmla="*/ 139869466 w 222"/>
                  <a:gd name="T5" fmla="*/ 49446026 h 325"/>
                  <a:gd name="T6" fmla="*/ 139869466 w 222"/>
                  <a:gd name="T7" fmla="*/ 0 h 325"/>
                  <a:gd name="T8" fmla="*/ 0 w 222"/>
                  <a:gd name="T9" fmla="*/ 0 h 325"/>
                  <a:gd name="T10" fmla="*/ 0 w 222"/>
                  <a:gd name="T11" fmla="*/ 49446026 h 325"/>
                  <a:gd name="T12" fmla="*/ 41583093 w 222"/>
                  <a:gd name="T13" fmla="*/ 49446026 h 325"/>
                  <a:gd name="T14" fmla="*/ 41583093 w 222"/>
                  <a:gd name="T15" fmla="*/ 206025508 h 325"/>
                  <a:gd name="T16" fmla="*/ 41583093 w 222"/>
                  <a:gd name="T17" fmla="*/ 206025508 h 325"/>
                  <a:gd name="T18" fmla="*/ 98916612 w 222"/>
                  <a:gd name="T19" fmla="*/ 206025508 h 3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22" h="325">
                    <a:moveTo>
                      <a:pt x="157" y="325"/>
                    </a:moveTo>
                    <a:lnTo>
                      <a:pt x="157" y="78"/>
                    </a:lnTo>
                    <a:lnTo>
                      <a:pt x="222" y="78"/>
                    </a:lnTo>
                    <a:lnTo>
                      <a:pt x="222" y="0"/>
                    </a:lnTo>
                    <a:lnTo>
                      <a:pt x="0" y="0"/>
                    </a:lnTo>
                    <a:lnTo>
                      <a:pt x="0" y="78"/>
                    </a:lnTo>
                    <a:lnTo>
                      <a:pt x="66" y="78"/>
                    </a:lnTo>
                    <a:lnTo>
                      <a:pt x="66" y="325"/>
                    </a:lnTo>
                    <a:lnTo>
                      <a:pt x="157" y="325"/>
                    </a:lnTo>
                    <a:close/>
                  </a:path>
                </a:pathLst>
              </a:custGeom>
              <a:solidFill>
                <a:srgbClr val="AFAFA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32" name="T1">
                <a:extLst>
                  <a:ext uri="{FF2B5EF4-FFF2-40B4-BE49-F238E27FC236}">
                    <a16:creationId xmlns:a16="http://schemas.microsoft.com/office/drawing/2014/main" id="{578657AB-3F30-3F04-59D0-68CB98F3AB2A}"/>
                  </a:ext>
                </a:extLst>
              </p:cNvPr>
              <p:cNvSpPr>
                <a:spLocks/>
              </p:cNvSpPr>
              <p:nvPr userDrawn="1"/>
            </p:nvSpPr>
            <p:spPr bwMode="auto">
              <a:xfrm>
                <a:off x="799033" y="168151"/>
                <a:ext cx="193675" cy="258763"/>
              </a:xfrm>
              <a:custGeom>
                <a:avLst/>
                <a:gdLst>
                  <a:gd name="T0" fmla="*/ 55443438 w 244"/>
                  <a:gd name="T1" fmla="*/ 49446026 h 325"/>
                  <a:gd name="T2" fmla="*/ 55443438 w 244"/>
                  <a:gd name="T3" fmla="*/ 206025508 h 325"/>
                  <a:gd name="T4" fmla="*/ 112776794 w 244"/>
                  <a:gd name="T5" fmla="*/ 206025508 h 325"/>
                  <a:gd name="T6" fmla="*/ 112776794 w 244"/>
                  <a:gd name="T7" fmla="*/ 49446026 h 325"/>
                  <a:gd name="T8" fmla="*/ 153729531 w 244"/>
                  <a:gd name="T9" fmla="*/ 49446026 h 325"/>
                  <a:gd name="T10" fmla="*/ 153729531 w 244"/>
                  <a:gd name="T11" fmla="*/ 0 h 325"/>
                  <a:gd name="T12" fmla="*/ 15751175 w 244"/>
                  <a:gd name="T13" fmla="*/ 0 h 325"/>
                  <a:gd name="T14" fmla="*/ 0 w 244"/>
                  <a:gd name="T15" fmla="*/ 49446026 h 325"/>
                  <a:gd name="T16" fmla="*/ 55443438 w 244"/>
                  <a:gd name="T17" fmla="*/ 49446026 h 3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44" h="325">
                    <a:moveTo>
                      <a:pt x="88" y="78"/>
                    </a:moveTo>
                    <a:lnTo>
                      <a:pt x="88" y="325"/>
                    </a:lnTo>
                    <a:lnTo>
                      <a:pt x="179" y="325"/>
                    </a:lnTo>
                    <a:lnTo>
                      <a:pt x="179" y="78"/>
                    </a:lnTo>
                    <a:lnTo>
                      <a:pt x="244" y="78"/>
                    </a:lnTo>
                    <a:lnTo>
                      <a:pt x="244" y="0"/>
                    </a:lnTo>
                    <a:lnTo>
                      <a:pt x="25" y="0"/>
                    </a:lnTo>
                    <a:lnTo>
                      <a:pt x="0" y="78"/>
                    </a:lnTo>
                    <a:lnTo>
                      <a:pt x="88" y="78"/>
                    </a:lnTo>
                    <a:close/>
                  </a:path>
                </a:pathLst>
              </a:custGeom>
              <a:solidFill>
                <a:srgbClr val="AFAFA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33" name="V">
                <a:extLst>
                  <a:ext uri="{FF2B5EF4-FFF2-40B4-BE49-F238E27FC236}">
                    <a16:creationId xmlns:a16="http://schemas.microsoft.com/office/drawing/2014/main" id="{4C961CDB-0677-37CB-4851-3EE28F080B26}"/>
                  </a:ext>
                </a:extLst>
              </p:cNvPr>
              <p:cNvSpPr>
                <a:spLocks/>
              </p:cNvSpPr>
              <p:nvPr userDrawn="1"/>
            </p:nvSpPr>
            <p:spPr bwMode="auto">
              <a:xfrm>
                <a:off x="567258" y="168151"/>
                <a:ext cx="230188" cy="258763"/>
              </a:xfrm>
              <a:custGeom>
                <a:avLst/>
                <a:gdLst>
                  <a:gd name="T0" fmla="*/ 116731600 w 289"/>
                  <a:gd name="T1" fmla="*/ 206025508 h 325"/>
                  <a:gd name="T2" fmla="*/ 183344344 w 289"/>
                  <a:gd name="T3" fmla="*/ 0 h 325"/>
                  <a:gd name="T4" fmla="*/ 124978544 w 289"/>
                  <a:gd name="T5" fmla="*/ 0 h 325"/>
                  <a:gd name="T6" fmla="*/ 90720356 w 289"/>
                  <a:gd name="T7" fmla="*/ 105865119 h 325"/>
                  <a:gd name="T8" fmla="*/ 85645069 w 289"/>
                  <a:gd name="T9" fmla="*/ 121079587 h 325"/>
                  <a:gd name="T10" fmla="*/ 85645069 w 289"/>
                  <a:gd name="T11" fmla="*/ 121079587 h 325"/>
                  <a:gd name="T12" fmla="*/ 85645069 w 289"/>
                  <a:gd name="T13" fmla="*/ 121079587 h 325"/>
                  <a:gd name="T14" fmla="*/ 85645069 w 289"/>
                  <a:gd name="T15" fmla="*/ 121079587 h 325"/>
                  <a:gd name="T16" fmla="*/ 85645069 w 289"/>
                  <a:gd name="T17" fmla="*/ 121079587 h 325"/>
                  <a:gd name="T18" fmla="*/ 85645069 w 289"/>
                  <a:gd name="T19" fmla="*/ 121079587 h 325"/>
                  <a:gd name="T20" fmla="*/ 85645069 w 289"/>
                  <a:gd name="T21" fmla="*/ 121079587 h 325"/>
                  <a:gd name="T22" fmla="*/ 81204592 w 289"/>
                  <a:gd name="T23" fmla="*/ 105865119 h 325"/>
                  <a:gd name="T24" fmla="*/ 57730991 w 289"/>
                  <a:gd name="T25" fmla="*/ 38035772 h 325"/>
                  <a:gd name="T26" fmla="*/ 0 w 289"/>
                  <a:gd name="T27" fmla="*/ 38035772 h 325"/>
                  <a:gd name="T28" fmla="*/ 57096978 w 289"/>
                  <a:gd name="T29" fmla="*/ 206025508 h 325"/>
                  <a:gd name="T30" fmla="*/ 116731600 w 289"/>
                  <a:gd name="T31" fmla="*/ 206025508 h 32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89" h="325">
                    <a:moveTo>
                      <a:pt x="184" y="325"/>
                    </a:moveTo>
                    <a:lnTo>
                      <a:pt x="289" y="0"/>
                    </a:lnTo>
                    <a:lnTo>
                      <a:pt x="197" y="0"/>
                    </a:lnTo>
                    <a:lnTo>
                      <a:pt x="143" y="167"/>
                    </a:lnTo>
                    <a:lnTo>
                      <a:pt x="135" y="191"/>
                    </a:lnTo>
                    <a:lnTo>
                      <a:pt x="128" y="167"/>
                    </a:lnTo>
                    <a:lnTo>
                      <a:pt x="91" y="60"/>
                    </a:lnTo>
                    <a:lnTo>
                      <a:pt x="0" y="60"/>
                    </a:lnTo>
                    <a:lnTo>
                      <a:pt x="90" y="325"/>
                    </a:lnTo>
                    <a:lnTo>
                      <a:pt x="184" y="325"/>
                    </a:lnTo>
                    <a:close/>
                  </a:path>
                </a:pathLst>
              </a:custGeom>
              <a:solidFill>
                <a:srgbClr val="AFAFA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grpSp>
          <p:nvGrpSpPr>
            <p:cNvPr id="10" name="_VTT_logo_102019_06_orange_blue_on_white" hidden="1">
              <a:extLst>
                <a:ext uri="{FF2B5EF4-FFF2-40B4-BE49-F238E27FC236}">
                  <a16:creationId xmlns:a16="http://schemas.microsoft.com/office/drawing/2014/main" id="{9847FFA1-E1B4-24F2-8B27-B3FFF8B72E47}"/>
                </a:ext>
              </a:extLst>
            </p:cNvPr>
            <p:cNvGrpSpPr>
              <a:grpSpLocks/>
            </p:cNvGrpSpPr>
            <p:nvPr userDrawn="1"/>
          </p:nvGrpSpPr>
          <p:grpSpPr bwMode="auto">
            <a:xfrm>
              <a:off x="7909204" y="1770762"/>
              <a:ext cx="971550" cy="655638"/>
              <a:chOff x="379933" y="-15999"/>
              <a:chExt cx="971550" cy="655638"/>
            </a:xfrm>
          </p:grpSpPr>
          <p:sp>
            <p:nvSpPr>
              <p:cNvPr id="26" name="Box">
                <a:extLst>
                  <a:ext uri="{FF2B5EF4-FFF2-40B4-BE49-F238E27FC236}">
                    <a16:creationId xmlns:a16="http://schemas.microsoft.com/office/drawing/2014/main" id="{BDF13ECE-353E-E110-C306-05E31D6E72AA}"/>
                  </a:ext>
                </a:extLst>
              </p:cNvPr>
              <p:cNvSpPr>
                <a:spLocks noChangeArrowheads="1"/>
              </p:cNvSpPr>
              <p:nvPr userDrawn="1"/>
            </p:nvSpPr>
            <p:spPr bwMode="auto">
              <a:xfrm>
                <a:off x="379933" y="-15999"/>
                <a:ext cx="971550" cy="655638"/>
              </a:xfrm>
              <a:prstGeom prst="rect">
                <a:avLst/>
              </a:prstGeom>
              <a:solidFill>
                <a:srgbClr val="FFFFFF"/>
              </a:solidFill>
              <a:ln>
                <a:noFill/>
              </a:ln>
            </p:spPr>
            <p:txBody>
              <a:bodyPr/>
              <a:lstStyle>
                <a:lvl1pPr defTabSz="455613">
                  <a:defRPr b="1">
                    <a:solidFill>
                      <a:schemeClr val="tx1"/>
                    </a:solidFill>
                    <a:latin typeface="Verdana" panose="020B0604030504040204" pitchFamily="34" charset="0"/>
                  </a:defRPr>
                </a:lvl1pPr>
                <a:lvl2pPr marL="742950" indent="-285750" defTabSz="455613">
                  <a:defRPr b="1">
                    <a:solidFill>
                      <a:schemeClr val="tx1"/>
                    </a:solidFill>
                    <a:latin typeface="Verdana" panose="020B0604030504040204" pitchFamily="34" charset="0"/>
                  </a:defRPr>
                </a:lvl2pPr>
                <a:lvl3pPr marL="1143000" indent="-228600" defTabSz="455613">
                  <a:defRPr b="1">
                    <a:solidFill>
                      <a:schemeClr val="tx1"/>
                    </a:solidFill>
                    <a:latin typeface="Verdana" panose="020B0604030504040204" pitchFamily="34" charset="0"/>
                  </a:defRPr>
                </a:lvl3pPr>
                <a:lvl4pPr marL="1600200" indent="-228600" defTabSz="455613">
                  <a:defRPr b="1">
                    <a:solidFill>
                      <a:schemeClr val="tx1"/>
                    </a:solidFill>
                    <a:latin typeface="Verdana" panose="020B0604030504040204" pitchFamily="34" charset="0"/>
                  </a:defRPr>
                </a:lvl4pPr>
                <a:lvl5pPr marL="2057400" indent="-228600" defTabSz="455613">
                  <a:defRPr b="1">
                    <a:solidFill>
                      <a:schemeClr val="tx1"/>
                    </a:solidFill>
                    <a:latin typeface="Verdana" panose="020B0604030504040204" pitchFamily="34" charset="0"/>
                  </a:defRPr>
                </a:lvl5pPr>
                <a:lvl6pPr marL="2514600" indent="-228600" defTabSz="455613" eaLnBrk="0" fontAlgn="base" hangingPunct="0">
                  <a:spcBef>
                    <a:spcPct val="0"/>
                  </a:spcBef>
                  <a:spcAft>
                    <a:spcPct val="0"/>
                  </a:spcAft>
                  <a:defRPr b="1">
                    <a:solidFill>
                      <a:schemeClr val="tx1"/>
                    </a:solidFill>
                    <a:latin typeface="Verdana" panose="020B0604030504040204" pitchFamily="34" charset="0"/>
                  </a:defRPr>
                </a:lvl6pPr>
                <a:lvl7pPr marL="2971800" indent="-228600" defTabSz="455613" eaLnBrk="0" fontAlgn="base" hangingPunct="0">
                  <a:spcBef>
                    <a:spcPct val="0"/>
                  </a:spcBef>
                  <a:spcAft>
                    <a:spcPct val="0"/>
                  </a:spcAft>
                  <a:defRPr b="1">
                    <a:solidFill>
                      <a:schemeClr val="tx1"/>
                    </a:solidFill>
                    <a:latin typeface="Verdana" panose="020B0604030504040204" pitchFamily="34" charset="0"/>
                  </a:defRPr>
                </a:lvl7pPr>
                <a:lvl8pPr marL="3429000" indent="-228600" defTabSz="455613" eaLnBrk="0" fontAlgn="base" hangingPunct="0">
                  <a:spcBef>
                    <a:spcPct val="0"/>
                  </a:spcBef>
                  <a:spcAft>
                    <a:spcPct val="0"/>
                  </a:spcAft>
                  <a:defRPr b="1">
                    <a:solidFill>
                      <a:schemeClr val="tx1"/>
                    </a:solidFill>
                    <a:latin typeface="Verdana" panose="020B0604030504040204" pitchFamily="34" charset="0"/>
                  </a:defRPr>
                </a:lvl8pPr>
                <a:lvl9pPr marL="3886200" indent="-228600" defTabSz="455613" eaLnBrk="0" fontAlgn="base" hangingPunct="0">
                  <a:spcBef>
                    <a:spcPct val="0"/>
                  </a:spcBef>
                  <a:spcAft>
                    <a:spcPct val="0"/>
                  </a:spcAft>
                  <a:defRPr b="1">
                    <a:solidFill>
                      <a:schemeClr val="tx1"/>
                    </a:solidFill>
                    <a:latin typeface="Verdana" panose="020B0604030504040204" pitchFamily="34" charset="0"/>
                  </a:defRPr>
                </a:lvl9pPr>
              </a:lstStyle>
              <a:p>
                <a:pPr eaLnBrk="1" hangingPunct="1">
                  <a:defRPr/>
                </a:pPr>
                <a:endParaRPr lang="en-GB" altLang="de-DE" b="0">
                  <a:solidFill>
                    <a:srgbClr val="000000"/>
                  </a:solidFill>
                  <a:latin typeface="Arial" panose="020B0604020202020204" pitchFamily="34" charset="0"/>
                </a:endParaRPr>
              </a:p>
            </p:txBody>
          </p:sp>
          <p:sp>
            <p:nvSpPr>
              <p:cNvPr id="27" name="T2">
                <a:extLst>
                  <a:ext uri="{FF2B5EF4-FFF2-40B4-BE49-F238E27FC236}">
                    <a16:creationId xmlns:a16="http://schemas.microsoft.com/office/drawing/2014/main" id="{766484E8-819E-0356-834F-6F592568F3E4}"/>
                  </a:ext>
                </a:extLst>
              </p:cNvPr>
              <p:cNvSpPr>
                <a:spLocks/>
              </p:cNvSpPr>
              <p:nvPr userDrawn="1"/>
            </p:nvSpPr>
            <p:spPr bwMode="auto">
              <a:xfrm>
                <a:off x="1011758" y="168151"/>
                <a:ext cx="176213" cy="258763"/>
              </a:xfrm>
              <a:custGeom>
                <a:avLst/>
                <a:gdLst>
                  <a:gd name="T0" fmla="*/ 98916612 w 222"/>
                  <a:gd name="T1" fmla="*/ 206025508 h 325"/>
                  <a:gd name="T2" fmla="*/ 98916612 w 222"/>
                  <a:gd name="T3" fmla="*/ 49446026 h 325"/>
                  <a:gd name="T4" fmla="*/ 139869466 w 222"/>
                  <a:gd name="T5" fmla="*/ 49446026 h 325"/>
                  <a:gd name="T6" fmla="*/ 139869466 w 222"/>
                  <a:gd name="T7" fmla="*/ 0 h 325"/>
                  <a:gd name="T8" fmla="*/ 0 w 222"/>
                  <a:gd name="T9" fmla="*/ 0 h 325"/>
                  <a:gd name="T10" fmla="*/ 0 w 222"/>
                  <a:gd name="T11" fmla="*/ 49446026 h 325"/>
                  <a:gd name="T12" fmla="*/ 41583093 w 222"/>
                  <a:gd name="T13" fmla="*/ 49446026 h 325"/>
                  <a:gd name="T14" fmla="*/ 41583093 w 222"/>
                  <a:gd name="T15" fmla="*/ 206025508 h 325"/>
                  <a:gd name="T16" fmla="*/ 41583093 w 222"/>
                  <a:gd name="T17" fmla="*/ 206025508 h 325"/>
                  <a:gd name="T18" fmla="*/ 98916612 w 222"/>
                  <a:gd name="T19" fmla="*/ 206025508 h 3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22" h="325">
                    <a:moveTo>
                      <a:pt x="157" y="325"/>
                    </a:moveTo>
                    <a:lnTo>
                      <a:pt x="157" y="78"/>
                    </a:lnTo>
                    <a:lnTo>
                      <a:pt x="222" y="78"/>
                    </a:lnTo>
                    <a:lnTo>
                      <a:pt x="222" y="0"/>
                    </a:lnTo>
                    <a:lnTo>
                      <a:pt x="0" y="0"/>
                    </a:lnTo>
                    <a:lnTo>
                      <a:pt x="0" y="78"/>
                    </a:lnTo>
                    <a:lnTo>
                      <a:pt x="66" y="78"/>
                    </a:lnTo>
                    <a:lnTo>
                      <a:pt x="66" y="325"/>
                    </a:lnTo>
                    <a:lnTo>
                      <a:pt x="157" y="325"/>
                    </a:lnTo>
                    <a:close/>
                  </a:path>
                </a:pathLst>
              </a:custGeom>
              <a:solidFill>
                <a:srgbClr val="00579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8" name="T1">
                <a:extLst>
                  <a:ext uri="{FF2B5EF4-FFF2-40B4-BE49-F238E27FC236}">
                    <a16:creationId xmlns:a16="http://schemas.microsoft.com/office/drawing/2014/main" id="{A534DB9A-0036-1643-2B2D-54E69BEB7239}"/>
                  </a:ext>
                </a:extLst>
              </p:cNvPr>
              <p:cNvSpPr>
                <a:spLocks/>
              </p:cNvSpPr>
              <p:nvPr userDrawn="1"/>
            </p:nvSpPr>
            <p:spPr bwMode="auto">
              <a:xfrm>
                <a:off x="799033" y="168151"/>
                <a:ext cx="193675" cy="258763"/>
              </a:xfrm>
              <a:custGeom>
                <a:avLst/>
                <a:gdLst>
                  <a:gd name="T0" fmla="*/ 55443438 w 244"/>
                  <a:gd name="T1" fmla="*/ 49446026 h 325"/>
                  <a:gd name="T2" fmla="*/ 55443438 w 244"/>
                  <a:gd name="T3" fmla="*/ 206025508 h 325"/>
                  <a:gd name="T4" fmla="*/ 112776794 w 244"/>
                  <a:gd name="T5" fmla="*/ 206025508 h 325"/>
                  <a:gd name="T6" fmla="*/ 112776794 w 244"/>
                  <a:gd name="T7" fmla="*/ 49446026 h 325"/>
                  <a:gd name="T8" fmla="*/ 153729531 w 244"/>
                  <a:gd name="T9" fmla="*/ 49446026 h 325"/>
                  <a:gd name="T10" fmla="*/ 153729531 w 244"/>
                  <a:gd name="T11" fmla="*/ 0 h 325"/>
                  <a:gd name="T12" fmla="*/ 15751175 w 244"/>
                  <a:gd name="T13" fmla="*/ 0 h 325"/>
                  <a:gd name="T14" fmla="*/ 0 w 244"/>
                  <a:gd name="T15" fmla="*/ 49446026 h 325"/>
                  <a:gd name="T16" fmla="*/ 55443438 w 244"/>
                  <a:gd name="T17" fmla="*/ 49446026 h 3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44" h="325">
                    <a:moveTo>
                      <a:pt x="88" y="78"/>
                    </a:moveTo>
                    <a:lnTo>
                      <a:pt x="88" y="325"/>
                    </a:lnTo>
                    <a:lnTo>
                      <a:pt x="179" y="325"/>
                    </a:lnTo>
                    <a:lnTo>
                      <a:pt x="179" y="78"/>
                    </a:lnTo>
                    <a:lnTo>
                      <a:pt x="244" y="78"/>
                    </a:lnTo>
                    <a:lnTo>
                      <a:pt x="244" y="0"/>
                    </a:lnTo>
                    <a:lnTo>
                      <a:pt x="25" y="0"/>
                    </a:lnTo>
                    <a:lnTo>
                      <a:pt x="0" y="78"/>
                    </a:lnTo>
                    <a:lnTo>
                      <a:pt x="88" y="78"/>
                    </a:lnTo>
                    <a:close/>
                  </a:path>
                </a:pathLst>
              </a:custGeom>
              <a:solidFill>
                <a:srgbClr val="00579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9" name="V">
                <a:extLst>
                  <a:ext uri="{FF2B5EF4-FFF2-40B4-BE49-F238E27FC236}">
                    <a16:creationId xmlns:a16="http://schemas.microsoft.com/office/drawing/2014/main" id="{6B64B9D4-801C-CBF3-47E6-50243153135B}"/>
                  </a:ext>
                </a:extLst>
              </p:cNvPr>
              <p:cNvSpPr>
                <a:spLocks/>
              </p:cNvSpPr>
              <p:nvPr userDrawn="1"/>
            </p:nvSpPr>
            <p:spPr bwMode="auto">
              <a:xfrm>
                <a:off x="567258" y="168151"/>
                <a:ext cx="230188" cy="258763"/>
              </a:xfrm>
              <a:custGeom>
                <a:avLst/>
                <a:gdLst>
                  <a:gd name="T0" fmla="*/ 116731600 w 289"/>
                  <a:gd name="T1" fmla="*/ 206025508 h 325"/>
                  <a:gd name="T2" fmla="*/ 183344344 w 289"/>
                  <a:gd name="T3" fmla="*/ 0 h 325"/>
                  <a:gd name="T4" fmla="*/ 124978544 w 289"/>
                  <a:gd name="T5" fmla="*/ 0 h 325"/>
                  <a:gd name="T6" fmla="*/ 90720356 w 289"/>
                  <a:gd name="T7" fmla="*/ 105865119 h 325"/>
                  <a:gd name="T8" fmla="*/ 85645069 w 289"/>
                  <a:gd name="T9" fmla="*/ 121079587 h 325"/>
                  <a:gd name="T10" fmla="*/ 85645069 w 289"/>
                  <a:gd name="T11" fmla="*/ 121079587 h 325"/>
                  <a:gd name="T12" fmla="*/ 85645069 w 289"/>
                  <a:gd name="T13" fmla="*/ 121079587 h 325"/>
                  <a:gd name="T14" fmla="*/ 85645069 w 289"/>
                  <a:gd name="T15" fmla="*/ 121079587 h 325"/>
                  <a:gd name="T16" fmla="*/ 85645069 w 289"/>
                  <a:gd name="T17" fmla="*/ 121079587 h 325"/>
                  <a:gd name="T18" fmla="*/ 85645069 w 289"/>
                  <a:gd name="T19" fmla="*/ 121079587 h 325"/>
                  <a:gd name="T20" fmla="*/ 85645069 w 289"/>
                  <a:gd name="T21" fmla="*/ 121079587 h 325"/>
                  <a:gd name="T22" fmla="*/ 81204592 w 289"/>
                  <a:gd name="T23" fmla="*/ 105865119 h 325"/>
                  <a:gd name="T24" fmla="*/ 57730991 w 289"/>
                  <a:gd name="T25" fmla="*/ 38035772 h 325"/>
                  <a:gd name="T26" fmla="*/ 0 w 289"/>
                  <a:gd name="T27" fmla="*/ 38035772 h 325"/>
                  <a:gd name="T28" fmla="*/ 57096978 w 289"/>
                  <a:gd name="T29" fmla="*/ 206025508 h 325"/>
                  <a:gd name="T30" fmla="*/ 116731600 w 289"/>
                  <a:gd name="T31" fmla="*/ 206025508 h 32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89" h="325">
                    <a:moveTo>
                      <a:pt x="184" y="325"/>
                    </a:moveTo>
                    <a:lnTo>
                      <a:pt x="289" y="0"/>
                    </a:lnTo>
                    <a:lnTo>
                      <a:pt x="197" y="0"/>
                    </a:lnTo>
                    <a:lnTo>
                      <a:pt x="143" y="167"/>
                    </a:lnTo>
                    <a:lnTo>
                      <a:pt x="135" y="191"/>
                    </a:lnTo>
                    <a:lnTo>
                      <a:pt x="128" y="167"/>
                    </a:lnTo>
                    <a:lnTo>
                      <a:pt x="91" y="60"/>
                    </a:lnTo>
                    <a:lnTo>
                      <a:pt x="0" y="60"/>
                    </a:lnTo>
                    <a:lnTo>
                      <a:pt x="90" y="325"/>
                    </a:lnTo>
                    <a:lnTo>
                      <a:pt x="184" y="325"/>
                    </a:lnTo>
                    <a:close/>
                  </a:path>
                </a:pathLst>
              </a:custGeom>
              <a:solidFill>
                <a:srgbClr val="F06E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grpSp>
          <p:nvGrpSpPr>
            <p:cNvPr id="11" name="_VTT_logo_102019_07_blue_on_white">
              <a:extLst>
                <a:ext uri="{FF2B5EF4-FFF2-40B4-BE49-F238E27FC236}">
                  <a16:creationId xmlns:a16="http://schemas.microsoft.com/office/drawing/2014/main" id="{ACAEBF18-927B-FB78-1B4A-95DE429DAB65}"/>
                </a:ext>
              </a:extLst>
            </p:cNvPr>
            <p:cNvGrpSpPr>
              <a:grpSpLocks/>
            </p:cNvGrpSpPr>
            <p:nvPr userDrawn="1"/>
          </p:nvGrpSpPr>
          <p:grpSpPr bwMode="auto">
            <a:xfrm>
              <a:off x="7909204" y="1770762"/>
              <a:ext cx="971550" cy="655638"/>
              <a:chOff x="379933" y="-15999"/>
              <a:chExt cx="971550" cy="655638"/>
            </a:xfrm>
          </p:grpSpPr>
          <p:sp>
            <p:nvSpPr>
              <p:cNvPr id="22" name="Box">
                <a:extLst>
                  <a:ext uri="{FF2B5EF4-FFF2-40B4-BE49-F238E27FC236}">
                    <a16:creationId xmlns:a16="http://schemas.microsoft.com/office/drawing/2014/main" id="{16E9B56B-27ED-3A2A-217A-94814B2BE9D8}"/>
                  </a:ext>
                </a:extLst>
              </p:cNvPr>
              <p:cNvSpPr>
                <a:spLocks noChangeArrowheads="1"/>
              </p:cNvSpPr>
              <p:nvPr userDrawn="1"/>
            </p:nvSpPr>
            <p:spPr bwMode="auto">
              <a:xfrm>
                <a:off x="379933" y="-15999"/>
                <a:ext cx="971550" cy="655638"/>
              </a:xfrm>
              <a:prstGeom prst="rect">
                <a:avLst/>
              </a:prstGeom>
              <a:solidFill>
                <a:srgbClr val="FFFFFF"/>
              </a:solidFill>
              <a:ln>
                <a:noFill/>
              </a:ln>
            </p:spPr>
            <p:txBody>
              <a:bodyPr/>
              <a:lstStyle>
                <a:lvl1pPr defTabSz="455613">
                  <a:defRPr b="1">
                    <a:solidFill>
                      <a:schemeClr val="tx1"/>
                    </a:solidFill>
                    <a:latin typeface="Verdana" panose="020B0604030504040204" pitchFamily="34" charset="0"/>
                  </a:defRPr>
                </a:lvl1pPr>
                <a:lvl2pPr marL="742950" indent="-285750" defTabSz="455613">
                  <a:defRPr b="1">
                    <a:solidFill>
                      <a:schemeClr val="tx1"/>
                    </a:solidFill>
                    <a:latin typeface="Verdana" panose="020B0604030504040204" pitchFamily="34" charset="0"/>
                  </a:defRPr>
                </a:lvl2pPr>
                <a:lvl3pPr marL="1143000" indent="-228600" defTabSz="455613">
                  <a:defRPr b="1">
                    <a:solidFill>
                      <a:schemeClr val="tx1"/>
                    </a:solidFill>
                    <a:latin typeface="Verdana" panose="020B0604030504040204" pitchFamily="34" charset="0"/>
                  </a:defRPr>
                </a:lvl3pPr>
                <a:lvl4pPr marL="1600200" indent="-228600" defTabSz="455613">
                  <a:defRPr b="1">
                    <a:solidFill>
                      <a:schemeClr val="tx1"/>
                    </a:solidFill>
                    <a:latin typeface="Verdana" panose="020B0604030504040204" pitchFamily="34" charset="0"/>
                  </a:defRPr>
                </a:lvl4pPr>
                <a:lvl5pPr marL="2057400" indent="-228600" defTabSz="455613">
                  <a:defRPr b="1">
                    <a:solidFill>
                      <a:schemeClr val="tx1"/>
                    </a:solidFill>
                    <a:latin typeface="Verdana" panose="020B0604030504040204" pitchFamily="34" charset="0"/>
                  </a:defRPr>
                </a:lvl5pPr>
                <a:lvl6pPr marL="2514600" indent="-228600" defTabSz="455613" eaLnBrk="0" fontAlgn="base" hangingPunct="0">
                  <a:spcBef>
                    <a:spcPct val="0"/>
                  </a:spcBef>
                  <a:spcAft>
                    <a:spcPct val="0"/>
                  </a:spcAft>
                  <a:defRPr b="1">
                    <a:solidFill>
                      <a:schemeClr val="tx1"/>
                    </a:solidFill>
                    <a:latin typeface="Verdana" panose="020B0604030504040204" pitchFamily="34" charset="0"/>
                  </a:defRPr>
                </a:lvl6pPr>
                <a:lvl7pPr marL="2971800" indent="-228600" defTabSz="455613" eaLnBrk="0" fontAlgn="base" hangingPunct="0">
                  <a:spcBef>
                    <a:spcPct val="0"/>
                  </a:spcBef>
                  <a:spcAft>
                    <a:spcPct val="0"/>
                  </a:spcAft>
                  <a:defRPr b="1">
                    <a:solidFill>
                      <a:schemeClr val="tx1"/>
                    </a:solidFill>
                    <a:latin typeface="Verdana" panose="020B0604030504040204" pitchFamily="34" charset="0"/>
                  </a:defRPr>
                </a:lvl7pPr>
                <a:lvl8pPr marL="3429000" indent="-228600" defTabSz="455613" eaLnBrk="0" fontAlgn="base" hangingPunct="0">
                  <a:spcBef>
                    <a:spcPct val="0"/>
                  </a:spcBef>
                  <a:spcAft>
                    <a:spcPct val="0"/>
                  </a:spcAft>
                  <a:defRPr b="1">
                    <a:solidFill>
                      <a:schemeClr val="tx1"/>
                    </a:solidFill>
                    <a:latin typeface="Verdana" panose="020B0604030504040204" pitchFamily="34" charset="0"/>
                  </a:defRPr>
                </a:lvl8pPr>
                <a:lvl9pPr marL="3886200" indent="-228600" defTabSz="455613" eaLnBrk="0" fontAlgn="base" hangingPunct="0">
                  <a:spcBef>
                    <a:spcPct val="0"/>
                  </a:spcBef>
                  <a:spcAft>
                    <a:spcPct val="0"/>
                  </a:spcAft>
                  <a:defRPr b="1">
                    <a:solidFill>
                      <a:schemeClr val="tx1"/>
                    </a:solidFill>
                    <a:latin typeface="Verdana" panose="020B0604030504040204" pitchFamily="34" charset="0"/>
                  </a:defRPr>
                </a:lvl9pPr>
              </a:lstStyle>
              <a:p>
                <a:pPr eaLnBrk="1" hangingPunct="1">
                  <a:defRPr/>
                </a:pPr>
                <a:endParaRPr lang="en-GB" altLang="de-DE" b="0">
                  <a:solidFill>
                    <a:srgbClr val="000000"/>
                  </a:solidFill>
                  <a:latin typeface="Arial" panose="020B0604020202020204" pitchFamily="34" charset="0"/>
                </a:endParaRPr>
              </a:p>
            </p:txBody>
          </p:sp>
          <p:sp>
            <p:nvSpPr>
              <p:cNvPr id="23" name="T2">
                <a:extLst>
                  <a:ext uri="{FF2B5EF4-FFF2-40B4-BE49-F238E27FC236}">
                    <a16:creationId xmlns:a16="http://schemas.microsoft.com/office/drawing/2014/main" id="{C65A48DC-DF9F-FC8B-1C2B-71DFAAE9AA11}"/>
                  </a:ext>
                </a:extLst>
              </p:cNvPr>
              <p:cNvSpPr>
                <a:spLocks/>
              </p:cNvSpPr>
              <p:nvPr userDrawn="1"/>
            </p:nvSpPr>
            <p:spPr bwMode="auto">
              <a:xfrm>
                <a:off x="1011758" y="168151"/>
                <a:ext cx="176213" cy="258763"/>
              </a:xfrm>
              <a:custGeom>
                <a:avLst/>
                <a:gdLst>
                  <a:gd name="T0" fmla="*/ 98916612 w 222"/>
                  <a:gd name="T1" fmla="*/ 206025508 h 325"/>
                  <a:gd name="T2" fmla="*/ 98916612 w 222"/>
                  <a:gd name="T3" fmla="*/ 49446026 h 325"/>
                  <a:gd name="T4" fmla="*/ 139869466 w 222"/>
                  <a:gd name="T5" fmla="*/ 49446026 h 325"/>
                  <a:gd name="T6" fmla="*/ 139869466 w 222"/>
                  <a:gd name="T7" fmla="*/ 0 h 325"/>
                  <a:gd name="T8" fmla="*/ 0 w 222"/>
                  <a:gd name="T9" fmla="*/ 0 h 325"/>
                  <a:gd name="T10" fmla="*/ 0 w 222"/>
                  <a:gd name="T11" fmla="*/ 49446026 h 325"/>
                  <a:gd name="T12" fmla="*/ 41583093 w 222"/>
                  <a:gd name="T13" fmla="*/ 49446026 h 325"/>
                  <a:gd name="T14" fmla="*/ 41583093 w 222"/>
                  <a:gd name="T15" fmla="*/ 206025508 h 325"/>
                  <a:gd name="T16" fmla="*/ 41583093 w 222"/>
                  <a:gd name="T17" fmla="*/ 206025508 h 325"/>
                  <a:gd name="T18" fmla="*/ 98916612 w 222"/>
                  <a:gd name="T19" fmla="*/ 206025508 h 3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22" h="325">
                    <a:moveTo>
                      <a:pt x="157" y="325"/>
                    </a:moveTo>
                    <a:lnTo>
                      <a:pt x="157" y="78"/>
                    </a:lnTo>
                    <a:lnTo>
                      <a:pt x="222" y="78"/>
                    </a:lnTo>
                    <a:lnTo>
                      <a:pt x="222" y="0"/>
                    </a:lnTo>
                    <a:lnTo>
                      <a:pt x="0" y="0"/>
                    </a:lnTo>
                    <a:lnTo>
                      <a:pt x="0" y="78"/>
                    </a:lnTo>
                    <a:lnTo>
                      <a:pt x="66" y="78"/>
                    </a:lnTo>
                    <a:lnTo>
                      <a:pt x="66" y="325"/>
                    </a:lnTo>
                    <a:lnTo>
                      <a:pt x="157" y="325"/>
                    </a:lnTo>
                    <a:close/>
                  </a:path>
                </a:pathLst>
              </a:custGeom>
              <a:solidFill>
                <a:srgbClr val="00579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 name="T1">
                <a:extLst>
                  <a:ext uri="{FF2B5EF4-FFF2-40B4-BE49-F238E27FC236}">
                    <a16:creationId xmlns:a16="http://schemas.microsoft.com/office/drawing/2014/main" id="{2722CAEC-E925-0F75-834B-CE76017B358E}"/>
                  </a:ext>
                </a:extLst>
              </p:cNvPr>
              <p:cNvSpPr>
                <a:spLocks/>
              </p:cNvSpPr>
              <p:nvPr userDrawn="1"/>
            </p:nvSpPr>
            <p:spPr bwMode="auto">
              <a:xfrm>
                <a:off x="799033" y="168151"/>
                <a:ext cx="193675" cy="258763"/>
              </a:xfrm>
              <a:custGeom>
                <a:avLst/>
                <a:gdLst>
                  <a:gd name="T0" fmla="*/ 55443438 w 244"/>
                  <a:gd name="T1" fmla="*/ 49446026 h 325"/>
                  <a:gd name="T2" fmla="*/ 55443438 w 244"/>
                  <a:gd name="T3" fmla="*/ 206025508 h 325"/>
                  <a:gd name="T4" fmla="*/ 112776794 w 244"/>
                  <a:gd name="T5" fmla="*/ 206025508 h 325"/>
                  <a:gd name="T6" fmla="*/ 112776794 w 244"/>
                  <a:gd name="T7" fmla="*/ 49446026 h 325"/>
                  <a:gd name="T8" fmla="*/ 153729531 w 244"/>
                  <a:gd name="T9" fmla="*/ 49446026 h 325"/>
                  <a:gd name="T10" fmla="*/ 153729531 w 244"/>
                  <a:gd name="T11" fmla="*/ 0 h 325"/>
                  <a:gd name="T12" fmla="*/ 15751175 w 244"/>
                  <a:gd name="T13" fmla="*/ 0 h 325"/>
                  <a:gd name="T14" fmla="*/ 0 w 244"/>
                  <a:gd name="T15" fmla="*/ 49446026 h 325"/>
                  <a:gd name="T16" fmla="*/ 55443438 w 244"/>
                  <a:gd name="T17" fmla="*/ 49446026 h 3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44" h="325">
                    <a:moveTo>
                      <a:pt x="88" y="78"/>
                    </a:moveTo>
                    <a:lnTo>
                      <a:pt x="88" y="325"/>
                    </a:lnTo>
                    <a:lnTo>
                      <a:pt x="179" y="325"/>
                    </a:lnTo>
                    <a:lnTo>
                      <a:pt x="179" y="78"/>
                    </a:lnTo>
                    <a:lnTo>
                      <a:pt x="244" y="78"/>
                    </a:lnTo>
                    <a:lnTo>
                      <a:pt x="244" y="0"/>
                    </a:lnTo>
                    <a:lnTo>
                      <a:pt x="25" y="0"/>
                    </a:lnTo>
                    <a:lnTo>
                      <a:pt x="0" y="78"/>
                    </a:lnTo>
                    <a:lnTo>
                      <a:pt x="88" y="78"/>
                    </a:lnTo>
                    <a:close/>
                  </a:path>
                </a:pathLst>
              </a:custGeom>
              <a:solidFill>
                <a:srgbClr val="00579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 name="V">
                <a:extLst>
                  <a:ext uri="{FF2B5EF4-FFF2-40B4-BE49-F238E27FC236}">
                    <a16:creationId xmlns:a16="http://schemas.microsoft.com/office/drawing/2014/main" id="{6E82BE4B-CD91-36F9-FB39-4FBCE1EFF51D}"/>
                  </a:ext>
                </a:extLst>
              </p:cNvPr>
              <p:cNvSpPr>
                <a:spLocks/>
              </p:cNvSpPr>
              <p:nvPr userDrawn="1"/>
            </p:nvSpPr>
            <p:spPr bwMode="auto">
              <a:xfrm>
                <a:off x="567258" y="168151"/>
                <a:ext cx="230188" cy="258763"/>
              </a:xfrm>
              <a:custGeom>
                <a:avLst/>
                <a:gdLst>
                  <a:gd name="T0" fmla="*/ 116731600 w 289"/>
                  <a:gd name="T1" fmla="*/ 206025508 h 325"/>
                  <a:gd name="T2" fmla="*/ 183344344 w 289"/>
                  <a:gd name="T3" fmla="*/ 0 h 325"/>
                  <a:gd name="T4" fmla="*/ 124978544 w 289"/>
                  <a:gd name="T5" fmla="*/ 0 h 325"/>
                  <a:gd name="T6" fmla="*/ 90720356 w 289"/>
                  <a:gd name="T7" fmla="*/ 105865119 h 325"/>
                  <a:gd name="T8" fmla="*/ 85645069 w 289"/>
                  <a:gd name="T9" fmla="*/ 121079587 h 325"/>
                  <a:gd name="T10" fmla="*/ 85645069 w 289"/>
                  <a:gd name="T11" fmla="*/ 121079587 h 325"/>
                  <a:gd name="T12" fmla="*/ 85645069 w 289"/>
                  <a:gd name="T13" fmla="*/ 121079587 h 325"/>
                  <a:gd name="T14" fmla="*/ 85645069 w 289"/>
                  <a:gd name="T15" fmla="*/ 121079587 h 325"/>
                  <a:gd name="T16" fmla="*/ 85645069 w 289"/>
                  <a:gd name="T17" fmla="*/ 121079587 h 325"/>
                  <a:gd name="T18" fmla="*/ 85645069 w 289"/>
                  <a:gd name="T19" fmla="*/ 121079587 h 325"/>
                  <a:gd name="T20" fmla="*/ 85645069 w 289"/>
                  <a:gd name="T21" fmla="*/ 121079587 h 325"/>
                  <a:gd name="T22" fmla="*/ 81204592 w 289"/>
                  <a:gd name="T23" fmla="*/ 105865119 h 325"/>
                  <a:gd name="T24" fmla="*/ 57730991 w 289"/>
                  <a:gd name="T25" fmla="*/ 38035772 h 325"/>
                  <a:gd name="T26" fmla="*/ 0 w 289"/>
                  <a:gd name="T27" fmla="*/ 38035772 h 325"/>
                  <a:gd name="T28" fmla="*/ 57096978 w 289"/>
                  <a:gd name="T29" fmla="*/ 206025508 h 325"/>
                  <a:gd name="T30" fmla="*/ 116731600 w 289"/>
                  <a:gd name="T31" fmla="*/ 206025508 h 32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89" h="325">
                    <a:moveTo>
                      <a:pt x="184" y="325"/>
                    </a:moveTo>
                    <a:lnTo>
                      <a:pt x="289" y="0"/>
                    </a:lnTo>
                    <a:lnTo>
                      <a:pt x="197" y="0"/>
                    </a:lnTo>
                    <a:lnTo>
                      <a:pt x="143" y="167"/>
                    </a:lnTo>
                    <a:lnTo>
                      <a:pt x="135" y="191"/>
                    </a:lnTo>
                    <a:lnTo>
                      <a:pt x="128" y="167"/>
                    </a:lnTo>
                    <a:lnTo>
                      <a:pt x="91" y="60"/>
                    </a:lnTo>
                    <a:lnTo>
                      <a:pt x="0" y="60"/>
                    </a:lnTo>
                    <a:lnTo>
                      <a:pt x="90" y="325"/>
                    </a:lnTo>
                    <a:lnTo>
                      <a:pt x="184" y="325"/>
                    </a:lnTo>
                    <a:close/>
                  </a:path>
                </a:pathLst>
              </a:custGeom>
              <a:solidFill>
                <a:srgbClr val="00579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grpSp>
          <p:nvGrpSpPr>
            <p:cNvPr id="12" name="_VTT_logo_102019_08_black_on_white" hidden="1">
              <a:extLst>
                <a:ext uri="{FF2B5EF4-FFF2-40B4-BE49-F238E27FC236}">
                  <a16:creationId xmlns:a16="http://schemas.microsoft.com/office/drawing/2014/main" id="{C8B81C84-8711-D322-72DB-050D7232586D}"/>
                </a:ext>
              </a:extLst>
            </p:cNvPr>
            <p:cNvGrpSpPr>
              <a:grpSpLocks/>
            </p:cNvGrpSpPr>
            <p:nvPr userDrawn="1"/>
          </p:nvGrpSpPr>
          <p:grpSpPr bwMode="auto">
            <a:xfrm>
              <a:off x="7909204" y="1770762"/>
              <a:ext cx="971550" cy="655638"/>
              <a:chOff x="379933" y="-15999"/>
              <a:chExt cx="971550" cy="655638"/>
            </a:xfrm>
          </p:grpSpPr>
          <p:sp>
            <p:nvSpPr>
              <p:cNvPr id="18" name="Box">
                <a:extLst>
                  <a:ext uri="{FF2B5EF4-FFF2-40B4-BE49-F238E27FC236}">
                    <a16:creationId xmlns:a16="http://schemas.microsoft.com/office/drawing/2014/main" id="{3922DDB4-62D0-BC5C-1BB4-EBCABB6FD5C2}"/>
                  </a:ext>
                </a:extLst>
              </p:cNvPr>
              <p:cNvSpPr>
                <a:spLocks noChangeArrowheads="1"/>
              </p:cNvSpPr>
              <p:nvPr userDrawn="1"/>
            </p:nvSpPr>
            <p:spPr bwMode="auto">
              <a:xfrm>
                <a:off x="379933" y="-15999"/>
                <a:ext cx="971550" cy="655638"/>
              </a:xfrm>
              <a:prstGeom prst="rect">
                <a:avLst/>
              </a:prstGeom>
              <a:solidFill>
                <a:srgbClr val="FFFFFF"/>
              </a:solidFill>
              <a:ln>
                <a:noFill/>
              </a:ln>
            </p:spPr>
            <p:txBody>
              <a:bodyPr/>
              <a:lstStyle>
                <a:lvl1pPr defTabSz="455613">
                  <a:defRPr b="1">
                    <a:solidFill>
                      <a:schemeClr val="tx1"/>
                    </a:solidFill>
                    <a:latin typeface="Verdana" panose="020B0604030504040204" pitchFamily="34" charset="0"/>
                  </a:defRPr>
                </a:lvl1pPr>
                <a:lvl2pPr marL="742950" indent="-285750" defTabSz="455613">
                  <a:defRPr b="1">
                    <a:solidFill>
                      <a:schemeClr val="tx1"/>
                    </a:solidFill>
                    <a:latin typeface="Verdana" panose="020B0604030504040204" pitchFamily="34" charset="0"/>
                  </a:defRPr>
                </a:lvl2pPr>
                <a:lvl3pPr marL="1143000" indent="-228600" defTabSz="455613">
                  <a:defRPr b="1">
                    <a:solidFill>
                      <a:schemeClr val="tx1"/>
                    </a:solidFill>
                    <a:latin typeface="Verdana" panose="020B0604030504040204" pitchFamily="34" charset="0"/>
                  </a:defRPr>
                </a:lvl3pPr>
                <a:lvl4pPr marL="1600200" indent="-228600" defTabSz="455613">
                  <a:defRPr b="1">
                    <a:solidFill>
                      <a:schemeClr val="tx1"/>
                    </a:solidFill>
                    <a:latin typeface="Verdana" panose="020B0604030504040204" pitchFamily="34" charset="0"/>
                  </a:defRPr>
                </a:lvl4pPr>
                <a:lvl5pPr marL="2057400" indent="-228600" defTabSz="455613">
                  <a:defRPr b="1">
                    <a:solidFill>
                      <a:schemeClr val="tx1"/>
                    </a:solidFill>
                    <a:latin typeface="Verdana" panose="020B0604030504040204" pitchFamily="34" charset="0"/>
                  </a:defRPr>
                </a:lvl5pPr>
                <a:lvl6pPr marL="2514600" indent="-228600" defTabSz="455613" eaLnBrk="0" fontAlgn="base" hangingPunct="0">
                  <a:spcBef>
                    <a:spcPct val="0"/>
                  </a:spcBef>
                  <a:spcAft>
                    <a:spcPct val="0"/>
                  </a:spcAft>
                  <a:defRPr b="1">
                    <a:solidFill>
                      <a:schemeClr val="tx1"/>
                    </a:solidFill>
                    <a:latin typeface="Verdana" panose="020B0604030504040204" pitchFamily="34" charset="0"/>
                  </a:defRPr>
                </a:lvl6pPr>
                <a:lvl7pPr marL="2971800" indent="-228600" defTabSz="455613" eaLnBrk="0" fontAlgn="base" hangingPunct="0">
                  <a:spcBef>
                    <a:spcPct val="0"/>
                  </a:spcBef>
                  <a:spcAft>
                    <a:spcPct val="0"/>
                  </a:spcAft>
                  <a:defRPr b="1">
                    <a:solidFill>
                      <a:schemeClr val="tx1"/>
                    </a:solidFill>
                    <a:latin typeface="Verdana" panose="020B0604030504040204" pitchFamily="34" charset="0"/>
                  </a:defRPr>
                </a:lvl7pPr>
                <a:lvl8pPr marL="3429000" indent="-228600" defTabSz="455613" eaLnBrk="0" fontAlgn="base" hangingPunct="0">
                  <a:spcBef>
                    <a:spcPct val="0"/>
                  </a:spcBef>
                  <a:spcAft>
                    <a:spcPct val="0"/>
                  </a:spcAft>
                  <a:defRPr b="1">
                    <a:solidFill>
                      <a:schemeClr val="tx1"/>
                    </a:solidFill>
                    <a:latin typeface="Verdana" panose="020B0604030504040204" pitchFamily="34" charset="0"/>
                  </a:defRPr>
                </a:lvl8pPr>
                <a:lvl9pPr marL="3886200" indent="-228600" defTabSz="455613" eaLnBrk="0" fontAlgn="base" hangingPunct="0">
                  <a:spcBef>
                    <a:spcPct val="0"/>
                  </a:spcBef>
                  <a:spcAft>
                    <a:spcPct val="0"/>
                  </a:spcAft>
                  <a:defRPr b="1">
                    <a:solidFill>
                      <a:schemeClr val="tx1"/>
                    </a:solidFill>
                    <a:latin typeface="Verdana" panose="020B0604030504040204" pitchFamily="34" charset="0"/>
                  </a:defRPr>
                </a:lvl9pPr>
              </a:lstStyle>
              <a:p>
                <a:pPr eaLnBrk="1" hangingPunct="1">
                  <a:defRPr/>
                </a:pPr>
                <a:endParaRPr lang="en-GB" altLang="de-DE" b="0">
                  <a:solidFill>
                    <a:srgbClr val="000000"/>
                  </a:solidFill>
                  <a:latin typeface="Arial" panose="020B0604020202020204" pitchFamily="34" charset="0"/>
                </a:endParaRPr>
              </a:p>
            </p:txBody>
          </p:sp>
          <p:sp>
            <p:nvSpPr>
              <p:cNvPr id="19" name="T2">
                <a:extLst>
                  <a:ext uri="{FF2B5EF4-FFF2-40B4-BE49-F238E27FC236}">
                    <a16:creationId xmlns:a16="http://schemas.microsoft.com/office/drawing/2014/main" id="{5C6C7EE9-0A1F-13D3-C761-7AAE97AD2112}"/>
                  </a:ext>
                </a:extLst>
              </p:cNvPr>
              <p:cNvSpPr>
                <a:spLocks/>
              </p:cNvSpPr>
              <p:nvPr userDrawn="1"/>
            </p:nvSpPr>
            <p:spPr bwMode="auto">
              <a:xfrm>
                <a:off x="1011758" y="168151"/>
                <a:ext cx="176213" cy="258763"/>
              </a:xfrm>
              <a:custGeom>
                <a:avLst/>
                <a:gdLst>
                  <a:gd name="T0" fmla="*/ 98916612 w 222"/>
                  <a:gd name="T1" fmla="*/ 206025508 h 325"/>
                  <a:gd name="T2" fmla="*/ 98916612 w 222"/>
                  <a:gd name="T3" fmla="*/ 49446026 h 325"/>
                  <a:gd name="T4" fmla="*/ 139869466 w 222"/>
                  <a:gd name="T5" fmla="*/ 49446026 h 325"/>
                  <a:gd name="T6" fmla="*/ 139869466 w 222"/>
                  <a:gd name="T7" fmla="*/ 0 h 325"/>
                  <a:gd name="T8" fmla="*/ 0 w 222"/>
                  <a:gd name="T9" fmla="*/ 0 h 325"/>
                  <a:gd name="T10" fmla="*/ 0 w 222"/>
                  <a:gd name="T11" fmla="*/ 49446026 h 325"/>
                  <a:gd name="T12" fmla="*/ 41583093 w 222"/>
                  <a:gd name="T13" fmla="*/ 49446026 h 325"/>
                  <a:gd name="T14" fmla="*/ 41583093 w 222"/>
                  <a:gd name="T15" fmla="*/ 206025508 h 325"/>
                  <a:gd name="T16" fmla="*/ 41583093 w 222"/>
                  <a:gd name="T17" fmla="*/ 206025508 h 325"/>
                  <a:gd name="T18" fmla="*/ 98916612 w 222"/>
                  <a:gd name="T19" fmla="*/ 206025508 h 3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22" h="325">
                    <a:moveTo>
                      <a:pt x="157" y="325"/>
                    </a:moveTo>
                    <a:lnTo>
                      <a:pt x="157" y="78"/>
                    </a:lnTo>
                    <a:lnTo>
                      <a:pt x="222" y="78"/>
                    </a:lnTo>
                    <a:lnTo>
                      <a:pt x="222" y="0"/>
                    </a:lnTo>
                    <a:lnTo>
                      <a:pt x="0" y="0"/>
                    </a:lnTo>
                    <a:lnTo>
                      <a:pt x="0" y="78"/>
                    </a:lnTo>
                    <a:lnTo>
                      <a:pt x="66" y="78"/>
                    </a:lnTo>
                    <a:lnTo>
                      <a:pt x="66" y="325"/>
                    </a:lnTo>
                    <a:lnTo>
                      <a:pt x="157" y="32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 name="T1">
                <a:extLst>
                  <a:ext uri="{FF2B5EF4-FFF2-40B4-BE49-F238E27FC236}">
                    <a16:creationId xmlns:a16="http://schemas.microsoft.com/office/drawing/2014/main" id="{1DEB3398-7C57-2414-1797-49C017B500C4}"/>
                  </a:ext>
                </a:extLst>
              </p:cNvPr>
              <p:cNvSpPr>
                <a:spLocks/>
              </p:cNvSpPr>
              <p:nvPr userDrawn="1"/>
            </p:nvSpPr>
            <p:spPr bwMode="auto">
              <a:xfrm>
                <a:off x="799033" y="168151"/>
                <a:ext cx="193675" cy="258763"/>
              </a:xfrm>
              <a:custGeom>
                <a:avLst/>
                <a:gdLst>
                  <a:gd name="T0" fmla="*/ 55443438 w 244"/>
                  <a:gd name="T1" fmla="*/ 49446026 h 325"/>
                  <a:gd name="T2" fmla="*/ 55443438 w 244"/>
                  <a:gd name="T3" fmla="*/ 206025508 h 325"/>
                  <a:gd name="T4" fmla="*/ 112776794 w 244"/>
                  <a:gd name="T5" fmla="*/ 206025508 h 325"/>
                  <a:gd name="T6" fmla="*/ 112776794 w 244"/>
                  <a:gd name="T7" fmla="*/ 49446026 h 325"/>
                  <a:gd name="T8" fmla="*/ 153729531 w 244"/>
                  <a:gd name="T9" fmla="*/ 49446026 h 325"/>
                  <a:gd name="T10" fmla="*/ 153729531 w 244"/>
                  <a:gd name="T11" fmla="*/ 0 h 325"/>
                  <a:gd name="T12" fmla="*/ 15751175 w 244"/>
                  <a:gd name="T13" fmla="*/ 0 h 325"/>
                  <a:gd name="T14" fmla="*/ 0 w 244"/>
                  <a:gd name="T15" fmla="*/ 49446026 h 325"/>
                  <a:gd name="T16" fmla="*/ 55443438 w 244"/>
                  <a:gd name="T17" fmla="*/ 49446026 h 3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44" h="325">
                    <a:moveTo>
                      <a:pt x="88" y="78"/>
                    </a:moveTo>
                    <a:lnTo>
                      <a:pt x="88" y="325"/>
                    </a:lnTo>
                    <a:lnTo>
                      <a:pt x="179" y="325"/>
                    </a:lnTo>
                    <a:lnTo>
                      <a:pt x="179" y="78"/>
                    </a:lnTo>
                    <a:lnTo>
                      <a:pt x="244" y="78"/>
                    </a:lnTo>
                    <a:lnTo>
                      <a:pt x="244" y="0"/>
                    </a:lnTo>
                    <a:lnTo>
                      <a:pt x="25" y="0"/>
                    </a:lnTo>
                    <a:lnTo>
                      <a:pt x="0" y="78"/>
                    </a:lnTo>
                    <a:lnTo>
                      <a:pt x="88" y="7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 name="V">
                <a:extLst>
                  <a:ext uri="{FF2B5EF4-FFF2-40B4-BE49-F238E27FC236}">
                    <a16:creationId xmlns:a16="http://schemas.microsoft.com/office/drawing/2014/main" id="{B97504B7-02E9-18F3-BFEE-CC833C501325}"/>
                  </a:ext>
                </a:extLst>
              </p:cNvPr>
              <p:cNvSpPr>
                <a:spLocks/>
              </p:cNvSpPr>
              <p:nvPr userDrawn="1"/>
            </p:nvSpPr>
            <p:spPr bwMode="auto">
              <a:xfrm>
                <a:off x="567258" y="168151"/>
                <a:ext cx="230188" cy="258763"/>
              </a:xfrm>
              <a:custGeom>
                <a:avLst/>
                <a:gdLst>
                  <a:gd name="T0" fmla="*/ 116731600 w 289"/>
                  <a:gd name="T1" fmla="*/ 206025508 h 325"/>
                  <a:gd name="T2" fmla="*/ 183344344 w 289"/>
                  <a:gd name="T3" fmla="*/ 0 h 325"/>
                  <a:gd name="T4" fmla="*/ 124978544 w 289"/>
                  <a:gd name="T5" fmla="*/ 0 h 325"/>
                  <a:gd name="T6" fmla="*/ 90720356 w 289"/>
                  <a:gd name="T7" fmla="*/ 105865119 h 325"/>
                  <a:gd name="T8" fmla="*/ 85645069 w 289"/>
                  <a:gd name="T9" fmla="*/ 121079587 h 325"/>
                  <a:gd name="T10" fmla="*/ 85645069 w 289"/>
                  <a:gd name="T11" fmla="*/ 121079587 h 325"/>
                  <a:gd name="T12" fmla="*/ 85645069 w 289"/>
                  <a:gd name="T13" fmla="*/ 121079587 h 325"/>
                  <a:gd name="T14" fmla="*/ 85645069 w 289"/>
                  <a:gd name="T15" fmla="*/ 121079587 h 325"/>
                  <a:gd name="T16" fmla="*/ 85645069 w 289"/>
                  <a:gd name="T17" fmla="*/ 121079587 h 325"/>
                  <a:gd name="T18" fmla="*/ 85645069 w 289"/>
                  <a:gd name="T19" fmla="*/ 121079587 h 325"/>
                  <a:gd name="T20" fmla="*/ 85645069 w 289"/>
                  <a:gd name="T21" fmla="*/ 121079587 h 325"/>
                  <a:gd name="T22" fmla="*/ 81204592 w 289"/>
                  <a:gd name="T23" fmla="*/ 105865119 h 325"/>
                  <a:gd name="T24" fmla="*/ 57730991 w 289"/>
                  <a:gd name="T25" fmla="*/ 38035772 h 325"/>
                  <a:gd name="T26" fmla="*/ 0 w 289"/>
                  <a:gd name="T27" fmla="*/ 38035772 h 325"/>
                  <a:gd name="T28" fmla="*/ 57096978 w 289"/>
                  <a:gd name="T29" fmla="*/ 206025508 h 325"/>
                  <a:gd name="T30" fmla="*/ 116731600 w 289"/>
                  <a:gd name="T31" fmla="*/ 206025508 h 32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89" h="325">
                    <a:moveTo>
                      <a:pt x="184" y="325"/>
                    </a:moveTo>
                    <a:lnTo>
                      <a:pt x="289" y="0"/>
                    </a:lnTo>
                    <a:lnTo>
                      <a:pt x="197" y="0"/>
                    </a:lnTo>
                    <a:lnTo>
                      <a:pt x="143" y="167"/>
                    </a:lnTo>
                    <a:lnTo>
                      <a:pt x="135" y="191"/>
                    </a:lnTo>
                    <a:lnTo>
                      <a:pt x="128" y="167"/>
                    </a:lnTo>
                    <a:lnTo>
                      <a:pt x="91" y="60"/>
                    </a:lnTo>
                    <a:lnTo>
                      <a:pt x="0" y="60"/>
                    </a:lnTo>
                    <a:lnTo>
                      <a:pt x="90" y="325"/>
                    </a:lnTo>
                    <a:lnTo>
                      <a:pt x="184" y="32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grpSp>
          <p:nvGrpSpPr>
            <p:cNvPr id="13" name="_VTT_logo_102019_09_orange_on_white" hidden="1">
              <a:extLst>
                <a:ext uri="{FF2B5EF4-FFF2-40B4-BE49-F238E27FC236}">
                  <a16:creationId xmlns:a16="http://schemas.microsoft.com/office/drawing/2014/main" id="{CCB8AD33-316B-F8AA-6612-126AF91EFB41}"/>
                </a:ext>
              </a:extLst>
            </p:cNvPr>
            <p:cNvGrpSpPr>
              <a:grpSpLocks/>
            </p:cNvGrpSpPr>
            <p:nvPr userDrawn="1"/>
          </p:nvGrpSpPr>
          <p:grpSpPr bwMode="auto">
            <a:xfrm>
              <a:off x="7909204" y="1770762"/>
              <a:ext cx="971550" cy="655638"/>
              <a:chOff x="379933" y="-15999"/>
              <a:chExt cx="971550" cy="655638"/>
            </a:xfrm>
          </p:grpSpPr>
          <p:sp>
            <p:nvSpPr>
              <p:cNvPr id="14" name="Box">
                <a:extLst>
                  <a:ext uri="{FF2B5EF4-FFF2-40B4-BE49-F238E27FC236}">
                    <a16:creationId xmlns:a16="http://schemas.microsoft.com/office/drawing/2014/main" id="{0FC3B6A1-D839-8CA6-4485-41E3CCCDE278}"/>
                  </a:ext>
                </a:extLst>
              </p:cNvPr>
              <p:cNvSpPr>
                <a:spLocks noChangeArrowheads="1"/>
              </p:cNvSpPr>
              <p:nvPr userDrawn="1"/>
            </p:nvSpPr>
            <p:spPr bwMode="auto">
              <a:xfrm>
                <a:off x="379933" y="-15999"/>
                <a:ext cx="971550" cy="655638"/>
              </a:xfrm>
              <a:prstGeom prst="rect">
                <a:avLst/>
              </a:prstGeom>
              <a:solidFill>
                <a:srgbClr val="FFFFFF"/>
              </a:solidFill>
              <a:ln>
                <a:noFill/>
              </a:ln>
            </p:spPr>
            <p:txBody>
              <a:bodyPr/>
              <a:lstStyle>
                <a:lvl1pPr defTabSz="455613">
                  <a:defRPr b="1">
                    <a:solidFill>
                      <a:schemeClr val="tx1"/>
                    </a:solidFill>
                    <a:latin typeface="Verdana" panose="020B0604030504040204" pitchFamily="34" charset="0"/>
                  </a:defRPr>
                </a:lvl1pPr>
                <a:lvl2pPr marL="742950" indent="-285750" defTabSz="455613">
                  <a:defRPr b="1">
                    <a:solidFill>
                      <a:schemeClr val="tx1"/>
                    </a:solidFill>
                    <a:latin typeface="Verdana" panose="020B0604030504040204" pitchFamily="34" charset="0"/>
                  </a:defRPr>
                </a:lvl2pPr>
                <a:lvl3pPr marL="1143000" indent="-228600" defTabSz="455613">
                  <a:defRPr b="1">
                    <a:solidFill>
                      <a:schemeClr val="tx1"/>
                    </a:solidFill>
                    <a:latin typeface="Verdana" panose="020B0604030504040204" pitchFamily="34" charset="0"/>
                  </a:defRPr>
                </a:lvl3pPr>
                <a:lvl4pPr marL="1600200" indent="-228600" defTabSz="455613">
                  <a:defRPr b="1">
                    <a:solidFill>
                      <a:schemeClr val="tx1"/>
                    </a:solidFill>
                    <a:latin typeface="Verdana" panose="020B0604030504040204" pitchFamily="34" charset="0"/>
                  </a:defRPr>
                </a:lvl4pPr>
                <a:lvl5pPr marL="2057400" indent="-228600" defTabSz="455613">
                  <a:defRPr b="1">
                    <a:solidFill>
                      <a:schemeClr val="tx1"/>
                    </a:solidFill>
                    <a:latin typeface="Verdana" panose="020B0604030504040204" pitchFamily="34" charset="0"/>
                  </a:defRPr>
                </a:lvl5pPr>
                <a:lvl6pPr marL="2514600" indent="-228600" defTabSz="455613" eaLnBrk="0" fontAlgn="base" hangingPunct="0">
                  <a:spcBef>
                    <a:spcPct val="0"/>
                  </a:spcBef>
                  <a:spcAft>
                    <a:spcPct val="0"/>
                  </a:spcAft>
                  <a:defRPr b="1">
                    <a:solidFill>
                      <a:schemeClr val="tx1"/>
                    </a:solidFill>
                    <a:latin typeface="Verdana" panose="020B0604030504040204" pitchFamily="34" charset="0"/>
                  </a:defRPr>
                </a:lvl6pPr>
                <a:lvl7pPr marL="2971800" indent="-228600" defTabSz="455613" eaLnBrk="0" fontAlgn="base" hangingPunct="0">
                  <a:spcBef>
                    <a:spcPct val="0"/>
                  </a:spcBef>
                  <a:spcAft>
                    <a:spcPct val="0"/>
                  </a:spcAft>
                  <a:defRPr b="1">
                    <a:solidFill>
                      <a:schemeClr val="tx1"/>
                    </a:solidFill>
                    <a:latin typeface="Verdana" panose="020B0604030504040204" pitchFamily="34" charset="0"/>
                  </a:defRPr>
                </a:lvl7pPr>
                <a:lvl8pPr marL="3429000" indent="-228600" defTabSz="455613" eaLnBrk="0" fontAlgn="base" hangingPunct="0">
                  <a:spcBef>
                    <a:spcPct val="0"/>
                  </a:spcBef>
                  <a:spcAft>
                    <a:spcPct val="0"/>
                  </a:spcAft>
                  <a:defRPr b="1">
                    <a:solidFill>
                      <a:schemeClr val="tx1"/>
                    </a:solidFill>
                    <a:latin typeface="Verdana" panose="020B0604030504040204" pitchFamily="34" charset="0"/>
                  </a:defRPr>
                </a:lvl8pPr>
                <a:lvl9pPr marL="3886200" indent="-228600" defTabSz="455613" eaLnBrk="0" fontAlgn="base" hangingPunct="0">
                  <a:spcBef>
                    <a:spcPct val="0"/>
                  </a:spcBef>
                  <a:spcAft>
                    <a:spcPct val="0"/>
                  </a:spcAft>
                  <a:defRPr b="1">
                    <a:solidFill>
                      <a:schemeClr val="tx1"/>
                    </a:solidFill>
                    <a:latin typeface="Verdana" panose="020B0604030504040204" pitchFamily="34" charset="0"/>
                  </a:defRPr>
                </a:lvl9pPr>
              </a:lstStyle>
              <a:p>
                <a:pPr eaLnBrk="1" hangingPunct="1">
                  <a:defRPr/>
                </a:pPr>
                <a:endParaRPr lang="en-GB" altLang="de-DE" b="0">
                  <a:solidFill>
                    <a:srgbClr val="000000"/>
                  </a:solidFill>
                  <a:latin typeface="Arial" panose="020B0604020202020204" pitchFamily="34" charset="0"/>
                </a:endParaRPr>
              </a:p>
            </p:txBody>
          </p:sp>
          <p:sp>
            <p:nvSpPr>
              <p:cNvPr id="15" name="T2">
                <a:extLst>
                  <a:ext uri="{FF2B5EF4-FFF2-40B4-BE49-F238E27FC236}">
                    <a16:creationId xmlns:a16="http://schemas.microsoft.com/office/drawing/2014/main" id="{C5199B83-EA21-9A13-F59A-B08C877E9023}"/>
                  </a:ext>
                </a:extLst>
              </p:cNvPr>
              <p:cNvSpPr>
                <a:spLocks/>
              </p:cNvSpPr>
              <p:nvPr userDrawn="1"/>
            </p:nvSpPr>
            <p:spPr bwMode="auto">
              <a:xfrm>
                <a:off x="1011758" y="168151"/>
                <a:ext cx="176213" cy="258763"/>
              </a:xfrm>
              <a:custGeom>
                <a:avLst/>
                <a:gdLst>
                  <a:gd name="T0" fmla="*/ 98916612 w 222"/>
                  <a:gd name="T1" fmla="*/ 206025508 h 325"/>
                  <a:gd name="T2" fmla="*/ 98916612 w 222"/>
                  <a:gd name="T3" fmla="*/ 49446026 h 325"/>
                  <a:gd name="T4" fmla="*/ 139869466 w 222"/>
                  <a:gd name="T5" fmla="*/ 49446026 h 325"/>
                  <a:gd name="T6" fmla="*/ 139869466 w 222"/>
                  <a:gd name="T7" fmla="*/ 0 h 325"/>
                  <a:gd name="T8" fmla="*/ 0 w 222"/>
                  <a:gd name="T9" fmla="*/ 0 h 325"/>
                  <a:gd name="T10" fmla="*/ 0 w 222"/>
                  <a:gd name="T11" fmla="*/ 49446026 h 325"/>
                  <a:gd name="T12" fmla="*/ 41583093 w 222"/>
                  <a:gd name="T13" fmla="*/ 49446026 h 325"/>
                  <a:gd name="T14" fmla="*/ 41583093 w 222"/>
                  <a:gd name="T15" fmla="*/ 206025508 h 325"/>
                  <a:gd name="T16" fmla="*/ 41583093 w 222"/>
                  <a:gd name="T17" fmla="*/ 206025508 h 325"/>
                  <a:gd name="T18" fmla="*/ 98916612 w 222"/>
                  <a:gd name="T19" fmla="*/ 206025508 h 3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22" h="325">
                    <a:moveTo>
                      <a:pt x="157" y="325"/>
                    </a:moveTo>
                    <a:lnTo>
                      <a:pt x="157" y="78"/>
                    </a:lnTo>
                    <a:lnTo>
                      <a:pt x="222" y="78"/>
                    </a:lnTo>
                    <a:lnTo>
                      <a:pt x="222" y="0"/>
                    </a:lnTo>
                    <a:lnTo>
                      <a:pt x="0" y="0"/>
                    </a:lnTo>
                    <a:lnTo>
                      <a:pt x="0" y="78"/>
                    </a:lnTo>
                    <a:lnTo>
                      <a:pt x="66" y="78"/>
                    </a:lnTo>
                    <a:lnTo>
                      <a:pt x="66" y="325"/>
                    </a:lnTo>
                    <a:lnTo>
                      <a:pt x="157" y="325"/>
                    </a:lnTo>
                    <a:close/>
                  </a:path>
                </a:pathLst>
              </a:custGeom>
              <a:solidFill>
                <a:srgbClr val="F06E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6" name="T1">
                <a:extLst>
                  <a:ext uri="{FF2B5EF4-FFF2-40B4-BE49-F238E27FC236}">
                    <a16:creationId xmlns:a16="http://schemas.microsoft.com/office/drawing/2014/main" id="{3F7A9D47-4624-6037-F358-58EB400F2C7E}"/>
                  </a:ext>
                </a:extLst>
              </p:cNvPr>
              <p:cNvSpPr>
                <a:spLocks/>
              </p:cNvSpPr>
              <p:nvPr userDrawn="1"/>
            </p:nvSpPr>
            <p:spPr bwMode="auto">
              <a:xfrm>
                <a:off x="799033" y="168151"/>
                <a:ext cx="193675" cy="258763"/>
              </a:xfrm>
              <a:custGeom>
                <a:avLst/>
                <a:gdLst>
                  <a:gd name="T0" fmla="*/ 55443438 w 244"/>
                  <a:gd name="T1" fmla="*/ 49446026 h 325"/>
                  <a:gd name="T2" fmla="*/ 55443438 w 244"/>
                  <a:gd name="T3" fmla="*/ 206025508 h 325"/>
                  <a:gd name="T4" fmla="*/ 112776794 w 244"/>
                  <a:gd name="T5" fmla="*/ 206025508 h 325"/>
                  <a:gd name="T6" fmla="*/ 112776794 w 244"/>
                  <a:gd name="T7" fmla="*/ 49446026 h 325"/>
                  <a:gd name="T8" fmla="*/ 153729531 w 244"/>
                  <a:gd name="T9" fmla="*/ 49446026 h 325"/>
                  <a:gd name="T10" fmla="*/ 153729531 w 244"/>
                  <a:gd name="T11" fmla="*/ 0 h 325"/>
                  <a:gd name="T12" fmla="*/ 15751175 w 244"/>
                  <a:gd name="T13" fmla="*/ 0 h 325"/>
                  <a:gd name="T14" fmla="*/ 0 w 244"/>
                  <a:gd name="T15" fmla="*/ 49446026 h 325"/>
                  <a:gd name="T16" fmla="*/ 55443438 w 244"/>
                  <a:gd name="T17" fmla="*/ 49446026 h 3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44" h="325">
                    <a:moveTo>
                      <a:pt x="88" y="78"/>
                    </a:moveTo>
                    <a:lnTo>
                      <a:pt x="88" y="325"/>
                    </a:lnTo>
                    <a:lnTo>
                      <a:pt x="179" y="325"/>
                    </a:lnTo>
                    <a:lnTo>
                      <a:pt x="179" y="78"/>
                    </a:lnTo>
                    <a:lnTo>
                      <a:pt x="244" y="78"/>
                    </a:lnTo>
                    <a:lnTo>
                      <a:pt x="244" y="0"/>
                    </a:lnTo>
                    <a:lnTo>
                      <a:pt x="25" y="0"/>
                    </a:lnTo>
                    <a:lnTo>
                      <a:pt x="0" y="78"/>
                    </a:lnTo>
                    <a:lnTo>
                      <a:pt x="88" y="78"/>
                    </a:lnTo>
                    <a:close/>
                  </a:path>
                </a:pathLst>
              </a:custGeom>
              <a:solidFill>
                <a:srgbClr val="F06E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 name="V">
                <a:extLst>
                  <a:ext uri="{FF2B5EF4-FFF2-40B4-BE49-F238E27FC236}">
                    <a16:creationId xmlns:a16="http://schemas.microsoft.com/office/drawing/2014/main" id="{D5FA2463-F320-E55F-157E-B5F11541AC11}"/>
                  </a:ext>
                </a:extLst>
              </p:cNvPr>
              <p:cNvSpPr>
                <a:spLocks/>
              </p:cNvSpPr>
              <p:nvPr userDrawn="1"/>
            </p:nvSpPr>
            <p:spPr bwMode="auto">
              <a:xfrm>
                <a:off x="567258" y="168151"/>
                <a:ext cx="230188" cy="258763"/>
              </a:xfrm>
              <a:custGeom>
                <a:avLst/>
                <a:gdLst>
                  <a:gd name="T0" fmla="*/ 116731600 w 289"/>
                  <a:gd name="T1" fmla="*/ 206025508 h 325"/>
                  <a:gd name="T2" fmla="*/ 183344344 w 289"/>
                  <a:gd name="T3" fmla="*/ 0 h 325"/>
                  <a:gd name="T4" fmla="*/ 124978544 w 289"/>
                  <a:gd name="T5" fmla="*/ 0 h 325"/>
                  <a:gd name="T6" fmla="*/ 90720356 w 289"/>
                  <a:gd name="T7" fmla="*/ 105865119 h 325"/>
                  <a:gd name="T8" fmla="*/ 85645069 w 289"/>
                  <a:gd name="T9" fmla="*/ 121079587 h 325"/>
                  <a:gd name="T10" fmla="*/ 85645069 w 289"/>
                  <a:gd name="T11" fmla="*/ 121079587 h 325"/>
                  <a:gd name="T12" fmla="*/ 85645069 w 289"/>
                  <a:gd name="T13" fmla="*/ 121079587 h 325"/>
                  <a:gd name="T14" fmla="*/ 85645069 w 289"/>
                  <a:gd name="T15" fmla="*/ 121079587 h 325"/>
                  <a:gd name="T16" fmla="*/ 85645069 w 289"/>
                  <a:gd name="T17" fmla="*/ 121079587 h 325"/>
                  <a:gd name="T18" fmla="*/ 85645069 w 289"/>
                  <a:gd name="T19" fmla="*/ 121079587 h 325"/>
                  <a:gd name="T20" fmla="*/ 85645069 w 289"/>
                  <a:gd name="T21" fmla="*/ 121079587 h 325"/>
                  <a:gd name="T22" fmla="*/ 81204592 w 289"/>
                  <a:gd name="T23" fmla="*/ 105865119 h 325"/>
                  <a:gd name="T24" fmla="*/ 57730991 w 289"/>
                  <a:gd name="T25" fmla="*/ 38035772 h 325"/>
                  <a:gd name="T26" fmla="*/ 0 w 289"/>
                  <a:gd name="T27" fmla="*/ 38035772 h 325"/>
                  <a:gd name="T28" fmla="*/ 57096978 w 289"/>
                  <a:gd name="T29" fmla="*/ 206025508 h 325"/>
                  <a:gd name="T30" fmla="*/ 116731600 w 289"/>
                  <a:gd name="T31" fmla="*/ 206025508 h 32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89" h="325">
                    <a:moveTo>
                      <a:pt x="184" y="325"/>
                    </a:moveTo>
                    <a:lnTo>
                      <a:pt x="289" y="0"/>
                    </a:lnTo>
                    <a:lnTo>
                      <a:pt x="197" y="0"/>
                    </a:lnTo>
                    <a:lnTo>
                      <a:pt x="143" y="167"/>
                    </a:lnTo>
                    <a:lnTo>
                      <a:pt x="135" y="191"/>
                    </a:lnTo>
                    <a:lnTo>
                      <a:pt x="128" y="167"/>
                    </a:lnTo>
                    <a:lnTo>
                      <a:pt x="91" y="60"/>
                    </a:lnTo>
                    <a:lnTo>
                      <a:pt x="0" y="60"/>
                    </a:lnTo>
                    <a:lnTo>
                      <a:pt x="90" y="325"/>
                    </a:lnTo>
                    <a:lnTo>
                      <a:pt x="184" y="325"/>
                    </a:lnTo>
                    <a:close/>
                  </a:path>
                </a:pathLst>
              </a:custGeom>
              <a:solidFill>
                <a:srgbClr val="F06E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grpSp>
      <p:sp>
        <p:nvSpPr>
          <p:cNvPr id="9" name="Content Placeholder 7"/>
          <p:cNvSpPr>
            <a:spLocks noGrp="1"/>
          </p:cNvSpPr>
          <p:nvPr>
            <p:ph sz="quarter" idx="13"/>
          </p:nvPr>
        </p:nvSpPr>
        <p:spPr>
          <a:xfrm>
            <a:off x="958850" y="2097600"/>
            <a:ext cx="9263999" cy="4065600"/>
          </a:xfrm>
        </p:spPr>
        <p:txBody>
          <a:bodyPr numCol="1" spcCol="360000"/>
          <a:lstStyle>
            <a:lvl1pPr>
              <a:buClr>
                <a:srgbClr val="FFFFFF"/>
              </a:buClr>
              <a:defRPr>
                <a:solidFill>
                  <a:srgbClr val="FFFFFF"/>
                </a:solidFill>
              </a:defRPr>
            </a:lvl1pPr>
            <a:lvl2pPr>
              <a:buClr>
                <a:srgbClr val="FFFFFF"/>
              </a:buClr>
              <a:defRPr>
                <a:solidFill>
                  <a:srgbClr val="FFFFFF"/>
                </a:solidFill>
              </a:defRPr>
            </a:lvl2pPr>
            <a:lvl3pPr>
              <a:buClr>
                <a:srgbClr val="FFFFFF"/>
              </a:buClr>
              <a:defRPr>
                <a:solidFill>
                  <a:srgbClr val="FFFFFF"/>
                </a:solidFill>
              </a:defRPr>
            </a:lvl3pPr>
            <a:lvl4pPr>
              <a:buClr>
                <a:srgbClr val="FFFFFF"/>
              </a:buClr>
              <a:defRPr>
                <a:solidFill>
                  <a:srgbClr val="FFFFFF"/>
                </a:solidFill>
              </a:defRPr>
            </a:lvl4pPr>
            <a:lvl5pPr>
              <a:defRPr>
                <a:solidFill>
                  <a:srgbClr val="FFFFFF"/>
                </a:solidFill>
              </a:defRPr>
            </a:lvl5p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GB" noProof="0" dirty="0"/>
          </a:p>
        </p:txBody>
      </p:sp>
      <p:sp>
        <p:nvSpPr>
          <p:cNvPr id="6" name="Title 5"/>
          <p:cNvSpPr>
            <a:spLocks noGrp="1"/>
          </p:cNvSpPr>
          <p:nvPr>
            <p:ph type="title"/>
          </p:nvPr>
        </p:nvSpPr>
        <p:spPr/>
        <p:txBody>
          <a:bodyPr/>
          <a:lstStyle>
            <a:lvl1pPr>
              <a:defRPr>
                <a:solidFill>
                  <a:srgbClr val="FFFFFF"/>
                </a:solidFill>
              </a:defRPr>
            </a:lvl1pPr>
          </a:lstStyle>
          <a:p>
            <a:r>
              <a:rPr lang="en-GB" noProof="0" dirty="0"/>
              <a:t>Click to edit Master title style</a:t>
            </a:r>
          </a:p>
        </p:txBody>
      </p:sp>
      <p:sp>
        <p:nvSpPr>
          <p:cNvPr id="50" name="Date Placeholder 2">
            <a:extLst>
              <a:ext uri="{FF2B5EF4-FFF2-40B4-BE49-F238E27FC236}">
                <a16:creationId xmlns:a16="http://schemas.microsoft.com/office/drawing/2014/main" id="{F9121C4E-53B8-077F-CCBE-618AAEC62322}"/>
              </a:ext>
            </a:extLst>
          </p:cNvPr>
          <p:cNvSpPr>
            <a:spLocks noGrp="1"/>
          </p:cNvSpPr>
          <p:nvPr>
            <p:ph type="dt" sz="half" idx="14"/>
          </p:nvPr>
        </p:nvSpPr>
        <p:spPr/>
        <p:txBody>
          <a:bodyPr/>
          <a:lstStyle>
            <a:lvl1pPr>
              <a:defRPr>
                <a:solidFill>
                  <a:srgbClr val="FFFFFF"/>
                </a:solidFill>
              </a:defRPr>
            </a:lvl1pPr>
          </a:lstStyle>
          <a:p>
            <a:pPr>
              <a:defRPr/>
            </a:pPr>
            <a:fld id="{E54BAF09-D724-44DE-BB69-68E187C18F24}" type="datetime1">
              <a:rPr lang="en-GB"/>
              <a:pPr>
                <a:defRPr/>
              </a:pPr>
              <a:t>28/01/2024</a:t>
            </a:fld>
            <a:endParaRPr lang="en-GB" dirty="0"/>
          </a:p>
        </p:txBody>
      </p:sp>
      <p:sp>
        <p:nvSpPr>
          <p:cNvPr id="51" name="Footer Placeholder 3">
            <a:extLst>
              <a:ext uri="{FF2B5EF4-FFF2-40B4-BE49-F238E27FC236}">
                <a16:creationId xmlns:a16="http://schemas.microsoft.com/office/drawing/2014/main" id="{F0463A42-A2EF-1046-11B8-846C9D5DD48B}"/>
              </a:ext>
            </a:extLst>
          </p:cNvPr>
          <p:cNvSpPr>
            <a:spLocks noGrp="1"/>
          </p:cNvSpPr>
          <p:nvPr>
            <p:ph type="ftr" sz="quarter" idx="15"/>
          </p:nvPr>
        </p:nvSpPr>
        <p:spPr/>
        <p:txBody>
          <a:bodyPr/>
          <a:lstStyle>
            <a:lvl1pPr>
              <a:defRPr>
                <a:solidFill>
                  <a:srgbClr val="FFFFFF"/>
                </a:solidFill>
              </a:defRPr>
            </a:lvl1pPr>
          </a:lstStyle>
          <a:p>
            <a:pPr>
              <a:defRPr/>
            </a:pPr>
            <a:r>
              <a:rPr lang="en-GB"/>
              <a:t>VTT – beyond the obvious</a:t>
            </a:r>
            <a:endParaRPr lang="en-GB" dirty="0"/>
          </a:p>
        </p:txBody>
      </p:sp>
      <p:sp>
        <p:nvSpPr>
          <p:cNvPr id="52" name="Slide Number Placeholder 4">
            <a:extLst>
              <a:ext uri="{FF2B5EF4-FFF2-40B4-BE49-F238E27FC236}">
                <a16:creationId xmlns:a16="http://schemas.microsoft.com/office/drawing/2014/main" id="{7AD4F29A-AE57-28EE-0DFC-D46CE595EF38}"/>
              </a:ext>
            </a:extLst>
          </p:cNvPr>
          <p:cNvSpPr>
            <a:spLocks noGrp="1"/>
          </p:cNvSpPr>
          <p:nvPr>
            <p:ph type="sldNum" sz="quarter" idx="16"/>
          </p:nvPr>
        </p:nvSpPr>
        <p:spPr/>
        <p:txBody>
          <a:bodyPr/>
          <a:lstStyle>
            <a:lvl1pPr>
              <a:defRPr>
                <a:solidFill>
                  <a:srgbClr val="FFFFFF"/>
                </a:solidFill>
              </a:defRPr>
            </a:lvl1pPr>
          </a:lstStyle>
          <a:p>
            <a:pPr>
              <a:defRPr/>
            </a:pPr>
            <a:fld id="{8829D640-5FA0-4AE5-811B-19961850442A}" type="slidenum">
              <a:rPr lang="en-GB"/>
              <a:pPr>
                <a:defRPr/>
              </a:pPr>
              <a:t>‹Nr.›</a:t>
            </a:fld>
            <a:endParaRPr lang="en-GB" dirty="0"/>
          </a:p>
        </p:txBody>
      </p:sp>
    </p:spTree>
    <p:extLst>
      <p:ext uri="{BB962C8B-B14F-4D97-AF65-F5344CB8AC3E}">
        <p14:creationId xmlns:p14="http://schemas.microsoft.com/office/powerpoint/2010/main" val="2240276432"/>
      </p:ext>
    </p:extLst>
  </p:cSld>
  <p:clrMapOvr>
    <a:masterClrMapping/>
  </p:clrMapOvr>
  <p:transition spd="med">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VTT 2020 Content slide City 01c">
    <p:spTree>
      <p:nvGrpSpPr>
        <p:cNvPr id="1" name=""/>
        <p:cNvGrpSpPr/>
        <p:nvPr/>
      </p:nvGrpSpPr>
      <p:grpSpPr>
        <a:xfrm>
          <a:off x="0" y="0"/>
          <a:ext cx="0" cy="0"/>
          <a:chOff x="0" y="0"/>
          <a:chExt cx="0" cy="0"/>
        </a:xfrm>
      </p:grpSpPr>
      <p:sp>
        <p:nvSpPr>
          <p:cNvPr id="2" name="Freeform: Shape 66">
            <a:extLst>
              <a:ext uri="{FF2B5EF4-FFF2-40B4-BE49-F238E27FC236}">
                <a16:creationId xmlns:a16="http://schemas.microsoft.com/office/drawing/2014/main" id="{081CC38E-9164-3DB3-2D22-E762E8F4C472}"/>
              </a:ext>
            </a:extLst>
          </p:cNvPr>
          <p:cNvSpPr>
            <a:spLocks/>
          </p:cNvSpPr>
          <p:nvPr/>
        </p:nvSpPr>
        <p:spPr bwMode="auto">
          <a:xfrm>
            <a:off x="0" y="0"/>
            <a:ext cx="10250488" cy="6861175"/>
          </a:xfrm>
          <a:custGeom>
            <a:avLst/>
            <a:gdLst>
              <a:gd name="T0" fmla="*/ 13667319 w 7688234"/>
              <a:gd name="T1" fmla="*/ 6624686 h 5145508"/>
              <a:gd name="T2" fmla="*/ 13667319 w 7688234"/>
              <a:gd name="T3" fmla="*/ 736912 h 5145508"/>
              <a:gd name="T4" fmla="*/ 13667319 w 7688234"/>
              <a:gd name="T5" fmla="*/ 736912 h 5145508"/>
              <a:gd name="T6" fmla="*/ 12393668 w 7688234"/>
              <a:gd name="T7" fmla="*/ 0 h 5145508"/>
              <a:gd name="T8" fmla="*/ 0 w 7688234"/>
              <a:gd name="T9" fmla="*/ 0 h 5145508"/>
              <a:gd name="T10" fmla="*/ 0 w 7688234"/>
              <a:gd name="T11" fmla="*/ 9148234 h 5145508"/>
              <a:gd name="T12" fmla="*/ 5190845 w 7688234"/>
              <a:gd name="T13" fmla="*/ 9148234 h 5145508"/>
              <a:gd name="T14" fmla="*/ 13667319 w 7688234"/>
              <a:gd name="T15" fmla="*/ 6624686 h 514550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7688234" h="5145508">
                <a:moveTo>
                  <a:pt x="7688235" y="3726116"/>
                </a:moveTo>
                <a:lnTo>
                  <a:pt x="7688235" y="414483"/>
                </a:lnTo>
                <a:lnTo>
                  <a:pt x="6971772" y="0"/>
                </a:lnTo>
                <a:lnTo>
                  <a:pt x="0" y="0"/>
                </a:lnTo>
                <a:lnTo>
                  <a:pt x="0" y="5145509"/>
                </a:lnTo>
                <a:lnTo>
                  <a:pt x="2919990" y="5145509"/>
                </a:lnTo>
                <a:cubicBezTo>
                  <a:pt x="4289475" y="4248027"/>
                  <a:pt x="5927951" y="3726116"/>
                  <a:pt x="7688235" y="3726116"/>
                </a:cubicBez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8459" cap="flat">
                <a:solidFill>
                  <a:srgbClr val="000000"/>
                </a:solidFill>
                <a:prstDash val="solid"/>
                <a:miter lim="800000"/>
                <a:headEnd/>
                <a:tailEnd/>
              </a14:hiddenLine>
            </a:ext>
          </a:extLst>
        </p:spPr>
        <p:txBody>
          <a:bodyPr anchor="ctr"/>
          <a:lstStyle/>
          <a:p>
            <a:endParaRPr lang="de-DE"/>
          </a:p>
        </p:txBody>
      </p:sp>
      <p:sp>
        <p:nvSpPr>
          <p:cNvPr id="3" name="Freeform: Shape 67">
            <a:extLst>
              <a:ext uri="{FF2B5EF4-FFF2-40B4-BE49-F238E27FC236}">
                <a16:creationId xmlns:a16="http://schemas.microsoft.com/office/drawing/2014/main" id="{1878D4EC-9B86-A4E7-EEC9-1D862A6508B3}"/>
              </a:ext>
            </a:extLst>
          </p:cNvPr>
          <p:cNvSpPr>
            <a:spLocks/>
          </p:cNvSpPr>
          <p:nvPr/>
        </p:nvSpPr>
        <p:spPr bwMode="auto">
          <a:xfrm>
            <a:off x="10250488" y="0"/>
            <a:ext cx="1946275" cy="5130800"/>
          </a:xfrm>
          <a:custGeom>
            <a:avLst/>
            <a:gdLst>
              <a:gd name="T0" fmla="*/ 0 w 1459148"/>
              <a:gd name="T1" fmla="*/ 6624511 h 3847923"/>
              <a:gd name="T2" fmla="*/ 2595035 w 1459148"/>
              <a:gd name="T3" fmla="*/ 6841068 h 3847923"/>
              <a:gd name="T4" fmla="*/ 2595035 w 1459148"/>
              <a:gd name="T5" fmla="*/ 0 h 3847923"/>
              <a:gd name="T6" fmla="*/ 1274199 w 1459148"/>
              <a:gd name="T7" fmla="*/ 0 h 3847923"/>
              <a:gd name="T8" fmla="*/ 0 w 1459148"/>
              <a:gd name="T9" fmla="*/ 736893 h 3847923"/>
              <a:gd name="T10" fmla="*/ 0 w 1459148"/>
              <a:gd name="T11" fmla="*/ 6624511 h 3847923"/>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459148" h="3847923">
                <a:moveTo>
                  <a:pt x="0" y="3726116"/>
                </a:moveTo>
                <a:cubicBezTo>
                  <a:pt x="497379" y="3726116"/>
                  <a:pt x="984609" y="3767565"/>
                  <a:pt x="1459149" y="3847924"/>
                </a:cubicBezTo>
                <a:lnTo>
                  <a:pt x="1459149" y="0"/>
                </a:lnTo>
                <a:lnTo>
                  <a:pt x="716463" y="0"/>
                </a:lnTo>
                <a:lnTo>
                  <a:pt x="0" y="414483"/>
                </a:lnTo>
                <a:lnTo>
                  <a:pt x="0" y="3726116"/>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8459" cap="flat">
                <a:solidFill>
                  <a:srgbClr val="000000"/>
                </a:solidFill>
                <a:prstDash val="solid"/>
                <a:miter lim="800000"/>
                <a:headEnd/>
                <a:tailEnd/>
              </a14:hiddenLine>
            </a:ext>
          </a:extLst>
        </p:spPr>
        <p:txBody>
          <a:bodyPr anchor="ctr"/>
          <a:lstStyle/>
          <a:p>
            <a:endParaRPr lang="de-DE"/>
          </a:p>
        </p:txBody>
      </p:sp>
      <p:sp>
        <p:nvSpPr>
          <p:cNvPr id="4" name="Freeform: Shape 68">
            <a:extLst>
              <a:ext uri="{FF2B5EF4-FFF2-40B4-BE49-F238E27FC236}">
                <a16:creationId xmlns:a16="http://schemas.microsoft.com/office/drawing/2014/main" id="{9C9D6C55-B7D4-FDFF-1827-68FDEE1F51A9}"/>
              </a:ext>
            </a:extLst>
          </p:cNvPr>
          <p:cNvSpPr>
            <a:spLocks/>
          </p:cNvSpPr>
          <p:nvPr/>
        </p:nvSpPr>
        <p:spPr bwMode="auto">
          <a:xfrm>
            <a:off x="9296400" y="0"/>
            <a:ext cx="1909763" cy="552450"/>
          </a:xfrm>
          <a:custGeom>
            <a:avLst/>
            <a:gdLst>
              <a:gd name="T0" fmla="*/ 1273175 w 1432926"/>
              <a:gd name="T1" fmla="*/ 736602 h 414482"/>
              <a:gd name="T2" fmla="*/ 2546351 w 1432926"/>
              <a:gd name="T3" fmla="*/ 0 h 414482"/>
              <a:gd name="T4" fmla="*/ 0 w 1432926"/>
              <a:gd name="T5" fmla="*/ 0 h 414482"/>
              <a:gd name="T6" fmla="*/ 1273175 w 1432926"/>
              <a:gd name="T7" fmla="*/ 736602 h 41448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432926" h="414482">
                <a:moveTo>
                  <a:pt x="716463" y="414483"/>
                </a:moveTo>
                <a:lnTo>
                  <a:pt x="1432926" y="0"/>
                </a:lnTo>
                <a:lnTo>
                  <a:pt x="0" y="0"/>
                </a:lnTo>
                <a:lnTo>
                  <a:pt x="716463" y="414483"/>
                </a:lnTo>
                <a:close/>
              </a:path>
            </a:pathLst>
          </a:custGeom>
          <a:solidFill>
            <a:srgbClr val="DBDBDB"/>
          </a:solidFill>
          <a:ln>
            <a:noFill/>
          </a:ln>
          <a:extLst>
            <a:ext uri="{91240B29-F687-4F45-9708-019B960494DF}">
              <a14:hiddenLine xmlns:a14="http://schemas.microsoft.com/office/drawing/2010/main" w="8459" cap="flat">
                <a:solidFill>
                  <a:srgbClr val="000000"/>
                </a:solidFill>
                <a:prstDash val="solid"/>
                <a:miter lim="800000"/>
                <a:headEnd/>
                <a:tailEnd/>
              </a14:hiddenLine>
            </a:ext>
          </a:extLst>
        </p:spPr>
        <p:txBody>
          <a:bodyPr anchor="ctr"/>
          <a:lstStyle/>
          <a:p>
            <a:endParaRPr lang="de-DE"/>
          </a:p>
        </p:txBody>
      </p:sp>
      <p:sp>
        <p:nvSpPr>
          <p:cNvPr id="5" name="Freeform: Shape 69">
            <a:extLst>
              <a:ext uri="{FF2B5EF4-FFF2-40B4-BE49-F238E27FC236}">
                <a16:creationId xmlns:a16="http://schemas.microsoft.com/office/drawing/2014/main" id="{EDFDF418-C349-EFA0-8075-3B4B995F4C84}"/>
              </a:ext>
            </a:extLst>
          </p:cNvPr>
          <p:cNvSpPr>
            <a:spLocks/>
          </p:cNvSpPr>
          <p:nvPr/>
        </p:nvSpPr>
        <p:spPr bwMode="auto">
          <a:xfrm>
            <a:off x="3892550" y="4968875"/>
            <a:ext cx="6357938" cy="1892300"/>
          </a:xfrm>
          <a:custGeom>
            <a:avLst/>
            <a:gdLst>
              <a:gd name="T0" fmla="*/ 0 w 4768245"/>
              <a:gd name="T1" fmla="*/ 2523067 h 1419392"/>
              <a:gd name="T2" fmla="*/ 8477251 w 4768245"/>
              <a:gd name="T3" fmla="*/ 2523067 h 1419392"/>
              <a:gd name="T4" fmla="*/ 8477251 w 4768245"/>
              <a:gd name="T5" fmla="*/ 0 h 1419392"/>
              <a:gd name="T6" fmla="*/ 0 w 4768245"/>
              <a:gd name="T7" fmla="*/ 2523067 h 141939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4768245" h="1419392">
                <a:moveTo>
                  <a:pt x="0" y="1419392"/>
                </a:moveTo>
                <a:lnTo>
                  <a:pt x="4768245" y="1419392"/>
                </a:lnTo>
                <a:lnTo>
                  <a:pt x="4768245" y="0"/>
                </a:lnTo>
                <a:cubicBezTo>
                  <a:pt x="3007961" y="0"/>
                  <a:pt x="1369485" y="521910"/>
                  <a:pt x="0" y="1419392"/>
                </a:cubicBezTo>
                <a:close/>
              </a:path>
            </a:pathLst>
          </a:custGeom>
          <a:solidFill>
            <a:srgbClr val="DBDBDB"/>
          </a:solidFill>
          <a:ln>
            <a:noFill/>
          </a:ln>
          <a:extLst>
            <a:ext uri="{91240B29-F687-4F45-9708-019B960494DF}">
              <a14:hiddenLine xmlns:a14="http://schemas.microsoft.com/office/drawing/2010/main" w="8459" cap="flat">
                <a:solidFill>
                  <a:srgbClr val="000000"/>
                </a:solidFill>
                <a:prstDash val="solid"/>
                <a:miter lim="800000"/>
                <a:headEnd/>
                <a:tailEnd/>
              </a14:hiddenLine>
            </a:ext>
          </a:extLst>
        </p:spPr>
        <p:txBody>
          <a:bodyPr anchor="ctr"/>
          <a:lstStyle/>
          <a:p>
            <a:endParaRPr lang="de-DE"/>
          </a:p>
        </p:txBody>
      </p:sp>
      <p:sp>
        <p:nvSpPr>
          <p:cNvPr id="7" name="Freeform: Shape 70">
            <a:extLst>
              <a:ext uri="{FF2B5EF4-FFF2-40B4-BE49-F238E27FC236}">
                <a16:creationId xmlns:a16="http://schemas.microsoft.com/office/drawing/2014/main" id="{AA98308A-5038-F116-AA22-BB61674BF2BD}"/>
              </a:ext>
            </a:extLst>
          </p:cNvPr>
          <p:cNvSpPr>
            <a:spLocks/>
          </p:cNvSpPr>
          <p:nvPr/>
        </p:nvSpPr>
        <p:spPr bwMode="auto">
          <a:xfrm>
            <a:off x="10250488" y="4968875"/>
            <a:ext cx="1946275" cy="1892300"/>
          </a:xfrm>
          <a:custGeom>
            <a:avLst/>
            <a:gdLst>
              <a:gd name="T0" fmla="*/ 0 w 1459148"/>
              <a:gd name="T1" fmla="*/ 2523067 h 1419392"/>
              <a:gd name="T2" fmla="*/ 2595035 w 1459148"/>
              <a:gd name="T3" fmla="*/ 2523067 h 1419392"/>
              <a:gd name="T4" fmla="*/ 2595035 w 1459148"/>
              <a:gd name="T5" fmla="*/ 216520 h 1419392"/>
              <a:gd name="T6" fmla="*/ 0 w 1459148"/>
              <a:gd name="T7" fmla="*/ 0 h 1419392"/>
              <a:gd name="T8" fmla="*/ 0 w 1459148"/>
              <a:gd name="T9" fmla="*/ 2523067 h 141939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459148" h="1419392">
                <a:moveTo>
                  <a:pt x="0" y="1419392"/>
                </a:moveTo>
                <a:lnTo>
                  <a:pt x="1459149" y="1419392"/>
                </a:lnTo>
                <a:lnTo>
                  <a:pt x="1459149" y="121807"/>
                </a:lnTo>
                <a:cubicBezTo>
                  <a:pt x="984609" y="41448"/>
                  <a:pt x="497379" y="0"/>
                  <a:pt x="0" y="0"/>
                </a:cubicBezTo>
                <a:lnTo>
                  <a:pt x="0" y="1419392"/>
                </a:lnTo>
                <a:close/>
              </a:path>
            </a:pathLst>
          </a:custGeom>
          <a:solidFill>
            <a:srgbClr val="DBDBDB"/>
          </a:solidFill>
          <a:ln>
            <a:noFill/>
          </a:ln>
          <a:extLst>
            <a:ext uri="{91240B29-F687-4F45-9708-019B960494DF}">
              <a14:hiddenLine xmlns:a14="http://schemas.microsoft.com/office/drawing/2010/main" w="8459" cap="flat">
                <a:solidFill>
                  <a:srgbClr val="000000"/>
                </a:solidFill>
                <a:prstDash val="solid"/>
                <a:miter lim="800000"/>
                <a:headEnd/>
                <a:tailEnd/>
              </a14:hiddenLine>
            </a:ext>
          </a:extLst>
        </p:spPr>
        <p:txBody>
          <a:bodyPr anchor="ctr"/>
          <a:lstStyle/>
          <a:p>
            <a:endParaRPr lang="de-DE"/>
          </a:p>
        </p:txBody>
      </p:sp>
      <p:grpSp>
        <p:nvGrpSpPr>
          <p:cNvPr id="8" name="VTT_LogoStack_v3_16092019 pienempi koko">
            <a:extLst>
              <a:ext uri="{FF2B5EF4-FFF2-40B4-BE49-F238E27FC236}">
                <a16:creationId xmlns:a16="http://schemas.microsoft.com/office/drawing/2014/main" id="{5EE93F47-609D-3CC9-D16B-F52682877641}"/>
              </a:ext>
            </a:extLst>
          </p:cNvPr>
          <p:cNvGrpSpPr>
            <a:grpSpLocks/>
          </p:cNvGrpSpPr>
          <p:nvPr userDrawn="1"/>
        </p:nvGrpSpPr>
        <p:grpSpPr bwMode="auto">
          <a:xfrm>
            <a:off x="10725150" y="0"/>
            <a:ext cx="1158875" cy="782638"/>
            <a:chOff x="7909204" y="1770762"/>
            <a:chExt cx="971550" cy="655638"/>
          </a:xfrm>
        </p:grpSpPr>
        <p:grpSp>
          <p:nvGrpSpPr>
            <p:cNvPr id="10" name="_VTT_logo_102019_01_white_on_orange">
              <a:extLst>
                <a:ext uri="{FF2B5EF4-FFF2-40B4-BE49-F238E27FC236}">
                  <a16:creationId xmlns:a16="http://schemas.microsoft.com/office/drawing/2014/main" id="{4D3E4B7A-5A1E-DB6E-10A3-01A367CD17CA}"/>
                </a:ext>
              </a:extLst>
            </p:cNvPr>
            <p:cNvGrpSpPr>
              <a:grpSpLocks/>
            </p:cNvGrpSpPr>
            <p:nvPr userDrawn="1"/>
          </p:nvGrpSpPr>
          <p:grpSpPr bwMode="auto">
            <a:xfrm>
              <a:off x="7909204" y="1770762"/>
              <a:ext cx="971550" cy="655638"/>
              <a:chOff x="379933" y="-15999"/>
              <a:chExt cx="971550" cy="655638"/>
            </a:xfrm>
          </p:grpSpPr>
          <p:sp>
            <p:nvSpPr>
              <p:cNvPr id="51" name="Box">
                <a:extLst>
                  <a:ext uri="{FF2B5EF4-FFF2-40B4-BE49-F238E27FC236}">
                    <a16:creationId xmlns:a16="http://schemas.microsoft.com/office/drawing/2014/main" id="{70919DF1-EFA2-36FD-C907-53834D5B1EB9}"/>
                  </a:ext>
                </a:extLst>
              </p:cNvPr>
              <p:cNvSpPr>
                <a:spLocks noChangeArrowheads="1"/>
              </p:cNvSpPr>
              <p:nvPr userDrawn="1"/>
            </p:nvSpPr>
            <p:spPr bwMode="auto">
              <a:xfrm>
                <a:off x="379933" y="-15999"/>
                <a:ext cx="971550" cy="655638"/>
              </a:xfrm>
              <a:prstGeom prst="rect">
                <a:avLst/>
              </a:prstGeom>
              <a:solidFill>
                <a:srgbClr val="F06E00"/>
              </a:solidFill>
              <a:ln>
                <a:noFill/>
              </a:ln>
            </p:spPr>
            <p:txBody>
              <a:bodyPr/>
              <a:lstStyle>
                <a:lvl1pPr defTabSz="455613">
                  <a:defRPr b="1">
                    <a:solidFill>
                      <a:schemeClr val="tx1"/>
                    </a:solidFill>
                    <a:latin typeface="Verdana" panose="020B0604030504040204" pitchFamily="34" charset="0"/>
                  </a:defRPr>
                </a:lvl1pPr>
                <a:lvl2pPr marL="742950" indent="-285750" defTabSz="455613">
                  <a:defRPr b="1">
                    <a:solidFill>
                      <a:schemeClr val="tx1"/>
                    </a:solidFill>
                    <a:latin typeface="Verdana" panose="020B0604030504040204" pitchFamily="34" charset="0"/>
                  </a:defRPr>
                </a:lvl2pPr>
                <a:lvl3pPr marL="1143000" indent="-228600" defTabSz="455613">
                  <a:defRPr b="1">
                    <a:solidFill>
                      <a:schemeClr val="tx1"/>
                    </a:solidFill>
                    <a:latin typeface="Verdana" panose="020B0604030504040204" pitchFamily="34" charset="0"/>
                  </a:defRPr>
                </a:lvl3pPr>
                <a:lvl4pPr marL="1600200" indent="-228600" defTabSz="455613">
                  <a:defRPr b="1">
                    <a:solidFill>
                      <a:schemeClr val="tx1"/>
                    </a:solidFill>
                    <a:latin typeface="Verdana" panose="020B0604030504040204" pitchFamily="34" charset="0"/>
                  </a:defRPr>
                </a:lvl4pPr>
                <a:lvl5pPr marL="2057400" indent="-228600" defTabSz="455613">
                  <a:defRPr b="1">
                    <a:solidFill>
                      <a:schemeClr val="tx1"/>
                    </a:solidFill>
                    <a:latin typeface="Verdana" panose="020B0604030504040204" pitchFamily="34" charset="0"/>
                  </a:defRPr>
                </a:lvl5pPr>
                <a:lvl6pPr marL="2514600" indent="-228600" defTabSz="455613" eaLnBrk="0" fontAlgn="base" hangingPunct="0">
                  <a:spcBef>
                    <a:spcPct val="0"/>
                  </a:spcBef>
                  <a:spcAft>
                    <a:spcPct val="0"/>
                  </a:spcAft>
                  <a:defRPr b="1">
                    <a:solidFill>
                      <a:schemeClr val="tx1"/>
                    </a:solidFill>
                    <a:latin typeface="Verdana" panose="020B0604030504040204" pitchFamily="34" charset="0"/>
                  </a:defRPr>
                </a:lvl6pPr>
                <a:lvl7pPr marL="2971800" indent="-228600" defTabSz="455613" eaLnBrk="0" fontAlgn="base" hangingPunct="0">
                  <a:spcBef>
                    <a:spcPct val="0"/>
                  </a:spcBef>
                  <a:spcAft>
                    <a:spcPct val="0"/>
                  </a:spcAft>
                  <a:defRPr b="1">
                    <a:solidFill>
                      <a:schemeClr val="tx1"/>
                    </a:solidFill>
                    <a:latin typeface="Verdana" panose="020B0604030504040204" pitchFamily="34" charset="0"/>
                  </a:defRPr>
                </a:lvl7pPr>
                <a:lvl8pPr marL="3429000" indent="-228600" defTabSz="455613" eaLnBrk="0" fontAlgn="base" hangingPunct="0">
                  <a:spcBef>
                    <a:spcPct val="0"/>
                  </a:spcBef>
                  <a:spcAft>
                    <a:spcPct val="0"/>
                  </a:spcAft>
                  <a:defRPr b="1">
                    <a:solidFill>
                      <a:schemeClr val="tx1"/>
                    </a:solidFill>
                    <a:latin typeface="Verdana" panose="020B0604030504040204" pitchFamily="34" charset="0"/>
                  </a:defRPr>
                </a:lvl8pPr>
                <a:lvl9pPr marL="3886200" indent="-228600" defTabSz="455613" eaLnBrk="0" fontAlgn="base" hangingPunct="0">
                  <a:spcBef>
                    <a:spcPct val="0"/>
                  </a:spcBef>
                  <a:spcAft>
                    <a:spcPct val="0"/>
                  </a:spcAft>
                  <a:defRPr b="1">
                    <a:solidFill>
                      <a:schemeClr val="tx1"/>
                    </a:solidFill>
                    <a:latin typeface="Verdana" panose="020B0604030504040204" pitchFamily="34" charset="0"/>
                  </a:defRPr>
                </a:lvl9pPr>
              </a:lstStyle>
              <a:p>
                <a:pPr eaLnBrk="1" hangingPunct="1">
                  <a:defRPr/>
                </a:pPr>
                <a:endParaRPr lang="en-GB" altLang="de-DE" b="0">
                  <a:solidFill>
                    <a:srgbClr val="000000"/>
                  </a:solidFill>
                  <a:latin typeface="Arial" panose="020B0604020202020204" pitchFamily="34" charset="0"/>
                </a:endParaRPr>
              </a:p>
            </p:txBody>
          </p:sp>
          <p:sp>
            <p:nvSpPr>
              <p:cNvPr id="52" name="T2">
                <a:extLst>
                  <a:ext uri="{FF2B5EF4-FFF2-40B4-BE49-F238E27FC236}">
                    <a16:creationId xmlns:a16="http://schemas.microsoft.com/office/drawing/2014/main" id="{9664C00C-0919-68AC-E4A4-273B99651F88}"/>
                  </a:ext>
                </a:extLst>
              </p:cNvPr>
              <p:cNvSpPr>
                <a:spLocks/>
              </p:cNvSpPr>
              <p:nvPr userDrawn="1"/>
            </p:nvSpPr>
            <p:spPr bwMode="auto">
              <a:xfrm>
                <a:off x="1011758" y="168151"/>
                <a:ext cx="176213" cy="258763"/>
              </a:xfrm>
              <a:custGeom>
                <a:avLst/>
                <a:gdLst>
                  <a:gd name="T0" fmla="*/ 98916612 w 222"/>
                  <a:gd name="T1" fmla="*/ 206025508 h 325"/>
                  <a:gd name="T2" fmla="*/ 98916612 w 222"/>
                  <a:gd name="T3" fmla="*/ 49446026 h 325"/>
                  <a:gd name="T4" fmla="*/ 139869466 w 222"/>
                  <a:gd name="T5" fmla="*/ 49446026 h 325"/>
                  <a:gd name="T6" fmla="*/ 139869466 w 222"/>
                  <a:gd name="T7" fmla="*/ 0 h 325"/>
                  <a:gd name="T8" fmla="*/ 0 w 222"/>
                  <a:gd name="T9" fmla="*/ 0 h 325"/>
                  <a:gd name="T10" fmla="*/ 0 w 222"/>
                  <a:gd name="T11" fmla="*/ 49446026 h 325"/>
                  <a:gd name="T12" fmla="*/ 41583093 w 222"/>
                  <a:gd name="T13" fmla="*/ 49446026 h 325"/>
                  <a:gd name="T14" fmla="*/ 41583093 w 222"/>
                  <a:gd name="T15" fmla="*/ 206025508 h 325"/>
                  <a:gd name="T16" fmla="*/ 41583093 w 222"/>
                  <a:gd name="T17" fmla="*/ 206025508 h 325"/>
                  <a:gd name="T18" fmla="*/ 98916612 w 222"/>
                  <a:gd name="T19" fmla="*/ 206025508 h 3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22" h="325">
                    <a:moveTo>
                      <a:pt x="157" y="325"/>
                    </a:moveTo>
                    <a:lnTo>
                      <a:pt x="157" y="78"/>
                    </a:lnTo>
                    <a:lnTo>
                      <a:pt x="222" y="78"/>
                    </a:lnTo>
                    <a:lnTo>
                      <a:pt x="222" y="0"/>
                    </a:lnTo>
                    <a:lnTo>
                      <a:pt x="0" y="0"/>
                    </a:lnTo>
                    <a:lnTo>
                      <a:pt x="0" y="78"/>
                    </a:lnTo>
                    <a:lnTo>
                      <a:pt x="66" y="78"/>
                    </a:lnTo>
                    <a:lnTo>
                      <a:pt x="66" y="325"/>
                    </a:lnTo>
                    <a:lnTo>
                      <a:pt x="157" y="3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3" name="T1">
                <a:extLst>
                  <a:ext uri="{FF2B5EF4-FFF2-40B4-BE49-F238E27FC236}">
                    <a16:creationId xmlns:a16="http://schemas.microsoft.com/office/drawing/2014/main" id="{D831C37B-321A-431D-DF12-EA36F3CC3B27}"/>
                  </a:ext>
                </a:extLst>
              </p:cNvPr>
              <p:cNvSpPr>
                <a:spLocks/>
              </p:cNvSpPr>
              <p:nvPr userDrawn="1"/>
            </p:nvSpPr>
            <p:spPr bwMode="auto">
              <a:xfrm>
                <a:off x="799033" y="168151"/>
                <a:ext cx="193675" cy="258763"/>
              </a:xfrm>
              <a:custGeom>
                <a:avLst/>
                <a:gdLst>
                  <a:gd name="T0" fmla="*/ 55443438 w 244"/>
                  <a:gd name="T1" fmla="*/ 49446026 h 325"/>
                  <a:gd name="T2" fmla="*/ 55443438 w 244"/>
                  <a:gd name="T3" fmla="*/ 206025508 h 325"/>
                  <a:gd name="T4" fmla="*/ 112776794 w 244"/>
                  <a:gd name="T5" fmla="*/ 206025508 h 325"/>
                  <a:gd name="T6" fmla="*/ 112776794 w 244"/>
                  <a:gd name="T7" fmla="*/ 49446026 h 325"/>
                  <a:gd name="T8" fmla="*/ 153729531 w 244"/>
                  <a:gd name="T9" fmla="*/ 49446026 h 325"/>
                  <a:gd name="T10" fmla="*/ 153729531 w 244"/>
                  <a:gd name="T11" fmla="*/ 0 h 325"/>
                  <a:gd name="T12" fmla="*/ 15751175 w 244"/>
                  <a:gd name="T13" fmla="*/ 0 h 325"/>
                  <a:gd name="T14" fmla="*/ 0 w 244"/>
                  <a:gd name="T15" fmla="*/ 49446026 h 325"/>
                  <a:gd name="T16" fmla="*/ 55443438 w 244"/>
                  <a:gd name="T17" fmla="*/ 49446026 h 3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44" h="325">
                    <a:moveTo>
                      <a:pt x="88" y="78"/>
                    </a:moveTo>
                    <a:lnTo>
                      <a:pt x="88" y="325"/>
                    </a:lnTo>
                    <a:lnTo>
                      <a:pt x="179" y="325"/>
                    </a:lnTo>
                    <a:lnTo>
                      <a:pt x="179" y="78"/>
                    </a:lnTo>
                    <a:lnTo>
                      <a:pt x="244" y="78"/>
                    </a:lnTo>
                    <a:lnTo>
                      <a:pt x="244" y="0"/>
                    </a:lnTo>
                    <a:lnTo>
                      <a:pt x="25" y="0"/>
                    </a:lnTo>
                    <a:lnTo>
                      <a:pt x="0" y="78"/>
                    </a:lnTo>
                    <a:lnTo>
                      <a:pt x="88"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4" name="V">
                <a:extLst>
                  <a:ext uri="{FF2B5EF4-FFF2-40B4-BE49-F238E27FC236}">
                    <a16:creationId xmlns:a16="http://schemas.microsoft.com/office/drawing/2014/main" id="{1D3FC1DC-FA10-161A-F740-878CB08B0902}"/>
                  </a:ext>
                </a:extLst>
              </p:cNvPr>
              <p:cNvSpPr>
                <a:spLocks/>
              </p:cNvSpPr>
              <p:nvPr userDrawn="1"/>
            </p:nvSpPr>
            <p:spPr bwMode="auto">
              <a:xfrm>
                <a:off x="567258" y="168151"/>
                <a:ext cx="230188" cy="258763"/>
              </a:xfrm>
              <a:custGeom>
                <a:avLst/>
                <a:gdLst>
                  <a:gd name="T0" fmla="*/ 116731600 w 289"/>
                  <a:gd name="T1" fmla="*/ 206025508 h 325"/>
                  <a:gd name="T2" fmla="*/ 183344344 w 289"/>
                  <a:gd name="T3" fmla="*/ 0 h 325"/>
                  <a:gd name="T4" fmla="*/ 124978544 w 289"/>
                  <a:gd name="T5" fmla="*/ 0 h 325"/>
                  <a:gd name="T6" fmla="*/ 90720356 w 289"/>
                  <a:gd name="T7" fmla="*/ 105865119 h 325"/>
                  <a:gd name="T8" fmla="*/ 85645069 w 289"/>
                  <a:gd name="T9" fmla="*/ 121079587 h 325"/>
                  <a:gd name="T10" fmla="*/ 85645069 w 289"/>
                  <a:gd name="T11" fmla="*/ 121079587 h 325"/>
                  <a:gd name="T12" fmla="*/ 85645069 w 289"/>
                  <a:gd name="T13" fmla="*/ 121079587 h 325"/>
                  <a:gd name="T14" fmla="*/ 85645069 w 289"/>
                  <a:gd name="T15" fmla="*/ 121079587 h 325"/>
                  <a:gd name="T16" fmla="*/ 85645069 w 289"/>
                  <a:gd name="T17" fmla="*/ 121079587 h 325"/>
                  <a:gd name="T18" fmla="*/ 85645069 w 289"/>
                  <a:gd name="T19" fmla="*/ 121079587 h 325"/>
                  <a:gd name="T20" fmla="*/ 85645069 w 289"/>
                  <a:gd name="T21" fmla="*/ 121079587 h 325"/>
                  <a:gd name="T22" fmla="*/ 81204592 w 289"/>
                  <a:gd name="T23" fmla="*/ 105865119 h 325"/>
                  <a:gd name="T24" fmla="*/ 57730991 w 289"/>
                  <a:gd name="T25" fmla="*/ 38035772 h 325"/>
                  <a:gd name="T26" fmla="*/ 0 w 289"/>
                  <a:gd name="T27" fmla="*/ 38035772 h 325"/>
                  <a:gd name="T28" fmla="*/ 57096978 w 289"/>
                  <a:gd name="T29" fmla="*/ 206025508 h 325"/>
                  <a:gd name="T30" fmla="*/ 116731600 w 289"/>
                  <a:gd name="T31" fmla="*/ 206025508 h 32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89" h="325">
                    <a:moveTo>
                      <a:pt x="184" y="325"/>
                    </a:moveTo>
                    <a:lnTo>
                      <a:pt x="289" y="0"/>
                    </a:lnTo>
                    <a:lnTo>
                      <a:pt x="197" y="0"/>
                    </a:lnTo>
                    <a:lnTo>
                      <a:pt x="143" y="167"/>
                    </a:lnTo>
                    <a:lnTo>
                      <a:pt x="135" y="191"/>
                    </a:lnTo>
                    <a:lnTo>
                      <a:pt x="128" y="167"/>
                    </a:lnTo>
                    <a:lnTo>
                      <a:pt x="91" y="60"/>
                    </a:lnTo>
                    <a:lnTo>
                      <a:pt x="0" y="60"/>
                    </a:lnTo>
                    <a:lnTo>
                      <a:pt x="90" y="325"/>
                    </a:lnTo>
                    <a:lnTo>
                      <a:pt x="184" y="3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grpSp>
          <p:nvGrpSpPr>
            <p:cNvPr id="11" name="_VTT_logo_102019_02_white_on_black" hidden="1">
              <a:extLst>
                <a:ext uri="{FF2B5EF4-FFF2-40B4-BE49-F238E27FC236}">
                  <a16:creationId xmlns:a16="http://schemas.microsoft.com/office/drawing/2014/main" id="{820F797B-321E-C7D6-9F74-D35C189F3713}"/>
                </a:ext>
              </a:extLst>
            </p:cNvPr>
            <p:cNvGrpSpPr>
              <a:grpSpLocks/>
            </p:cNvGrpSpPr>
            <p:nvPr userDrawn="1"/>
          </p:nvGrpSpPr>
          <p:grpSpPr bwMode="auto">
            <a:xfrm>
              <a:off x="7909204" y="1770762"/>
              <a:ext cx="971550" cy="655638"/>
              <a:chOff x="379933" y="-15999"/>
              <a:chExt cx="971550" cy="655638"/>
            </a:xfrm>
          </p:grpSpPr>
          <p:sp>
            <p:nvSpPr>
              <p:cNvPr id="47" name="Box">
                <a:extLst>
                  <a:ext uri="{FF2B5EF4-FFF2-40B4-BE49-F238E27FC236}">
                    <a16:creationId xmlns:a16="http://schemas.microsoft.com/office/drawing/2014/main" id="{44279142-132C-13B3-F777-9A8F3F9C8F24}"/>
                  </a:ext>
                </a:extLst>
              </p:cNvPr>
              <p:cNvSpPr>
                <a:spLocks noChangeArrowheads="1"/>
              </p:cNvSpPr>
              <p:nvPr userDrawn="1"/>
            </p:nvSpPr>
            <p:spPr bwMode="auto">
              <a:xfrm>
                <a:off x="379933" y="-15999"/>
                <a:ext cx="971550" cy="655638"/>
              </a:xfrm>
              <a:prstGeom prst="rect">
                <a:avLst/>
              </a:prstGeom>
              <a:solidFill>
                <a:srgbClr val="000000"/>
              </a:solidFill>
              <a:ln>
                <a:noFill/>
              </a:ln>
            </p:spPr>
            <p:txBody>
              <a:bodyPr/>
              <a:lstStyle>
                <a:lvl1pPr defTabSz="455613">
                  <a:defRPr b="1">
                    <a:solidFill>
                      <a:schemeClr val="tx1"/>
                    </a:solidFill>
                    <a:latin typeface="Verdana" panose="020B0604030504040204" pitchFamily="34" charset="0"/>
                  </a:defRPr>
                </a:lvl1pPr>
                <a:lvl2pPr marL="742950" indent="-285750" defTabSz="455613">
                  <a:defRPr b="1">
                    <a:solidFill>
                      <a:schemeClr val="tx1"/>
                    </a:solidFill>
                    <a:latin typeface="Verdana" panose="020B0604030504040204" pitchFamily="34" charset="0"/>
                  </a:defRPr>
                </a:lvl2pPr>
                <a:lvl3pPr marL="1143000" indent="-228600" defTabSz="455613">
                  <a:defRPr b="1">
                    <a:solidFill>
                      <a:schemeClr val="tx1"/>
                    </a:solidFill>
                    <a:latin typeface="Verdana" panose="020B0604030504040204" pitchFamily="34" charset="0"/>
                  </a:defRPr>
                </a:lvl3pPr>
                <a:lvl4pPr marL="1600200" indent="-228600" defTabSz="455613">
                  <a:defRPr b="1">
                    <a:solidFill>
                      <a:schemeClr val="tx1"/>
                    </a:solidFill>
                    <a:latin typeface="Verdana" panose="020B0604030504040204" pitchFamily="34" charset="0"/>
                  </a:defRPr>
                </a:lvl4pPr>
                <a:lvl5pPr marL="2057400" indent="-228600" defTabSz="455613">
                  <a:defRPr b="1">
                    <a:solidFill>
                      <a:schemeClr val="tx1"/>
                    </a:solidFill>
                    <a:latin typeface="Verdana" panose="020B0604030504040204" pitchFamily="34" charset="0"/>
                  </a:defRPr>
                </a:lvl5pPr>
                <a:lvl6pPr marL="2514600" indent="-228600" defTabSz="455613" eaLnBrk="0" fontAlgn="base" hangingPunct="0">
                  <a:spcBef>
                    <a:spcPct val="0"/>
                  </a:spcBef>
                  <a:spcAft>
                    <a:spcPct val="0"/>
                  </a:spcAft>
                  <a:defRPr b="1">
                    <a:solidFill>
                      <a:schemeClr val="tx1"/>
                    </a:solidFill>
                    <a:latin typeface="Verdana" panose="020B0604030504040204" pitchFamily="34" charset="0"/>
                  </a:defRPr>
                </a:lvl6pPr>
                <a:lvl7pPr marL="2971800" indent="-228600" defTabSz="455613" eaLnBrk="0" fontAlgn="base" hangingPunct="0">
                  <a:spcBef>
                    <a:spcPct val="0"/>
                  </a:spcBef>
                  <a:spcAft>
                    <a:spcPct val="0"/>
                  </a:spcAft>
                  <a:defRPr b="1">
                    <a:solidFill>
                      <a:schemeClr val="tx1"/>
                    </a:solidFill>
                    <a:latin typeface="Verdana" panose="020B0604030504040204" pitchFamily="34" charset="0"/>
                  </a:defRPr>
                </a:lvl7pPr>
                <a:lvl8pPr marL="3429000" indent="-228600" defTabSz="455613" eaLnBrk="0" fontAlgn="base" hangingPunct="0">
                  <a:spcBef>
                    <a:spcPct val="0"/>
                  </a:spcBef>
                  <a:spcAft>
                    <a:spcPct val="0"/>
                  </a:spcAft>
                  <a:defRPr b="1">
                    <a:solidFill>
                      <a:schemeClr val="tx1"/>
                    </a:solidFill>
                    <a:latin typeface="Verdana" panose="020B0604030504040204" pitchFamily="34" charset="0"/>
                  </a:defRPr>
                </a:lvl8pPr>
                <a:lvl9pPr marL="3886200" indent="-228600" defTabSz="455613" eaLnBrk="0" fontAlgn="base" hangingPunct="0">
                  <a:spcBef>
                    <a:spcPct val="0"/>
                  </a:spcBef>
                  <a:spcAft>
                    <a:spcPct val="0"/>
                  </a:spcAft>
                  <a:defRPr b="1">
                    <a:solidFill>
                      <a:schemeClr val="tx1"/>
                    </a:solidFill>
                    <a:latin typeface="Verdana" panose="020B0604030504040204" pitchFamily="34" charset="0"/>
                  </a:defRPr>
                </a:lvl9pPr>
              </a:lstStyle>
              <a:p>
                <a:pPr eaLnBrk="1" hangingPunct="1">
                  <a:defRPr/>
                </a:pPr>
                <a:endParaRPr lang="en-GB" altLang="de-DE" b="0">
                  <a:solidFill>
                    <a:srgbClr val="000000"/>
                  </a:solidFill>
                  <a:latin typeface="Arial" panose="020B0604020202020204" pitchFamily="34" charset="0"/>
                </a:endParaRPr>
              </a:p>
            </p:txBody>
          </p:sp>
          <p:sp>
            <p:nvSpPr>
              <p:cNvPr id="48" name="T2">
                <a:extLst>
                  <a:ext uri="{FF2B5EF4-FFF2-40B4-BE49-F238E27FC236}">
                    <a16:creationId xmlns:a16="http://schemas.microsoft.com/office/drawing/2014/main" id="{FE8C95CE-86BB-5FFD-95D6-81E71DC5B145}"/>
                  </a:ext>
                </a:extLst>
              </p:cNvPr>
              <p:cNvSpPr>
                <a:spLocks/>
              </p:cNvSpPr>
              <p:nvPr userDrawn="1"/>
            </p:nvSpPr>
            <p:spPr bwMode="auto">
              <a:xfrm>
                <a:off x="1011758" y="168151"/>
                <a:ext cx="176213" cy="258763"/>
              </a:xfrm>
              <a:custGeom>
                <a:avLst/>
                <a:gdLst>
                  <a:gd name="T0" fmla="*/ 98916612 w 222"/>
                  <a:gd name="T1" fmla="*/ 206025508 h 325"/>
                  <a:gd name="T2" fmla="*/ 98916612 w 222"/>
                  <a:gd name="T3" fmla="*/ 49446026 h 325"/>
                  <a:gd name="T4" fmla="*/ 139869466 w 222"/>
                  <a:gd name="T5" fmla="*/ 49446026 h 325"/>
                  <a:gd name="T6" fmla="*/ 139869466 w 222"/>
                  <a:gd name="T7" fmla="*/ 0 h 325"/>
                  <a:gd name="T8" fmla="*/ 0 w 222"/>
                  <a:gd name="T9" fmla="*/ 0 h 325"/>
                  <a:gd name="T10" fmla="*/ 0 w 222"/>
                  <a:gd name="T11" fmla="*/ 49446026 h 325"/>
                  <a:gd name="T12" fmla="*/ 41583093 w 222"/>
                  <a:gd name="T13" fmla="*/ 49446026 h 325"/>
                  <a:gd name="T14" fmla="*/ 41583093 w 222"/>
                  <a:gd name="T15" fmla="*/ 206025508 h 325"/>
                  <a:gd name="T16" fmla="*/ 41583093 w 222"/>
                  <a:gd name="T17" fmla="*/ 206025508 h 325"/>
                  <a:gd name="T18" fmla="*/ 98916612 w 222"/>
                  <a:gd name="T19" fmla="*/ 206025508 h 3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22" h="325">
                    <a:moveTo>
                      <a:pt x="157" y="325"/>
                    </a:moveTo>
                    <a:lnTo>
                      <a:pt x="157" y="78"/>
                    </a:lnTo>
                    <a:lnTo>
                      <a:pt x="222" y="78"/>
                    </a:lnTo>
                    <a:lnTo>
                      <a:pt x="222" y="0"/>
                    </a:lnTo>
                    <a:lnTo>
                      <a:pt x="0" y="0"/>
                    </a:lnTo>
                    <a:lnTo>
                      <a:pt x="0" y="78"/>
                    </a:lnTo>
                    <a:lnTo>
                      <a:pt x="66" y="78"/>
                    </a:lnTo>
                    <a:lnTo>
                      <a:pt x="66" y="325"/>
                    </a:lnTo>
                    <a:lnTo>
                      <a:pt x="157" y="3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49" name="T1">
                <a:extLst>
                  <a:ext uri="{FF2B5EF4-FFF2-40B4-BE49-F238E27FC236}">
                    <a16:creationId xmlns:a16="http://schemas.microsoft.com/office/drawing/2014/main" id="{AD4F65DE-DD9C-FB9A-8B8C-18C4F662EE44}"/>
                  </a:ext>
                </a:extLst>
              </p:cNvPr>
              <p:cNvSpPr>
                <a:spLocks/>
              </p:cNvSpPr>
              <p:nvPr userDrawn="1"/>
            </p:nvSpPr>
            <p:spPr bwMode="auto">
              <a:xfrm>
                <a:off x="799033" y="168151"/>
                <a:ext cx="193675" cy="258763"/>
              </a:xfrm>
              <a:custGeom>
                <a:avLst/>
                <a:gdLst>
                  <a:gd name="T0" fmla="*/ 55443438 w 244"/>
                  <a:gd name="T1" fmla="*/ 49446026 h 325"/>
                  <a:gd name="T2" fmla="*/ 55443438 w 244"/>
                  <a:gd name="T3" fmla="*/ 206025508 h 325"/>
                  <a:gd name="T4" fmla="*/ 112776794 w 244"/>
                  <a:gd name="T5" fmla="*/ 206025508 h 325"/>
                  <a:gd name="T6" fmla="*/ 112776794 w 244"/>
                  <a:gd name="T7" fmla="*/ 49446026 h 325"/>
                  <a:gd name="T8" fmla="*/ 153729531 w 244"/>
                  <a:gd name="T9" fmla="*/ 49446026 h 325"/>
                  <a:gd name="T10" fmla="*/ 153729531 w 244"/>
                  <a:gd name="T11" fmla="*/ 0 h 325"/>
                  <a:gd name="T12" fmla="*/ 15751175 w 244"/>
                  <a:gd name="T13" fmla="*/ 0 h 325"/>
                  <a:gd name="T14" fmla="*/ 0 w 244"/>
                  <a:gd name="T15" fmla="*/ 49446026 h 325"/>
                  <a:gd name="T16" fmla="*/ 55443438 w 244"/>
                  <a:gd name="T17" fmla="*/ 49446026 h 3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44" h="325">
                    <a:moveTo>
                      <a:pt x="88" y="78"/>
                    </a:moveTo>
                    <a:lnTo>
                      <a:pt x="88" y="325"/>
                    </a:lnTo>
                    <a:lnTo>
                      <a:pt x="179" y="325"/>
                    </a:lnTo>
                    <a:lnTo>
                      <a:pt x="179" y="78"/>
                    </a:lnTo>
                    <a:lnTo>
                      <a:pt x="244" y="78"/>
                    </a:lnTo>
                    <a:lnTo>
                      <a:pt x="244" y="0"/>
                    </a:lnTo>
                    <a:lnTo>
                      <a:pt x="25" y="0"/>
                    </a:lnTo>
                    <a:lnTo>
                      <a:pt x="0" y="78"/>
                    </a:lnTo>
                    <a:lnTo>
                      <a:pt x="88"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0" name="V">
                <a:extLst>
                  <a:ext uri="{FF2B5EF4-FFF2-40B4-BE49-F238E27FC236}">
                    <a16:creationId xmlns:a16="http://schemas.microsoft.com/office/drawing/2014/main" id="{A70B6FA9-884D-4F73-1AAA-23E5C4044E19}"/>
                  </a:ext>
                </a:extLst>
              </p:cNvPr>
              <p:cNvSpPr>
                <a:spLocks/>
              </p:cNvSpPr>
              <p:nvPr userDrawn="1"/>
            </p:nvSpPr>
            <p:spPr bwMode="auto">
              <a:xfrm>
                <a:off x="567258" y="168151"/>
                <a:ext cx="230188" cy="258763"/>
              </a:xfrm>
              <a:custGeom>
                <a:avLst/>
                <a:gdLst>
                  <a:gd name="T0" fmla="*/ 116731600 w 289"/>
                  <a:gd name="T1" fmla="*/ 206025508 h 325"/>
                  <a:gd name="T2" fmla="*/ 183344344 w 289"/>
                  <a:gd name="T3" fmla="*/ 0 h 325"/>
                  <a:gd name="T4" fmla="*/ 124978544 w 289"/>
                  <a:gd name="T5" fmla="*/ 0 h 325"/>
                  <a:gd name="T6" fmla="*/ 90720356 w 289"/>
                  <a:gd name="T7" fmla="*/ 105865119 h 325"/>
                  <a:gd name="T8" fmla="*/ 85645069 w 289"/>
                  <a:gd name="T9" fmla="*/ 121079587 h 325"/>
                  <a:gd name="T10" fmla="*/ 85645069 w 289"/>
                  <a:gd name="T11" fmla="*/ 121079587 h 325"/>
                  <a:gd name="T12" fmla="*/ 85645069 w 289"/>
                  <a:gd name="T13" fmla="*/ 121079587 h 325"/>
                  <a:gd name="T14" fmla="*/ 85645069 w 289"/>
                  <a:gd name="T15" fmla="*/ 121079587 h 325"/>
                  <a:gd name="T16" fmla="*/ 85645069 w 289"/>
                  <a:gd name="T17" fmla="*/ 121079587 h 325"/>
                  <a:gd name="T18" fmla="*/ 85645069 w 289"/>
                  <a:gd name="T19" fmla="*/ 121079587 h 325"/>
                  <a:gd name="T20" fmla="*/ 85645069 w 289"/>
                  <a:gd name="T21" fmla="*/ 121079587 h 325"/>
                  <a:gd name="T22" fmla="*/ 81204592 w 289"/>
                  <a:gd name="T23" fmla="*/ 105865119 h 325"/>
                  <a:gd name="T24" fmla="*/ 57730991 w 289"/>
                  <a:gd name="T25" fmla="*/ 38035772 h 325"/>
                  <a:gd name="T26" fmla="*/ 0 w 289"/>
                  <a:gd name="T27" fmla="*/ 38035772 h 325"/>
                  <a:gd name="T28" fmla="*/ 57096978 w 289"/>
                  <a:gd name="T29" fmla="*/ 206025508 h 325"/>
                  <a:gd name="T30" fmla="*/ 116731600 w 289"/>
                  <a:gd name="T31" fmla="*/ 206025508 h 32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89" h="325">
                    <a:moveTo>
                      <a:pt x="184" y="325"/>
                    </a:moveTo>
                    <a:lnTo>
                      <a:pt x="289" y="0"/>
                    </a:lnTo>
                    <a:lnTo>
                      <a:pt x="197" y="0"/>
                    </a:lnTo>
                    <a:lnTo>
                      <a:pt x="143" y="167"/>
                    </a:lnTo>
                    <a:lnTo>
                      <a:pt x="135" y="191"/>
                    </a:lnTo>
                    <a:lnTo>
                      <a:pt x="128" y="167"/>
                    </a:lnTo>
                    <a:lnTo>
                      <a:pt x="91" y="60"/>
                    </a:lnTo>
                    <a:lnTo>
                      <a:pt x="0" y="60"/>
                    </a:lnTo>
                    <a:lnTo>
                      <a:pt x="90" y="325"/>
                    </a:lnTo>
                    <a:lnTo>
                      <a:pt x="184" y="3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grpSp>
          <p:nvGrpSpPr>
            <p:cNvPr id="12" name="_VTT_logo_102019_03_white_on_blue" hidden="1">
              <a:extLst>
                <a:ext uri="{FF2B5EF4-FFF2-40B4-BE49-F238E27FC236}">
                  <a16:creationId xmlns:a16="http://schemas.microsoft.com/office/drawing/2014/main" id="{9A508409-B4AC-E509-4404-072F37735321}"/>
                </a:ext>
              </a:extLst>
            </p:cNvPr>
            <p:cNvGrpSpPr>
              <a:grpSpLocks/>
            </p:cNvGrpSpPr>
            <p:nvPr userDrawn="1"/>
          </p:nvGrpSpPr>
          <p:grpSpPr bwMode="auto">
            <a:xfrm>
              <a:off x="7909204" y="1770762"/>
              <a:ext cx="971550" cy="655638"/>
              <a:chOff x="379933" y="-15999"/>
              <a:chExt cx="971550" cy="655638"/>
            </a:xfrm>
          </p:grpSpPr>
          <p:sp>
            <p:nvSpPr>
              <p:cNvPr id="43" name="Box">
                <a:extLst>
                  <a:ext uri="{FF2B5EF4-FFF2-40B4-BE49-F238E27FC236}">
                    <a16:creationId xmlns:a16="http://schemas.microsoft.com/office/drawing/2014/main" id="{42F104E2-EA72-7A36-A3B3-2ABDF5F93FE3}"/>
                  </a:ext>
                </a:extLst>
              </p:cNvPr>
              <p:cNvSpPr>
                <a:spLocks noChangeArrowheads="1"/>
              </p:cNvSpPr>
              <p:nvPr userDrawn="1"/>
            </p:nvSpPr>
            <p:spPr bwMode="auto">
              <a:xfrm>
                <a:off x="379933" y="-15999"/>
                <a:ext cx="971550" cy="655638"/>
              </a:xfrm>
              <a:prstGeom prst="rect">
                <a:avLst/>
              </a:prstGeom>
              <a:solidFill>
                <a:srgbClr val="005794"/>
              </a:solidFill>
              <a:ln>
                <a:noFill/>
              </a:ln>
            </p:spPr>
            <p:txBody>
              <a:bodyPr/>
              <a:lstStyle>
                <a:lvl1pPr defTabSz="455613">
                  <a:defRPr b="1">
                    <a:solidFill>
                      <a:schemeClr val="tx1"/>
                    </a:solidFill>
                    <a:latin typeface="Verdana" panose="020B0604030504040204" pitchFamily="34" charset="0"/>
                  </a:defRPr>
                </a:lvl1pPr>
                <a:lvl2pPr marL="742950" indent="-285750" defTabSz="455613">
                  <a:defRPr b="1">
                    <a:solidFill>
                      <a:schemeClr val="tx1"/>
                    </a:solidFill>
                    <a:latin typeface="Verdana" panose="020B0604030504040204" pitchFamily="34" charset="0"/>
                  </a:defRPr>
                </a:lvl2pPr>
                <a:lvl3pPr marL="1143000" indent="-228600" defTabSz="455613">
                  <a:defRPr b="1">
                    <a:solidFill>
                      <a:schemeClr val="tx1"/>
                    </a:solidFill>
                    <a:latin typeface="Verdana" panose="020B0604030504040204" pitchFamily="34" charset="0"/>
                  </a:defRPr>
                </a:lvl3pPr>
                <a:lvl4pPr marL="1600200" indent="-228600" defTabSz="455613">
                  <a:defRPr b="1">
                    <a:solidFill>
                      <a:schemeClr val="tx1"/>
                    </a:solidFill>
                    <a:latin typeface="Verdana" panose="020B0604030504040204" pitchFamily="34" charset="0"/>
                  </a:defRPr>
                </a:lvl4pPr>
                <a:lvl5pPr marL="2057400" indent="-228600" defTabSz="455613">
                  <a:defRPr b="1">
                    <a:solidFill>
                      <a:schemeClr val="tx1"/>
                    </a:solidFill>
                    <a:latin typeface="Verdana" panose="020B0604030504040204" pitchFamily="34" charset="0"/>
                  </a:defRPr>
                </a:lvl5pPr>
                <a:lvl6pPr marL="2514600" indent="-228600" defTabSz="455613" eaLnBrk="0" fontAlgn="base" hangingPunct="0">
                  <a:spcBef>
                    <a:spcPct val="0"/>
                  </a:spcBef>
                  <a:spcAft>
                    <a:spcPct val="0"/>
                  </a:spcAft>
                  <a:defRPr b="1">
                    <a:solidFill>
                      <a:schemeClr val="tx1"/>
                    </a:solidFill>
                    <a:latin typeface="Verdana" panose="020B0604030504040204" pitchFamily="34" charset="0"/>
                  </a:defRPr>
                </a:lvl6pPr>
                <a:lvl7pPr marL="2971800" indent="-228600" defTabSz="455613" eaLnBrk="0" fontAlgn="base" hangingPunct="0">
                  <a:spcBef>
                    <a:spcPct val="0"/>
                  </a:spcBef>
                  <a:spcAft>
                    <a:spcPct val="0"/>
                  </a:spcAft>
                  <a:defRPr b="1">
                    <a:solidFill>
                      <a:schemeClr val="tx1"/>
                    </a:solidFill>
                    <a:latin typeface="Verdana" panose="020B0604030504040204" pitchFamily="34" charset="0"/>
                  </a:defRPr>
                </a:lvl7pPr>
                <a:lvl8pPr marL="3429000" indent="-228600" defTabSz="455613" eaLnBrk="0" fontAlgn="base" hangingPunct="0">
                  <a:spcBef>
                    <a:spcPct val="0"/>
                  </a:spcBef>
                  <a:spcAft>
                    <a:spcPct val="0"/>
                  </a:spcAft>
                  <a:defRPr b="1">
                    <a:solidFill>
                      <a:schemeClr val="tx1"/>
                    </a:solidFill>
                    <a:latin typeface="Verdana" panose="020B0604030504040204" pitchFamily="34" charset="0"/>
                  </a:defRPr>
                </a:lvl8pPr>
                <a:lvl9pPr marL="3886200" indent="-228600" defTabSz="455613" eaLnBrk="0" fontAlgn="base" hangingPunct="0">
                  <a:spcBef>
                    <a:spcPct val="0"/>
                  </a:spcBef>
                  <a:spcAft>
                    <a:spcPct val="0"/>
                  </a:spcAft>
                  <a:defRPr b="1">
                    <a:solidFill>
                      <a:schemeClr val="tx1"/>
                    </a:solidFill>
                    <a:latin typeface="Verdana" panose="020B0604030504040204" pitchFamily="34" charset="0"/>
                  </a:defRPr>
                </a:lvl9pPr>
              </a:lstStyle>
              <a:p>
                <a:pPr eaLnBrk="1" hangingPunct="1">
                  <a:defRPr/>
                </a:pPr>
                <a:endParaRPr lang="en-GB" altLang="de-DE" b="0">
                  <a:solidFill>
                    <a:srgbClr val="000000"/>
                  </a:solidFill>
                  <a:latin typeface="Arial" panose="020B0604020202020204" pitchFamily="34" charset="0"/>
                </a:endParaRPr>
              </a:p>
            </p:txBody>
          </p:sp>
          <p:sp>
            <p:nvSpPr>
              <p:cNvPr id="44" name="T2">
                <a:extLst>
                  <a:ext uri="{FF2B5EF4-FFF2-40B4-BE49-F238E27FC236}">
                    <a16:creationId xmlns:a16="http://schemas.microsoft.com/office/drawing/2014/main" id="{889E0C4D-338C-F086-3D5C-0767EED615DC}"/>
                  </a:ext>
                </a:extLst>
              </p:cNvPr>
              <p:cNvSpPr>
                <a:spLocks/>
              </p:cNvSpPr>
              <p:nvPr userDrawn="1"/>
            </p:nvSpPr>
            <p:spPr bwMode="auto">
              <a:xfrm>
                <a:off x="1011758" y="168151"/>
                <a:ext cx="176213" cy="258763"/>
              </a:xfrm>
              <a:custGeom>
                <a:avLst/>
                <a:gdLst>
                  <a:gd name="T0" fmla="*/ 98916612 w 222"/>
                  <a:gd name="T1" fmla="*/ 206025508 h 325"/>
                  <a:gd name="T2" fmla="*/ 98916612 w 222"/>
                  <a:gd name="T3" fmla="*/ 49446026 h 325"/>
                  <a:gd name="T4" fmla="*/ 139869466 w 222"/>
                  <a:gd name="T5" fmla="*/ 49446026 h 325"/>
                  <a:gd name="T6" fmla="*/ 139869466 w 222"/>
                  <a:gd name="T7" fmla="*/ 0 h 325"/>
                  <a:gd name="T8" fmla="*/ 0 w 222"/>
                  <a:gd name="T9" fmla="*/ 0 h 325"/>
                  <a:gd name="T10" fmla="*/ 0 w 222"/>
                  <a:gd name="T11" fmla="*/ 49446026 h 325"/>
                  <a:gd name="T12" fmla="*/ 41583093 w 222"/>
                  <a:gd name="T13" fmla="*/ 49446026 h 325"/>
                  <a:gd name="T14" fmla="*/ 41583093 w 222"/>
                  <a:gd name="T15" fmla="*/ 206025508 h 325"/>
                  <a:gd name="T16" fmla="*/ 41583093 w 222"/>
                  <a:gd name="T17" fmla="*/ 206025508 h 325"/>
                  <a:gd name="T18" fmla="*/ 98916612 w 222"/>
                  <a:gd name="T19" fmla="*/ 206025508 h 3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22" h="325">
                    <a:moveTo>
                      <a:pt x="157" y="325"/>
                    </a:moveTo>
                    <a:lnTo>
                      <a:pt x="157" y="78"/>
                    </a:lnTo>
                    <a:lnTo>
                      <a:pt x="222" y="78"/>
                    </a:lnTo>
                    <a:lnTo>
                      <a:pt x="222" y="0"/>
                    </a:lnTo>
                    <a:lnTo>
                      <a:pt x="0" y="0"/>
                    </a:lnTo>
                    <a:lnTo>
                      <a:pt x="0" y="78"/>
                    </a:lnTo>
                    <a:lnTo>
                      <a:pt x="66" y="78"/>
                    </a:lnTo>
                    <a:lnTo>
                      <a:pt x="66" y="325"/>
                    </a:lnTo>
                    <a:lnTo>
                      <a:pt x="157" y="3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45" name="T1">
                <a:extLst>
                  <a:ext uri="{FF2B5EF4-FFF2-40B4-BE49-F238E27FC236}">
                    <a16:creationId xmlns:a16="http://schemas.microsoft.com/office/drawing/2014/main" id="{610157D0-AE43-00C5-5166-6B34F4977552}"/>
                  </a:ext>
                </a:extLst>
              </p:cNvPr>
              <p:cNvSpPr>
                <a:spLocks/>
              </p:cNvSpPr>
              <p:nvPr userDrawn="1"/>
            </p:nvSpPr>
            <p:spPr bwMode="auto">
              <a:xfrm>
                <a:off x="799033" y="168151"/>
                <a:ext cx="193675" cy="258763"/>
              </a:xfrm>
              <a:custGeom>
                <a:avLst/>
                <a:gdLst>
                  <a:gd name="T0" fmla="*/ 55443438 w 244"/>
                  <a:gd name="T1" fmla="*/ 49446026 h 325"/>
                  <a:gd name="T2" fmla="*/ 55443438 w 244"/>
                  <a:gd name="T3" fmla="*/ 206025508 h 325"/>
                  <a:gd name="T4" fmla="*/ 112776794 w 244"/>
                  <a:gd name="T5" fmla="*/ 206025508 h 325"/>
                  <a:gd name="T6" fmla="*/ 112776794 w 244"/>
                  <a:gd name="T7" fmla="*/ 49446026 h 325"/>
                  <a:gd name="T8" fmla="*/ 153729531 w 244"/>
                  <a:gd name="T9" fmla="*/ 49446026 h 325"/>
                  <a:gd name="T10" fmla="*/ 153729531 w 244"/>
                  <a:gd name="T11" fmla="*/ 0 h 325"/>
                  <a:gd name="T12" fmla="*/ 15751175 w 244"/>
                  <a:gd name="T13" fmla="*/ 0 h 325"/>
                  <a:gd name="T14" fmla="*/ 0 w 244"/>
                  <a:gd name="T15" fmla="*/ 49446026 h 325"/>
                  <a:gd name="T16" fmla="*/ 55443438 w 244"/>
                  <a:gd name="T17" fmla="*/ 49446026 h 3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44" h="325">
                    <a:moveTo>
                      <a:pt x="88" y="78"/>
                    </a:moveTo>
                    <a:lnTo>
                      <a:pt x="88" y="325"/>
                    </a:lnTo>
                    <a:lnTo>
                      <a:pt x="179" y="325"/>
                    </a:lnTo>
                    <a:lnTo>
                      <a:pt x="179" y="78"/>
                    </a:lnTo>
                    <a:lnTo>
                      <a:pt x="244" y="78"/>
                    </a:lnTo>
                    <a:lnTo>
                      <a:pt x="244" y="0"/>
                    </a:lnTo>
                    <a:lnTo>
                      <a:pt x="25" y="0"/>
                    </a:lnTo>
                    <a:lnTo>
                      <a:pt x="0" y="78"/>
                    </a:lnTo>
                    <a:lnTo>
                      <a:pt x="88"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46" name="V">
                <a:extLst>
                  <a:ext uri="{FF2B5EF4-FFF2-40B4-BE49-F238E27FC236}">
                    <a16:creationId xmlns:a16="http://schemas.microsoft.com/office/drawing/2014/main" id="{7D47FA0D-3065-EC7E-DF73-334A8587EC34}"/>
                  </a:ext>
                </a:extLst>
              </p:cNvPr>
              <p:cNvSpPr>
                <a:spLocks/>
              </p:cNvSpPr>
              <p:nvPr userDrawn="1"/>
            </p:nvSpPr>
            <p:spPr bwMode="auto">
              <a:xfrm>
                <a:off x="567258" y="168151"/>
                <a:ext cx="230188" cy="258763"/>
              </a:xfrm>
              <a:custGeom>
                <a:avLst/>
                <a:gdLst>
                  <a:gd name="T0" fmla="*/ 116731600 w 289"/>
                  <a:gd name="T1" fmla="*/ 206025508 h 325"/>
                  <a:gd name="T2" fmla="*/ 183344344 w 289"/>
                  <a:gd name="T3" fmla="*/ 0 h 325"/>
                  <a:gd name="T4" fmla="*/ 124978544 w 289"/>
                  <a:gd name="T5" fmla="*/ 0 h 325"/>
                  <a:gd name="T6" fmla="*/ 90720356 w 289"/>
                  <a:gd name="T7" fmla="*/ 105865119 h 325"/>
                  <a:gd name="T8" fmla="*/ 85645069 w 289"/>
                  <a:gd name="T9" fmla="*/ 121079587 h 325"/>
                  <a:gd name="T10" fmla="*/ 85645069 w 289"/>
                  <a:gd name="T11" fmla="*/ 121079587 h 325"/>
                  <a:gd name="T12" fmla="*/ 85645069 w 289"/>
                  <a:gd name="T13" fmla="*/ 121079587 h 325"/>
                  <a:gd name="T14" fmla="*/ 85645069 w 289"/>
                  <a:gd name="T15" fmla="*/ 121079587 h 325"/>
                  <a:gd name="T16" fmla="*/ 85645069 w 289"/>
                  <a:gd name="T17" fmla="*/ 121079587 h 325"/>
                  <a:gd name="T18" fmla="*/ 85645069 w 289"/>
                  <a:gd name="T19" fmla="*/ 121079587 h 325"/>
                  <a:gd name="T20" fmla="*/ 85645069 w 289"/>
                  <a:gd name="T21" fmla="*/ 121079587 h 325"/>
                  <a:gd name="T22" fmla="*/ 81204592 w 289"/>
                  <a:gd name="T23" fmla="*/ 105865119 h 325"/>
                  <a:gd name="T24" fmla="*/ 57730991 w 289"/>
                  <a:gd name="T25" fmla="*/ 38035772 h 325"/>
                  <a:gd name="T26" fmla="*/ 0 w 289"/>
                  <a:gd name="T27" fmla="*/ 38035772 h 325"/>
                  <a:gd name="T28" fmla="*/ 57096978 w 289"/>
                  <a:gd name="T29" fmla="*/ 206025508 h 325"/>
                  <a:gd name="T30" fmla="*/ 116731600 w 289"/>
                  <a:gd name="T31" fmla="*/ 206025508 h 32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89" h="325">
                    <a:moveTo>
                      <a:pt x="184" y="325"/>
                    </a:moveTo>
                    <a:lnTo>
                      <a:pt x="289" y="0"/>
                    </a:lnTo>
                    <a:lnTo>
                      <a:pt x="197" y="0"/>
                    </a:lnTo>
                    <a:lnTo>
                      <a:pt x="143" y="167"/>
                    </a:lnTo>
                    <a:lnTo>
                      <a:pt x="135" y="191"/>
                    </a:lnTo>
                    <a:lnTo>
                      <a:pt x="128" y="167"/>
                    </a:lnTo>
                    <a:lnTo>
                      <a:pt x="91" y="60"/>
                    </a:lnTo>
                    <a:lnTo>
                      <a:pt x="0" y="60"/>
                    </a:lnTo>
                    <a:lnTo>
                      <a:pt x="90" y="325"/>
                    </a:lnTo>
                    <a:lnTo>
                      <a:pt x="184" y="3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grpSp>
          <p:nvGrpSpPr>
            <p:cNvPr id="13" name="_VTT_logo_102019_04_white_on_dark_grey" hidden="1">
              <a:extLst>
                <a:ext uri="{FF2B5EF4-FFF2-40B4-BE49-F238E27FC236}">
                  <a16:creationId xmlns:a16="http://schemas.microsoft.com/office/drawing/2014/main" id="{89AE1400-E69C-13C1-57B2-C2B90DEF2949}"/>
                </a:ext>
              </a:extLst>
            </p:cNvPr>
            <p:cNvGrpSpPr>
              <a:grpSpLocks/>
            </p:cNvGrpSpPr>
            <p:nvPr userDrawn="1"/>
          </p:nvGrpSpPr>
          <p:grpSpPr bwMode="auto">
            <a:xfrm>
              <a:off x="7909204" y="1770762"/>
              <a:ext cx="971550" cy="655638"/>
              <a:chOff x="379933" y="-15999"/>
              <a:chExt cx="971550" cy="655638"/>
            </a:xfrm>
          </p:grpSpPr>
          <p:sp>
            <p:nvSpPr>
              <p:cNvPr id="39" name="Box">
                <a:extLst>
                  <a:ext uri="{FF2B5EF4-FFF2-40B4-BE49-F238E27FC236}">
                    <a16:creationId xmlns:a16="http://schemas.microsoft.com/office/drawing/2014/main" id="{AD687C8E-3433-82C4-FAE0-1B4AD6546C7D}"/>
                  </a:ext>
                </a:extLst>
              </p:cNvPr>
              <p:cNvSpPr>
                <a:spLocks noChangeArrowheads="1"/>
              </p:cNvSpPr>
              <p:nvPr userDrawn="1"/>
            </p:nvSpPr>
            <p:spPr bwMode="auto">
              <a:xfrm>
                <a:off x="379933" y="-15999"/>
                <a:ext cx="971550" cy="655638"/>
              </a:xfrm>
              <a:prstGeom prst="rect">
                <a:avLst/>
              </a:prstGeom>
              <a:solidFill>
                <a:srgbClr val="AFAFAF"/>
              </a:solidFill>
              <a:ln>
                <a:noFill/>
              </a:ln>
            </p:spPr>
            <p:txBody>
              <a:bodyPr/>
              <a:lstStyle>
                <a:lvl1pPr defTabSz="455613">
                  <a:defRPr b="1">
                    <a:solidFill>
                      <a:schemeClr val="tx1"/>
                    </a:solidFill>
                    <a:latin typeface="Verdana" panose="020B0604030504040204" pitchFamily="34" charset="0"/>
                  </a:defRPr>
                </a:lvl1pPr>
                <a:lvl2pPr marL="742950" indent="-285750" defTabSz="455613">
                  <a:defRPr b="1">
                    <a:solidFill>
                      <a:schemeClr val="tx1"/>
                    </a:solidFill>
                    <a:latin typeface="Verdana" panose="020B0604030504040204" pitchFamily="34" charset="0"/>
                  </a:defRPr>
                </a:lvl2pPr>
                <a:lvl3pPr marL="1143000" indent="-228600" defTabSz="455613">
                  <a:defRPr b="1">
                    <a:solidFill>
                      <a:schemeClr val="tx1"/>
                    </a:solidFill>
                    <a:latin typeface="Verdana" panose="020B0604030504040204" pitchFamily="34" charset="0"/>
                  </a:defRPr>
                </a:lvl3pPr>
                <a:lvl4pPr marL="1600200" indent="-228600" defTabSz="455613">
                  <a:defRPr b="1">
                    <a:solidFill>
                      <a:schemeClr val="tx1"/>
                    </a:solidFill>
                    <a:latin typeface="Verdana" panose="020B0604030504040204" pitchFamily="34" charset="0"/>
                  </a:defRPr>
                </a:lvl4pPr>
                <a:lvl5pPr marL="2057400" indent="-228600" defTabSz="455613">
                  <a:defRPr b="1">
                    <a:solidFill>
                      <a:schemeClr val="tx1"/>
                    </a:solidFill>
                    <a:latin typeface="Verdana" panose="020B0604030504040204" pitchFamily="34" charset="0"/>
                  </a:defRPr>
                </a:lvl5pPr>
                <a:lvl6pPr marL="2514600" indent="-228600" defTabSz="455613" eaLnBrk="0" fontAlgn="base" hangingPunct="0">
                  <a:spcBef>
                    <a:spcPct val="0"/>
                  </a:spcBef>
                  <a:spcAft>
                    <a:spcPct val="0"/>
                  </a:spcAft>
                  <a:defRPr b="1">
                    <a:solidFill>
                      <a:schemeClr val="tx1"/>
                    </a:solidFill>
                    <a:latin typeface="Verdana" panose="020B0604030504040204" pitchFamily="34" charset="0"/>
                  </a:defRPr>
                </a:lvl6pPr>
                <a:lvl7pPr marL="2971800" indent="-228600" defTabSz="455613" eaLnBrk="0" fontAlgn="base" hangingPunct="0">
                  <a:spcBef>
                    <a:spcPct val="0"/>
                  </a:spcBef>
                  <a:spcAft>
                    <a:spcPct val="0"/>
                  </a:spcAft>
                  <a:defRPr b="1">
                    <a:solidFill>
                      <a:schemeClr val="tx1"/>
                    </a:solidFill>
                    <a:latin typeface="Verdana" panose="020B0604030504040204" pitchFamily="34" charset="0"/>
                  </a:defRPr>
                </a:lvl7pPr>
                <a:lvl8pPr marL="3429000" indent="-228600" defTabSz="455613" eaLnBrk="0" fontAlgn="base" hangingPunct="0">
                  <a:spcBef>
                    <a:spcPct val="0"/>
                  </a:spcBef>
                  <a:spcAft>
                    <a:spcPct val="0"/>
                  </a:spcAft>
                  <a:defRPr b="1">
                    <a:solidFill>
                      <a:schemeClr val="tx1"/>
                    </a:solidFill>
                    <a:latin typeface="Verdana" panose="020B0604030504040204" pitchFamily="34" charset="0"/>
                  </a:defRPr>
                </a:lvl8pPr>
                <a:lvl9pPr marL="3886200" indent="-228600" defTabSz="455613" eaLnBrk="0" fontAlgn="base" hangingPunct="0">
                  <a:spcBef>
                    <a:spcPct val="0"/>
                  </a:spcBef>
                  <a:spcAft>
                    <a:spcPct val="0"/>
                  </a:spcAft>
                  <a:defRPr b="1">
                    <a:solidFill>
                      <a:schemeClr val="tx1"/>
                    </a:solidFill>
                    <a:latin typeface="Verdana" panose="020B0604030504040204" pitchFamily="34" charset="0"/>
                  </a:defRPr>
                </a:lvl9pPr>
              </a:lstStyle>
              <a:p>
                <a:pPr eaLnBrk="1" hangingPunct="1">
                  <a:defRPr/>
                </a:pPr>
                <a:endParaRPr lang="en-GB" altLang="de-DE" b="0">
                  <a:solidFill>
                    <a:srgbClr val="000000"/>
                  </a:solidFill>
                  <a:latin typeface="Arial" panose="020B0604020202020204" pitchFamily="34" charset="0"/>
                </a:endParaRPr>
              </a:p>
            </p:txBody>
          </p:sp>
          <p:sp>
            <p:nvSpPr>
              <p:cNvPr id="40" name="T2">
                <a:extLst>
                  <a:ext uri="{FF2B5EF4-FFF2-40B4-BE49-F238E27FC236}">
                    <a16:creationId xmlns:a16="http://schemas.microsoft.com/office/drawing/2014/main" id="{C7DCC2A3-91DC-BF7D-717C-09CB9821CD20}"/>
                  </a:ext>
                </a:extLst>
              </p:cNvPr>
              <p:cNvSpPr>
                <a:spLocks/>
              </p:cNvSpPr>
              <p:nvPr userDrawn="1"/>
            </p:nvSpPr>
            <p:spPr bwMode="auto">
              <a:xfrm>
                <a:off x="1011758" y="168151"/>
                <a:ext cx="176213" cy="258763"/>
              </a:xfrm>
              <a:custGeom>
                <a:avLst/>
                <a:gdLst>
                  <a:gd name="T0" fmla="*/ 98916612 w 222"/>
                  <a:gd name="T1" fmla="*/ 206025508 h 325"/>
                  <a:gd name="T2" fmla="*/ 98916612 w 222"/>
                  <a:gd name="T3" fmla="*/ 49446026 h 325"/>
                  <a:gd name="T4" fmla="*/ 139869466 w 222"/>
                  <a:gd name="T5" fmla="*/ 49446026 h 325"/>
                  <a:gd name="T6" fmla="*/ 139869466 w 222"/>
                  <a:gd name="T7" fmla="*/ 0 h 325"/>
                  <a:gd name="T8" fmla="*/ 0 w 222"/>
                  <a:gd name="T9" fmla="*/ 0 h 325"/>
                  <a:gd name="T10" fmla="*/ 0 w 222"/>
                  <a:gd name="T11" fmla="*/ 49446026 h 325"/>
                  <a:gd name="T12" fmla="*/ 41583093 w 222"/>
                  <a:gd name="T13" fmla="*/ 49446026 h 325"/>
                  <a:gd name="T14" fmla="*/ 41583093 w 222"/>
                  <a:gd name="T15" fmla="*/ 206025508 h 325"/>
                  <a:gd name="T16" fmla="*/ 41583093 w 222"/>
                  <a:gd name="T17" fmla="*/ 206025508 h 325"/>
                  <a:gd name="T18" fmla="*/ 98916612 w 222"/>
                  <a:gd name="T19" fmla="*/ 206025508 h 3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22" h="325">
                    <a:moveTo>
                      <a:pt x="157" y="325"/>
                    </a:moveTo>
                    <a:lnTo>
                      <a:pt x="157" y="78"/>
                    </a:lnTo>
                    <a:lnTo>
                      <a:pt x="222" y="78"/>
                    </a:lnTo>
                    <a:lnTo>
                      <a:pt x="222" y="0"/>
                    </a:lnTo>
                    <a:lnTo>
                      <a:pt x="0" y="0"/>
                    </a:lnTo>
                    <a:lnTo>
                      <a:pt x="0" y="78"/>
                    </a:lnTo>
                    <a:lnTo>
                      <a:pt x="66" y="78"/>
                    </a:lnTo>
                    <a:lnTo>
                      <a:pt x="66" y="325"/>
                    </a:lnTo>
                    <a:lnTo>
                      <a:pt x="157" y="3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41" name="T1">
                <a:extLst>
                  <a:ext uri="{FF2B5EF4-FFF2-40B4-BE49-F238E27FC236}">
                    <a16:creationId xmlns:a16="http://schemas.microsoft.com/office/drawing/2014/main" id="{42D12DB0-B6D7-7265-0692-F7FCAE4F57A1}"/>
                  </a:ext>
                </a:extLst>
              </p:cNvPr>
              <p:cNvSpPr>
                <a:spLocks/>
              </p:cNvSpPr>
              <p:nvPr userDrawn="1"/>
            </p:nvSpPr>
            <p:spPr bwMode="auto">
              <a:xfrm>
                <a:off x="799033" y="168151"/>
                <a:ext cx="193675" cy="258763"/>
              </a:xfrm>
              <a:custGeom>
                <a:avLst/>
                <a:gdLst>
                  <a:gd name="T0" fmla="*/ 55443438 w 244"/>
                  <a:gd name="T1" fmla="*/ 49446026 h 325"/>
                  <a:gd name="T2" fmla="*/ 55443438 w 244"/>
                  <a:gd name="T3" fmla="*/ 206025508 h 325"/>
                  <a:gd name="T4" fmla="*/ 112776794 w 244"/>
                  <a:gd name="T5" fmla="*/ 206025508 h 325"/>
                  <a:gd name="T6" fmla="*/ 112776794 w 244"/>
                  <a:gd name="T7" fmla="*/ 49446026 h 325"/>
                  <a:gd name="T8" fmla="*/ 153729531 w 244"/>
                  <a:gd name="T9" fmla="*/ 49446026 h 325"/>
                  <a:gd name="T10" fmla="*/ 153729531 w 244"/>
                  <a:gd name="T11" fmla="*/ 0 h 325"/>
                  <a:gd name="T12" fmla="*/ 15751175 w 244"/>
                  <a:gd name="T13" fmla="*/ 0 h 325"/>
                  <a:gd name="T14" fmla="*/ 0 w 244"/>
                  <a:gd name="T15" fmla="*/ 49446026 h 325"/>
                  <a:gd name="T16" fmla="*/ 55443438 w 244"/>
                  <a:gd name="T17" fmla="*/ 49446026 h 3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44" h="325">
                    <a:moveTo>
                      <a:pt x="88" y="78"/>
                    </a:moveTo>
                    <a:lnTo>
                      <a:pt x="88" y="325"/>
                    </a:lnTo>
                    <a:lnTo>
                      <a:pt x="179" y="325"/>
                    </a:lnTo>
                    <a:lnTo>
                      <a:pt x="179" y="78"/>
                    </a:lnTo>
                    <a:lnTo>
                      <a:pt x="244" y="78"/>
                    </a:lnTo>
                    <a:lnTo>
                      <a:pt x="244" y="0"/>
                    </a:lnTo>
                    <a:lnTo>
                      <a:pt x="25" y="0"/>
                    </a:lnTo>
                    <a:lnTo>
                      <a:pt x="0" y="78"/>
                    </a:lnTo>
                    <a:lnTo>
                      <a:pt x="88"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42" name="V">
                <a:extLst>
                  <a:ext uri="{FF2B5EF4-FFF2-40B4-BE49-F238E27FC236}">
                    <a16:creationId xmlns:a16="http://schemas.microsoft.com/office/drawing/2014/main" id="{59784F1F-E061-6DE7-4EED-F98F948ADF98}"/>
                  </a:ext>
                </a:extLst>
              </p:cNvPr>
              <p:cNvSpPr>
                <a:spLocks/>
              </p:cNvSpPr>
              <p:nvPr userDrawn="1"/>
            </p:nvSpPr>
            <p:spPr bwMode="auto">
              <a:xfrm>
                <a:off x="567258" y="168151"/>
                <a:ext cx="230188" cy="258763"/>
              </a:xfrm>
              <a:custGeom>
                <a:avLst/>
                <a:gdLst>
                  <a:gd name="T0" fmla="*/ 116731600 w 289"/>
                  <a:gd name="T1" fmla="*/ 206025508 h 325"/>
                  <a:gd name="T2" fmla="*/ 183344344 w 289"/>
                  <a:gd name="T3" fmla="*/ 0 h 325"/>
                  <a:gd name="T4" fmla="*/ 124978544 w 289"/>
                  <a:gd name="T5" fmla="*/ 0 h 325"/>
                  <a:gd name="T6" fmla="*/ 90720356 w 289"/>
                  <a:gd name="T7" fmla="*/ 105865119 h 325"/>
                  <a:gd name="T8" fmla="*/ 85645069 w 289"/>
                  <a:gd name="T9" fmla="*/ 121079587 h 325"/>
                  <a:gd name="T10" fmla="*/ 85645069 w 289"/>
                  <a:gd name="T11" fmla="*/ 121079587 h 325"/>
                  <a:gd name="T12" fmla="*/ 85645069 w 289"/>
                  <a:gd name="T13" fmla="*/ 121079587 h 325"/>
                  <a:gd name="T14" fmla="*/ 85645069 w 289"/>
                  <a:gd name="T15" fmla="*/ 121079587 h 325"/>
                  <a:gd name="T16" fmla="*/ 85645069 w 289"/>
                  <a:gd name="T17" fmla="*/ 121079587 h 325"/>
                  <a:gd name="T18" fmla="*/ 85645069 w 289"/>
                  <a:gd name="T19" fmla="*/ 121079587 h 325"/>
                  <a:gd name="T20" fmla="*/ 85645069 w 289"/>
                  <a:gd name="T21" fmla="*/ 121079587 h 325"/>
                  <a:gd name="T22" fmla="*/ 81204592 w 289"/>
                  <a:gd name="T23" fmla="*/ 105865119 h 325"/>
                  <a:gd name="T24" fmla="*/ 57730991 w 289"/>
                  <a:gd name="T25" fmla="*/ 38035772 h 325"/>
                  <a:gd name="T26" fmla="*/ 0 w 289"/>
                  <a:gd name="T27" fmla="*/ 38035772 h 325"/>
                  <a:gd name="T28" fmla="*/ 57096978 w 289"/>
                  <a:gd name="T29" fmla="*/ 206025508 h 325"/>
                  <a:gd name="T30" fmla="*/ 116731600 w 289"/>
                  <a:gd name="T31" fmla="*/ 206025508 h 32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89" h="325">
                    <a:moveTo>
                      <a:pt x="184" y="325"/>
                    </a:moveTo>
                    <a:lnTo>
                      <a:pt x="289" y="0"/>
                    </a:lnTo>
                    <a:lnTo>
                      <a:pt x="197" y="0"/>
                    </a:lnTo>
                    <a:lnTo>
                      <a:pt x="143" y="167"/>
                    </a:lnTo>
                    <a:lnTo>
                      <a:pt x="135" y="191"/>
                    </a:lnTo>
                    <a:lnTo>
                      <a:pt x="128" y="167"/>
                    </a:lnTo>
                    <a:lnTo>
                      <a:pt x="91" y="60"/>
                    </a:lnTo>
                    <a:lnTo>
                      <a:pt x="0" y="60"/>
                    </a:lnTo>
                    <a:lnTo>
                      <a:pt x="90" y="325"/>
                    </a:lnTo>
                    <a:lnTo>
                      <a:pt x="184" y="3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grpSp>
          <p:nvGrpSpPr>
            <p:cNvPr id="14" name="_VTT_logo_102019_05_dark_grey_on_white" hidden="1">
              <a:extLst>
                <a:ext uri="{FF2B5EF4-FFF2-40B4-BE49-F238E27FC236}">
                  <a16:creationId xmlns:a16="http://schemas.microsoft.com/office/drawing/2014/main" id="{19634A04-A7AC-AACD-5D54-4A1468BAA6AF}"/>
                </a:ext>
              </a:extLst>
            </p:cNvPr>
            <p:cNvGrpSpPr>
              <a:grpSpLocks/>
            </p:cNvGrpSpPr>
            <p:nvPr userDrawn="1"/>
          </p:nvGrpSpPr>
          <p:grpSpPr bwMode="auto">
            <a:xfrm>
              <a:off x="7909204" y="1770762"/>
              <a:ext cx="971550" cy="655638"/>
              <a:chOff x="379933" y="-15999"/>
              <a:chExt cx="971550" cy="655638"/>
            </a:xfrm>
          </p:grpSpPr>
          <p:sp>
            <p:nvSpPr>
              <p:cNvPr id="35" name="Box">
                <a:extLst>
                  <a:ext uri="{FF2B5EF4-FFF2-40B4-BE49-F238E27FC236}">
                    <a16:creationId xmlns:a16="http://schemas.microsoft.com/office/drawing/2014/main" id="{D87145DA-3ACD-6755-2733-24BB92D88028}"/>
                  </a:ext>
                </a:extLst>
              </p:cNvPr>
              <p:cNvSpPr>
                <a:spLocks noChangeArrowheads="1"/>
              </p:cNvSpPr>
              <p:nvPr userDrawn="1"/>
            </p:nvSpPr>
            <p:spPr bwMode="auto">
              <a:xfrm>
                <a:off x="379933" y="-15999"/>
                <a:ext cx="971550" cy="655638"/>
              </a:xfrm>
              <a:prstGeom prst="rect">
                <a:avLst/>
              </a:prstGeom>
              <a:solidFill>
                <a:srgbClr val="FFFFFF"/>
              </a:solidFill>
              <a:ln>
                <a:noFill/>
              </a:ln>
            </p:spPr>
            <p:txBody>
              <a:bodyPr/>
              <a:lstStyle>
                <a:lvl1pPr defTabSz="455613">
                  <a:defRPr b="1">
                    <a:solidFill>
                      <a:schemeClr val="tx1"/>
                    </a:solidFill>
                    <a:latin typeface="Verdana" panose="020B0604030504040204" pitchFamily="34" charset="0"/>
                  </a:defRPr>
                </a:lvl1pPr>
                <a:lvl2pPr marL="742950" indent="-285750" defTabSz="455613">
                  <a:defRPr b="1">
                    <a:solidFill>
                      <a:schemeClr val="tx1"/>
                    </a:solidFill>
                    <a:latin typeface="Verdana" panose="020B0604030504040204" pitchFamily="34" charset="0"/>
                  </a:defRPr>
                </a:lvl2pPr>
                <a:lvl3pPr marL="1143000" indent="-228600" defTabSz="455613">
                  <a:defRPr b="1">
                    <a:solidFill>
                      <a:schemeClr val="tx1"/>
                    </a:solidFill>
                    <a:latin typeface="Verdana" panose="020B0604030504040204" pitchFamily="34" charset="0"/>
                  </a:defRPr>
                </a:lvl3pPr>
                <a:lvl4pPr marL="1600200" indent="-228600" defTabSz="455613">
                  <a:defRPr b="1">
                    <a:solidFill>
                      <a:schemeClr val="tx1"/>
                    </a:solidFill>
                    <a:latin typeface="Verdana" panose="020B0604030504040204" pitchFamily="34" charset="0"/>
                  </a:defRPr>
                </a:lvl4pPr>
                <a:lvl5pPr marL="2057400" indent="-228600" defTabSz="455613">
                  <a:defRPr b="1">
                    <a:solidFill>
                      <a:schemeClr val="tx1"/>
                    </a:solidFill>
                    <a:latin typeface="Verdana" panose="020B0604030504040204" pitchFamily="34" charset="0"/>
                  </a:defRPr>
                </a:lvl5pPr>
                <a:lvl6pPr marL="2514600" indent="-228600" defTabSz="455613" eaLnBrk="0" fontAlgn="base" hangingPunct="0">
                  <a:spcBef>
                    <a:spcPct val="0"/>
                  </a:spcBef>
                  <a:spcAft>
                    <a:spcPct val="0"/>
                  </a:spcAft>
                  <a:defRPr b="1">
                    <a:solidFill>
                      <a:schemeClr val="tx1"/>
                    </a:solidFill>
                    <a:latin typeface="Verdana" panose="020B0604030504040204" pitchFamily="34" charset="0"/>
                  </a:defRPr>
                </a:lvl6pPr>
                <a:lvl7pPr marL="2971800" indent="-228600" defTabSz="455613" eaLnBrk="0" fontAlgn="base" hangingPunct="0">
                  <a:spcBef>
                    <a:spcPct val="0"/>
                  </a:spcBef>
                  <a:spcAft>
                    <a:spcPct val="0"/>
                  </a:spcAft>
                  <a:defRPr b="1">
                    <a:solidFill>
                      <a:schemeClr val="tx1"/>
                    </a:solidFill>
                    <a:latin typeface="Verdana" panose="020B0604030504040204" pitchFamily="34" charset="0"/>
                  </a:defRPr>
                </a:lvl7pPr>
                <a:lvl8pPr marL="3429000" indent="-228600" defTabSz="455613" eaLnBrk="0" fontAlgn="base" hangingPunct="0">
                  <a:spcBef>
                    <a:spcPct val="0"/>
                  </a:spcBef>
                  <a:spcAft>
                    <a:spcPct val="0"/>
                  </a:spcAft>
                  <a:defRPr b="1">
                    <a:solidFill>
                      <a:schemeClr val="tx1"/>
                    </a:solidFill>
                    <a:latin typeface="Verdana" panose="020B0604030504040204" pitchFamily="34" charset="0"/>
                  </a:defRPr>
                </a:lvl8pPr>
                <a:lvl9pPr marL="3886200" indent="-228600" defTabSz="455613" eaLnBrk="0" fontAlgn="base" hangingPunct="0">
                  <a:spcBef>
                    <a:spcPct val="0"/>
                  </a:spcBef>
                  <a:spcAft>
                    <a:spcPct val="0"/>
                  </a:spcAft>
                  <a:defRPr b="1">
                    <a:solidFill>
                      <a:schemeClr val="tx1"/>
                    </a:solidFill>
                    <a:latin typeface="Verdana" panose="020B0604030504040204" pitchFamily="34" charset="0"/>
                  </a:defRPr>
                </a:lvl9pPr>
              </a:lstStyle>
              <a:p>
                <a:pPr eaLnBrk="1" hangingPunct="1">
                  <a:defRPr/>
                </a:pPr>
                <a:endParaRPr lang="en-GB" altLang="de-DE" b="0">
                  <a:solidFill>
                    <a:srgbClr val="000000"/>
                  </a:solidFill>
                  <a:latin typeface="Arial" panose="020B0604020202020204" pitchFamily="34" charset="0"/>
                </a:endParaRPr>
              </a:p>
            </p:txBody>
          </p:sp>
          <p:sp>
            <p:nvSpPr>
              <p:cNvPr id="36" name="T2">
                <a:extLst>
                  <a:ext uri="{FF2B5EF4-FFF2-40B4-BE49-F238E27FC236}">
                    <a16:creationId xmlns:a16="http://schemas.microsoft.com/office/drawing/2014/main" id="{072248ED-83A2-FD82-7E79-7692A0419253}"/>
                  </a:ext>
                </a:extLst>
              </p:cNvPr>
              <p:cNvSpPr>
                <a:spLocks/>
              </p:cNvSpPr>
              <p:nvPr userDrawn="1"/>
            </p:nvSpPr>
            <p:spPr bwMode="auto">
              <a:xfrm>
                <a:off x="1011758" y="168151"/>
                <a:ext cx="176213" cy="258763"/>
              </a:xfrm>
              <a:custGeom>
                <a:avLst/>
                <a:gdLst>
                  <a:gd name="T0" fmla="*/ 98916612 w 222"/>
                  <a:gd name="T1" fmla="*/ 206025508 h 325"/>
                  <a:gd name="T2" fmla="*/ 98916612 w 222"/>
                  <a:gd name="T3" fmla="*/ 49446026 h 325"/>
                  <a:gd name="T4" fmla="*/ 139869466 w 222"/>
                  <a:gd name="T5" fmla="*/ 49446026 h 325"/>
                  <a:gd name="T6" fmla="*/ 139869466 w 222"/>
                  <a:gd name="T7" fmla="*/ 0 h 325"/>
                  <a:gd name="T8" fmla="*/ 0 w 222"/>
                  <a:gd name="T9" fmla="*/ 0 h 325"/>
                  <a:gd name="T10" fmla="*/ 0 w 222"/>
                  <a:gd name="T11" fmla="*/ 49446026 h 325"/>
                  <a:gd name="T12" fmla="*/ 41583093 w 222"/>
                  <a:gd name="T13" fmla="*/ 49446026 h 325"/>
                  <a:gd name="T14" fmla="*/ 41583093 w 222"/>
                  <a:gd name="T15" fmla="*/ 206025508 h 325"/>
                  <a:gd name="T16" fmla="*/ 41583093 w 222"/>
                  <a:gd name="T17" fmla="*/ 206025508 h 325"/>
                  <a:gd name="T18" fmla="*/ 98916612 w 222"/>
                  <a:gd name="T19" fmla="*/ 206025508 h 3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22" h="325">
                    <a:moveTo>
                      <a:pt x="157" y="325"/>
                    </a:moveTo>
                    <a:lnTo>
                      <a:pt x="157" y="78"/>
                    </a:lnTo>
                    <a:lnTo>
                      <a:pt x="222" y="78"/>
                    </a:lnTo>
                    <a:lnTo>
                      <a:pt x="222" y="0"/>
                    </a:lnTo>
                    <a:lnTo>
                      <a:pt x="0" y="0"/>
                    </a:lnTo>
                    <a:lnTo>
                      <a:pt x="0" y="78"/>
                    </a:lnTo>
                    <a:lnTo>
                      <a:pt x="66" y="78"/>
                    </a:lnTo>
                    <a:lnTo>
                      <a:pt x="66" y="325"/>
                    </a:lnTo>
                    <a:lnTo>
                      <a:pt x="157" y="325"/>
                    </a:lnTo>
                    <a:close/>
                  </a:path>
                </a:pathLst>
              </a:custGeom>
              <a:solidFill>
                <a:srgbClr val="AFAFA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37" name="T1">
                <a:extLst>
                  <a:ext uri="{FF2B5EF4-FFF2-40B4-BE49-F238E27FC236}">
                    <a16:creationId xmlns:a16="http://schemas.microsoft.com/office/drawing/2014/main" id="{62C5B998-CCA7-A78B-D7F9-9D4C82443940}"/>
                  </a:ext>
                </a:extLst>
              </p:cNvPr>
              <p:cNvSpPr>
                <a:spLocks/>
              </p:cNvSpPr>
              <p:nvPr userDrawn="1"/>
            </p:nvSpPr>
            <p:spPr bwMode="auto">
              <a:xfrm>
                <a:off x="799033" y="168151"/>
                <a:ext cx="193675" cy="258763"/>
              </a:xfrm>
              <a:custGeom>
                <a:avLst/>
                <a:gdLst>
                  <a:gd name="T0" fmla="*/ 55443438 w 244"/>
                  <a:gd name="T1" fmla="*/ 49446026 h 325"/>
                  <a:gd name="T2" fmla="*/ 55443438 w 244"/>
                  <a:gd name="T3" fmla="*/ 206025508 h 325"/>
                  <a:gd name="T4" fmla="*/ 112776794 w 244"/>
                  <a:gd name="T5" fmla="*/ 206025508 h 325"/>
                  <a:gd name="T6" fmla="*/ 112776794 w 244"/>
                  <a:gd name="T7" fmla="*/ 49446026 h 325"/>
                  <a:gd name="T8" fmla="*/ 153729531 w 244"/>
                  <a:gd name="T9" fmla="*/ 49446026 h 325"/>
                  <a:gd name="T10" fmla="*/ 153729531 w 244"/>
                  <a:gd name="T11" fmla="*/ 0 h 325"/>
                  <a:gd name="T12" fmla="*/ 15751175 w 244"/>
                  <a:gd name="T13" fmla="*/ 0 h 325"/>
                  <a:gd name="T14" fmla="*/ 0 w 244"/>
                  <a:gd name="T15" fmla="*/ 49446026 h 325"/>
                  <a:gd name="T16" fmla="*/ 55443438 w 244"/>
                  <a:gd name="T17" fmla="*/ 49446026 h 3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44" h="325">
                    <a:moveTo>
                      <a:pt x="88" y="78"/>
                    </a:moveTo>
                    <a:lnTo>
                      <a:pt x="88" y="325"/>
                    </a:lnTo>
                    <a:lnTo>
                      <a:pt x="179" y="325"/>
                    </a:lnTo>
                    <a:lnTo>
                      <a:pt x="179" y="78"/>
                    </a:lnTo>
                    <a:lnTo>
                      <a:pt x="244" y="78"/>
                    </a:lnTo>
                    <a:lnTo>
                      <a:pt x="244" y="0"/>
                    </a:lnTo>
                    <a:lnTo>
                      <a:pt x="25" y="0"/>
                    </a:lnTo>
                    <a:lnTo>
                      <a:pt x="0" y="78"/>
                    </a:lnTo>
                    <a:lnTo>
                      <a:pt x="88" y="78"/>
                    </a:lnTo>
                    <a:close/>
                  </a:path>
                </a:pathLst>
              </a:custGeom>
              <a:solidFill>
                <a:srgbClr val="AFAFA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38" name="V">
                <a:extLst>
                  <a:ext uri="{FF2B5EF4-FFF2-40B4-BE49-F238E27FC236}">
                    <a16:creationId xmlns:a16="http://schemas.microsoft.com/office/drawing/2014/main" id="{DED61691-5129-3405-D7F5-90C1378D150F}"/>
                  </a:ext>
                </a:extLst>
              </p:cNvPr>
              <p:cNvSpPr>
                <a:spLocks/>
              </p:cNvSpPr>
              <p:nvPr userDrawn="1"/>
            </p:nvSpPr>
            <p:spPr bwMode="auto">
              <a:xfrm>
                <a:off x="567258" y="168151"/>
                <a:ext cx="230188" cy="258763"/>
              </a:xfrm>
              <a:custGeom>
                <a:avLst/>
                <a:gdLst>
                  <a:gd name="T0" fmla="*/ 116731600 w 289"/>
                  <a:gd name="T1" fmla="*/ 206025508 h 325"/>
                  <a:gd name="T2" fmla="*/ 183344344 w 289"/>
                  <a:gd name="T3" fmla="*/ 0 h 325"/>
                  <a:gd name="T4" fmla="*/ 124978544 w 289"/>
                  <a:gd name="T5" fmla="*/ 0 h 325"/>
                  <a:gd name="T6" fmla="*/ 90720356 w 289"/>
                  <a:gd name="T7" fmla="*/ 105865119 h 325"/>
                  <a:gd name="T8" fmla="*/ 85645069 w 289"/>
                  <a:gd name="T9" fmla="*/ 121079587 h 325"/>
                  <a:gd name="T10" fmla="*/ 85645069 w 289"/>
                  <a:gd name="T11" fmla="*/ 121079587 h 325"/>
                  <a:gd name="T12" fmla="*/ 85645069 w 289"/>
                  <a:gd name="T13" fmla="*/ 121079587 h 325"/>
                  <a:gd name="T14" fmla="*/ 85645069 w 289"/>
                  <a:gd name="T15" fmla="*/ 121079587 h 325"/>
                  <a:gd name="T16" fmla="*/ 85645069 w 289"/>
                  <a:gd name="T17" fmla="*/ 121079587 h 325"/>
                  <a:gd name="T18" fmla="*/ 85645069 w 289"/>
                  <a:gd name="T19" fmla="*/ 121079587 h 325"/>
                  <a:gd name="T20" fmla="*/ 85645069 w 289"/>
                  <a:gd name="T21" fmla="*/ 121079587 h 325"/>
                  <a:gd name="T22" fmla="*/ 81204592 w 289"/>
                  <a:gd name="T23" fmla="*/ 105865119 h 325"/>
                  <a:gd name="T24" fmla="*/ 57730991 w 289"/>
                  <a:gd name="T25" fmla="*/ 38035772 h 325"/>
                  <a:gd name="T26" fmla="*/ 0 w 289"/>
                  <a:gd name="T27" fmla="*/ 38035772 h 325"/>
                  <a:gd name="T28" fmla="*/ 57096978 w 289"/>
                  <a:gd name="T29" fmla="*/ 206025508 h 325"/>
                  <a:gd name="T30" fmla="*/ 116731600 w 289"/>
                  <a:gd name="T31" fmla="*/ 206025508 h 32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89" h="325">
                    <a:moveTo>
                      <a:pt x="184" y="325"/>
                    </a:moveTo>
                    <a:lnTo>
                      <a:pt x="289" y="0"/>
                    </a:lnTo>
                    <a:lnTo>
                      <a:pt x="197" y="0"/>
                    </a:lnTo>
                    <a:lnTo>
                      <a:pt x="143" y="167"/>
                    </a:lnTo>
                    <a:lnTo>
                      <a:pt x="135" y="191"/>
                    </a:lnTo>
                    <a:lnTo>
                      <a:pt x="128" y="167"/>
                    </a:lnTo>
                    <a:lnTo>
                      <a:pt x="91" y="60"/>
                    </a:lnTo>
                    <a:lnTo>
                      <a:pt x="0" y="60"/>
                    </a:lnTo>
                    <a:lnTo>
                      <a:pt x="90" y="325"/>
                    </a:lnTo>
                    <a:lnTo>
                      <a:pt x="184" y="325"/>
                    </a:lnTo>
                    <a:close/>
                  </a:path>
                </a:pathLst>
              </a:custGeom>
              <a:solidFill>
                <a:srgbClr val="AFAFA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grpSp>
          <p:nvGrpSpPr>
            <p:cNvPr id="15" name="_VTT_logo_102019_06_orange_blue_on_white" hidden="1">
              <a:extLst>
                <a:ext uri="{FF2B5EF4-FFF2-40B4-BE49-F238E27FC236}">
                  <a16:creationId xmlns:a16="http://schemas.microsoft.com/office/drawing/2014/main" id="{D7DCAE72-D347-DF00-5124-5230FD5FE219}"/>
                </a:ext>
              </a:extLst>
            </p:cNvPr>
            <p:cNvGrpSpPr>
              <a:grpSpLocks/>
            </p:cNvGrpSpPr>
            <p:nvPr userDrawn="1"/>
          </p:nvGrpSpPr>
          <p:grpSpPr bwMode="auto">
            <a:xfrm>
              <a:off x="7909204" y="1770762"/>
              <a:ext cx="971550" cy="655638"/>
              <a:chOff x="379933" y="-15999"/>
              <a:chExt cx="971550" cy="655638"/>
            </a:xfrm>
          </p:grpSpPr>
          <p:sp>
            <p:nvSpPr>
              <p:cNvPr id="31" name="Box">
                <a:extLst>
                  <a:ext uri="{FF2B5EF4-FFF2-40B4-BE49-F238E27FC236}">
                    <a16:creationId xmlns:a16="http://schemas.microsoft.com/office/drawing/2014/main" id="{93A405EE-8D3A-A92F-BC35-8523B94FD81D}"/>
                  </a:ext>
                </a:extLst>
              </p:cNvPr>
              <p:cNvSpPr>
                <a:spLocks noChangeArrowheads="1"/>
              </p:cNvSpPr>
              <p:nvPr userDrawn="1"/>
            </p:nvSpPr>
            <p:spPr bwMode="auto">
              <a:xfrm>
                <a:off x="379933" y="-15999"/>
                <a:ext cx="971550" cy="655638"/>
              </a:xfrm>
              <a:prstGeom prst="rect">
                <a:avLst/>
              </a:prstGeom>
              <a:solidFill>
                <a:srgbClr val="FFFFFF"/>
              </a:solidFill>
              <a:ln>
                <a:noFill/>
              </a:ln>
            </p:spPr>
            <p:txBody>
              <a:bodyPr/>
              <a:lstStyle>
                <a:lvl1pPr defTabSz="455613">
                  <a:defRPr b="1">
                    <a:solidFill>
                      <a:schemeClr val="tx1"/>
                    </a:solidFill>
                    <a:latin typeface="Verdana" panose="020B0604030504040204" pitchFamily="34" charset="0"/>
                  </a:defRPr>
                </a:lvl1pPr>
                <a:lvl2pPr marL="742950" indent="-285750" defTabSz="455613">
                  <a:defRPr b="1">
                    <a:solidFill>
                      <a:schemeClr val="tx1"/>
                    </a:solidFill>
                    <a:latin typeface="Verdana" panose="020B0604030504040204" pitchFamily="34" charset="0"/>
                  </a:defRPr>
                </a:lvl2pPr>
                <a:lvl3pPr marL="1143000" indent="-228600" defTabSz="455613">
                  <a:defRPr b="1">
                    <a:solidFill>
                      <a:schemeClr val="tx1"/>
                    </a:solidFill>
                    <a:latin typeface="Verdana" panose="020B0604030504040204" pitchFamily="34" charset="0"/>
                  </a:defRPr>
                </a:lvl3pPr>
                <a:lvl4pPr marL="1600200" indent="-228600" defTabSz="455613">
                  <a:defRPr b="1">
                    <a:solidFill>
                      <a:schemeClr val="tx1"/>
                    </a:solidFill>
                    <a:latin typeface="Verdana" panose="020B0604030504040204" pitchFamily="34" charset="0"/>
                  </a:defRPr>
                </a:lvl4pPr>
                <a:lvl5pPr marL="2057400" indent="-228600" defTabSz="455613">
                  <a:defRPr b="1">
                    <a:solidFill>
                      <a:schemeClr val="tx1"/>
                    </a:solidFill>
                    <a:latin typeface="Verdana" panose="020B0604030504040204" pitchFamily="34" charset="0"/>
                  </a:defRPr>
                </a:lvl5pPr>
                <a:lvl6pPr marL="2514600" indent="-228600" defTabSz="455613" eaLnBrk="0" fontAlgn="base" hangingPunct="0">
                  <a:spcBef>
                    <a:spcPct val="0"/>
                  </a:spcBef>
                  <a:spcAft>
                    <a:spcPct val="0"/>
                  </a:spcAft>
                  <a:defRPr b="1">
                    <a:solidFill>
                      <a:schemeClr val="tx1"/>
                    </a:solidFill>
                    <a:latin typeface="Verdana" panose="020B0604030504040204" pitchFamily="34" charset="0"/>
                  </a:defRPr>
                </a:lvl6pPr>
                <a:lvl7pPr marL="2971800" indent="-228600" defTabSz="455613" eaLnBrk="0" fontAlgn="base" hangingPunct="0">
                  <a:spcBef>
                    <a:spcPct val="0"/>
                  </a:spcBef>
                  <a:spcAft>
                    <a:spcPct val="0"/>
                  </a:spcAft>
                  <a:defRPr b="1">
                    <a:solidFill>
                      <a:schemeClr val="tx1"/>
                    </a:solidFill>
                    <a:latin typeface="Verdana" panose="020B0604030504040204" pitchFamily="34" charset="0"/>
                  </a:defRPr>
                </a:lvl7pPr>
                <a:lvl8pPr marL="3429000" indent="-228600" defTabSz="455613" eaLnBrk="0" fontAlgn="base" hangingPunct="0">
                  <a:spcBef>
                    <a:spcPct val="0"/>
                  </a:spcBef>
                  <a:spcAft>
                    <a:spcPct val="0"/>
                  </a:spcAft>
                  <a:defRPr b="1">
                    <a:solidFill>
                      <a:schemeClr val="tx1"/>
                    </a:solidFill>
                    <a:latin typeface="Verdana" panose="020B0604030504040204" pitchFamily="34" charset="0"/>
                  </a:defRPr>
                </a:lvl8pPr>
                <a:lvl9pPr marL="3886200" indent="-228600" defTabSz="455613" eaLnBrk="0" fontAlgn="base" hangingPunct="0">
                  <a:spcBef>
                    <a:spcPct val="0"/>
                  </a:spcBef>
                  <a:spcAft>
                    <a:spcPct val="0"/>
                  </a:spcAft>
                  <a:defRPr b="1">
                    <a:solidFill>
                      <a:schemeClr val="tx1"/>
                    </a:solidFill>
                    <a:latin typeface="Verdana" panose="020B0604030504040204" pitchFamily="34" charset="0"/>
                  </a:defRPr>
                </a:lvl9pPr>
              </a:lstStyle>
              <a:p>
                <a:pPr eaLnBrk="1" hangingPunct="1">
                  <a:defRPr/>
                </a:pPr>
                <a:endParaRPr lang="en-GB" altLang="de-DE" b="0">
                  <a:solidFill>
                    <a:srgbClr val="000000"/>
                  </a:solidFill>
                  <a:latin typeface="Arial" panose="020B0604020202020204" pitchFamily="34" charset="0"/>
                </a:endParaRPr>
              </a:p>
            </p:txBody>
          </p:sp>
          <p:sp>
            <p:nvSpPr>
              <p:cNvPr id="32" name="T2">
                <a:extLst>
                  <a:ext uri="{FF2B5EF4-FFF2-40B4-BE49-F238E27FC236}">
                    <a16:creationId xmlns:a16="http://schemas.microsoft.com/office/drawing/2014/main" id="{F290A8B8-9D2B-D7FB-EC03-D954D2412660}"/>
                  </a:ext>
                </a:extLst>
              </p:cNvPr>
              <p:cNvSpPr>
                <a:spLocks/>
              </p:cNvSpPr>
              <p:nvPr userDrawn="1"/>
            </p:nvSpPr>
            <p:spPr bwMode="auto">
              <a:xfrm>
                <a:off x="1011758" y="168151"/>
                <a:ext cx="176213" cy="258763"/>
              </a:xfrm>
              <a:custGeom>
                <a:avLst/>
                <a:gdLst>
                  <a:gd name="T0" fmla="*/ 98916612 w 222"/>
                  <a:gd name="T1" fmla="*/ 206025508 h 325"/>
                  <a:gd name="T2" fmla="*/ 98916612 w 222"/>
                  <a:gd name="T3" fmla="*/ 49446026 h 325"/>
                  <a:gd name="T4" fmla="*/ 139869466 w 222"/>
                  <a:gd name="T5" fmla="*/ 49446026 h 325"/>
                  <a:gd name="T6" fmla="*/ 139869466 w 222"/>
                  <a:gd name="T7" fmla="*/ 0 h 325"/>
                  <a:gd name="T8" fmla="*/ 0 w 222"/>
                  <a:gd name="T9" fmla="*/ 0 h 325"/>
                  <a:gd name="T10" fmla="*/ 0 w 222"/>
                  <a:gd name="T11" fmla="*/ 49446026 h 325"/>
                  <a:gd name="T12" fmla="*/ 41583093 w 222"/>
                  <a:gd name="T13" fmla="*/ 49446026 h 325"/>
                  <a:gd name="T14" fmla="*/ 41583093 w 222"/>
                  <a:gd name="T15" fmla="*/ 206025508 h 325"/>
                  <a:gd name="T16" fmla="*/ 41583093 w 222"/>
                  <a:gd name="T17" fmla="*/ 206025508 h 325"/>
                  <a:gd name="T18" fmla="*/ 98916612 w 222"/>
                  <a:gd name="T19" fmla="*/ 206025508 h 3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22" h="325">
                    <a:moveTo>
                      <a:pt x="157" y="325"/>
                    </a:moveTo>
                    <a:lnTo>
                      <a:pt x="157" y="78"/>
                    </a:lnTo>
                    <a:lnTo>
                      <a:pt x="222" y="78"/>
                    </a:lnTo>
                    <a:lnTo>
                      <a:pt x="222" y="0"/>
                    </a:lnTo>
                    <a:lnTo>
                      <a:pt x="0" y="0"/>
                    </a:lnTo>
                    <a:lnTo>
                      <a:pt x="0" y="78"/>
                    </a:lnTo>
                    <a:lnTo>
                      <a:pt x="66" y="78"/>
                    </a:lnTo>
                    <a:lnTo>
                      <a:pt x="66" y="325"/>
                    </a:lnTo>
                    <a:lnTo>
                      <a:pt x="157" y="325"/>
                    </a:lnTo>
                    <a:close/>
                  </a:path>
                </a:pathLst>
              </a:custGeom>
              <a:solidFill>
                <a:srgbClr val="00579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33" name="T1">
                <a:extLst>
                  <a:ext uri="{FF2B5EF4-FFF2-40B4-BE49-F238E27FC236}">
                    <a16:creationId xmlns:a16="http://schemas.microsoft.com/office/drawing/2014/main" id="{64867157-743F-3548-A8CA-E8E9A57F195D}"/>
                  </a:ext>
                </a:extLst>
              </p:cNvPr>
              <p:cNvSpPr>
                <a:spLocks/>
              </p:cNvSpPr>
              <p:nvPr userDrawn="1"/>
            </p:nvSpPr>
            <p:spPr bwMode="auto">
              <a:xfrm>
                <a:off x="799033" y="168151"/>
                <a:ext cx="193675" cy="258763"/>
              </a:xfrm>
              <a:custGeom>
                <a:avLst/>
                <a:gdLst>
                  <a:gd name="T0" fmla="*/ 55443438 w 244"/>
                  <a:gd name="T1" fmla="*/ 49446026 h 325"/>
                  <a:gd name="T2" fmla="*/ 55443438 w 244"/>
                  <a:gd name="T3" fmla="*/ 206025508 h 325"/>
                  <a:gd name="T4" fmla="*/ 112776794 w 244"/>
                  <a:gd name="T5" fmla="*/ 206025508 h 325"/>
                  <a:gd name="T6" fmla="*/ 112776794 w 244"/>
                  <a:gd name="T7" fmla="*/ 49446026 h 325"/>
                  <a:gd name="T8" fmla="*/ 153729531 w 244"/>
                  <a:gd name="T9" fmla="*/ 49446026 h 325"/>
                  <a:gd name="T10" fmla="*/ 153729531 w 244"/>
                  <a:gd name="T11" fmla="*/ 0 h 325"/>
                  <a:gd name="T12" fmla="*/ 15751175 w 244"/>
                  <a:gd name="T13" fmla="*/ 0 h 325"/>
                  <a:gd name="T14" fmla="*/ 0 w 244"/>
                  <a:gd name="T15" fmla="*/ 49446026 h 325"/>
                  <a:gd name="T16" fmla="*/ 55443438 w 244"/>
                  <a:gd name="T17" fmla="*/ 49446026 h 3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44" h="325">
                    <a:moveTo>
                      <a:pt x="88" y="78"/>
                    </a:moveTo>
                    <a:lnTo>
                      <a:pt x="88" y="325"/>
                    </a:lnTo>
                    <a:lnTo>
                      <a:pt x="179" y="325"/>
                    </a:lnTo>
                    <a:lnTo>
                      <a:pt x="179" y="78"/>
                    </a:lnTo>
                    <a:lnTo>
                      <a:pt x="244" y="78"/>
                    </a:lnTo>
                    <a:lnTo>
                      <a:pt x="244" y="0"/>
                    </a:lnTo>
                    <a:lnTo>
                      <a:pt x="25" y="0"/>
                    </a:lnTo>
                    <a:lnTo>
                      <a:pt x="0" y="78"/>
                    </a:lnTo>
                    <a:lnTo>
                      <a:pt x="88" y="78"/>
                    </a:lnTo>
                    <a:close/>
                  </a:path>
                </a:pathLst>
              </a:custGeom>
              <a:solidFill>
                <a:srgbClr val="00579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34" name="V">
                <a:extLst>
                  <a:ext uri="{FF2B5EF4-FFF2-40B4-BE49-F238E27FC236}">
                    <a16:creationId xmlns:a16="http://schemas.microsoft.com/office/drawing/2014/main" id="{9D480979-327D-DDB9-4E1D-EEE9FBDFBC3C}"/>
                  </a:ext>
                </a:extLst>
              </p:cNvPr>
              <p:cNvSpPr>
                <a:spLocks/>
              </p:cNvSpPr>
              <p:nvPr userDrawn="1"/>
            </p:nvSpPr>
            <p:spPr bwMode="auto">
              <a:xfrm>
                <a:off x="567258" y="168151"/>
                <a:ext cx="230188" cy="258763"/>
              </a:xfrm>
              <a:custGeom>
                <a:avLst/>
                <a:gdLst>
                  <a:gd name="T0" fmla="*/ 116731600 w 289"/>
                  <a:gd name="T1" fmla="*/ 206025508 h 325"/>
                  <a:gd name="T2" fmla="*/ 183344344 w 289"/>
                  <a:gd name="T3" fmla="*/ 0 h 325"/>
                  <a:gd name="T4" fmla="*/ 124978544 w 289"/>
                  <a:gd name="T5" fmla="*/ 0 h 325"/>
                  <a:gd name="T6" fmla="*/ 90720356 w 289"/>
                  <a:gd name="T7" fmla="*/ 105865119 h 325"/>
                  <a:gd name="T8" fmla="*/ 85645069 w 289"/>
                  <a:gd name="T9" fmla="*/ 121079587 h 325"/>
                  <a:gd name="T10" fmla="*/ 85645069 w 289"/>
                  <a:gd name="T11" fmla="*/ 121079587 h 325"/>
                  <a:gd name="T12" fmla="*/ 85645069 w 289"/>
                  <a:gd name="T13" fmla="*/ 121079587 h 325"/>
                  <a:gd name="T14" fmla="*/ 85645069 w 289"/>
                  <a:gd name="T15" fmla="*/ 121079587 h 325"/>
                  <a:gd name="T16" fmla="*/ 85645069 w 289"/>
                  <a:gd name="T17" fmla="*/ 121079587 h 325"/>
                  <a:gd name="T18" fmla="*/ 85645069 w 289"/>
                  <a:gd name="T19" fmla="*/ 121079587 h 325"/>
                  <a:gd name="T20" fmla="*/ 85645069 w 289"/>
                  <a:gd name="T21" fmla="*/ 121079587 h 325"/>
                  <a:gd name="T22" fmla="*/ 81204592 w 289"/>
                  <a:gd name="T23" fmla="*/ 105865119 h 325"/>
                  <a:gd name="T24" fmla="*/ 57730991 w 289"/>
                  <a:gd name="T25" fmla="*/ 38035772 h 325"/>
                  <a:gd name="T26" fmla="*/ 0 w 289"/>
                  <a:gd name="T27" fmla="*/ 38035772 h 325"/>
                  <a:gd name="T28" fmla="*/ 57096978 w 289"/>
                  <a:gd name="T29" fmla="*/ 206025508 h 325"/>
                  <a:gd name="T30" fmla="*/ 116731600 w 289"/>
                  <a:gd name="T31" fmla="*/ 206025508 h 32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89" h="325">
                    <a:moveTo>
                      <a:pt x="184" y="325"/>
                    </a:moveTo>
                    <a:lnTo>
                      <a:pt x="289" y="0"/>
                    </a:lnTo>
                    <a:lnTo>
                      <a:pt x="197" y="0"/>
                    </a:lnTo>
                    <a:lnTo>
                      <a:pt x="143" y="167"/>
                    </a:lnTo>
                    <a:lnTo>
                      <a:pt x="135" y="191"/>
                    </a:lnTo>
                    <a:lnTo>
                      <a:pt x="128" y="167"/>
                    </a:lnTo>
                    <a:lnTo>
                      <a:pt x="91" y="60"/>
                    </a:lnTo>
                    <a:lnTo>
                      <a:pt x="0" y="60"/>
                    </a:lnTo>
                    <a:lnTo>
                      <a:pt x="90" y="325"/>
                    </a:lnTo>
                    <a:lnTo>
                      <a:pt x="184" y="325"/>
                    </a:lnTo>
                    <a:close/>
                  </a:path>
                </a:pathLst>
              </a:custGeom>
              <a:solidFill>
                <a:srgbClr val="F06E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grpSp>
          <p:nvGrpSpPr>
            <p:cNvPr id="16" name="_VTT_logo_102019_07_blue_on_white" hidden="1">
              <a:extLst>
                <a:ext uri="{FF2B5EF4-FFF2-40B4-BE49-F238E27FC236}">
                  <a16:creationId xmlns:a16="http://schemas.microsoft.com/office/drawing/2014/main" id="{A98BC15F-7B23-6ABA-D6D5-D905A9C4AD32}"/>
                </a:ext>
              </a:extLst>
            </p:cNvPr>
            <p:cNvGrpSpPr>
              <a:grpSpLocks/>
            </p:cNvGrpSpPr>
            <p:nvPr userDrawn="1"/>
          </p:nvGrpSpPr>
          <p:grpSpPr bwMode="auto">
            <a:xfrm>
              <a:off x="7909204" y="1770762"/>
              <a:ext cx="971550" cy="655638"/>
              <a:chOff x="379933" y="-15999"/>
              <a:chExt cx="971550" cy="655638"/>
            </a:xfrm>
          </p:grpSpPr>
          <p:sp>
            <p:nvSpPr>
              <p:cNvPr id="27" name="Box">
                <a:extLst>
                  <a:ext uri="{FF2B5EF4-FFF2-40B4-BE49-F238E27FC236}">
                    <a16:creationId xmlns:a16="http://schemas.microsoft.com/office/drawing/2014/main" id="{BB7A3273-AF69-8CE3-2625-B53EAC2F0091}"/>
                  </a:ext>
                </a:extLst>
              </p:cNvPr>
              <p:cNvSpPr>
                <a:spLocks noChangeArrowheads="1"/>
              </p:cNvSpPr>
              <p:nvPr userDrawn="1"/>
            </p:nvSpPr>
            <p:spPr bwMode="auto">
              <a:xfrm>
                <a:off x="379933" y="-15999"/>
                <a:ext cx="971550" cy="655638"/>
              </a:xfrm>
              <a:prstGeom prst="rect">
                <a:avLst/>
              </a:prstGeom>
              <a:solidFill>
                <a:srgbClr val="FFFFFF"/>
              </a:solidFill>
              <a:ln>
                <a:noFill/>
              </a:ln>
            </p:spPr>
            <p:txBody>
              <a:bodyPr/>
              <a:lstStyle>
                <a:lvl1pPr defTabSz="455613">
                  <a:defRPr b="1">
                    <a:solidFill>
                      <a:schemeClr val="tx1"/>
                    </a:solidFill>
                    <a:latin typeface="Verdana" panose="020B0604030504040204" pitchFamily="34" charset="0"/>
                  </a:defRPr>
                </a:lvl1pPr>
                <a:lvl2pPr marL="742950" indent="-285750" defTabSz="455613">
                  <a:defRPr b="1">
                    <a:solidFill>
                      <a:schemeClr val="tx1"/>
                    </a:solidFill>
                    <a:latin typeface="Verdana" panose="020B0604030504040204" pitchFamily="34" charset="0"/>
                  </a:defRPr>
                </a:lvl2pPr>
                <a:lvl3pPr marL="1143000" indent="-228600" defTabSz="455613">
                  <a:defRPr b="1">
                    <a:solidFill>
                      <a:schemeClr val="tx1"/>
                    </a:solidFill>
                    <a:latin typeface="Verdana" panose="020B0604030504040204" pitchFamily="34" charset="0"/>
                  </a:defRPr>
                </a:lvl3pPr>
                <a:lvl4pPr marL="1600200" indent="-228600" defTabSz="455613">
                  <a:defRPr b="1">
                    <a:solidFill>
                      <a:schemeClr val="tx1"/>
                    </a:solidFill>
                    <a:latin typeface="Verdana" panose="020B0604030504040204" pitchFamily="34" charset="0"/>
                  </a:defRPr>
                </a:lvl4pPr>
                <a:lvl5pPr marL="2057400" indent="-228600" defTabSz="455613">
                  <a:defRPr b="1">
                    <a:solidFill>
                      <a:schemeClr val="tx1"/>
                    </a:solidFill>
                    <a:latin typeface="Verdana" panose="020B0604030504040204" pitchFamily="34" charset="0"/>
                  </a:defRPr>
                </a:lvl5pPr>
                <a:lvl6pPr marL="2514600" indent="-228600" defTabSz="455613" eaLnBrk="0" fontAlgn="base" hangingPunct="0">
                  <a:spcBef>
                    <a:spcPct val="0"/>
                  </a:spcBef>
                  <a:spcAft>
                    <a:spcPct val="0"/>
                  </a:spcAft>
                  <a:defRPr b="1">
                    <a:solidFill>
                      <a:schemeClr val="tx1"/>
                    </a:solidFill>
                    <a:latin typeface="Verdana" panose="020B0604030504040204" pitchFamily="34" charset="0"/>
                  </a:defRPr>
                </a:lvl6pPr>
                <a:lvl7pPr marL="2971800" indent="-228600" defTabSz="455613" eaLnBrk="0" fontAlgn="base" hangingPunct="0">
                  <a:spcBef>
                    <a:spcPct val="0"/>
                  </a:spcBef>
                  <a:spcAft>
                    <a:spcPct val="0"/>
                  </a:spcAft>
                  <a:defRPr b="1">
                    <a:solidFill>
                      <a:schemeClr val="tx1"/>
                    </a:solidFill>
                    <a:latin typeface="Verdana" panose="020B0604030504040204" pitchFamily="34" charset="0"/>
                  </a:defRPr>
                </a:lvl7pPr>
                <a:lvl8pPr marL="3429000" indent="-228600" defTabSz="455613" eaLnBrk="0" fontAlgn="base" hangingPunct="0">
                  <a:spcBef>
                    <a:spcPct val="0"/>
                  </a:spcBef>
                  <a:spcAft>
                    <a:spcPct val="0"/>
                  </a:spcAft>
                  <a:defRPr b="1">
                    <a:solidFill>
                      <a:schemeClr val="tx1"/>
                    </a:solidFill>
                    <a:latin typeface="Verdana" panose="020B0604030504040204" pitchFamily="34" charset="0"/>
                  </a:defRPr>
                </a:lvl8pPr>
                <a:lvl9pPr marL="3886200" indent="-228600" defTabSz="455613" eaLnBrk="0" fontAlgn="base" hangingPunct="0">
                  <a:spcBef>
                    <a:spcPct val="0"/>
                  </a:spcBef>
                  <a:spcAft>
                    <a:spcPct val="0"/>
                  </a:spcAft>
                  <a:defRPr b="1">
                    <a:solidFill>
                      <a:schemeClr val="tx1"/>
                    </a:solidFill>
                    <a:latin typeface="Verdana" panose="020B0604030504040204" pitchFamily="34" charset="0"/>
                  </a:defRPr>
                </a:lvl9pPr>
              </a:lstStyle>
              <a:p>
                <a:pPr eaLnBrk="1" hangingPunct="1">
                  <a:defRPr/>
                </a:pPr>
                <a:endParaRPr lang="en-GB" altLang="de-DE" b="0">
                  <a:solidFill>
                    <a:srgbClr val="000000"/>
                  </a:solidFill>
                  <a:latin typeface="Arial" panose="020B0604020202020204" pitchFamily="34" charset="0"/>
                </a:endParaRPr>
              </a:p>
            </p:txBody>
          </p:sp>
          <p:sp>
            <p:nvSpPr>
              <p:cNvPr id="28" name="T2">
                <a:extLst>
                  <a:ext uri="{FF2B5EF4-FFF2-40B4-BE49-F238E27FC236}">
                    <a16:creationId xmlns:a16="http://schemas.microsoft.com/office/drawing/2014/main" id="{8858AC8A-617A-D607-4701-AA88E972164F}"/>
                  </a:ext>
                </a:extLst>
              </p:cNvPr>
              <p:cNvSpPr>
                <a:spLocks/>
              </p:cNvSpPr>
              <p:nvPr userDrawn="1"/>
            </p:nvSpPr>
            <p:spPr bwMode="auto">
              <a:xfrm>
                <a:off x="1011758" y="168151"/>
                <a:ext cx="176213" cy="258763"/>
              </a:xfrm>
              <a:custGeom>
                <a:avLst/>
                <a:gdLst>
                  <a:gd name="T0" fmla="*/ 98916612 w 222"/>
                  <a:gd name="T1" fmla="*/ 206025508 h 325"/>
                  <a:gd name="T2" fmla="*/ 98916612 w 222"/>
                  <a:gd name="T3" fmla="*/ 49446026 h 325"/>
                  <a:gd name="T4" fmla="*/ 139869466 w 222"/>
                  <a:gd name="T5" fmla="*/ 49446026 h 325"/>
                  <a:gd name="T6" fmla="*/ 139869466 w 222"/>
                  <a:gd name="T7" fmla="*/ 0 h 325"/>
                  <a:gd name="T8" fmla="*/ 0 w 222"/>
                  <a:gd name="T9" fmla="*/ 0 h 325"/>
                  <a:gd name="T10" fmla="*/ 0 w 222"/>
                  <a:gd name="T11" fmla="*/ 49446026 h 325"/>
                  <a:gd name="T12" fmla="*/ 41583093 w 222"/>
                  <a:gd name="T13" fmla="*/ 49446026 h 325"/>
                  <a:gd name="T14" fmla="*/ 41583093 w 222"/>
                  <a:gd name="T15" fmla="*/ 206025508 h 325"/>
                  <a:gd name="T16" fmla="*/ 41583093 w 222"/>
                  <a:gd name="T17" fmla="*/ 206025508 h 325"/>
                  <a:gd name="T18" fmla="*/ 98916612 w 222"/>
                  <a:gd name="T19" fmla="*/ 206025508 h 3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22" h="325">
                    <a:moveTo>
                      <a:pt x="157" y="325"/>
                    </a:moveTo>
                    <a:lnTo>
                      <a:pt x="157" y="78"/>
                    </a:lnTo>
                    <a:lnTo>
                      <a:pt x="222" y="78"/>
                    </a:lnTo>
                    <a:lnTo>
                      <a:pt x="222" y="0"/>
                    </a:lnTo>
                    <a:lnTo>
                      <a:pt x="0" y="0"/>
                    </a:lnTo>
                    <a:lnTo>
                      <a:pt x="0" y="78"/>
                    </a:lnTo>
                    <a:lnTo>
                      <a:pt x="66" y="78"/>
                    </a:lnTo>
                    <a:lnTo>
                      <a:pt x="66" y="325"/>
                    </a:lnTo>
                    <a:lnTo>
                      <a:pt x="157" y="325"/>
                    </a:lnTo>
                    <a:close/>
                  </a:path>
                </a:pathLst>
              </a:custGeom>
              <a:solidFill>
                <a:srgbClr val="00579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9" name="T1">
                <a:extLst>
                  <a:ext uri="{FF2B5EF4-FFF2-40B4-BE49-F238E27FC236}">
                    <a16:creationId xmlns:a16="http://schemas.microsoft.com/office/drawing/2014/main" id="{1F781580-31B4-C7DE-DE0D-E81683274455}"/>
                  </a:ext>
                </a:extLst>
              </p:cNvPr>
              <p:cNvSpPr>
                <a:spLocks/>
              </p:cNvSpPr>
              <p:nvPr userDrawn="1"/>
            </p:nvSpPr>
            <p:spPr bwMode="auto">
              <a:xfrm>
                <a:off x="799033" y="168151"/>
                <a:ext cx="193675" cy="258763"/>
              </a:xfrm>
              <a:custGeom>
                <a:avLst/>
                <a:gdLst>
                  <a:gd name="T0" fmla="*/ 55443438 w 244"/>
                  <a:gd name="T1" fmla="*/ 49446026 h 325"/>
                  <a:gd name="T2" fmla="*/ 55443438 w 244"/>
                  <a:gd name="T3" fmla="*/ 206025508 h 325"/>
                  <a:gd name="T4" fmla="*/ 112776794 w 244"/>
                  <a:gd name="T5" fmla="*/ 206025508 h 325"/>
                  <a:gd name="T6" fmla="*/ 112776794 w 244"/>
                  <a:gd name="T7" fmla="*/ 49446026 h 325"/>
                  <a:gd name="T8" fmla="*/ 153729531 w 244"/>
                  <a:gd name="T9" fmla="*/ 49446026 h 325"/>
                  <a:gd name="T10" fmla="*/ 153729531 w 244"/>
                  <a:gd name="T11" fmla="*/ 0 h 325"/>
                  <a:gd name="T12" fmla="*/ 15751175 w 244"/>
                  <a:gd name="T13" fmla="*/ 0 h 325"/>
                  <a:gd name="T14" fmla="*/ 0 w 244"/>
                  <a:gd name="T15" fmla="*/ 49446026 h 325"/>
                  <a:gd name="T16" fmla="*/ 55443438 w 244"/>
                  <a:gd name="T17" fmla="*/ 49446026 h 3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44" h="325">
                    <a:moveTo>
                      <a:pt x="88" y="78"/>
                    </a:moveTo>
                    <a:lnTo>
                      <a:pt x="88" y="325"/>
                    </a:lnTo>
                    <a:lnTo>
                      <a:pt x="179" y="325"/>
                    </a:lnTo>
                    <a:lnTo>
                      <a:pt x="179" y="78"/>
                    </a:lnTo>
                    <a:lnTo>
                      <a:pt x="244" y="78"/>
                    </a:lnTo>
                    <a:lnTo>
                      <a:pt x="244" y="0"/>
                    </a:lnTo>
                    <a:lnTo>
                      <a:pt x="25" y="0"/>
                    </a:lnTo>
                    <a:lnTo>
                      <a:pt x="0" y="78"/>
                    </a:lnTo>
                    <a:lnTo>
                      <a:pt x="88" y="78"/>
                    </a:lnTo>
                    <a:close/>
                  </a:path>
                </a:pathLst>
              </a:custGeom>
              <a:solidFill>
                <a:srgbClr val="00579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30" name="V">
                <a:extLst>
                  <a:ext uri="{FF2B5EF4-FFF2-40B4-BE49-F238E27FC236}">
                    <a16:creationId xmlns:a16="http://schemas.microsoft.com/office/drawing/2014/main" id="{95643EC3-430E-84ED-A9C9-2CBDC4FBCA82}"/>
                  </a:ext>
                </a:extLst>
              </p:cNvPr>
              <p:cNvSpPr>
                <a:spLocks/>
              </p:cNvSpPr>
              <p:nvPr userDrawn="1"/>
            </p:nvSpPr>
            <p:spPr bwMode="auto">
              <a:xfrm>
                <a:off x="567258" y="168151"/>
                <a:ext cx="230188" cy="258763"/>
              </a:xfrm>
              <a:custGeom>
                <a:avLst/>
                <a:gdLst>
                  <a:gd name="T0" fmla="*/ 116731600 w 289"/>
                  <a:gd name="T1" fmla="*/ 206025508 h 325"/>
                  <a:gd name="T2" fmla="*/ 183344344 w 289"/>
                  <a:gd name="T3" fmla="*/ 0 h 325"/>
                  <a:gd name="T4" fmla="*/ 124978544 w 289"/>
                  <a:gd name="T5" fmla="*/ 0 h 325"/>
                  <a:gd name="T6" fmla="*/ 90720356 w 289"/>
                  <a:gd name="T7" fmla="*/ 105865119 h 325"/>
                  <a:gd name="T8" fmla="*/ 85645069 w 289"/>
                  <a:gd name="T9" fmla="*/ 121079587 h 325"/>
                  <a:gd name="T10" fmla="*/ 85645069 w 289"/>
                  <a:gd name="T11" fmla="*/ 121079587 h 325"/>
                  <a:gd name="T12" fmla="*/ 85645069 w 289"/>
                  <a:gd name="T13" fmla="*/ 121079587 h 325"/>
                  <a:gd name="T14" fmla="*/ 85645069 w 289"/>
                  <a:gd name="T15" fmla="*/ 121079587 h 325"/>
                  <a:gd name="T16" fmla="*/ 85645069 w 289"/>
                  <a:gd name="T17" fmla="*/ 121079587 h 325"/>
                  <a:gd name="T18" fmla="*/ 85645069 w 289"/>
                  <a:gd name="T19" fmla="*/ 121079587 h 325"/>
                  <a:gd name="T20" fmla="*/ 85645069 w 289"/>
                  <a:gd name="T21" fmla="*/ 121079587 h 325"/>
                  <a:gd name="T22" fmla="*/ 81204592 w 289"/>
                  <a:gd name="T23" fmla="*/ 105865119 h 325"/>
                  <a:gd name="T24" fmla="*/ 57730991 w 289"/>
                  <a:gd name="T25" fmla="*/ 38035772 h 325"/>
                  <a:gd name="T26" fmla="*/ 0 w 289"/>
                  <a:gd name="T27" fmla="*/ 38035772 h 325"/>
                  <a:gd name="T28" fmla="*/ 57096978 w 289"/>
                  <a:gd name="T29" fmla="*/ 206025508 h 325"/>
                  <a:gd name="T30" fmla="*/ 116731600 w 289"/>
                  <a:gd name="T31" fmla="*/ 206025508 h 32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89" h="325">
                    <a:moveTo>
                      <a:pt x="184" y="325"/>
                    </a:moveTo>
                    <a:lnTo>
                      <a:pt x="289" y="0"/>
                    </a:lnTo>
                    <a:lnTo>
                      <a:pt x="197" y="0"/>
                    </a:lnTo>
                    <a:lnTo>
                      <a:pt x="143" y="167"/>
                    </a:lnTo>
                    <a:lnTo>
                      <a:pt x="135" y="191"/>
                    </a:lnTo>
                    <a:lnTo>
                      <a:pt x="128" y="167"/>
                    </a:lnTo>
                    <a:lnTo>
                      <a:pt x="91" y="60"/>
                    </a:lnTo>
                    <a:lnTo>
                      <a:pt x="0" y="60"/>
                    </a:lnTo>
                    <a:lnTo>
                      <a:pt x="90" y="325"/>
                    </a:lnTo>
                    <a:lnTo>
                      <a:pt x="184" y="325"/>
                    </a:lnTo>
                    <a:close/>
                  </a:path>
                </a:pathLst>
              </a:custGeom>
              <a:solidFill>
                <a:srgbClr val="00579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grpSp>
          <p:nvGrpSpPr>
            <p:cNvPr id="17" name="_VTT_logo_102019_08_black_on_white" hidden="1">
              <a:extLst>
                <a:ext uri="{FF2B5EF4-FFF2-40B4-BE49-F238E27FC236}">
                  <a16:creationId xmlns:a16="http://schemas.microsoft.com/office/drawing/2014/main" id="{3F622A13-06CE-4CF2-76D7-7F963C5C373B}"/>
                </a:ext>
              </a:extLst>
            </p:cNvPr>
            <p:cNvGrpSpPr>
              <a:grpSpLocks/>
            </p:cNvGrpSpPr>
            <p:nvPr userDrawn="1"/>
          </p:nvGrpSpPr>
          <p:grpSpPr bwMode="auto">
            <a:xfrm>
              <a:off x="7909204" y="1770762"/>
              <a:ext cx="971550" cy="655638"/>
              <a:chOff x="379933" y="-15999"/>
              <a:chExt cx="971550" cy="655638"/>
            </a:xfrm>
          </p:grpSpPr>
          <p:sp>
            <p:nvSpPr>
              <p:cNvPr id="23" name="Box">
                <a:extLst>
                  <a:ext uri="{FF2B5EF4-FFF2-40B4-BE49-F238E27FC236}">
                    <a16:creationId xmlns:a16="http://schemas.microsoft.com/office/drawing/2014/main" id="{C2901624-DB6E-4518-9240-72D4614F3664}"/>
                  </a:ext>
                </a:extLst>
              </p:cNvPr>
              <p:cNvSpPr>
                <a:spLocks noChangeArrowheads="1"/>
              </p:cNvSpPr>
              <p:nvPr userDrawn="1"/>
            </p:nvSpPr>
            <p:spPr bwMode="auto">
              <a:xfrm>
                <a:off x="379933" y="-15999"/>
                <a:ext cx="971550" cy="655638"/>
              </a:xfrm>
              <a:prstGeom prst="rect">
                <a:avLst/>
              </a:prstGeom>
              <a:solidFill>
                <a:srgbClr val="FFFFFF"/>
              </a:solidFill>
              <a:ln>
                <a:noFill/>
              </a:ln>
            </p:spPr>
            <p:txBody>
              <a:bodyPr/>
              <a:lstStyle>
                <a:lvl1pPr defTabSz="455613">
                  <a:defRPr b="1">
                    <a:solidFill>
                      <a:schemeClr val="tx1"/>
                    </a:solidFill>
                    <a:latin typeface="Verdana" panose="020B0604030504040204" pitchFamily="34" charset="0"/>
                  </a:defRPr>
                </a:lvl1pPr>
                <a:lvl2pPr marL="742950" indent="-285750" defTabSz="455613">
                  <a:defRPr b="1">
                    <a:solidFill>
                      <a:schemeClr val="tx1"/>
                    </a:solidFill>
                    <a:latin typeface="Verdana" panose="020B0604030504040204" pitchFamily="34" charset="0"/>
                  </a:defRPr>
                </a:lvl2pPr>
                <a:lvl3pPr marL="1143000" indent="-228600" defTabSz="455613">
                  <a:defRPr b="1">
                    <a:solidFill>
                      <a:schemeClr val="tx1"/>
                    </a:solidFill>
                    <a:latin typeface="Verdana" panose="020B0604030504040204" pitchFamily="34" charset="0"/>
                  </a:defRPr>
                </a:lvl3pPr>
                <a:lvl4pPr marL="1600200" indent="-228600" defTabSz="455613">
                  <a:defRPr b="1">
                    <a:solidFill>
                      <a:schemeClr val="tx1"/>
                    </a:solidFill>
                    <a:latin typeface="Verdana" panose="020B0604030504040204" pitchFamily="34" charset="0"/>
                  </a:defRPr>
                </a:lvl4pPr>
                <a:lvl5pPr marL="2057400" indent="-228600" defTabSz="455613">
                  <a:defRPr b="1">
                    <a:solidFill>
                      <a:schemeClr val="tx1"/>
                    </a:solidFill>
                    <a:latin typeface="Verdana" panose="020B0604030504040204" pitchFamily="34" charset="0"/>
                  </a:defRPr>
                </a:lvl5pPr>
                <a:lvl6pPr marL="2514600" indent="-228600" defTabSz="455613" eaLnBrk="0" fontAlgn="base" hangingPunct="0">
                  <a:spcBef>
                    <a:spcPct val="0"/>
                  </a:spcBef>
                  <a:spcAft>
                    <a:spcPct val="0"/>
                  </a:spcAft>
                  <a:defRPr b="1">
                    <a:solidFill>
                      <a:schemeClr val="tx1"/>
                    </a:solidFill>
                    <a:latin typeface="Verdana" panose="020B0604030504040204" pitchFamily="34" charset="0"/>
                  </a:defRPr>
                </a:lvl6pPr>
                <a:lvl7pPr marL="2971800" indent="-228600" defTabSz="455613" eaLnBrk="0" fontAlgn="base" hangingPunct="0">
                  <a:spcBef>
                    <a:spcPct val="0"/>
                  </a:spcBef>
                  <a:spcAft>
                    <a:spcPct val="0"/>
                  </a:spcAft>
                  <a:defRPr b="1">
                    <a:solidFill>
                      <a:schemeClr val="tx1"/>
                    </a:solidFill>
                    <a:latin typeface="Verdana" panose="020B0604030504040204" pitchFamily="34" charset="0"/>
                  </a:defRPr>
                </a:lvl7pPr>
                <a:lvl8pPr marL="3429000" indent="-228600" defTabSz="455613" eaLnBrk="0" fontAlgn="base" hangingPunct="0">
                  <a:spcBef>
                    <a:spcPct val="0"/>
                  </a:spcBef>
                  <a:spcAft>
                    <a:spcPct val="0"/>
                  </a:spcAft>
                  <a:defRPr b="1">
                    <a:solidFill>
                      <a:schemeClr val="tx1"/>
                    </a:solidFill>
                    <a:latin typeface="Verdana" panose="020B0604030504040204" pitchFamily="34" charset="0"/>
                  </a:defRPr>
                </a:lvl8pPr>
                <a:lvl9pPr marL="3886200" indent="-228600" defTabSz="455613" eaLnBrk="0" fontAlgn="base" hangingPunct="0">
                  <a:spcBef>
                    <a:spcPct val="0"/>
                  </a:spcBef>
                  <a:spcAft>
                    <a:spcPct val="0"/>
                  </a:spcAft>
                  <a:defRPr b="1">
                    <a:solidFill>
                      <a:schemeClr val="tx1"/>
                    </a:solidFill>
                    <a:latin typeface="Verdana" panose="020B0604030504040204" pitchFamily="34" charset="0"/>
                  </a:defRPr>
                </a:lvl9pPr>
              </a:lstStyle>
              <a:p>
                <a:pPr eaLnBrk="1" hangingPunct="1">
                  <a:defRPr/>
                </a:pPr>
                <a:endParaRPr lang="en-GB" altLang="de-DE" b="0">
                  <a:solidFill>
                    <a:srgbClr val="000000"/>
                  </a:solidFill>
                  <a:latin typeface="Arial" panose="020B0604020202020204" pitchFamily="34" charset="0"/>
                </a:endParaRPr>
              </a:p>
            </p:txBody>
          </p:sp>
          <p:sp>
            <p:nvSpPr>
              <p:cNvPr id="24" name="T2">
                <a:extLst>
                  <a:ext uri="{FF2B5EF4-FFF2-40B4-BE49-F238E27FC236}">
                    <a16:creationId xmlns:a16="http://schemas.microsoft.com/office/drawing/2014/main" id="{371D5DEA-F7AE-E8C7-9096-EE9557B94DCA}"/>
                  </a:ext>
                </a:extLst>
              </p:cNvPr>
              <p:cNvSpPr>
                <a:spLocks/>
              </p:cNvSpPr>
              <p:nvPr userDrawn="1"/>
            </p:nvSpPr>
            <p:spPr bwMode="auto">
              <a:xfrm>
                <a:off x="1011758" y="168151"/>
                <a:ext cx="176213" cy="258763"/>
              </a:xfrm>
              <a:custGeom>
                <a:avLst/>
                <a:gdLst>
                  <a:gd name="T0" fmla="*/ 98916612 w 222"/>
                  <a:gd name="T1" fmla="*/ 206025508 h 325"/>
                  <a:gd name="T2" fmla="*/ 98916612 w 222"/>
                  <a:gd name="T3" fmla="*/ 49446026 h 325"/>
                  <a:gd name="T4" fmla="*/ 139869466 w 222"/>
                  <a:gd name="T5" fmla="*/ 49446026 h 325"/>
                  <a:gd name="T6" fmla="*/ 139869466 w 222"/>
                  <a:gd name="T7" fmla="*/ 0 h 325"/>
                  <a:gd name="T8" fmla="*/ 0 w 222"/>
                  <a:gd name="T9" fmla="*/ 0 h 325"/>
                  <a:gd name="T10" fmla="*/ 0 w 222"/>
                  <a:gd name="T11" fmla="*/ 49446026 h 325"/>
                  <a:gd name="T12" fmla="*/ 41583093 w 222"/>
                  <a:gd name="T13" fmla="*/ 49446026 h 325"/>
                  <a:gd name="T14" fmla="*/ 41583093 w 222"/>
                  <a:gd name="T15" fmla="*/ 206025508 h 325"/>
                  <a:gd name="T16" fmla="*/ 41583093 w 222"/>
                  <a:gd name="T17" fmla="*/ 206025508 h 325"/>
                  <a:gd name="T18" fmla="*/ 98916612 w 222"/>
                  <a:gd name="T19" fmla="*/ 206025508 h 3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22" h="325">
                    <a:moveTo>
                      <a:pt x="157" y="325"/>
                    </a:moveTo>
                    <a:lnTo>
                      <a:pt x="157" y="78"/>
                    </a:lnTo>
                    <a:lnTo>
                      <a:pt x="222" y="78"/>
                    </a:lnTo>
                    <a:lnTo>
                      <a:pt x="222" y="0"/>
                    </a:lnTo>
                    <a:lnTo>
                      <a:pt x="0" y="0"/>
                    </a:lnTo>
                    <a:lnTo>
                      <a:pt x="0" y="78"/>
                    </a:lnTo>
                    <a:lnTo>
                      <a:pt x="66" y="78"/>
                    </a:lnTo>
                    <a:lnTo>
                      <a:pt x="66" y="325"/>
                    </a:lnTo>
                    <a:lnTo>
                      <a:pt x="157" y="32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 name="T1">
                <a:extLst>
                  <a:ext uri="{FF2B5EF4-FFF2-40B4-BE49-F238E27FC236}">
                    <a16:creationId xmlns:a16="http://schemas.microsoft.com/office/drawing/2014/main" id="{1E2906FC-0725-1816-40B9-F2480A12673E}"/>
                  </a:ext>
                </a:extLst>
              </p:cNvPr>
              <p:cNvSpPr>
                <a:spLocks/>
              </p:cNvSpPr>
              <p:nvPr userDrawn="1"/>
            </p:nvSpPr>
            <p:spPr bwMode="auto">
              <a:xfrm>
                <a:off x="799033" y="168151"/>
                <a:ext cx="193675" cy="258763"/>
              </a:xfrm>
              <a:custGeom>
                <a:avLst/>
                <a:gdLst>
                  <a:gd name="T0" fmla="*/ 55443438 w 244"/>
                  <a:gd name="T1" fmla="*/ 49446026 h 325"/>
                  <a:gd name="T2" fmla="*/ 55443438 w 244"/>
                  <a:gd name="T3" fmla="*/ 206025508 h 325"/>
                  <a:gd name="T4" fmla="*/ 112776794 w 244"/>
                  <a:gd name="T5" fmla="*/ 206025508 h 325"/>
                  <a:gd name="T6" fmla="*/ 112776794 w 244"/>
                  <a:gd name="T7" fmla="*/ 49446026 h 325"/>
                  <a:gd name="T8" fmla="*/ 153729531 w 244"/>
                  <a:gd name="T9" fmla="*/ 49446026 h 325"/>
                  <a:gd name="T10" fmla="*/ 153729531 w 244"/>
                  <a:gd name="T11" fmla="*/ 0 h 325"/>
                  <a:gd name="T12" fmla="*/ 15751175 w 244"/>
                  <a:gd name="T13" fmla="*/ 0 h 325"/>
                  <a:gd name="T14" fmla="*/ 0 w 244"/>
                  <a:gd name="T15" fmla="*/ 49446026 h 325"/>
                  <a:gd name="T16" fmla="*/ 55443438 w 244"/>
                  <a:gd name="T17" fmla="*/ 49446026 h 3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44" h="325">
                    <a:moveTo>
                      <a:pt x="88" y="78"/>
                    </a:moveTo>
                    <a:lnTo>
                      <a:pt x="88" y="325"/>
                    </a:lnTo>
                    <a:lnTo>
                      <a:pt x="179" y="325"/>
                    </a:lnTo>
                    <a:lnTo>
                      <a:pt x="179" y="78"/>
                    </a:lnTo>
                    <a:lnTo>
                      <a:pt x="244" y="78"/>
                    </a:lnTo>
                    <a:lnTo>
                      <a:pt x="244" y="0"/>
                    </a:lnTo>
                    <a:lnTo>
                      <a:pt x="25" y="0"/>
                    </a:lnTo>
                    <a:lnTo>
                      <a:pt x="0" y="78"/>
                    </a:lnTo>
                    <a:lnTo>
                      <a:pt x="88" y="7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 name="V">
                <a:extLst>
                  <a:ext uri="{FF2B5EF4-FFF2-40B4-BE49-F238E27FC236}">
                    <a16:creationId xmlns:a16="http://schemas.microsoft.com/office/drawing/2014/main" id="{1143835C-E191-6BE2-3F03-5C9796872659}"/>
                  </a:ext>
                </a:extLst>
              </p:cNvPr>
              <p:cNvSpPr>
                <a:spLocks/>
              </p:cNvSpPr>
              <p:nvPr userDrawn="1"/>
            </p:nvSpPr>
            <p:spPr bwMode="auto">
              <a:xfrm>
                <a:off x="567258" y="168151"/>
                <a:ext cx="230188" cy="258763"/>
              </a:xfrm>
              <a:custGeom>
                <a:avLst/>
                <a:gdLst>
                  <a:gd name="T0" fmla="*/ 116731600 w 289"/>
                  <a:gd name="T1" fmla="*/ 206025508 h 325"/>
                  <a:gd name="T2" fmla="*/ 183344344 w 289"/>
                  <a:gd name="T3" fmla="*/ 0 h 325"/>
                  <a:gd name="T4" fmla="*/ 124978544 w 289"/>
                  <a:gd name="T5" fmla="*/ 0 h 325"/>
                  <a:gd name="T6" fmla="*/ 90720356 w 289"/>
                  <a:gd name="T7" fmla="*/ 105865119 h 325"/>
                  <a:gd name="T8" fmla="*/ 85645069 w 289"/>
                  <a:gd name="T9" fmla="*/ 121079587 h 325"/>
                  <a:gd name="T10" fmla="*/ 85645069 w 289"/>
                  <a:gd name="T11" fmla="*/ 121079587 h 325"/>
                  <a:gd name="T12" fmla="*/ 85645069 w 289"/>
                  <a:gd name="T13" fmla="*/ 121079587 h 325"/>
                  <a:gd name="T14" fmla="*/ 85645069 w 289"/>
                  <a:gd name="T15" fmla="*/ 121079587 h 325"/>
                  <a:gd name="T16" fmla="*/ 85645069 w 289"/>
                  <a:gd name="T17" fmla="*/ 121079587 h 325"/>
                  <a:gd name="T18" fmla="*/ 85645069 w 289"/>
                  <a:gd name="T19" fmla="*/ 121079587 h 325"/>
                  <a:gd name="T20" fmla="*/ 85645069 w 289"/>
                  <a:gd name="T21" fmla="*/ 121079587 h 325"/>
                  <a:gd name="T22" fmla="*/ 81204592 w 289"/>
                  <a:gd name="T23" fmla="*/ 105865119 h 325"/>
                  <a:gd name="T24" fmla="*/ 57730991 w 289"/>
                  <a:gd name="T25" fmla="*/ 38035772 h 325"/>
                  <a:gd name="T26" fmla="*/ 0 w 289"/>
                  <a:gd name="T27" fmla="*/ 38035772 h 325"/>
                  <a:gd name="T28" fmla="*/ 57096978 w 289"/>
                  <a:gd name="T29" fmla="*/ 206025508 h 325"/>
                  <a:gd name="T30" fmla="*/ 116731600 w 289"/>
                  <a:gd name="T31" fmla="*/ 206025508 h 32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89" h="325">
                    <a:moveTo>
                      <a:pt x="184" y="325"/>
                    </a:moveTo>
                    <a:lnTo>
                      <a:pt x="289" y="0"/>
                    </a:lnTo>
                    <a:lnTo>
                      <a:pt x="197" y="0"/>
                    </a:lnTo>
                    <a:lnTo>
                      <a:pt x="143" y="167"/>
                    </a:lnTo>
                    <a:lnTo>
                      <a:pt x="135" y="191"/>
                    </a:lnTo>
                    <a:lnTo>
                      <a:pt x="128" y="167"/>
                    </a:lnTo>
                    <a:lnTo>
                      <a:pt x="91" y="60"/>
                    </a:lnTo>
                    <a:lnTo>
                      <a:pt x="0" y="60"/>
                    </a:lnTo>
                    <a:lnTo>
                      <a:pt x="90" y="325"/>
                    </a:lnTo>
                    <a:lnTo>
                      <a:pt x="184" y="32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grpSp>
          <p:nvGrpSpPr>
            <p:cNvPr id="18" name="_VTT_logo_102019_09_orange_on_white" hidden="1">
              <a:extLst>
                <a:ext uri="{FF2B5EF4-FFF2-40B4-BE49-F238E27FC236}">
                  <a16:creationId xmlns:a16="http://schemas.microsoft.com/office/drawing/2014/main" id="{406C2226-322A-372E-EAC5-131866D8ACAF}"/>
                </a:ext>
              </a:extLst>
            </p:cNvPr>
            <p:cNvGrpSpPr>
              <a:grpSpLocks/>
            </p:cNvGrpSpPr>
            <p:nvPr userDrawn="1"/>
          </p:nvGrpSpPr>
          <p:grpSpPr bwMode="auto">
            <a:xfrm>
              <a:off x="7909204" y="1770762"/>
              <a:ext cx="971550" cy="655638"/>
              <a:chOff x="379933" y="-15999"/>
              <a:chExt cx="971550" cy="655638"/>
            </a:xfrm>
          </p:grpSpPr>
          <p:sp>
            <p:nvSpPr>
              <p:cNvPr id="19" name="Box">
                <a:extLst>
                  <a:ext uri="{FF2B5EF4-FFF2-40B4-BE49-F238E27FC236}">
                    <a16:creationId xmlns:a16="http://schemas.microsoft.com/office/drawing/2014/main" id="{7D543507-E72E-6321-CB74-2AF79CA7CADD}"/>
                  </a:ext>
                </a:extLst>
              </p:cNvPr>
              <p:cNvSpPr>
                <a:spLocks noChangeArrowheads="1"/>
              </p:cNvSpPr>
              <p:nvPr userDrawn="1"/>
            </p:nvSpPr>
            <p:spPr bwMode="auto">
              <a:xfrm>
                <a:off x="379933" y="-15999"/>
                <a:ext cx="971550" cy="655638"/>
              </a:xfrm>
              <a:prstGeom prst="rect">
                <a:avLst/>
              </a:prstGeom>
              <a:solidFill>
                <a:srgbClr val="FFFFFF"/>
              </a:solidFill>
              <a:ln>
                <a:noFill/>
              </a:ln>
            </p:spPr>
            <p:txBody>
              <a:bodyPr/>
              <a:lstStyle>
                <a:lvl1pPr defTabSz="455613">
                  <a:defRPr b="1">
                    <a:solidFill>
                      <a:schemeClr val="tx1"/>
                    </a:solidFill>
                    <a:latin typeface="Verdana" panose="020B0604030504040204" pitchFamily="34" charset="0"/>
                  </a:defRPr>
                </a:lvl1pPr>
                <a:lvl2pPr marL="742950" indent="-285750" defTabSz="455613">
                  <a:defRPr b="1">
                    <a:solidFill>
                      <a:schemeClr val="tx1"/>
                    </a:solidFill>
                    <a:latin typeface="Verdana" panose="020B0604030504040204" pitchFamily="34" charset="0"/>
                  </a:defRPr>
                </a:lvl2pPr>
                <a:lvl3pPr marL="1143000" indent="-228600" defTabSz="455613">
                  <a:defRPr b="1">
                    <a:solidFill>
                      <a:schemeClr val="tx1"/>
                    </a:solidFill>
                    <a:latin typeface="Verdana" panose="020B0604030504040204" pitchFamily="34" charset="0"/>
                  </a:defRPr>
                </a:lvl3pPr>
                <a:lvl4pPr marL="1600200" indent="-228600" defTabSz="455613">
                  <a:defRPr b="1">
                    <a:solidFill>
                      <a:schemeClr val="tx1"/>
                    </a:solidFill>
                    <a:latin typeface="Verdana" panose="020B0604030504040204" pitchFamily="34" charset="0"/>
                  </a:defRPr>
                </a:lvl4pPr>
                <a:lvl5pPr marL="2057400" indent="-228600" defTabSz="455613">
                  <a:defRPr b="1">
                    <a:solidFill>
                      <a:schemeClr val="tx1"/>
                    </a:solidFill>
                    <a:latin typeface="Verdana" panose="020B0604030504040204" pitchFamily="34" charset="0"/>
                  </a:defRPr>
                </a:lvl5pPr>
                <a:lvl6pPr marL="2514600" indent="-228600" defTabSz="455613" eaLnBrk="0" fontAlgn="base" hangingPunct="0">
                  <a:spcBef>
                    <a:spcPct val="0"/>
                  </a:spcBef>
                  <a:spcAft>
                    <a:spcPct val="0"/>
                  </a:spcAft>
                  <a:defRPr b="1">
                    <a:solidFill>
                      <a:schemeClr val="tx1"/>
                    </a:solidFill>
                    <a:latin typeface="Verdana" panose="020B0604030504040204" pitchFamily="34" charset="0"/>
                  </a:defRPr>
                </a:lvl6pPr>
                <a:lvl7pPr marL="2971800" indent="-228600" defTabSz="455613" eaLnBrk="0" fontAlgn="base" hangingPunct="0">
                  <a:spcBef>
                    <a:spcPct val="0"/>
                  </a:spcBef>
                  <a:spcAft>
                    <a:spcPct val="0"/>
                  </a:spcAft>
                  <a:defRPr b="1">
                    <a:solidFill>
                      <a:schemeClr val="tx1"/>
                    </a:solidFill>
                    <a:latin typeface="Verdana" panose="020B0604030504040204" pitchFamily="34" charset="0"/>
                  </a:defRPr>
                </a:lvl7pPr>
                <a:lvl8pPr marL="3429000" indent="-228600" defTabSz="455613" eaLnBrk="0" fontAlgn="base" hangingPunct="0">
                  <a:spcBef>
                    <a:spcPct val="0"/>
                  </a:spcBef>
                  <a:spcAft>
                    <a:spcPct val="0"/>
                  </a:spcAft>
                  <a:defRPr b="1">
                    <a:solidFill>
                      <a:schemeClr val="tx1"/>
                    </a:solidFill>
                    <a:latin typeface="Verdana" panose="020B0604030504040204" pitchFamily="34" charset="0"/>
                  </a:defRPr>
                </a:lvl8pPr>
                <a:lvl9pPr marL="3886200" indent="-228600" defTabSz="455613" eaLnBrk="0" fontAlgn="base" hangingPunct="0">
                  <a:spcBef>
                    <a:spcPct val="0"/>
                  </a:spcBef>
                  <a:spcAft>
                    <a:spcPct val="0"/>
                  </a:spcAft>
                  <a:defRPr b="1">
                    <a:solidFill>
                      <a:schemeClr val="tx1"/>
                    </a:solidFill>
                    <a:latin typeface="Verdana" panose="020B0604030504040204" pitchFamily="34" charset="0"/>
                  </a:defRPr>
                </a:lvl9pPr>
              </a:lstStyle>
              <a:p>
                <a:pPr eaLnBrk="1" hangingPunct="1">
                  <a:defRPr/>
                </a:pPr>
                <a:endParaRPr lang="en-GB" altLang="de-DE" b="0">
                  <a:solidFill>
                    <a:srgbClr val="000000"/>
                  </a:solidFill>
                  <a:latin typeface="Arial" panose="020B0604020202020204" pitchFamily="34" charset="0"/>
                </a:endParaRPr>
              </a:p>
            </p:txBody>
          </p:sp>
          <p:sp>
            <p:nvSpPr>
              <p:cNvPr id="20" name="T2">
                <a:extLst>
                  <a:ext uri="{FF2B5EF4-FFF2-40B4-BE49-F238E27FC236}">
                    <a16:creationId xmlns:a16="http://schemas.microsoft.com/office/drawing/2014/main" id="{0A83947A-CEF0-4544-8DA9-138F6BCB2DE7}"/>
                  </a:ext>
                </a:extLst>
              </p:cNvPr>
              <p:cNvSpPr>
                <a:spLocks/>
              </p:cNvSpPr>
              <p:nvPr userDrawn="1"/>
            </p:nvSpPr>
            <p:spPr bwMode="auto">
              <a:xfrm>
                <a:off x="1011758" y="168151"/>
                <a:ext cx="176213" cy="258763"/>
              </a:xfrm>
              <a:custGeom>
                <a:avLst/>
                <a:gdLst>
                  <a:gd name="T0" fmla="*/ 98916612 w 222"/>
                  <a:gd name="T1" fmla="*/ 206025508 h 325"/>
                  <a:gd name="T2" fmla="*/ 98916612 w 222"/>
                  <a:gd name="T3" fmla="*/ 49446026 h 325"/>
                  <a:gd name="T4" fmla="*/ 139869466 w 222"/>
                  <a:gd name="T5" fmla="*/ 49446026 h 325"/>
                  <a:gd name="T6" fmla="*/ 139869466 w 222"/>
                  <a:gd name="T7" fmla="*/ 0 h 325"/>
                  <a:gd name="T8" fmla="*/ 0 w 222"/>
                  <a:gd name="T9" fmla="*/ 0 h 325"/>
                  <a:gd name="T10" fmla="*/ 0 w 222"/>
                  <a:gd name="T11" fmla="*/ 49446026 h 325"/>
                  <a:gd name="T12" fmla="*/ 41583093 w 222"/>
                  <a:gd name="T13" fmla="*/ 49446026 h 325"/>
                  <a:gd name="T14" fmla="*/ 41583093 w 222"/>
                  <a:gd name="T15" fmla="*/ 206025508 h 325"/>
                  <a:gd name="T16" fmla="*/ 41583093 w 222"/>
                  <a:gd name="T17" fmla="*/ 206025508 h 325"/>
                  <a:gd name="T18" fmla="*/ 98916612 w 222"/>
                  <a:gd name="T19" fmla="*/ 206025508 h 3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22" h="325">
                    <a:moveTo>
                      <a:pt x="157" y="325"/>
                    </a:moveTo>
                    <a:lnTo>
                      <a:pt x="157" y="78"/>
                    </a:lnTo>
                    <a:lnTo>
                      <a:pt x="222" y="78"/>
                    </a:lnTo>
                    <a:lnTo>
                      <a:pt x="222" y="0"/>
                    </a:lnTo>
                    <a:lnTo>
                      <a:pt x="0" y="0"/>
                    </a:lnTo>
                    <a:lnTo>
                      <a:pt x="0" y="78"/>
                    </a:lnTo>
                    <a:lnTo>
                      <a:pt x="66" y="78"/>
                    </a:lnTo>
                    <a:lnTo>
                      <a:pt x="66" y="325"/>
                    </a:lnTo>
                    <a:lnTo>
                      <a:pt x="157" y="325"/>
                    </a:lnTo>
                    <a:close/>
                  </a:path>
                </a:pathLst>
              </a:custGeom>
              <a:solidFill>
                <a:srgbClr val="F06E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 name="T1">
                <a:extLst>
                  <a:ext uri="{FF2B5EF4-FFF2-40B4-BE49-F238E27FC236}">
                    <a16:creationId xmlns:a16="http://schemas.microsoft.com/office/drawing/2014/main" id="{F52C194A-DF10-06D4-1426-E7411EA63AB0}"/>
                  </a:ext>
                </a:extLst>
              </p:cNvPr>
              <p:cNvSpPr>
                <a:spLocks/>
              </p:cNvSpPr>
              <p:nvPr userDrawn="1"/>
            </p:nvSpPr>
            <p:spPr bwMode="auto">
              <a:xfrm>
                <a:off x="799033" y="168151"/>
                <a:ext cx="193675" cy="258763"/>
              </a:xfrm>
              <a:custGeom>
                <a:avLst/>
                <a:gdLst>
                  <a:gd name="T0" fmla="*/ 55443438 w 244"/>
                  <a:gd name="T1" fmla="*/ 49446026 h 325"/>
                  <a:gd name="T2" fmla="*/ 55443438 w 244"/>
                  <a:gd name="T3" fmla="*/ 206025508 h 325"/>
                  <a:gd name="T4" fmla="*/ 112776794 w 244"/>
                  <a:gd name="T5" fmla="*/ 206025508 h 325"/>
                  <a:gd name="T6" fmla="*/ 112776794 w 244"/>
                  <a:gd name="T7" fmla="*/ 49446026 h 325"/>
                  <a:gd name="T8" fmla="*/ 153729531 w 244"/>
                  <a:gd name="T9" fmla="*/ 49446026 h 325"/>
                  <a:gd name="T10" fmla="*/ 153729531 w 244"/>
                  <a:gd name="T11" fmla="*/ 0 h 325"/>
                  <a:gd name="T12" fmla="*/ 15751175 w 244"/>
                  <a:gd name="T13" fmla="*/ 0 h 325"/>
                  <a:gd name="T14" fmla="*/ 0 w 244"/>
                  <a:gd name="T15" fmla="*/ 49446026 h 325"/>
                  <a:gd name="T16" fmla="*/ 55443438 w 244"/>
                  <a:gd name="T17" fmla="*/ 49446026 h 3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44" h="325">
                    <a:moveTo>
                      <a:pt x="88" y="78"/>
                    </a:moveTo>
                    <a:lnTo>
                      <a:pt x="88" y="325"/>
                    </a:lnTo>
                    <a:lnTo>
                      <a:pt x="179" y="325"/>
                    </a:lnTo>
                    <a:lnTo>
                      <a:pt x="179" y="78"/>
                    </a:lnTo>
                    <a:lnTo>
                      <a:pt x="244" y="78"/>
                    </a:lnTo>
                    <a:lnTo>
                      <a:pt x="244" y="0"/>
                    </a:lnTo>
                    <a:lnTo>
                      <a:pt x="25" y="0"/>
                    </a:lnTo>
                    <a:lnTo>
                      <a:pt x="0" y="78"/>
                    </a:lnTo>
                    <a:lnTo>
                      <a:pt x="88" y="78"/>
                    </a:lnTo>
                    <a:close/>
                  </a:path>
                </a:pathLst>
              </a:custGeom>
              <a:solidFill>
                <a:srgbClr val="F06E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 name="V">
                <a:extLst>
                  <a:ext uri="{FF2B5EF4-FFF2-40B4-BE49-F238E27FC236}">
                    <a16:creationId xmlns:a16="http://schemas.microsoft.com/office/drawing/2014/main" id="{951199A7-B95C-C7ED-9E3E-A1136C4F3752}"/>
                  </a:ext>
                </a:extLst>
              </p:cNvPr>
              <p:cNvSpPr>
                <a:spLocks/>
              </p:cNvSpPr>
              <p:nvPr userDrawn="1"/>
            </p:nvSpPr>
            <p:spPr bwMode="auto">
              <a:xfrm>
                <a:off x="567258" y="168151"/>
                <a:ext cx="230188" cy="258763"/>
              </a:xfrm>
              <a:custGeom>
                <a:avLst/>
                <a:gdLst>
                  <a:gd name="T0" fmla="*/ 116731600 w 289"/>
                  <a:gd name="T1" fmla="*/ 206025508 h 325"/>
                  <a:gd name="T2" fmla="*/ 183344344 w 289"/>
                  <a:gd name="T3" fmla="*/ 0 h 325"/>
                  <a:gd name="T4" fmla="*/ 124978544 w 289"/>
                  <a:gd name="T5" fmla="*/ 0 h 325"/>
                  <a:gd name="T6" fmla="*/ 90720356 w 289"/>
                  <a:gd name="T7" fmla="*/ 105865119 h 325"/>
                  <a:gd name="T8" fmla="*/ 85645069 w 289"/>
                  <a:gd name="T9" fmla="*/ 121079587 h 325"/>
                  <a:gd name="T10" fmla="*/ 85645069 w 289"/>
                  <a:gd name="T11" fmla="*/ 121079587 h 325"/>
                  <a:gd name="T12" fmla="*/ 85645069 w 289"/>
                  <a:gd name="T13" fmla="*/ 121079587 h 325"/>
                  <a:gd name="T14" fmla="*/ 85645069 w 289"/>
                  <a:gd name="T15" fmla="*/ 121079587 h 325"/>
                  <a:gd name="T16" fmla="*/ 85645069 w 289"/>
                  <a:gd name="T17" fmla="*/ 121079587 h 325"/>
                  <a:gd name="T18" fmla="*/ 85645069 w 289"/>
                  <a:gd name="T19" fmla="*/ 121079587 h 325"/>
                  <a:gd name="T20" fmla="*/ 85645069 w 289"/>
                  <a:gd name="T21" fmla="*/ 121079587 h 325"/>
                  <a:gd name="T22" fmla="*/ 81204592 w 289"/>
                  <a:gd name="T23" fmla="*/ 105865119 h 325"/>
                  <a:gd name="T24" fmla="*/ 57730991 w 289"/>
                  <a:gd name="T25" fmla="*/ 38035772 h 325"/>
                  <a:gd name="T26" fmla="*/ 0 w 289"/>
                  <a:gd name="T27" fmla="*/ 38035772 h 325"/>
                  <a:gd name="T28" fmla="*/ 57096978 w 289"/>
                  <a:gd name="T29" fmla="*/ 206025508 h 325"/>
                  <a:gd name="T30" fmla="*/ 116731600 w 289"/>
                  <a:gd name="T31" fmla="*/ 206025508 h 32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89" h="325">
                    <a:moveTo>
                      <a:pt x="184" y="325"/>
                    </a:moveTo>
                    <a:lnTo>
                      <a:pt x="289" y="0"/>
                    </a:lnTo>
                    <a:lnTo>
                      <a:pt x="197" y="0"/>
                    </a:lnTo>
                    <a:lnTo>
                      <a:pt x="143" y="167"/>
                    </a:lnTo>
                    <a:lnTo>
                      <a:pt x="135" y="191"/>
                    </a:lnTo>
                    <a:lnTo>
                      <a:pt x="128" y="167"/>
                    </a:lnTo>
                    <a:lnTo>
                      <a:pt x="91" y="60"/>
                    </a:lnTo>
                    <a:lnTo>
                      <a:pt x="0" y="60"/>
                    </a:lnTo>
                    <a:lnTo>
                      <a:pt x="90" y="325"/>
                    </a:lnTo>
                    <a:lnTo>
                      <a:pt x="184" y="325"/>
                    </a:lnTo>
                    <a:close/>
                  </a:path>
                </a:pathLst>
              </a:custGeom>
              <a:solidFill>
                <a:srgbClr val="F06E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grpSp>
      <p:sp>
        <p:nvSpPr>
          <p:cNvPr id="9" name="Content Placeholder 7"/>
          <p:cNvSpPr>
            <a:spLocks noGrp="1"/>
          </p:cNvSpPr>
          <p:nvPr>
            <p:ph sz="quarter" idx="13"/>
          </p:nvPr>
        </p:nvSpPr>
        <p:spPr>
          <a:xfrm>
            <a:off x="958850" y="2097600"/>
            <a:ext cx="9263999" cy="4065600"/>
          </a:xfrm>
        </p:spPr>
        <p:txBody>
          <a:bodyPr numCol="1" spcCol="360000"/>
          <a:lstStyle>
            <a:lvl1pPr marL="287993" indent="-287993">
              <a:buFont typeface="Wingdings 2" panose="05020102010507070707" pitchFamily="18" charset="2"/>
              <a:buChar char="¡"/>
              <a:defRPr/>
            </a:lvl1pPr>
            <a:lvl5pPr>
              <a:defRPr/>
            </a:lvl5p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GB" noProof="0" dirty="0"/>
          </a:p>
        </p:txBody>
      </p:sp>
      <p:sp>
        <p:nvSpPr>
          <p:cNvPr id="6" name="Title 5"/>
          <p:cNvSpPr>
            <a:spLocks noGrp="1"/>
          </p:cNvSpPr>
          <p:nvPr>
            <p:ph type="title"/>
          </p:nvPr>
        </p:nvSpPr>
        <p:spPr/>
        <p:txBody>
          <a:bodyPr/>
          <a:lstStyle>
            <a:lvl1pPr>
              <a:defRPr/>
            </a:lvl1pPr>
          </a:lstStyle>
          <a:p>
            <a:r>
              <a:rPr lang="en-GB" noProof="0" dirty="0"/>
              <a:t>Click to edit Master title style</a:t>
            </a:r>
          </a:p>
        </p:txBody>
      </p:sp>
      <p:sp>
        <p:nvSpPr>
          <p:cNvPr id="55" name="Date Placeholder 2">
            <a:extLst>
              <a:ext uri="{FF2B5EF4-FFF2-40B4-BE49-F238E27FC236}">
                <a16:creationId xmlns:a16="http://schemas.microsoft.com/office/drawing/2014/main" id="{AFD4C84E-4135-5274-2864-C4AC31D07C84}"/>
              </a:ext>
            </a:extLst>
          </p:cNvPr>
          <p:cNvSpPr>
            <a:spLocks noGrp="1"/>
          </p:cNvSpPr>
          <p:nvPr>
            <p:ph type="dt" sz="half" idx="14"/>
          </p:nvPr>
        </p:nvSpPr>
        <p:spPr/>
        <p:txBody>
          <a:bodyPr/>
          <a:lstStyle>
            <a:lvl1pPr>
              <a:defRPr/>
            </a:lvl1pPr>
          </a:lstStyle>
          <a:p>
            <a:pPr>
              <a:defRPr/>
            </a:pPr>
            <a:fld id="{A6E6EB9B-27F1-44F0-AF7F-C367E7CEC10C}" type="datetime1">
              <a:rPr lang="en-GB"/>
              <a:pPr>
                <a:defRPr/>
              </a:pPr>
              <a:t>28/01/2024</a:t>
            </a:fld>
            <a:endParaRPr lang="en-GB" dirty="0"/>
          </a:p>
        </p:txBody>
      </p:sp>
      <p:sp>
        <p:nvSpPr>
          <p:cNvPr id="56" name="Footer Placeholder 3">
            <a:extLst>
              <a:ext uri="{FF2B5EF4-FFF2-40B4-BE49-F238E27FC236}">
                <a16:creationId xmlns:a16="http://schemas.microsoft.com/office/drawing/2014/main" id="{8A61A2B0-2D60-6B78-99D7-6DAD2BA71F21}"/>
              </a:ext>
            </a:extLst>
          </p:cNvPr>
          <p:cNvSpPr>
            <a:spLocks noGrp="1"/>
          </p:cNvSpPr>
          <p:nvPr>
            <p:ph type="ftr" sz="quarter" idx="15"/>
          </p:nvPr>
        </p:nvSpPr>
        <p:spPr/>
        <p:txBody>
          <a:bodyPr/>
          <a:lstStyle>
            <a:lvl1pPr>
              <a:defRPr/>
            </a:lvl1pPr>
          </a:lstStyle>
          <a:p>
            <a:pPr>
              <a:defRPr/>
            </a:pPr>
            <a:r>
              <a:rPr lang="en-GB"/>
              <a:t>VTT – beyond the obvious</a:t>
            </a:r>
            <a:endParaRPr lang="en-GB" dirty="0"/>
          </a:p>
        </p:txBody>
      </p:sp>
      <p:sp>
        <p:nvSpPr>
          <p:cNvPr id="57" name="Slide Number Placeholder 4">
            <a:extLst>
              <a:ext uri="{FF2B5EF4-FFF2-40B4-BE49-F238E27FC236}">
                <a16:creationId xmlns:a16="http://schemas.microsoft.com/office/drawing/2014/main" id="{8DA24A47-CB36-47AD-C3E0-6E2191B90DDC}"/>
              </a:ext>
            </a:extLst>
          </p:cNvPr>
          <p:cNvSpPr>
            <a:spLocks noGrp="1"/>
          </p:cNvSpPr>
          <p:nvPr>
            <p:ph type="sldNum" sz="quarter" idx="16"/>
          </p:nvPr>
        </p:nvSpPr>
        <p:spPr/>
        <p:txBody>
          <a:bodyPr/>
          <a:lstStyle>
            <a:lvl1pPr>
              <a:defRPr/>
            </a:lvl1pPr>
          </a:lstStyle>
          <a:p>
            <a:pPr>
              <a:defRPr/>
            </a:pPr>
            <a:fld id="{EA32019E-80CC-46EE-AD08-78A88EE32E7E}" type="slidenum">
              <a:rPr lang="en-GB"/>
              <a:pPr>
                <a:defRPr/>
              </a:pPr>
              <a:t>‹Nr.›</a:t>
            </a:fld>
            <a:endParaRPr lang="en-GB" dirty="0"/>
          </a:p>
        </p:txBody>
      </p:sp>
    </p:spTree>
    <p:extLst>
      <p:ext uri="{BB962C8B-B14F-4D97-AF65-F5344CB8AC3E}">
        <p14:creationId xmlns:p14="http://schemas.microsoft.com/office/powerpoint/2010/main" val="3190269854"/>
      </p:ext>
    </p:extLst>
  </p:cSld>
  <p:clrMapOvr>
    <a:masterClrMapping/>
  </p:clrMapOvr>
  <p:transition spd="med">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VTT 2020 Content slide City 01d">
    <p:spTree>
      <p:nvGrpSpPr>
        <p:cNvPr id="1" name=""/>
        <p:cNvGrpSpPr/>
        <p:nvPr/>
      </p:nvGrpSpPr>
      <p:grpSpPr>
        <a:xfrm>
          <a:off x="0" y="0"/>
          <a:ext cx="0" cy="0"/>
          <a:chOff x="0" y="0"/>
          <a:chExt cx="0" cy="0"/>
        </a:xfrm>
      </p:grpSpPr>
      <p:grpSp>
        <p:nvGrpSpPr>
          <p:cNvPr id="2" name="VTT_LogoStack_v3_16092019 pienempi koko">
            <a:extLst>
              <a:ext uri="{FF2B5EF4-FFF2-40B4-BE49-F238E27FC236}">
                <a16:creationId xmlns:a16="http://schemas.microsoft.com/office/drawing/2014/main" id="{4D7F00FC-E6D9-EEE6-ABAE-E7CC452EC3CC}"/>
              </a:ext>
            </a:extLst>
          </p:cNvPr>
          <p:cNvGrpSpPr>
            <a:grpSpLocks/>
          </p:cNvGrpSpPr>
          <p:nvPr userDrawn="1"/>
        </p:nvGrpSpPr>
        <p:grpSpPr bwMode="auto">
          <a:xfrm>
            <a:off x="10725150" y="0"/>
            <a:ext cx="1158875" cy="782638"/>
            <a:chOff x="7909204" y="1770762"/>
            <a:chExt cx="971550" cy="655638"/>
          </a:xfrm>
        </p:grpSpPr>
        <p:grpSp>
          <p:nvGrpSpPr>
            <p:cNvPr id="3" name="_VTT_logo_102019_01_white_on_orange">
              <a:extLst>
                <a:ext uri="{FF2B5EF4-FFF2-40B4-BE49-F238E27FC236}">
                  <a16:creationId xmlns:a16="http://schemas.microsoft.com/office/drawing/2014/main" id="{0BC52274-7178-C3AC-93D2-466EE02EC72B}"/>
                </a:ext>
              </a:extLst>
            </p:cNvPr>
            <p:cNvGrpSpPr>
              <a:grpSpLocks/>
            </p:cNvGrpSpPr>
            <p:nvPr userDrawn="1"/>
          </p:nvGrpSpPr>
          <p:grpSpPr bwMode="auto">
            <a:xfrm>
              <a:off x="7909204" y="1770762"/>
              <a:ext cx="971550" cy="655638"/>
              <a:chOff x="379933" y="-15999"/>
              <a:chExt cx="971550" cy="655638"/>
            </a:xfrm>
          </p:grpSpPr>
          <p:sp>
            <p:nvSpPr>
              <p:cNvPr id="46" name="Box">
                <a:extLst>
                  <a:ext uri="{FF2B5EF4-FFF2-40B4-BE49-F238E27FC236}">
                    <a16:creationId xmlns:a16="http://schemas.microsoft.com/office/drawing/2014/main" id="{D96D0125-1648-4EC2-FB44-97BA2F88FEB6}"/>
                  </a:ext>
                </a:extLst>
              </p:cNvPr>
              <p:cNvSpPr>
                <a:spLocks noChangeArrowheads="1"/>
              </p:cNvSpPr>
              <p:nvPr userDrawn="1"/>
            </p:nvSpPr>
            <p:spPr bwMode="auto">
              <a:xfrm>
                <a:off x="379933" y="-15999"/>
                <a:ext cx="971550" cy="655638"/>
              </a:xfrm>
              <a:prstGeom prst="rect">
                <a:avLst/>
              </a:prstGeom>
              <a:solidFill>
                <a:srgbClr val="F06E00"/>
              </a:solidFill>
              <a:ln>
                <a:noFill/>
              </a:ln>
            </p:spPr>
            <p:txBody>
              <a:bodyPr/>
              <a:lstStyle>
                <a:lvl1pPr defTabSz="455613">
                  <a:defRPr b="1">
                    <a:solidFill>
                      <a:schemeClr val="tx1"/>
                    </a:solidFill>
                    <a:latin typeface="Verdana" panose="020B0604030504040204" pitchFamily="34" charset="0"/>
                  </a:defRPr>
                </a:lvl1pPr>
                <a:lvl2pPr marL="742950" indent="-285750" defTabSz="455613">
                  <a:defRPr b="1">
                    <a:solidFill>
                      <a:schemeClr val="tx1"/>
                    </a:solidFill>
                    <a:latin typeface="Verdana" panose="020B0604030504040204" pitchFamily="34" charset="0"/>
                  </a:defRPr>
                </a:lvl2pPr>
                <a:lvl3pPr marL="1143000" indent="-228600" defTabSz="455613">
                  <a:defRPr b="1">
                    <a:solidFill>
                      <a:schemeClr val="tx1"/>
                    </a:solidFill>
                    <a:latin typeface="Verdana" panose="020B0604030504040204" pitchFamily="34" charset="0"/>
                  </a:defRPr>
                </a:lvl3pPr>
                <a:lvl4pPr marL="1600200" indent="-228600" defTabSz="455613">
                  <a:defRPr b="1">
                    <a:solidFill>
                      <a:schemeClr val="tx1"/>
                    </a:solidFill>
                    <a:latin typeface="Verdana" panose="020B0604030504040204" pitchFamily="34" charset="0"/>
                  </a:defRPr>
                </a:lvl4pPr>
                <a:lvl5pPr marL="2057400" indent="-228600" defTabSz="455613">
                  <a:defRPr b="1">
                    <a:solidFill>
                      <a:schemeClr val="tx1"/>
                    </a:solidFill>
                    <a:latin typeface="Verdana" panose="020B0604030504040204" pitchFamily="34" charset="0"/>
                  </a:defRPr>
                </a:lvl5pPr>
                <a:lvl6pPr marL="2514600" indent="-228600" defTabSz="455613" eaLnBrk="0" fontAlgn="base" hangingPunct="0">
                  <a:spcBef>
                    <a:spcPct val="0"/>
                  </a:spcBef>
                  <a:spcAft>
                    <a:spcPct val="0"/>
                  </a:spcAft>
                  <a:defRPr b="1">
                    <a:solidFill>
                      <a:schemeClr val="tx1"/>
                    </a:solidFill>
                    <a:latin typeface="Verdana" panose="020B0604030504040204" pitchFamily="34" charset="0"/>
                  </a:defRPr>
                </a:lvl6pPr>
                <a:lvl7pPr marL="2971800" indent="-228600" defTabSz="455613" eaLnBrk="0" fontAlgn="base" hangingPunct="0">
                  <a:spcBef>
                    <a:spcPct val="0"/>
                  </a:spcBef>
                  <a:spcAft>
                    <a:spcPct val="0"/>
                  </a:spcAft>
                  <a:defRPr b="1">
                    <a:solidFill>
                      <a:schemeClr val="tx1"/>
                    </a:solidFill>
                    <a:latin typeface="Verdana" panose="020B0604030504040204" pitchFamily="34" charset="0"/>
                  </a:defRPr>
                </a:lvl7pPr>
                <a:lvl8pPr marL="3429000" indent="-228600" defTabSz="455613" eaLnBrk="0" fontAlgn="base" hangingPunct="0">
                  <a:spcBef>
                    <a:spcPct val="0"/>
                  </a:spcBef>
                  <a:spcAft>
                    <a:spcPct val="0"/>
                  </a:spcAft>
                  <a:defRPr b="1">
                    <a:solidFill>
                      <a:schemeClr val="tx1"/>
                    </a:solidFill>
                    <a:latin typeface="Verdana" panose="020B0604030504040204" pitchFamily="34" charset="0"/>
                  </a:defRPr>
                </a:lvl8pPr>
                <a:lvl9pPr marL="3886200" indent="-228600" defTabSz="455613" eaLnBrk="0" fontAlgn="base" hangingPunct="0">
                  <a:spcBef>
                    <a:spcPct val="0"/>
                  </a:spcBef>
                  <a:spcAft>
                    <a:spcPct val="0"/>
                  </a:spcAft>
                  <a:defRPr b="1">
                    <a:solidFill>
                      <a:schemeClr val="tx1"/>
                    </a:solidFill>
                    <a:latin typeface="Verdana" panose="020B0604030504040204" pitchFamily="34" charset="0"/>
                  </a:defRPr>
                </a:lvl9pPr>
              </a:lstStyle>
              <a:p>
                <a:pPr eaLnBrk="1" hangingPunct="1">
                  <a:defRPr/>
                </a:pPr>
                <a:endParaRPr lang="en-GB" altLang="de-DE" b="0">
                  <a:solidFill>
                    <a:srgbClr val="000000"/>
                  </a:solidFill>
                  <a:latin typeface="Arial" panose="020B0604020202020204" pitchFamily="34" charset="0"/>
                </a:endParaRPr>
              </a:p>
            </p:txBody>
          </p:sp>
          <p:sp>
            <p:nvSpPr>
              <p:cNvPr id="47" name="T2">
                <a:extLst>
                  <a:ext uri="{FF2B5EF4-FFF2-40B4-BE49-F238E27FC236}">
                    <a16:creationId xmlns:a16="http://schemas.microsoft.com/office/drawing/2014/main" id="{119D4ABA-2461-A1D3-AF83-00B44D5E34B1}"/>
                  </a:ext>
                </a:extLst>
              </p:cNvPr>
              <p:cNvSpPr>
                <a:spLocks/>
              </p:cNvSpPr>
              <p:nvPr userDrawn="1"/>
            </p:nvSpPr>
            <p:spPr bwMode="auto">
              <a:xfrm>
                <a:off x="1011758" y="168151"/>
                <a:ext cx="176213" cy="258763"/>
              </a:xfrm>
              <a:custGeom>
                <a:avLst/>
                <a:gdLst>
                  <a:gd name="T0" fmla="*/ 98916612 w 222"/>
                  <a:gd name="T1" fmla="*/ 206025508 h 325"/>
                  <a:gd name="T2" fmla="*/ 98916612 w 222"/>
                  <a:gd name="T3" fmla="*/ 49446026 h 325"/>
                  <a:gd name="T4" fmla="*/ 139869466 w 222"/>
                  <a:gd name="T5" fmla="*/ 49446026 h 325"/>
                  <a:gd name="T6" fmla="*/ 139869466 w 222"/>
                  <a:gd name="T7" fmla="*/ 0 h 325"/>
                  <a:gd name="T8" fmla="*/ 0 w 222"/>
                  <a:gd name="T9" fmla="*/ 0 h 325"/>
                  <a:gd name="T10" fmla="*/ 0 w 222"/>
                  <a:gd name="T11" fmla="*/ 49446026 h 325"/>
                  <a:gd name="T12" fmla="*/ 41583093 w 222"/>
                  <a:gd name="T13" fmla="*/ 49446026 h 325"/>
                  <a:gd name="T14" fmla="*/ 41583093 w 222"/>
                  <a:gd name="T15" fmla="*/ 206025508 h 325"/>
                  <a:gd name="T16" fmla="*/ 41583093 w 222"/>
                  <a:gd name="T17" fmla="*/ 206025508 h 325"/>
                  <a:gd name="T18" fmla="*/ 98916612 w 222"/>
                  <a:gd name="T19" fmla="*/ 206025508 h 3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22" h="325">
                    <a:moveTo>
                      <a:pt x="157" y="325"/>
                    </a:moveTo>
                    <a:lnTo>
                      <a:pt x="157" y="78"/>
                    </a:lnTo>
                    <a:lnTo>
                      <a:pt x="222" y="78"/>
                    </a:lnTo>
                    <a:lnTo>
                      <a:pt x="222" y="0"/>
                    </a:lnTo>
                    <a:lnTo>
                      <a:pt x="0" y="0"/>
                    </a:lnTo>
                    <a:lnTo>
                      <a:pt x="0" y="78"/>
                    </a:lnTo>
                    <a:lnTo>
                      <a:pt x="66" y="78"/>
                    </a:lnTo>
                    <a:lnTo>
                      <a:pt x="66" y="325"/>
                    </a:lnTo>
                    <a:lnTo>
                      <a:pt x="157" y="3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48" name="T1">
                <a:extLst>
                  <a:ext uri="{FF2B5EF4-FFF2-40B4-BE49-F238E27FC236}">
                    <a16:creationId xmlns:a16="http://schemas.microsoft.com/office/drawing/2014/main" id="{404CBFFD-EF97-F11B-115A-FE504E88017D}"/>
                  </a:ext>
                </a:extLst>
              </p:cNvPr>
              <p:cNvSpPr>
                <a:spLocks/>
              </p:cNvSpPr>
              <p:nvPr userDrawn="1"/>
            </p:nvSpPr>
            <p:spPr bwMode="auto">
              <a:xfrm>
                <a:off x="799033" y="168151"/>
                <a:ext cx="193675" cy="258763"/>
              </a:xfrm>
              <a:custGeom>
                <a:avLst/>
                <a:gdLst>
                  <a:gd name="T0" fmla="*/ 55443438 w 244"/>
                  <a:gd name="T1" fmla="*/ 49446026 h 325"/>
                  <a:gd name="T2" fmla="*/ 55443438 w 244"/>
                  <a:gd name="T3" fmla="*/ 206025508 h 325"/>
                  <a:gd name="T4" fmla="*/ 112776794 w 244"/>
                  <a:gd name="T5" fmla="*/ 206025508 h 325"/>
                  <a:gd name="T6" fmla="*/ 112776794 w 244"/>
                  <a:gd name="T7" fmla="*/ 49446026 h 325"/>
                  <a:gd name="T8" fmla="*/ 153729531 w 244"/>
                  <a:gd name="T9" fmla="*/ 49446026 h 325"/>
                  <a:gd name="T10" fmla="*/ 153729531 w 244"/>
                  <a:gd name="T11" fmla="*/ 0 h 325"/>
                  <a:gd name="T12" fmla="*/ 15751175 w 244"/>
                  <a:gd name="T13" fmla="*/ 0 h 325"/>
                  <a:gd name="T14" fmla="*/ 0 w 244"/>
                  <a:gd name="T15" fmla="*/ 49446026 h 325"/>
                  <a:gd name="T16" fmla="*/ 55443438 w 244"/>
                  <a:gd name="T17" fmla="*/ 49446026 h 3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44" h="325">
                    <a:moveTo>
                      <a:pt x="88" y="78"/>
                    </a:moveTo>
                    <a:lnTo>
                      <a:pt x="88" y="325"/>
                    </a:lnTo>
                    <a:lnTo>
                      <a:pt x="179" y="325"/>
                    </a:lnTo>
                    <a:lnTo>
                      <a:pt x="179" y="78"/>
                    </a:lnTo>
                    <a:lnTo>
                      <a:pt x="244" y="78"/>
                    </a:lnTo>
                    <a:lnTo>
                      <a:pt x="244" y="0"/>
                    </a:lnTo>
                    <a:lnTo>
                      <a:pt x="25" y="0"/>
                    </a:lnTo>
                    <a:lnTo>
                      <a:pt x="0" y="78"/>
                    </a:lnTo>
                    <a:lnTo>
                      <a:pt x="88"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49" name="V">
                <a:extLst>
                  <a:ext uri="{FF2B5EF4-FFF2-40B4-BE49-F238E27FC236}">
                    <a16:creationId xmlns:a16="http://schemas.microsoft.com/office/drawing/2014/main" id="{AFB66EC2-6F8F-CBF0-EF2E-83A96C8B3DFF}"/>
                  </a:ext>
                </a:extLst>
              </p:cNvPr>
              <p:cNvSpPr>
                <a:spLocks/>
              </p:cNvSpPr>
              <p:nvPr userDrawn="1"/>
            </p:nvSpPr>
            <p:spPr bwMode="auto">
              <a:xfrm>
                <a:off x="567258" y="168151"/>
                <a:ext cx="230188" cy="258763"/>
              </a:xfrm>
              <a:custGeom>
                <a:avLst/>
                <a:gdLst>
                  <a:gd name="T0" fmla="*/ 116731600 w 289"/>
                  <a:gd name="T1" fmla="*/ 206025508 h 325"/>
                  <a:gd name="T2" fmla="*/ 183344344 w 289"/>
                  <a:gd name="T3" fmla="*/ 0 h 325"/>
                  <a:gd name="T4" fmla="*/ 124978544 w 289"/>
                  <a:gd name="T5" fmla="*/ 0 h 325"/>
                  <a:gd name="T6" fmla="*/ 90720356 w 289"/>
                  <a:gd name="T7" fmla="*/ 105865119 h 325"/>
                  <a:gd name="T8" fmla="*/ 85645069 w 289"/>
                  <a:gd name="T9" fmla="*/ 121079587 h 325"/>
                  <a:gd name="T10" fmla="*/ 85645069 w 289"/>
                  <a:gd name="T11" fmla="*/ 121079587 h 325"/>
                  <a:gd name="T12" fmla="*/ 85645069 w 289"/>
                  <a:gd name="T13" fmla="*/ 121079587 h 325"/>
                  <a:gd name="T14" fmla="*/ 85645069 w 289"/>
                  <a:gd name="T15" fmla="*/ 121079587 h 325"/>
                  <a:gd name="T16" fmla="*/ 85645069 w 289"/>
                  <a:gd name="T17" fmla="*/ 121079587 h 325"/>
                  <a:gd name="T18" fmla="*/ 85645069 w 289"/>
                  <a:gd name="T19" fmla="*/ 121079587 h 325"/>
                  <a:gd name="T20" fmla="*/ 85645069 w 289"/>
                  <a:gd name="T21" fmla="*/ 121079587 h 325"/>
                  <a:gd name="T22" fmla="*/ 81204592 w 289"/>
                  <a:gd name="T23" fmla="*/ 105865119 h 325"/>
                  <a:gd name="T24" fmla="*/ 57730991 w 289"/>
                  <a:gd name="T25" fmla="*/ 38035772 h 325"/>
                  <a:gd name="T26" fmla="*/ 0 w 289"/>
                  <a:gd name="T27" fmla="*/ 38035772 h 325"/>
                  <a:gd name="T28" fmla="*/ 57096978 w 289"/>
                  <a:gd name="T29" fmla="*/ 206025508 h 325"/>
                  <a:gd name="T30" fmla="*/ 116731600 w 289"/>
                  <a:gd name="T31" fmla="*/ 206025508 h 32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89" h="325">
                    <a:moveTo>
                      <a:pt x="184" y="325"/>
                    </a:moveTo>
                    <a:lnTo>
                      <a:pt x="289" y="0"/>
                    </a:lnTo>
                    <a:lnTo>
                      <a:pt x="197" y="0"/>
                    </a:lnTo>
                    <a:lnTo>
                      <a:pt x="143" y="167"/>
                    </a:lnTo>
                    <a:lnTo>
                      <a:pt x="135" y="191"/>
                    </a:lnTo>
                    <a:lnTo>
                      <a:pt x="128" y="167"/>
                    </a:lnTo>
                    <a:lnTo>
                      <a:pt x="91" y="60"/>
                    </a:lnTo>
                    <a:lnTo>
                      <a:pt x="0" y="60"/>
                    </a:lnTo>
                    <a:lnTo>
                      <a:pt x="90" y="325"/>
                    </a:lnTo>
                    <a:lnTo>
                      <a:pt x="184" y="3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grpSp>
          <p:nvGrpSpPr>
            <p:cNvPr id="4" name="_VTT_logo_102019_02_white_on_black" hidden="1">
              <a:extLst>
                <a:ext uri="{FF2B5EF4-FFF2-40B4-BE49-F238E27FC236}">
                  <a16:creationId xmlns:a16="http://schemas.microsoft.com/office/drawing/2014/main" id="{7457D483-B46B-96C7-1FA8-8750DF0107F5}"/>
                </a:ext>
              </a:extLst>
            </p:cNvPr>
            <p:cNvGrpSpPr>
              <a:grpSpLocks/>
            </p:cNvGrpSpPr>
            <p:nvPr userDrawn="1"/>
          </p:nvGrpSpPr>
          <p:grpSpPr bwMode="auto">
            <a:xfrm>
              <a:off x="7909204" y="1770762"/>
              <a:ext cx="971550" cy="655638"/>
              <a:chOff x="379933" y="-15999"/>
              <a:chExt cx="971550" cy="655638"/>
            </a:xfrm>
          </p:grpSpPr>
          <p:sp>
            <p:nvSpPr>
              <p:cNvPr id="42" name="Box">
                <a:extLst>
                  <a:ext uri="{FF2B5EF4-FFF2-40B4-BE49-F238E27FC236}">
                    <a16:creationId xmlns:a16="http://schemas.microsoft.com/office/drawing/2014/main" id="{3FCFAF11-0097-5876-169A-9FDF905AA2AC}"/>
                  </a:ext>
                </a:extLst>
              </p:cNvPr>
              <p:cNvSpPr>
                <a:spLocks noChangeArrowheads="1"/>
              </p:cNvSpPr>
              <p:nvPr userDrawn="1"/>
            </p:nvSpPr>
            <p:spPr bwMode="auto">
              <a:xfrm>
                <a:off x="379933" y="-15999"/>
                <a:ext cx="971550" cy="655638"/>
              </a:xfrm>
              <a:prstGeom prst="rect">
                <a:avLst/>
              </a:prstGeom>
              <a:solidFill>
                <a:srgbClr val="000000"/>
              </a:solidFill>
              <a:ln>
                <a:noFill/>
              </a:ln>
            </p:spPr>
            <p:txBody>
              <a:bodyPr/>
              <a:lstStyle>
                <a:lvl1pPr defTabSz="455613">
                  <a:defRPr b="1">
                    <a:solidFill>
                      <a:schemeClr val="tx1"/>
                    </a:solidFill>
                    <a:latin typeface="Verdana" panose="020B0604030504040204" pitchFamily="34" charset="0"/>
                  </a:defRPr>
                </a:lvl1pPr>
                <a:lvl2pPr marL="742950" indent="-285750" defTabSz="455613">
                  <a:defRPr b="1">
                    <a:solidFill>
                      <a:schemeClr val="tx1"/>
                    </a:solidFill>
                    <a:latin typeface="Verdana" panose="020B0604030504040204" pitchFamily="34" charset="0"/>
                  </a:defRPr>
                </a:lvl2pPr>
                <a:lvl3pPr marL="1143000" indent="-228600" defTabSz="455613">
                  <a:defRPr b="1">
                    <a:solidFill>
                      <a:schemeClr val="tx1"/>
                    </a:solidFill>
                    <a:latin typeface="Verdana" panose="020B0604030504040204" pitchFamily="34" charset="0"/>
                  </a:defRPr>
                </a:lvl3pPr>
                <a:lvl4pPr marL="1600200" indent="-228600" defTabSz="455613">
                  <a:defRPr b="1">
                    <a:solidFill>
                      <a:schemeClr val="tx1"/>
                    </a:solidFill>
                    <a:latin typeface="Verdana" panose="020B0604030504040204" pitchFamily="34" charset="0"/>
                  </a:defRPr>
                </a:lvl4pPr>
                <a:lvl5pPr marL="2057400" indent="-228600" defTabSz="455613">
                  <a:defRPr b="1">
                    <a:solidFill>
                      <a:schemeClr val="tx1"/>
                    </a:solidFill>
                    <a:latin typeface="Verdana" panose="020B0604030504040204" pitchFamily="34" charset="0"/>
                  </a:defRPr>
                </a:lvl5pPr>
                <a:lvl6pPr marL="2514600" indent="-228600" defTabSz="455613" eaLnBrk="0" fontAlgn="base" hangingPunct="0">
                  <a:spcBef>
                    <a:spcPct val="0"/>
                  </a:spcBef>
                  <a:spcAft>
                    <a:spcPct val="0"/>
                  </a:spcAft>
                  <a:defRPr b="1">
                    <a:solidFill>
                      <a:schemeClr val="tx1"/>
                    </a:solidFill>
                    <a:latin typeface="Verdana" panose="020B0604030504040204" pitchFamily="34" charset="0"/>
                  </a:defRPr>
                </a:lvl6pPr>
                <a:lvl7pPr marL="2971800" indent="-228600" defTabSz="455613" eaLnBrk="0" fontAlgn="base" hangingPunct="0">
                  <a:spcBef>
                    <a:spcPct val="0"/>
                  </a:spcBef>
                  <a:spcAft>
                    <a:spcPct val="0"/>
                  </a:spcAft>
                  <a:defRPr b="1">
                    <a:solidFill>
                      <a:schemeClr val="tx1"/>
                    </a:solidFill>
                    <a:latin typeface="Verdana" panose="020B0604030504040204" pitchFamily="34" charset="0"/>
                  </a:defRPr>
                </a:lvl7pPr>
                <a:lvl8pPr marL="3429000" indent="-228600" defTabSz="455613" eaLnBrk="0" fontAlgn="base" hangingPunct="0">
                  <a:spcBef>
                    <a:spcPct val="0"/>
                  </a:spcBef>
                  <a:spcAft>
                    <a:spcPct val="0"/>
                  </a:spcAft>
                  <a:defRPr b="1">
                    <a:solidFill>
                      <a:schemeClr val="tx1"/>
                    </a:solidFill>
                    <a:latin typeface="Verdana" panose="020B0604030504040204" pitchFamily="34" charset="0"/>
                  </a:defRPr>
                </a:lvl8pPr>
                <a:lvl9pPr marL="3886200" indent="-228600" defTabSz="455613" eaLnBrk="0" fontAlgn="base" hangingPunct="0">
                  <a:spcBef>
                    <a:spcPct val="0"/>
                  </a:spcBef>
                  <a:spcAft>
                    <a:spcPct val="0"/>
                  </a:spcAft>
                  <a:defRPr b="1">
                    <a:solidFill>
                      <a:schemeClr val="tx1"/>
                    </a:solidFill>
                    <a:latin typeface="Verdana" panose="020B0604030504040204" pitchFamily="34" charset="0"/>
                  </a:defRPr>
                </a:lvl9pPr>
              </a:lstStyle>
              <a:p>
                <a:pPr eaLnBrk="1" hangingPunct="1">
                  <a:defRPr/>
                </a:pPr>
                <a:endParaRPr lang="en-GB" altLang="de-DE" b="0">
                  <a:solidFill>
                    <a:srgbClr val="000000"/>
                  </a:solidFill>
                  <a:latin typeface="Arial" panose="020B0604020202020204" pitchFamily="34" charset="0"/>
                </a:endParaRPr>
              </a:p>
            </p:txBody>
          </p:sp>
          <p:sp>
            <p:nvSpPr>
              <p:cNvPr id="43" name="T2">
                <a:extLst>
                  <a:ext uri="{FF2B5EF4-FFF2-40B4-BE49-F238E27FC236}">
                    <a16:creationId xmlns:a16="http://schemas.microsoft.com/office/drawing/2014/main" id="{B7FA23D7-CFD6-B396-A21C-FD28C8C11A1E}"/>
                  </a:ext>
                </a:extLst>
              </p:cNvPr>
              <p:cNvSpPr>
                <a:spLocks/>
              </p:cNvSpPr>
              <p:nvPr userDrawn="1"/>
            </p:nvSpPr>
            <p:spPr bwMode="auto">
              <a:xfrm>
                <a:off x="1011758" y="168151"/>
                <a:ext cx="176213" cy="258763"/>
              </a:xfrm>
              <a:custGeom>
                <a:avLst/>
                <a:gdLst>
                  <a:gd name="T0" fmla="*/ 98916612 w 222"/>
                  <a:gd name="T1" fmla="*/ 206025508 h 325"/>
                  <a:gd name="T2" fmla="*/ 98916612 w 222"/>
                  <a:gd name="T3" fmla="*/ 49446026 h 325"/>
                  <a:gd name="T4" fmla="*/ 139869466 w 222"/>
                  <a:gd name="T5" fmla="*/ 49446026 h 325"/>
                  <a:gd name="T6" fmla="*/ 139869466 w 222"/>
                  <a:gd name="T7" fmla="*/ 0 h 325"/>
                  <a:gd name="T8" fmla="*/ 0 w 222"/>
                  <a:gd name="T9" fmla="*/ 0 h 325"/>
                  <a:gd name="T10" fmla="*/ 0 w 222"/>
                  <a:gd name="T11" fmla="*/ 49446026 h 325"/>
                  <a:gd name="T12" fmla="*/ 41583093 w 222"/>
                  <a:gd name="T13" fmla="*/ 49446026 h 325"/>
                  <a:gd name="T14" fmla="*/ 41583093 w 222"/>
                  <a:gd name="T15" fmla="*/ 206025508 h 325"/>
                  <a:gd name="T16" fmla="*/ 41583093 w 222"/>
                  <a:gd name="T17" fmla="*/ 206025508 h 325"/>
                  <a:gd name="T18" fmla="*/ 98916612 w 222"/>
                  <a:gd name="T19" fmla="*/ 206025508 h 3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22" h="325">
                    <a:moveTo>
                      <a:pt x="157" y="325"/>
                    </a:moveTo>
                    <a:lnTo>
                      <a:pt x="157" y="78"/>
                    </a:lnTo>
                    <a:lnTo>
                      <a:pt x="222" y="78"/>
                    </a:lnTo>
                    <a:lnTo>
                      <a:pt x="222" y="0"/>
                    </a:lnTo>
                    <a:lnTo>
                      <a:pt x="0" y="0"/>
                    </a:lnTo>
                    <a:lnTo>
                      <a:pt x="0" y="78"/>
                    </a:lnTo>
                    <a:lnTo>
                      <a:pt x="66" y="78"/>
                    </a:lnTo>
                    <a:lnTo>
                      <a:pt x="66" y="325"/>
                    </a:lnTo>
                    <a:lnTo>
                      <a:pt x="157" y="3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44" name="T1">
                <a:extLst>
                  <a:ext uri="{FF2B5EF4-FFF2-40B4-BE49-F238E27FC236}">
                    <a16:creationId xmlns:a16="http://schemas.microsoft.com/office/drawing/2014/main" id="{78B9B862-ED01-BD1A-86EA-46A95C052D25}"/>
                  </a:ext>
                </a:extLst>
              </p:cNvPr>
              <p:cNvSpPr>
                <a:spLocks/>
              </p:cNvSpPr>
              <p:nvPr userDrawn="1"/>
            </p:nvSpPr>
            <p:spPr bwMode="auto">
              <a:xfrm>
                <a:off x="799033" y="168151"/>
                <a:ext cx="193675" cy="258763"/>
              </a:xfrm>
              <a:custGeom>
                <a:avLst/>
                <a:gdLst>
                  <a:gd name="T0" fmla="*/ 55443438 w 244"/>
                  <a:gd name="T1" fmla="*/ 49446026 h 325"/>
                  <a:gd name="T2" fmla="*/ 55443438 w 244"/>
                  <a:gd name="T3" fmla="*/ 206025508 h 325"/>
                  <a:gd name="T4" fmla="*/ 112776794 w 244"/>
                  <a:gd name="T5" fmla="*/ 206025508 h 325"/>
                  <a:gd name="T6" fmla="*/ 112776794 w 244"/>
                  <a:gd name="T7" fmla="*/ 49446026 h 325"/>
                  <a:gd name="T8" fmla="*/ 153729531 w 244"/>
                  <a:gd name="T9" fmla="*/ 49446026 h 325"/>
                  <a:gd name="T10" fmla="*/ 153729531 w 244"/>
                  <a:gd name="T11" fmla="*/ 0 h 325"/>
                  <a:gd name="T12" fmla="*/ 15751175 w 244"/>
                  <a:gd name="T13" fmla="*/ 0 h 325"/>
                  <a:gd name="T14" fmla="*/ 0 w 244"/>
                  <a:gd name="T15" fmla="*/ 49446026 h 325"/>
                  <a:gd name="T16" fmla="*/ 55443438 w 244"/>
                  <a:gd name="T17" fmla="*/ 49446026 h 3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44" h="325">
                    <a:moveTo>
                      <a:pt x="88" y="78"/>
                    </a:moveTo>
                    <a:lnTo>
                      <a:pt x="88" y="325"/>
                    </a:lnTo>
                    <a:lnTo>
                      <a:pt x="179" y="325"/>
                    </a:lnTo>
                    <a:lnTo>
                      <a:pt x="179" y="78"/>
                    </a:lnTo>
                    <a:lnTo>
                      <a:pt x="244" y="78"/>
                    </a:lnTo>
                    <a:lnTo>
                      <a:pt x="244" y="0"/>
                    </a:lnTo>
                    <a:lnTo>
                      <a:pt x="25" y="0"/>
                    </a:lnTo>
                    <a:lnTo>
                      <a:pt x="0" y="78"/>
                    </a:lnTo>
                    <a:lnTo>
                      <a:pt x="88"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45" name="V">
                <a:extLst>
                  <a:ext uri="{FF2B5EF4-FFF2-40B4-BE49-F238E27FC236}">
                    <a16:creationId xmlns:a16="http://schemas.microsoft.com/office/drawing/2014/main" id="{884F764F-CBFA-6633-3D39-12A438B3229A}"/>
                  </a:ext>
                </a:extLst>
              </p:cNvPr>
              <p:cNvSpPr>
                <a:spLocks/>
              </p:cNvSpPr>
              <p:nvPr userDrawn="1"/>
            </p:nvSpPr>
            <p:spPr bwMode="auto">
              <a:xfrm>
                <a:off x="567258" y="168151"/>
                <a:ext cx="230188" cy="258763"/>
              </a:xfrm>
              <a:custGeom>
                <a:avLst/>
                <a:gdLst>
                  <a:gd name="T0" fmla="*/ 116731600 w 289"/>
                  <a:gd name="T1" fmla="*/ 206025508 h 325"/>
                  <a:gd name="T2" fmla="*/ 183344344 w 289"/>
                  <a:gd name="T3" fmla="*/ 0 h 325"/>
                  <a:gd name="T4" fmla="*/ 124978544 w 289"/>
                  <a:gd name="T5" fmla="*/ 0 h 325"/>
                  <a:gd name="T6" fmla="*/ 90720356 w 289"/>
                  <a:gd name="T7" fmla="*/ 105865119 h 325"/>
                  <a:gd name="T8" fmla="*/ 85645069 w 289"/>
                  <a:gd name="T9" fmla="*/ 121079587 h 325"/>
                  <a:gd name="T10" fmla="*/ 85645069 w 289"/>
                  <a:gd name="T11" fmla="*/ 121079587 h 325"/>
                  <a:gd name="T12" fmla="*/ 85645069 w 289"/>
                  <a:gd name="T13" fmla="*/ 121079587 h 325"/>
                  <a:gd name="T14" fmla="*/ 85645069 w 289"/>
                  <a:gd name="T15" fmla="*/ 121079587 h 325"/>
                  <a:gd name="T16" fmla="*/ 85645069 w 289"/>
                  <a:gd name="T17" fmla="*/ 121079587 h 325"/>
                  <a:gd name="T18" fmla="*/ 85645069 w 289"/>
                  <a:gd name="T19" fmla="*/ 121079587 h 325"/>
                  <a:gd name="T20" fmla="*/ 85645069 w 289"/>
                  <a:gd name="T21" fmla="*/ 121079587 h 325"/>
                  <a:gd name="T22" fmla="*/ 81204592 w 289"/>
                  <a:gd name="T23" fmla="*/ 105865119 h 325"/>
                  <a:gd name="T24" fmla="*/ 57730991 w 289"/>
                  <a:gd name="T25" fmla="*/ 38035772 h 325"/>
                  <a:gd name="T26" fmla="*/ 0 w 289"/>
                  <a:gd name="T27" fmla="*/ 38035772 h 325"/>
                  <a:gd name="T28" fmla="*/ 57096978 w 289"/>
                  <a:gd name="T29" fmla="*/ 206025508 h 325"/>
                  <a:gd name="T30" fmla="*/ 116731600 w 289"/>
                  <a:gd name="T31" fmla="*/ 206025508 h 32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89" h="325">
                    <a:moveTo>
                      <a:pt x="184" y="325"/>
                    </a:moveTo>
                    <a:lnTo>
                      <a:pt x="289" y="0"/>
                    </a:lnTo>
                    <a:lnTo>
                      <a:pt x="197" y="0"/>
                    </a:lnTo>
                    <a:lnTo>
                      <a:pt x="143" y="167"/>
                    </a:lnTo>
                    <a:lnTo>
                      <a:pt x="135" y="191"/>
                    </a:lnTo>
                    <a:lnTo>
                      <a:pt x="128" y="167"/>
                    </a:lnTo>
                    <a:lnTo>
                      <a:pt x="91" y="60"/>
                    </a:lnTo>
                    <a:lnTo>
                      <a:pt x="0" y="60"/>
                    </a:lnTo>
                    <a:lnTo>
                      <a:pt x="90" y="325"/>
                    </a:lnTo>
                    <a:lnTo>
                      <a:pt x="184" y="3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grpSp>
          <p:nvGrpSpPr>
            <p:cNvPr id="5" name="_VTT_logo_102019_03_white_on_blue" hidden="1">
              <a:extLst>
                <a:ext uri="{FF2B5EF4-FFF2-40B4-BE49-F238E27FC236}">
                  <a16:creationId xmlns:a16="http://schemas.microsoft.com/office/drawing/2014/main" id="{42E2D86F-34A0-C27C-23A4-F1F8BE6ABDEF}"/>
                </a:ext>
              </a:extLst>
            </p:cNvPr>
            <p:cNvGrpSpPr>
              <a:grpSpLocks/>
            </p:cNvGrpSpPr>
            <p:nvPr userDrawn="1"/>
          </p:nvGrpSpPr>
          <p:grpSpPr bwMode="auto">
            <a:xfrm>
              <a:off x="7909204" y="1770762"/>
              <a:ext cx="971550" cy="655638"/>
              <a:chOff x="379933" y="-15999"/>
              <a:chExt cx="971550" cy="655638"/>
            </a:xfrm>
          </p:grpSpPr>
          <p:sp>
            <p:nvSpPr>
              <p:cNvPr id="38" name="Box">
                <a:extLst>
                  <a:ext uri="{FF2B5EF4-FFF2-40B4-BE49-F238E27FC236}">
                    <a16:creationId xmlns:a16="http://schemas.microsoft.com/office/drawing/2014/main" id="{28BFE037-5CEB-4383-C945-AB5AD49A8B1B}"/>
                  </a:ext>
                </a:extLst>
              </p:cNvPr>
              <p:cNvSpPr>
                <a:spLocks noChangeArrowheads="1"/>
              </p:cNvSpPr>
              <p:nvPr userDrawn="1"/>
            </p:nvSpPr>
            <p:spPr bwMode="auto">
              <a:xfrm>
                <a:off x="379933" y="-15999"/>
                <a:ext cx="971550" cy="655638"/>
              </a:xfrm>
              <a:prstGeom prst="rect">
                <a:avLst/>
              </a:prstGeom>
              <a:solidFill>
                <a:srgbClr val="005794"/>
              </a:solidFill>
              <a:ln>
                <a:noFill/>
              </a:ln>
            </p:spPr>
            <p:txBody>
              <a:bodyPr/>
              <a:lstStyle>
                <a:lvl1pPr defTabSz="455613">
                  <a:defRPr b="1">
                    <a:solidFill>
                      <a:schemeClr val="tx1"/>
                    </a:solidFill>
                    <a:latin typeface="Verdana" panose="020B0604030504040204" pitchFamily="34" charset="0"/>
                  </a:defRPr>
                </a:lvl1pPr>
                <a:lvl2pPr marL="742950" indent="-285750" defTabSz="455613">
                  <a:defRPr b="1">
                    <a:solidFill>
                      <a:schemeClr val="tx1"/>
                    </a:solidFill>
                    <a:latin typeface="Verdana" panose="020B0604030504040204" pitchFamily="34" charset="0"/>
                  </a:defRPr>
                </a:lvl2pPr>
                <a:lvl3pPr marL="1143000" indent="-228600" defTabSz="455613">
                  <a:defRPr b="1">
                    <a:solidFill>
                      <a:schemeClr val="tx1"/>
                    </a:solidFill>
                    <a:latin typeface="Verdana" panose="020B0604030504040204" pitchFamily="34" charset="0"/>
                  </a:defRPr>
                </a:lvl3pPr>
                <a:lvl4pPr marL="1600200" indent="-228600" defTabSz="455613">
                  <a:defRPr b="1">
                    <a:solidFill>
                      <a:schemeClr val="tx1"/>
                    </a:solidFill>
                    <a:latin typeface="Verdana" panose="020B0604030504040204" pitchFamily="34" charset="0"/>
                  </a:defRPr>
                </a:lvl4pPr>
                <a:lvl5pPr marL="2057400" indent="-228600" defTabSz="455613">
                  <a:defRPr b="1">
                    <a:solidFill>
                      <a:schemeClr val="tx1"/>
                    </a:solidFill>
                    <a:latin typeface="Verdana" panose="020B0604030504040204" pitchFamily="34" charset="0"/>
                  </a:defRPr>
                </a:lvl5pPr>
                <a:lvl6pPr marL="2514600" indent="-228600" defTabSz="455613" eaLnBrk="0" fontAlgn="base" hangingPunct="0">
                  <a:spcBef>
                    <a:spcPct val="0"/>
                  </a:spcBef>
                  <a:spcAft>
                    <a:spcPct val="0"/>
                  </a:spcAft>
                  <a:defRPr b="1">
                    <a:solidFill>
                      <a:schemeClr val="tx1"/>
                    </a:solidFill>
                    <a:latin typeface="Verdana" panose="020B0604030504040204" pitchFamily="34" charset="0"/>
                  </a:defRPr>
                </a:lvl6pPr>
                <a:lvl7pPr marL="2971800" indent="-228600" defTabSz="455613" eaLnBrk="0" fontAlgn="base" hangingPunct="0">
                  <a:spcBef>
                    <a:spcPct val="0"/>
                  </a:spcBef>
                  <a:spcAft>
                    <a:spcPct val="0"/>
                  </a:spcAft>
                  <a:defRPr b="1">
                    <a:solidFill>
                      <a:schemeClr val="tx1"/>
                    </a:solidFill>
                    <a:latin typeface="Verdana" panose="020B0604030504040204" pitchFamily="34" charset="0"/>
                  </a:defRPr>
                </a:lvl7pPr>
                <a:lvl8pPr marL="3429000" indent="-228600" defTabSz="455613" eaLnBrk="0" fontAlgn="base" hangingPunct="0">
                  <a:spcBef>
                    <a:spcPct val="0"/>
                  </a:spcBef>
                  <a:spcAft>
                    <a:spcPct val="0"/>
                  </a:spcAft>
                  <a:defRPr b="1">
                    <a:solidFill>
                      <a:schemeClr val="tx1"/>
                    </a:solidFill>
                    <a:latin typeface="Verdana" panose="020B0604030504040204" pitchFamily="34" charset="0"/>
                  </a:defRPr>
                </a:lvl8pPr>
                <a:lvl9pPr marL="3886200" indent="-228600" defTabSz="455613" eaLnBrk="0" fontAlgn="base" hangingPunct="0">
                  <a:spcBef>
                    <a:spcPct val="0"/>
                  </a:spcBef>
                  <a:spcAft>
                    <a:spcPct val="0"/>
                  </a:spcAft>
                  <a:defRPr b="1">
                    <a:solidFill>
                      <a:schemeClr val="tx1"/>
                    </a:solidFill>
                    <a:latin typeface="Verdana" panose="020B0604030504040204" pitchFamily="34" charset="0"/>
                  </a:defRPr>
                </a:lvl9pPr>
              </a:lstStyle>
              <a:p>
                <a:pPr eaLnBrk="1" hangingPunct="1">
                  <a:defRPr/>
                </a:pPr>
                <a:endParaRPr lang="en-GB" altLang="de-DE" b="0">
                  <a:solidFill>
                    <a:srgbClr val="000000"/>
                  </a:solidFill>
                  <a:latin typeface="Arial" panose="020B0604020202020204" pitchFamily="34" charset="0"/>
                </a:endParaRPr>
              </a:p>
            </p:txBody>
          </p:sp>
          <p:sp>
            <p:nvSpPr>
              <p:cNvPr id="39" name="T2">
                <a:extLst>
                  <a:ext uri="{FF2B5EF4-FFF2-40B4-BE49-F238E27FC236}">
                    <a16:creationId xmlns:a16="http://schemas.microsoft.com/office/drawing/2014/main" id="{15EE3EAB-914C-0654-B9B2-0FCA54962214}"/>
                  </a:ext>
                </a:extLst>
              </p:cNvPr>
              <p:cNvSpPr>
                <a:spLocks/>
              </p:cNvSpPr>
              <p:nvPr userDrawn="1"/>
            </p:nvSpPr>
            <p:spPr bwMode="auto">
              <a:xfrm>
                <a:off x="1011758" y="168151"/>
                <a:ext cx="176213" cy="258763"/>
              </a:xfrm>
              <a:custGeom>
                <a:avLst/>
                <a:gdLst>
                  <a:gd name="T0" fmla="*/ 98916612 w 222"/>
                  <a:gd name="T1" fmla="*/ 206025508 h 325"/>
                  <a:gd name="T2" fmla="*/ 98916612 w 222"/>
                  <a:gd name="T3" fmla="*/ 49446026 h 325"/>
                  <a:gd name="T4" fmla="*/ 139869466 w 222"/>
                  <a:gd name="T5" fmla="*/ 49446026 h 325"/>
                  <a:gd name="T6" fmla="*/ 139869466 w 222"/>
                  <a:gd name="T7" fmla="*/ 0 h 325"/>
                  <a:gd name="T8" fmla="*/ 0 w 222"/>
                  <a:gd name="T9" fmla="*/ 0 h 325"/>
                  <a:gd name="T10" fmla="*/ 0 w 222"/>
                  <a:gd name="T11" fmla="*/ 49446026 h 325"/>
                  <a:gd name="T12" fmla="*/ 41583093 w 222"/>
                  <a:gd name="T13" fmla="*/ 49446026 h 325"/>
                  <a:gd name="T14" fmla="*/ 41583093 w 222"/>
                  <a:gd name="T15" fmla="*/ 206025508 h 325"/>
                  <a:gd name="T16" fmla="*/ 41583093 w 222"/>
                  <a:gd name="T17" fmla="*/ 206025508 h 325"/>
                  <a:gd name="T18" fmla="*/ 98916612 w 222"/>
                  <a:gd name="T19" fmla="*/ 206025508 h 3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22" h="325">
                    <a:moveTo>
                      <a:pt x="157" y="325"/>
                    </a:moveTo>
                    <a:lnTo>
                      <a:pt x="157" y="78"/>
                    </a:lnTo>
                    <a:lnTo>
                      <a:pt x="222" y="78"/>
                    </a:lnTo>
                    <a:lnTo>
                      <a:pt x="222" y="0"/>
                    </a:lnTo>
                    <a:lnTo>
                      <a:pt x="0" y="0"/>
                    </a:lnTo>
                    <a:lnTo>
                      <a:pt x="0" y="78"/>
                    </a:lnTo>
                    <a:lnTo>
                      <a:pt x="66" y="78"/>
                    </a:lnTo>
                    <a:lnTo>
                      <a:pt x="66" y="325"/>
                    </a:lnTo>
                    <a:lnTo>
                      <a:pt x="157" y="3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40" name="T1">
                <a:extLst>
                  <a:ext uri="{FF2B5EF4-FFF2-40B4-BE49-F238E27FC236}">
                    <a16:creationId xmlns:a16="http://schemas.microsoft.com/office/drawing/2014/main" id="{31147DA8-6304-6381-BF3E-83E1A631CBDC}"/>
                  </a:ext>
                </a:extLst>
              </p:cNvPr>
              <p:cNvSpPr>
                <a:spLocks/>
              </p:cNvSpPr>
              <p:nvPr userDrawn="1"/>
            </p:nvSpPr>
            <p:spPr bwMode="auto">
              <a:xfrm>
                <a:off x="799033" y="168151"/>
                <a:ext cx="193675" cy="258763"/>
              </a:xfrm>
              <a:custGeom>
                <a:avLst/>
                <a:gdLst>
                  <a:gd name="T0" fmla="*/ 55443438 w 244"/>
                  <a:gd name="T1" fmla="*/ 49446026 h 325"/>
                  <a:gd name="T2" fmla="*/ 55443438 w 244"/>
                  <a:gd name="T3" fmla="*/ 206025508 h 325"/>
                  <a:gd name="T4" fmla="*/ 112776794 w 244"/>
                  <a:gd name="T5" fmla="*/ 206025508 h 325"/>
                  <a:gd name="T6" fmla="*/ 112776794 w 244"/>
                  <a:gd name="T7" fmla="*/ 49446026 h 325"/>
                  <a:gd name="T8" fmla="*/ 153729531 w 244"/>
                  <a:gd name="T9" fmla="*/ 49446026 h 325"/>
                  <a:gd name="T10" fmla="*/ 153729531 w 244"/>
                  <a:gd name="T11" fmla="*/ 0 h 325"/>
                  <a:gd name="T12" fmla="*/ 15751175 w 244"/>
                  <a:gd name="T13" fmla="*/ 0 h 325"/>
                  <a:gd name="T14" fmla="*/ 0 w 244"/>
                  <a:gd name="T15" fmla="*/ 49446026 h 325"/>
                  <a:gd name="T16" fmla="*/ 55443438 w 244"/>
                  <a:gd name="T17" fmla="*/ 49446026 h 3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44" h="325">
                    <a:moveTo>
                      <a:pt x="88" y="78"/>
                    </a:moveTo>
                    <a:lnTo>
                      <a:pt x="88" y="325"/>
                    </a:lnTo>
                    <a:lnTo>
                      <a:pt x="179" y="325"/>
                    </a:lnTo>
                    <a:lnTo>
                      <a:pt x="179" y="78"/>
                    </a:lnTo>
                    <a:lnTo>
                      <a:pt x="244" y="78"/>
                    </a:lnTo>
                    <a:lnTo>
                      <a:pt x="244" y="0"/>
                    </a:lnTo>
                    <a:lnTo>
                      <a:pt x="25" y="0"/>
                    </a:lnTo>
                    <a:lnTo>
                      <a:pt x="0" y="78"/>
                    </a:lnTo>
                    <a:lnTo>
                      <a:pt x="88"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41" name="V">
                <a:extLst>
                  <a:ext uri="{FF2B5EF4-FFF2-40B4-BE49-F238E27FC236}">
                    <a16:creationId xmlns:a16="http://schemas.microsoft.com/office/drawing/2014/main" id="{447722E9-AB62-8BA0-25C6-604CEFE546A6}"/>
                  </a:ext>
                </a:extLst>
              </p:cNvPr>
              <p:cNvSpPr>
                <a:spLocks/>
              </p:cNvSpPr>
              <p:nvPr userDrawn="1"/>
            </p:nvSpPr>
            <p:spPr bwMode="auto">
              <a:xfrm>
                <a:off x="567258" y="168151"/>
                <a:ext cx="230188" cy="258763"/>
              </a:xfrm>
              <a:custGeom>
                <a:avLst/>
                <a:gdLst>
                  <a:gd name="T0" fmla="*/ 116731600 w 289"/>
                  <a:gd name="T1" fmla="*/ 206025508 h 325"/>
                  <a:gd name="T2" fmla="*/ 183344344 w 289"/>
                  <a:gd name="T3" fmla="*/ 0 h 325"/>
                  <a:gd name="T4" fmla="*/ 124978544 w 289"/>
                  <a:gd name="T5" fmla="*/ 0 h 325"/>
                  <a:gd name="T6" fmla="*/ 90720356 w 289"/>
                  <a:gd name="T7" fmla="*/ 105865119 h 325"/>
                  <a:gd name="T8" fmla="*/ 85645069 w 289"/>
                  <a:gd name="T9" fmla="*/ 121079587 h 325"/>
                  <a:gd name="T10" fmla="*/ 85645069 w 289"/>
                  <a:gd name="T11" fmla="*/ 121079587 h 325"/>
                  <a:gd name="T12" fmla="*/ 85645069 w 289"/>
                  <a:gd name="T13" fmla="*/ 121079587 h 325"/>
                  <a:gd name="T14" fmla="*/ 85645069 w 289"/>
                  <a:gd name="T15" fmla="*/ 121079587 h 325"/>
                  <a:gd name="T16" fmla="*/ 85645069 w 289"/>
                  <a:gd name="T17" fmla="*/ 121079587 h 325"/>
                  <a:gd name="T18" fmla="*/ 85645069 w 289"/>
                  <a:gd name="T19" fmla="*/ 121079587 h 325"/>
                  <a:gd name="T20" fmla="*/ 85645069 w 289"/>
                  <a:gd name="T21" fmla="*/ 121079587 h 325"/>
                  <a:gd name="T22" fmla="*/ 81204592 w 289"/>
                  <a:gd name="T23" fmla="*/ 105865119 h 325"/>
                  <a:gd name="T24" fmla="*/ 57730991 w 289"/>
                  <a:gd name="T25" fmla="*/ 38035772 h 325"/>
                  <a:gd name="T26" fmla="*/ 0 w 289"/>
                  <a:gd name="T27" fmla="*/ 38035772 h 325"/>
                  <a:gd name="T28" fmla="*/ 57096978 w 289"/>
                  <a:gd name="T29" fmla="*/ 206025508 h 325"/>
                  <a:gd name="T30" fmla="*/ 116731600 w 289"/>
                  <a:gd name="T31" fmla="*/ 206025508 h 32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89" h="325">
                    <a:moveTo>
                      <a:pt x="184" y="325"/>
                    </a:moveTo>
                    <a:lnTo>
                      <a:pt x="289" y="0"/>
                    </a:lnTo>
                    <a:lnTo>
                      <a:pt x="197" y="0"/>
                    </a:lnTo>
                    <a:lnTo>
                      <a:pt x="143" y="167"/>
                    </a:lnTo>
                    <a:lnTo>
                      <a:pt x="135" y="191"/>
                    </a:lnTo>
                    <a:lnTo>
                      <a:pt x="128" y="167"/>
                    </a:lnTo>
                    <a:lnTo>
                      <a:pt x="91" y="60"/>
                    </a:lnTo>
                    <a:lnTo>
                      <a:pt x="0" y="60"/>
                    </a:lnTo>
                    <a:lnTo>
                      <a:pt x="90" y="325"/>
                    </a:lnTo>
                    <a:lnTo>
                      <a:pt x="184" y="3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grpSp>
          <p:nvGrpSpPr>
            <p:cNvPr id="7" name="_VTT_logo_102019_04_white_on_dark_grey" hidden="1">
              <a:extLst>
                <a:ext uri="{FF2B5EF4-FFF2-40B4-BE49-F238E27FC236}">
                  <a16:creationId xmlns:a16="http://schemas.microsoft.com/office/drawing/2014/main" id="{690F1A05-49A6-F46A-7678-C6AF772FFB61}"/>
                </a:ext>
              </a:extLst>
            </p:cNvPr>
            <p:cNvGrpSpPr>
              <a:grpSpLocks/>
            </p:cNvGrpSpPr>
            <p:nvPr userDrawn="1"/>
          </p:nvGrpSpPr>
          <p:grpSpPr bwMode="auto">
            <a:xfrm>
              <a:off x="7909204" y="1770762"/>
              <a:ext cx="971550" cy="655638"/>
              <a:chOff x="379933" y="-15999"/>
              <a:chExt cx="971550" cy="655638"/>
            </a:xfrm>
          </p:grpSpPr>
          <p:sp>
            <p:nvSpPr>
              <p:cNvPr id="34" name="Box">
                <a:extLst>
                  <a:ext uri="{FF2B5EF4-FFF2-40B4-BE49-F238E27FC236}">
                    <a16:creationId xmlns:a16="http://schemas.microsoft.com/office/drawing/2014/main" id="{39B17661-9E8A-25FB-EC10-6A427B7D7605}"/>
                  </a:ext>
                </a:extLst>
              </p:cNvPr>
              <p:cNvSpPr>
                <a:spLocks noChangeArrowheads="1"/>
              </p:cNvSpPr>
              <p:nvPr userDrawn="1"/>
            </p:nvSpPr>
            <p:spPr bwMode="auto">
              <a:xfrm>
                <a:off x="379933" y="-15999"/>
                <a:ext cx="971550" cy="655638"/>
              </a:xfrm>
              <a:prstGeom prst="rect">
                <a:avLst/>
              </a:prstGeom>
              <a:solidFill>
                <a:srgbClr val="AFAFAF"/>
              </a:solidFill>
              <a:ln>
                <a:noFill/>
              </a:ln>
            </p:spPr>
            <p:txBody>
              <a:bodyPr/>
              <a:lstStyle>
                <a:lvl1pPr defTabSz="455613">
                  <a:defRPr b="1">
                    <a:solidFill>
                      <a:schemeClr val="tx1"/>
                    </a:solidFill>
                    <a:latin typeface="Verdana" panose="020B0604030504040204" pitchFamily="34" charset="0"/>
                  </a:defRPr>
                </a:lvl1pPr>
                <a:lvl2pPr marL="742950" indent="-285750" defTabSz="455613">
                  <a:defRPr b="1">
                    <a:solidFill>
                      <a:schemeClr val="tx1"/>
                    </a:solidFill>
                    <a:latin typeface="Verdana" panose="020B0604030504040204" pitchFamily="34" charset="0"/>
                  </a:defRPr>
                </a:lvl2pPr>
                <a:lvl3pPr marL="1143000" indent="-228600" defTabSz="455613">
                  <a:defRPr b="1">
                    <a:solidFill>
                      <a:schemeClr val="tx1"/>
                    </a:solidFill>
                    <a:latin typeface="Verdana" panose="020B0604030504040204" pitchFamily="34" charset="0"/>
                  </a:defRPr>
                </a:lvl3pPr>
                <a:lvl4pPr marL="1600200" indent="-228600" defTabSz="455613">
                  <a:defRPr b="1">
                    <a:solidFill>
                      <a:schemeClr val="tx1"/>
                    </a:solidFill>
                    <a:latin typeface="Verdana" panose="020B0604030504040204" pitchFamily="34" charset="0"/>
                  </a:defRPr>
                </a:lvl4pPr>
                <a:lvl5pPr marL="2057400" indent="-228600" defTabSz="455613">
                  <a:defRPr b="1">
                    <a:solidFill>
                      <a:schemeClr val="tx1"/>
                    </a:solidFill>
                    <a:latin typeface="Verdana" panose="020B0604030504040204" pitchFamily="34" charset="0"/>
                  </a:defRPr>
                </a:lvl5pPr>
                <a:lvl6pPr marL="2514600" indent="-228600" defTabSz="455613" eaLnBrk="0" fontAlgn="base" hangingPunct="0">
                  <a:spcBef>
                    <a:spcPct val="0"/>
                  </a:spcBef>
                  <a:spcAft>
                    <a:spcPct val="0"/>
                  </a:spcAft>
                  <a:defRPr b="1">
                    <a:solidFill>
                      <a:schemeClr val="tx1"/>
                    </a:solidFill>
                    <a:latin typeface="Verdana" panose="020B0604030504040204" pitchFamily="34" charset="0"/>
                  </a:defRPr>
                </a:lvl6pPr>
                <a:lvl7pPr marL="2971800" indent="-228600" defTabSz="455613" eaLnBrk="0" fontAlgn="base" hangingPunct="0">
                  <a:spcBef>
                    <a:spcPct val="0"/>
                  </a:spcBef>
                  <a:spcAft>
                    <a:spcPct val="0"/>
                  </a:spcAft>
                  <a:defRPr b="1">
                    <a:solidFill>
                      <a:schemeClr val="tx1"/>
                    </a:solidFill>
                    <a:latin typeface="Verdana" panose="020B0604030504040204" pitchFamily="34" charset="0"/>
                  </a:defRPr>
                </a:lvl7pPr>
                <a:lvl8pPr marL="3429000" indent="-228600" defTabSz="455613" eaLnBrk="0" fontAlgn="base" hangingPunct="0">
                  <a:spcBef>
                    <a:spcPct val="0"/>
                  </a:spcBef>
                  <a:spcAft>
                    <a:spcPct val="0"/>
                  </a:spcAft>
                  <a:defRPr b="1">
                    <a:solidFill>
                      <a:schemeClr val="tx1"/>
                    </a:solidFill>
                    <a:latin typeface="Verdana" panose="020B0604030504040204" pitchFamily="34" charset="0"/>
                  </a:defRPr>
                </a:lvl8pPr>
                <a:lvl9pPr marL="3886200" indent="-228600" defTabSz="455613" eaLnBrk="0" fontAlgn="base" hangingPunct="0">
                  <a:spcBef>
                    <a:spcPct val="0"/>
                  </a:spcBef>
                  <a:spcAft>
                    <a:spcPct val="0"/>
                  </a:spcAft>
                  <a:defRPr b="1">
                    <a:solidFill>
                      <a:schemeClr val="tx1"/>
                    </a:solidFill>
                    <a:latin typeface="Verdana" panose="020B0604030504040204" pitchFamily="34" charset="0"/>
                  </a:defRPr>
                </a:lvl9pPr>
              </a:lstStyle>
              <a:p>
                <a:pPr eaLnBrk="1" hangingPunct="1">
                  <a:defRPr/>
                </a:pPr>
                <a:endParaRPr lang="en-GB" altLang="de-DE" b="0">
                  <a:solidFill>
                    <a:srgbClr val="000000"/>
                  </a:solidFill>
                  <a:latin typeface="Arial" panose="020B0604020202020204" pitchFamily="34" charset="0"/>
                </a:endParaRPr>
              </a:p>
            </p:txBody>
          </p:sp>
          <p:sp>
            <p:nvSpPr>
              <p:cNvPr id="35" name="T2">
                <a:extLst>
                  <a:ext uri="{FF2B5EF4-FFF2-40B4-BE49-F238E27FC236}">
                    <a16:creationId xmlns:a16="http://schemas.microsoft.com/office/drawing/2014/main" id="{E9CF1752-7FF0-FC1C-C487-A0A0C0AA4E0F}"/>
                  </a:ext>
                </a:extLst>
              </p:cNvPr>
              <p:cNvSpPr>
                <a:spLocks/>
              </p:cNvSpPr>
              <p:nvPr userDrawn="1"/>
            </p:nvSpPr>
            <p:spPr bwMode="auto">
              <a:xfrm>
                <a:off x="1011758" y="168151"/>
                <a:ext cx="176213" cy="258763"/>
              </a:xfrm>
              <a:custGeom>
                <a:avLst/>
                <a:gdLst>
                  <a:gd name="T0" fmla="*/ 98916612 w 222"/>
                  <a:gd name="T1" fmla="*/ 206025508 h 325"/>
                  <a:gd name="T2" fmla="*/ 98916612 w 222"/>
                  <a:gd name="T3" fmla="*/ 49446026 h 325"/>
                  <a:gd name="T4" fmla="*/ 139869466 w 222"/>
                  <a:gd name="T5" fmla="*/ 49446026 h 325"/>
                  <a:gd name="T6" fmla="*/ 139869466 w 222"/>
                  <a:gd name="T7" fmla="*/ 0 h 325"/>
                  <a:gd name="T8" fmla="*/ 0 w 222"/>
                  <a:gd name="T9" fmla="*/ 0 h 325"/>
                  <a:gd name="T10" fmla="*/ 0 w 222"/>
                  <a:gd name="T11" fmla="*/ 49446026 h 325"/>
                  <a:gd name="T12" fmla="*/ 41583093 w 222"/>
                  <a:gd name="T13" fmla="*/ 49446026 h 325"/>
                  <a:gd name="T14" fmla="*/ 41583093 w 222"/>
                  <a:gd name="T15" fmla="*/ 206025508 h 325"/>
                  <a:gd name="T16" fmla="*/ 41583093 w 222"/>
                  <a:gd name="T17" fmla="*/ 206025508 h 325"/>
                  <a:gd name="T18" fmla="*/ 98916612 w 222"/>
                  <a:gd name="T19" fmla="*/ 206025508 h 3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22" h="325">
                    <a:moveTo>
                      <a:pt x="157" y="325"/>
                    </a:moveTo>
                    <a:lnTo>
                      <a:pt x="157" y="78"/>
                    </a:lnTo>
                    <a:lnTo>
                      <a:pt x="222" y="78"/>
                    </a:lnTo>
                    <a:lnTo>
                      <a:pt x="222" y="0"/>
                    </a:lnTo>
                    <a:lnTo>
                      <a:pt x="0" y="0"/>
                    </a:lnTo>
                    <a:lnTo>
                      <a:pt x="0" y="78"/>
                    </a:lnTo>
                    <a:lnTo>
                      <a:pt x="66" y="78"/>
                    </a:lnTo>
                    <a:lnTo>
                      <a:pt x="66" y="325"/>
                    </a:lnTo>
                    <a:lnTo>
                      <a:pt x="157" y="3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36" name="T1">
                <a:extLst>
                  <a:ext uri="{FF2B5EF4-FFF2-40B4-BE49-F238E27FC236}">
                    <a16:creationId xmlns:a16="http://schemas.microsoft.com/office/drawing/2014/main" id="{ABEDE853-EF2A-3911-9FA0-7179E58528E1}"/>
                  </a:ext>
                </a:extLst>
              </p:cNvPr>
              <p:cNvSpPr>
                <a:spLocks/>
              </p:cNvSpPr>
              <p:nvPr userDrawn="1"/>
            </p:nvSpPr>
            <p:spPr bwMode="auto">
              <a:xfrm>
                <a:off x="799033" y="168151"/>
                <a:ext cx="193675" cy="258763"/>
              </a:xfrm>
              <a:custGeom>
                <a:avLst/>
                <a:gdLst>
                  <a:gd name="T0" fmla="*/ 55443438 w 244"/>
                  <a:gd name="T1" fmla="*/ 49446026 h 325"/>
                  <a:gd name="T2" fmla="*/ 55443438 w 244"/>
                  <a:gd name="T3" fmla="*/ 206025508 h 325"/>
                  <a:gd name="T4" fmla="*/ 112776794 w 244"/>
                  <a:gd name="T5" fmla="*/ 206025508 h 325"/>
                  <a:gd name="T6" fmla="*/ 112776794 w 244"/>
                  <a:gd name="T7" fmla="*/ 49446026 h 325"/>
                  <a:gd name="T8" fmla="*/ 153729531 w 244"/>
                  <a:gd name="T9" fmla="*/ 49446026 h 325"/>
                  <a:gd name="T10" fmla="*/ 153729531 w 244"/>
                  <a:gd name="T11" fmla="*/ 0 h 325"/>
                  <a:gd name="T12" fmla="*/ 15751175 w 244"/>
                  <a:gd name="T13" fmla="*/ 0 h 325"/>
                  <a:gd name="T14" fmla="*/ 0 w 244"/>
                  <a:gd name="T15" fmla="*/ 49446026 h 325"/>
                  <a:gd name="T16" fmla="*/ 55443438 w 244"/>
                  <a:gd name="T17" fmla="*/ 49446026 h 3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44" h="325">
                    <a:moveTo>
                      <a:pt x="88" y="78"/>
                    </a:moveTo>
                    <a:lnTo>
                      <a:pt x="88" y="325"/>
                    </a:lnTo>
                    <a:lnTo>
                      <a:pt x="179" y="325"/>
                    </a:lnTo>
                    <a:lnTo>
                      <a:pt x="179" y="78"/>
                    </a:lnTo>
                    <a:lnTo>
                      <a:pt x="244" y="78"/>
                    </a:lnTo>
                    <a:lnTo>
                      <a:pt x="244" y="0"/>
                    </a:lnTo>
                    <a:lnTo>
                      <a:pt x="25" y="0"/>
                    </a:lnTo>
                    <a:lnTo>
                      <a:pt x="0" y="78"/>
                    </a:lnTo>
                    <a:lnTo>
                      <a:pt x="88"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37" name="V">
                <a:extLst>
                  <a:ext uri="{FF2B5EF4-FFF2-40B4-BE49-F238E27FC236}">
                    <a16:creationId xmlns:a16="http://schemas.microsoft.com/office/drawing/2014/main" id="{9FCE879A-CF67-E5F5-21F3-C50515E975C9}"/>
                  </a:ext>
                </a:extLst>
              </p:cNvPr>
              <p:cNvSpPr>
                <a:spLocks/>
              </p:cNvSpPr>
              <p:nvPr userDrawn="1"/>
            </p:nvSpPr>
            <p:spPr bwMode="auto">
              <a:xfrm>
                <a:off x="567258" y="168151"/>
                <a:ext cx="230188" cy="258763"/>
              </a:xfrm>
              <a:custGeom>
                <a:avLst/>
                <a:gdLst>
                  <a:gd name="T0" fmla="*/ 116731600 w 289"/>
                  <a:gd name="T1" fmla="*/ 206025508 h 325"/>
                  <a:gd name="T2" fmla="*/ 183344344 w 289"/>
                  <a:gd name="T3" fmla="*/ 0 h 325"/>
                  <a:gd name="T4" fmla="*/ 124978544 w 289"/>
                  <a:gd name="T5" fmla="*/ 0 h 325"/>
                  <a:gd name="T6" fmla="*/ 90720356 w 289"/>
                  <a:gd name="T7" fmla="*/ 105865119 h 325"/>
                  <a:gd name="T8" fmla="*/ 85645069 w 289"/>
                  <a:gd name="T9" fmla="*/ 121079587 h 325"/>
                  <a:gd name="T10" fmla="*/ 85645069 w 289"/>
                  <a:gd name="T11" fmla="*/ 121079587 h 325"/>
                  <a:gd name="T12" fmla="*/ 85645069 w 289"/>
                  <a:gd name="T13" fmla="*/ 121079587 h 325"/>
                  <a:gd name="T14" fmla="*/ 85645069 w 289"/>
                  <a:gd name="T15" fmla="*/ 121079587 h 325"/>
                  <a:gd name="T16" fmla="*/ 85645069 w 289"/>
                  <a:gd name="T17" fmla="*/ 121079587 h 325"/>
                  <a:gd name="T18" fmla="*/ 85645069 w 289"/>
                  <a:gd name="T19" fmla="*/ 121079587 h 325"/>
                  <a:gd name="T20" fmla="*/ 85645069 w 289"/>
                  <a:gd name="T21" fmla="*/ 121079587 h 325"/>
                  <a:gd name="T22" fmla="*/ 81204592 w 289"/>
                  <a:gd name="T23" fmla="*/ 105865119 h 325"/>
                  <a:gd name="T24" fmla="*/ 57730991 w 289"/>
                  <a:gd name="T25" fmla="*/ 38035772 h 325"/>
                  <a:gd name="T26" fmla="*/ 0 w 289"/>
                  <a:gd name="T27" fmla="*/ 38035772 h 325"/>
                  <a:gd name="T28" fmla="*/ 57096978 w 289"/>
                  <a:gd name="T29" fmla="*/ 206025508 h 325"/>
                  <a:gd name="T30" fmla="*/ 116731600 w 289"/>
                  <a:gd name="T31" fmla="*/ 206025508 h 32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89" h="325">
                    <a:moveTo>
                      <a:pt x="184" y="325"/>
                    </a:moveTo>
                    <a:lnTo>
                      <a:pt x="289" y="0"/>
                    </a:lnTo>
                    <a:lnTo>
                      <a:pt x="197" y="0"/>
                    </a:lnTo>
                    <a:lnTo>
                      <a:pt x="143" y="167"/>
                    </a:lnTo>
                    <a:lnTo>
                      <a:pt x="135" y="191"/>
                    </a:lnTo>
                    <a:lnTo>
                      <a:pt x="128" y="167"/>
                    </a:lnTo>
                    <a:lnTo>
                      <a:pt x="91" y="60"/>
                    </a:lnTo>
                    <a:lnTo>
                      <a:pt x="0" y="60"/>
                    </a:lnTo>
                    <a:lnTo>
                      <a:pt x="90" y="325"/>
                    </a:lnTo>
                    <a:lnTo>
                      <a:pt x="184" y="3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grpSp>
          <p:nvGrpSpPr>
            <p:cNvPr id="8" name="_VTT_logo_102019_05_dark_grey_on_white" hidden="1">
              <a:extLst>
                <a:ext uri="{FF2B5EF4-FFF2-40B4-BE49-F238E27FC236}">
                  <a16:creationId xmlns:a16="http://schemas.microsoft.com/office/drawing/2014/main" id="{A94A81C6-0807-213F-9CE3-60D6E2B80C57}"/>
                </a:ext>
              </a:extLst>
            </p:cNvPr>
            <p:cNvGrpSpPr>
              <a:grpSpLocks/>
            </p:cNvGrpSpPr>
            <p:nvPr userDrawn="1"/>
          </p:nvGrpSpPr>
          <p:grpSpPr bwMode="auto">
            <a:xfrm>
              <a:off x="7909204" y="1770762"/>
              <a:ext cx="971550" cy="655638"/>
              <a:chOff x="379933" y="-15999"/>
              <a:chExt cx="971550" cy="655638"/>
            </a:xfrm>
          </p:grpSpPr>
          <p:sp>
            <p:nvSpPr>
              <p:cNvPr id="30" name="Box">
                <a:extLst>
                  <a:ext uri="{FF2B5EF4-FFF2-40B4-BE49-F238E27FC236}">
                    <a16:creationId xmlns:a16="http://schemas.microsoft.com/office/drawing/2014/main" id="{B9DA001A-E9EA-8D14-8F82-A3A9534C7DAD}"/>
                  </a:ext>
                </a:extLst>
              </p:cNvPr>
              <p:cNvSpPr>
                <a:spLocks noChangeArrowheads="1"/>
              </p:cNvSpPr>
              <p:nvPr userDrawn="1"/>
            </p:nvSpPr>
            <p:spPr bwMode="auto">
              <a:xfrm>
                <a:off x="379933" y="-15999"/>
                <a:ext cx="971550" cy="655638"/>
              </a:xfrm>
              <a:prstGeom prst="rect">
                <a:avLst/>
              </a:prstGeom>
              <a:solidFill>
                <a:srgbClr val="FFFFFF"/>
              </a:solidFill>
              <a:ln>
                <a:noFill/>
              </a:ln>
            </p:spPr>
            <p:txBody>
              <a:bodyPr/>
              <a:lstStyle>
                <a:lvl1pPr defTabSz="455613">
                  <a:defRPr b="1">
                    <a:solidFill>
                      <a:schemeClr val="tx1"/>
                    </a:solidFill>
                    <a:latin typeface="Verdana" panose="020B0604030504040204" pitchFamily="34" charset="0"/>
                  </a:defRPr>
                </a:lvl1pPr>
                <a:lvl2pPr marL="742950" indent="-285750" defTabSz="455613">
                  <a:defRPr b="1">
                    <a:solidFill>
                      <a:schemeClr val="tx1"/>
                    </a:solidFill>
                    <a:latin typeface="Verdana" panose="020B0604030504040204" pitchFamily="34" charset="0"/>
                  </a:defRPr>
                </a:lvl2pPr>
                <a:lvl3pPr marL="1143000" indent="-228600" defTabSz="455613">
                  <a:defRPr b="1">
                    <a:solidFill>
                      <a:schemeClr val="tx1"/>
                    </a:solidFill>
                    <a:latin typeface="Verdana" panose="020B0604030504040204" pitchFamily="34" charset="0"/>
                  </a:defRPr>
                </a:lvl3pPr>
                <a:lvl4pPr marL="1600200" indent="-228600" defTabSz="455613">
                  <a:defRPr b="1">
                    <a:solidFill>
                      <a:schemeClr val="tx1"/>
                    </a:solidFill>
                    <a:latin typeface="Verdana" panose="020B0604030504040204" pitchFamily="34" charset="0"/>
                  </a:defRPr>
                </a:lvl4pPr>
                <a:lvl5pPr marL="2057400" indent="-228600" defTabSz="455613">
                  <a:defRPr b="1">
                    <a:solidFill>
                      <a:schemeClr val="tx1"/>
                    </a:solidFill>
                    <a:latin typeface="Verdana" panose="020B0604030504040204" pitchFamily="34" charset="0"/>
                  </a:defRPr>
                </a:lvl5pPr>
                <a:lvl6pPr marL="2514600" indent="-228600" defTabSz="455613" eaLnBrk="0" fontAlgn="base" hangingPunct="0">
                  <a:spcBef>
                    <a:spcPct val="0"/>
                  </a:spcBef>
                  <a:spcAft>
                    <a:spcPct val="0"/>
                  </a:spcAft>
                  <a:defRPr b="1">
                    <a:solidFill>
                      <a:schemeClr val="tx1"/>
                    </a:solidFill>
                    <a:latin typeface="Verdana" panose="020B0604030504040204" pitchFamily="34" charset="0"/>
                  </a:defRPr>
                </a:lvl6pPr>
                <a:lvl7pPr marL="2971800" indent="-228600" defTabSz="455613" eaLnBrk="0" fontAlgn="base" hangingPunct="0">
                  <a:spcBef>
                    <a:spcPct val="0"/>
                  </a:spcBef>
                  <a:spcAft>
                    <a:spcPct val="0"/>
                  </a:spcAft>
                  <a:defRPr b="1">
                    <a:solidFill>
                      <a:schemeClr val="tx1"/>
                    </a:solidFill>
                    <a:latin typeface="Verdana" panose="020B0604030504040204" pitchFamily="34" charset="0"/>
                  </a:defRPr>
                </a:lvl7pPr>
                <a:lvl8pPr marL="3429000" indent="-228600" defTabSz="455613" eaLnBrk="0" fontAlgn="base" hangingPunct="0">
                  <a:spcBef>
                    <a:spcPct val="0"/>
                  </a:spcBef>
                  <a:spcAft>
                    <a:spcPct val="0"/>
                  </a:spcAft>
                  <a:defRPr b="1">
                    <a:solidFill>
                      <a:schemeClr val="tx1"/>
                    </a:solidFill>
                    <a:latin typeface="Verdana" panose="020B0604030504040204" pitchFamily="34" charset="0"/>
                  </a:defRPr>
                </a:lvl8pPr>
                <a:lvl9pPr marL="3886200" indent="-228600" defTabSz="455613" eaLnBrk="0" fontAlgn="base" hangingPunct="0">
                  <a:spcBef>
                    <a:spcPct val="0"/>
                  </a:spcBef>
                  <a:spcAft>
                    <a:spcPct val="0"/>
                  </a:spcAft>
                  <a:defRPr b="1">
                    <a:solidFill>
                      <a:schemeClr val="tx1"/>
                    </a:solidFill>
                    <a:latin typeface="Verdana" panose="020B0604030504040204" pitchFamily="34" charset="0"/>
                  </a:defRPr>
                </a:lvl9pPr>
              </a:lstStyle>
              <a:p>
                <a:pPr eaLnBrk="1" hangingPunct="1">
                  <a:defRPr/>
                </a:pPr>
                <a:endParaRPr lang="en-GB" altLang="de-DE" b="0">
                  <a:solidFill>
                    <a:srgbClr val="000000"/>
                  </a:solidFill>
                  <a:latin typeface="Arial" panose="020B0604020202020204" pitchFamily="34" charset="0"/>
                </a:endParaRPr>
              </a:p>
            </p:txBody>
          </p:sp>
          <p:sp>
            <p:nvSpPr>
              <p:cNvPr id="31" name="T2">
                <a:extLst>
                  <a:ext uri="{FF2B5EF4-FFF2-40B4-BE49-F238E27FC236}">
                    <a16:creationId xmlns:a16="http://schemas.microsoft.com/office/drawing/2014/main" id="{94781D56-F3AE-6ADB-34EE-1BAE87E97BED}"/>
                  </a:ext>
                </a:extLst>
              </p:cNvPr>
              <p:cNvSpPr>
                <a:spLocks/>
              </p:cNvSpPr>
              <p:nvPr userDrawn="1"/>
            </p:nvSpPr>
            <p:spPr bwMode="auto">
              <a:xfrm>
                <a:off x="1011758" y="168151"/>
                <a:ext cx="176213" cy="258763"/>
              </a:xfrm>
              <a:custGeom>
                <a:avLst/>
                <a:gdLst>
                  <a:gd name="T0" fmla="*/ 98916612 w 222"/>
                  <a:gd name="T1" fmla="*/ 206025508 h 325"/>
                  <a:gd name="T2" fmla="*/ 98916612 w 222"/>
                  <a:gd name="T3" fmla="*/ 49446026 h 325"/>
                  <a:gd name="T4" fmla="*/ 139869466 w 222"/>
                  <a:gd name="T5" fmla="*/ 49446026 h 325"/>
                  <a:gd name="T6" fmla="*/ 139869466 w 222"/>
                  <a:gd name="T7" fmla="*/ 0 h 325"/>
                  <a:gd name="T8" fmla="*/ 0 w 222"/>
                  <a:gd name="T9" fmla="*/ 0 h 325"/>
                  <a:gd name="T10" fmla="*/ 0 w 222"/>
                  <a:gd name="T11" fmla="*/ 49446026 h 325"/>
                  <a:gd name="T12" fmla="*/ 41583093 w 222"/>
                  <a:gd name="T13" fmla="*/ 49446026 h 325"/>
                  <a:gd name="T14" fmla="*/ 41583093 w 222"/>
                  <a:gd name="T15" fmla="*/ 206025508 h 325"/>
                  <a:gd name="T16" fmla="*/ 41583093 w 222"/>
                  <a:gd name="T17" fmla="*/ 206025508 h 325"/>
                  <a:gd name="T18" fmla="*/ 98916612 w 222"/>
                  <a:gd name="T19" fmla="*/ 206025508 h 3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22" h="325">
                    <a:moveTo>
                      <a:pt x="157" y="325"/>
                    </a:moveTo>
                    <a:lnTo>
                      <a:pt x="157" y="78"/>
                    </a:lnTo>
                    <a:lnTo>
                      <a:pt x="222" y="78"/>
                    </a:lnTo>
                    <a:lnTo>
                      <a:pt x="222" y="0"/>
                    </a:lnTo>
                    <a:lnTo>
                      <a:pt x="0" y="0"/>
                    </a:lnTo>
                    <a:lnTo>
                      <a:pt x="0" y="78"/>
                    </a:lnTo>
                    <a:lnTo>
                      <a:pt x="66" y="78"/>
                    </a:lnTo>
                    <a:lnTo>
                      <a:pt x="66" y="325"/>
                    </a:lnTo>
                    <a:lnTo>
                      <a:pt x="157" y="325"/>
                    </a:lnTo>
                    <a:close/>
                  </a:path>
                </a:pathLst>
              </a:custGeom>
              <a:solidFill>
                <a:srgbClr val="AFAFA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32" name="T1">
                <a:extLst>
                  <a:ext uri="{FF2B5EF4-FFF2-40B4-BE49-F238E27FC236}">
                    <a16:creationId xmlns:a16="http://schemas.microsoft.com/office/drawing/2014/main" id="{225262A6-2AF8-CF97-89E0-7B31BB9057B5}"/>
                  </a:ext>
                </a:extLst>
              </p:cNvPr>
              <p:cNvSpPr>
                <a:spLocks/>
              </p:cNvSpPr>
              <p:nvPr userDrawn="1"/>
            </p:nvSpPr>
            <p:spPr bwMode="auto">
              <a:xfrm>
                <a:off x="799033" y="168151"/>
                <a:ext cx="193675" cy="258763"/>
              </a:xfrm>
              <a:custGeom>
                <a:avLst/>
                <a:gdLst>
                  <a:gd name="T0" fmla="*/ 55443438 w 244"/>
                  <a:gd name="T1" fmla="*/ 49446026 h 325"/>
                  <a:gd name="T2" fmla="*/ 55443438 w 244"/>
                  <a:gd name="T3" fmla="*/ 206025508 h 325"/>
                  <a:gd name="T4" fmla="*/ 112776794 w 244"/>
                  <a:gd name="T5" fmla="*/ 206025508 h 325"/>
                  <a:gd name="T6" fmla="*/ 112776794 w 244"/>
                  <a:gd name="T7" fmla="*/ 49446026 h 325"/>
                  <a:gd name="T8" fmla="*/ 153729531 w 244"/>
                  <a:gd name="T9" fmla="*/ 49446026 h 325"/>
                  <a:gd name="T10" fmla="*/ 153729531 w 244"/>
                  <a:gd name="T11" fmla="*/ 0 h 325"/>
                  <a:gd name="T12" fmla="*/ 15751175 w 244"/>
                  <a:gd name="T13" fmla="*/ 0 h 325"/>
                  <a:gd name="T14" fmla="*/ 0 w 244"/>
                  <a:gd name="T15" fmla="*/ 49446026 h 325"/>
                  <a:gd name="T16" fmla="*/ 55443438 w 244"/>
                  <a:gd name="T17" fmla="*/ 49446026 h 3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44" h="325">
                    <a:moveTo>
                      <a:pt x="88" y="78"/>
                    </a:moveTo>
                    <a:lnTo>
                      <a:pt x="88" y="325"/>
                    </a:lnTo>
                    <a:lnTo>
                      <a:pt x="179" y="325"/>
                    </a:lnTo>
                    <a:lnTo>
                      <a:pt x="179" y="78"/>
                    </a:lnTo>
                    <a:lnTo>
                      <a:pt x="244" y="78"/>
                    </a:lnTo>
                    <a:lnTo>
                      <a:pt x="244" y="0"/>
                    </a:lnTo>
                    <a:lnTo>
                      <a:pt x="25" y="0"/>
                    </a:lnTo>
                    <a:lnTo>
                      <a:pt x="0" y="78"/>
                    </a:lnTo>
                    <a:lnTo>
                      <a:pt x="88" y="78"/>
                    </a:lnTo>
                    <a:close/>
                  </a:path>
                </a:pathLst>
              </a:custGeom>
              <a:solidFill>
                <a:srgbClr val="AFAFA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33" name="V">
                <a:extLst>
                  <a:ext uri="{FF2B5EF4-FFF2-40B4-BE49-F238E27FC236}">
                    <a16:creationId xmlns:a16="http://schemas.microsoft.com/office/drawing/2014/main" id="{B6E5E6F2-720F-CC92-12F6-857BF4F834B1}"/>
                  </a:ext>
                </a:extLst>
              </p:cNvPr>
              <p:cNvSpPr>
                <a:spLocks/>
              </p:cNvSpPr>
              <p:nvPr userDrawn="1"/>
            </p:nvSpPr>
            <p:spPr bwMode="auto">
              <a:xfrm>
                <a:off x="567258" y="168151"/>
                <a:ext cx="230188" cy="258763"/>
              </a:xfrm>
              <a:custGeom>
                <a:avLst/>
                <a:gdLst>
                  <a:gd name="T0" fmla="*/ 116731600 w 289"/>
                  <a:gd name="T1" fmla="*/ 206025508 h 325"/>
                  <a:gd name="T2" fmla="*/ 183344344 w 289"/>
                  <a:gd name="T3" fmla="*/ 0 h 325"/>
                  <a:gd name="T4" fmla="*/ 124978544 w 289"/>
                  <a:gd name="T5" fmla="*/ 0 h 325"/>
                  <a:gd name="T6" fmla="*/ 90720356 w 289"/>
                  <a:gd name="T7" fmla="*/ 105865119 h 325"/>
                  <a:gd name="T8" fmla="*/ 85645069 w 289"/>
                  <a:gd name="T9" fmla="*/ 121079587 h 325"/>
                  <a:gd name="T10" fmla="*/ 85645069 w 289"/>
                  <a:gd name="T11" fmla="*/ 121079587 h 325"/>
                  <a:gd name="T12" fmla="*/ 85645069 w 289"/>
                  <a:gd name="T13" fmla="*/ 121079587 h 325"/>
                  <a:gd name="T14" fmla="*/ 85645069 w 289"/>
                  <a:gd name="T15" fmla="*/ 121079587 h 325"/>
                  <a:gd name="T16" fmla="*/ 85645069 w 289"/>
                  <a:gd name="T17" fmla="*/ 121079587 h 325"/>
                  <a:gd name="T18" fmla="*/ 85645069 w 289"/>
                  <a:gd name="T19" fmla="*/ 121079587 h 325"/>
                  <a:gd name="T20" fmla="*/ 85645069 w 289"/>
                  <a:gd name="T21" fmla="*/ 121079587 h 325"/>
                  <a:gd name="T22" fmla="*/ 81204592 w 289"/>
                  <a:gd name="T23" fmla="*/ 105865119 h 325"/>
                  <a:gd name="T24" fmla="*/ 57730991 w 289"/>
                  <a:gd name="T25" fmla="*/ 38035772 h 325"/>
                  <a:gd name="T26" fmla="*/ 0 w 289"/>
                  <a:gd name="T27" fmla="*/ 38035772 h 325"/>
                  <a:gd name="T28" fmla="*/ 57096978 w 289"/>
                  <a:gd name="T29" fmla="*/ 206025508 h 325"/>
                  <a:gd name="T30" fmla="*/ 116731600 w 289"/>
                  <a:gd name="T31" fmla="*/ 206025508 h 32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89" h="325">
                    <a:moveTo>
                      <a:pt x="184" y="325"/>
                    </a:moveTo>
                    <a:lnTo>
                      <a:pt x="289" y="0"/>
                    </a:lnTo>
                    <a:lnTo>
                      <a:pt x="197" y="0"/>
                    </a:lnTo>
                    <a:lnTo>
                      <a:pt x="143" y="167"/>
                    </a:lnTo>
                    <a:lnTo>
                      <a:pt x="135" y="191"/>
                    </a:lnTo>
                    <a:lnTo>
                      <a:pt x="128" y="167"/>
                    </a:lnTo>
                    <a:lnTo>
                      <a:pt x="91" y="60"/>
                    </a:lnTo>
                    <a:lnTo>
                      <a:pt x="0" y="60"/>
                    </a:lnTo>
                    <a:lnTo>
                      <a:pt x="90" y="325"/>
                    </a:lnTo>
                    <a:lnTo>
                      <a:pt x="184" y="325"/>
                    </a:lnTo>
                    <a:close/>
                  </a:path>
                </a:pathLst>
              </a:custGeom>
              <a:solidFill>
                <a:srgbClr val="AFAFA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grpSp>
          <p:nvGrpSpPr>
            <p:cNvPr id="10" name="_VTT_logo_102019_06_orange_blue_on_white" hidden="1">
              <a:extLst>
                <a:ext uri="{FF2B5EF4-FFF2-40B4-BE49-F238E27FC236}">
                  <a16:creationId xmlns:a16="http://schemas.microsoft.com/office/drawing/2014/main" id="{832B3099-4D05-37CC-0607-E21F07186031}"/>
                </a:ext>
              </a:extLst>
            </p:cNvPr>
            <p:cNvGrpSpPr>
              <a:grpSpLocks/>
            </p:cNvGrpSpPr>
            <p:nvPr userDrawn="1"/>
          </p:nvGrpSpPr>
          <p:grpSpPr bwMode="auto">
            <a:xfrm>
              <a:off x="7909204" y="1770762"/>
              <a:ext cx="971550" cy="655638"/>
              <a:chOff x="379933" y="-15999"/>
              <a:chExt cx="971550" cy="655638"/>
            </a:xfrm>
          </p:grpSpPr>
          <p:sp>
            <p:nvSpPr>
              <p:cNvPr id="26" name="Box">
                <a:extLst>
                  <a:ext uri="{FF2B5EF4-FFF2-40B4-BE49-F238E27FC236}">
                    <a16:creationId xmlns:a16="http://schemas.microsoft.com/office/drawing/2014/main" id="{3FE9C9EA-B24F-C9D1-B96F-7C4EEA79CAD5}"/>
                  </a:ext>
                </a:extLst>
              </p:cNvPr>
              <p:cNvSpPr>
                <a:spLocks noChangeArrowheads="1"/>
              </p:cNvSpPr>
              <p:nvPr userDrawn="1"/>
            </p:nvSpPr>
            <p:spPr bwMode="auto">
              <a:xfrm>
                <a:off x="379933" y="-15999"/>
                <a:ext cx="971550" cy="655638"/>
              </a:xfrm>
              <a:prstGeom prst="rect">
                <a:avLst/>
              </a:prstGeom>
              <a:solidFill>
                <a:srgbClr val="FFFFFF"/>
              </a:solidFill>
              <a:ln>
                <a:noFill/>
              </a:ln>
            </p:spPr>
            <p:txBody>
              <a:bodyPr/>
              <a:lstStyle>
                <a:lvl1pPr defTabSz="455613">
                  <a:defRPr b="1">
                    <a:solidFill>
                      <a:schemeClr val="tx1"/>
                    </a:solidFill>
                    <a:latin typeface="Verdana" panose="020B0604030504040204" pitchFamily="34" charset="0"/>
                  </a:defRPr>
                </a:lvl1pPr>
                <a:lvl2pPr marL="742950" indent="-285750" defTabSz="455613">
                  <a:defRPr b="1">
                    <a:solidFill>
                      <a:schemeClr val="tx1"/>
                    </a:solidFill>
                    <a:latin typeface="Verdana" panose="020B0604030504040204" pitchFamily="34" charset="0"/>
                  </a:defRPr>
                </a:lvl2pPr>
                <a:lvl3pPr marL="1143000" indent="-228600" defTabSz="455613">
                  <a:defRPr b="1">
                    <a:solidFill>
                      <a:schemeClr val="tx1"/>
                    </a:solidFill>
                    <a:latin typeface="Verdana" panose="020B0604030504040204" pitchFamily="34" charset="0"/>
                  </a:defRPr>
                </a:lvl3pPr>
                <a:lvl4pPr marL="1600200" indent="-228600" defTabSz="455613">
                  <a:defRPr b="1">
                    <a:solidFill>
                      <a:schemeClr val="tx1"/>
                    </a:solidFill>
                    <a:latin typeface="Verdana" panose="020B0604030504040204" pitchFamily="34" charset="0"/>
                  </a:defRPr>
                </a:lvl4pPr>
                <a:lvl5pPr marL="2057400" indent="-228600" defTabSz="455613">
                  <a:defRPr b="1">
                    <a:solidFill>
                      <a:schemeClr val="tx1"/>
                    </a:solidFill>
                    <a:latin typeface="Verdana" panose="020B0604030504040204" pitchFamily="34" charset="0"/>
                  </a:defRPr>
                </a:lvl5pPr>
                <a:lvl6pPr marL="2514600" indent="-228600" defTabSz="455613" eaLnBrk="0" fontAlgn="base" hangingPunct="0">
                  <a:spcBef>
                    <a:spcPct val="0"/>
                  </a:spcBef>
                  <a:spcAft>
                    <a:spcPct val="0"/>
                  </a:spcAft>
                  <a:defRPr b="1">
                    <a:solidFill>
                      <a:schemeClr val="tx1"/>
                    </a:solidFill>
                    <a:latin typeface="Verdana" panose="020B0604030504040204" pitchFamily="34" charset="0"/>
                  </a:defRPr>
                </a:lvl6pPr>
                <a:lvl7pPr marL="2971800" indent="-228600" defTabSz="455613" eaLnBrk="0" fontAlgn="base" hangingPunct="0">
                  <a:spcBef>
                    <a:spcPct val="0"/>
                  </a:spcBef>
                  <a:spcAft>
                    <a:spcPct val="0"/>
                  </a:spcAft>
                  <a:defRPr b="1">
                    <a:solidFill>
                      <a:schemeClr val="tx1"/>
                    </a:solidFill>
                    <a:latin typeface="Verdana" panose="020B0604030504040204" pitchFamily="34" charset="0"/>
                  </a:defRPr>
                </a:lvl7pPr>
                <a:lvl8pPr marL="3429000" indent="-228600" defTabSz="455613" eaLnBrk="0" fontAlgn="base" hangingPunct="0">
                  <a:spcBef>
                    <a:spcPct val="0"/>
                  </a:spcBef>
                  <a:spcAft>
                    <a:spcPct val="0"/>
                  </a:spcAft>
                  <a:defRPr b="1">
                    <a:solidFill>
                      <a:schemeClr val="tx1"/>
                    </a:solidFill>
                    <a:latin typeface="Verdana" panose="020B0604030504040204" pitchFamily="34" charset="0"/>
                  </a:defRPr>
                </a:lvl8pPr>
                <a:lvl9pPr marL="3886200" indent="-228600" defTabSz="455613" eaLnBrk="0" fontAlgn="base" hangingPunct="0">
                  <a:spcBef>
                    <a:spcPct val="0"/>
                  </a:spcBef>
                  <a:spcAft>
                    <a:spcPct val="0"/>
                  </a:spcAft>
                  <a:defRPr b="1">
                    <a:solidFill>
                      <a:schemeClr val="tx1"/>
                    </a:solidFill>
                    <a:latin typeface="Verdana" panose="020B0604030504040204" pitchFamily="34" charset="0"/>
                  </a:defRPr>
                </a:lvl9pPr>
              </a:lstStyle>
              <a:p>
                <a:pPr eaLnBrk="1" hangingPunct="1">
                  <a:defRPr/>
                </a:pPr>
                <a:endParaRPr lang="en-GB" altLang="de-DE" b="0">
                  <a:solidFill>
                    <a:srgbClr val="000000"/>
                  </a:solidFill>
                  <a:latin typeface="Arial" panose="020B0604020202020204" pitchFamily="34" charset="0"/>
                </a:endParaRPr>
              </a:p>
            </p:txBody>
          </p:sp>
          <p:sp>
            <p:nvSpPr>
              <p:cNvPr id="27" name="T2">
                <a:extLst>
                  <a:ext uri="{FF2B5EF4-FFF2-40B4-BE49-F238E27FC236}">
                    <a16:creationId xmlns:a16="http://schemas.microsoft.com/office/drawing/2014/main" id="{12E65AB5-BC2F-E237-4C25-227EF225379C}"/>
                  </a:ext>
                </a:extLst>
              </p:cNvPr>
              <p:cNvSpPr>
                <a:spLocks/>
              </p:cNvSpPr>
              <p:nvPr userDrawn="1"/>
            </p:nvSpPr>
            <p:spPr bwMode="auto">
              <a:xfrm>
                <a:off x="1011758" y="168151"/>
                <a:ext cx="176213" cy="258763"/>
              </a:xfrm>
              <a:custGeom>
                <a:avLst/>
                <a:gdLst>
                  <a:gd name="T0" fmla="*/ 98916612 w 222"/>
                  <a:gd name="T1" fmla="*/ 206025508 h 325"/>
                  <a:gd name="T2" fmla="*/ 98916612 w 222"/>
                  <a:gd name="T3" fmla="*/ 49446026 h 325"/>
                  <a:gd name="T4" fmla="*/ 139869466 w 222"/>
                  <a:gd name="T5" fmla="*/ 49446026 h 325"/>
                  <a:gd name="T6" fmla="*/ 139869466 w 222"/>
                  <a:gd name="T7" fmla="*/ 0 h 325"/>
                  <a:gd name="T8" fmla="*/ 0 w 222"/>
                  <a:gd name="T9" fmla="*/ 0 h 325"/>
                  <a:gd name="T10" fmla="*/ 0 w 222"/>
                  <a:gd name="T11" fmla="*/ 49446026 h 325"/>
                  <a:gd name="T12" fmla="*/ 41583093 w 222"/>
                  <a:gd name="T13" fmla="*/ 49446026 h 325"/>
                  <a:gd name="T14" fmla="*/ 41583093 w 222"/>
                  <a:gd name="T15" fmla="*/ 206025508 h 325"/>
                  <a:gd name="T16" fmla="*/ 41583093 w 222"/>
                  <a:gd name="T17" fmla="*/ 206025508 h 325"/>
                  <a:gd name="T18" fmla="*/ 98916612 w 222"/>
                  <a:gd name="T19" fmla="*/ 206025508 h 3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22" h="325">
                    <a:moveTo>
                      <a:pt x="157" y="325"/>
                    </a:moveTo>
                    <a:lnTo>
                      <a:pt x="157" y="78"/>
                    </a:lnTo>
                    <a:lnTo>
                      <a:pt x="222" y="78"/>
                    </a:lnTo>
                    <a:lnTo>
                      <a:pt x="222" y="0"/>
                    </a:lnTo>
                    <a:lnTo>
                      <a:pt x="0" y="0"/>
                    </a:lnTo>
                    <a:lnTo>
                      <a:pt x="0" y="78"/>
                    </a:lnTo>
                    <a:lnTo>
                      <a:pt x="66" y="78"/>
                    </a:lnTo>
                    <a:lnTo>
                      <a:pt x="66" y="325"/>
                    </a:lnTo>
                    <a:lnTo>
                      <a:pt x="157" y="325"/>
                    </a:lnTo>
                    <a:close/>
                  </a:path>
                </a:pathLst>
              </a:custGeom>
              <a:solidFill>
                <a:srgbClr val="00579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8" name="T1">
                <a:extLst>
                  <a:ext uri="{FF2B5EF4-FFF2-40B4-BE49-F238E27FC236}">
                    <a16:creationId xmlns:a16="http://schemas.microsoft.com/office/drawing/2014/main" id="{128B8A2D-24C5-F5C6-A0B1-684B67959A93}"/>
                  </a:ext>
                </a:extLst>
              </p:cNvPr>
              <p:cNvSpPr>
                <a:spLocks/>
              </p:cNvSpPr>
              <p:nvPr userDrawn="1"/>
            </p:nvSpPr>
            <p:spPr bwMode="auto">
              <a:xfrm>
                <a:off x="799033" y="168151"/>
                <a:ext cx="193675" cy="258763"/>
              </a:xfrm>
              <a:custGeom>
                <a:avLst/>
                <a:gdLst>
                  <a:gd name="T0" fmla="*/ 55443438 w 244"/>
                  <a:gd name="T1" fmla="*/ 49446026 h 325"/>
                  <a:gd name="T2" fmla="*/ 55443438 w 244"/>
                  <a:gd name="T3" fmla="*/ 206025508 h 325"/>
                  <a:gd name="T4" fmla="*/ 112776794 w 244"/>
                  <a:gd name="T5" fmla="*/ 206025508 h 325"/>
                  <a:gd name="T6" fmla="*/ 112776794 w 244"/>
                  <a:gd name="T7" fmla="*/ 49446026 h 325"/>
                  <a:gd name="T8" fmla="*/ 153729531 w 244"/>
                  <a:gd name="T9" fmla="*/ 49446026 h 325"/>
                  <a:gd name="T10" fmla="*/ 153729531 w 244"/>
                  <a:gd name="T11" fmla="*/ 0 h 325"/>
                  <a:gd name="T12" fmla="*/ 15751175 w 244"/>
                  <a:gd name="T13" fmla="*/ 0 h 325"/>
                  <a:gd name="T14" fmla="*/ 0 w 244"/>
                  <a:gd name="T15" fmla="*/ 49446026 h 325"/>
                  <a:gd name="T16" fmla="*/ 55443438 w 244"/>
                  <a:gd name="T17" fmla="*/ 49446026 h 3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44" h="325">
                    <a:moveTo>
                      <a:pt x="88" y="78"/>
                    </a:moveTo>
                    <a:lnTo>
                      <a:pt x="88" y="325"/>
                    </a:lnTo>
                    <a:lnTo>
                      <a:pt x="179" y="325"/>
                    </a:lnTo>
                    <a:lnTo>
                      <a:pt x="179" y="78"/>
                    </a:lnTo>
                    <a:lnTo>
                      <a:pt x="244" y="78"/>
                    </a:lnTo>
                    <a:lnTo>
                      <a:pt x="244" y="0"/>
                    </a:lnTo>
                    <a:lnTo>
                      <a:pt x="25" y="0"/>
                    </a:lnTo>
                    <a:lnTo>
                      <a:pt x="0" y="78"/>
                    </a:lnTo>
                    <a:lnTo>
                      <a:pt x="88" y="78"/>
                    </a:lnTo>
                    <a:close/>
                  </a:path>
                </a:pathLst>
              </a:custGeom>
              <a:solidFill>
                <a:srgbClr val="00579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9" name="V">
                <a:extLst>
                  <a:ext uri="{FF2B5EF4-FFF2-40B4-BE49-F238E27FC236}">
                    <a16:creationId xmlns:a16="http://schemas.microsoft.com/office/drawing/2014/main" id="{E8DF6F81-2548-BEBC-F187-726C6720950C}"/>
                  </a:ext>
                </a:extLst>
              </p:cNvPr>
              <p:cNvSpPr>
                <a:spLocks/>
              </p:cNvSpPr>
              <p:nvPr userDrawn="1"/>
            </p:nvSpPr>
            <p:spPr bwMode="auto">
              <a:xfrm>
                <a:off x="567258" y="168151"/>
                <a:ext cx="230188" cy="258763"/>
              </a:xfrm>
              <a:custGeom>
                <a:avLst/>
                <a:gdLst>
                  <a:gd name="T0" fmla="*/ 116731600 w 289"/>
                  <a:gd name="T1" fmla="*/ 206025508 h 325"/>
                  <a:gd name="T2" fmla="*/ 183344344 w 289"/>
                  <a:gd name="T3" fmla="*/ 0 h 325"/>
                  <a:gd name="T4" fmla="*/ 124978544 w 289"/>
                  <a:gd name="T5" fmla="*/ 0 h 325"/>
                  <a:gd name="T6" fmla="*/ 90720356 w 289"/>
                  <a:gd name="T7" fmla="*/ 105865119 h 325"/>
                  <a:gd name="T8" fmla="*/ 85645069 w 289"/>
                  <a:gd name="T9" fmla="*/ 121079587 h 325"/>
                  <a:gd name="T10" fmla="*/ 85645069 w 289"/>
                  <a:gd name="T11" fmla="*/ 121079587 h 325"/>
                  <a:gd name="T12" fmla="*/ 85645069 w 289"/>
                  <a:gd name="T13" fmla="*/ 121079587 h 325"/>
                  <a:gd name="T14" fmla="*/ 85645069 w 289"/>
                  <a:gd name="T15" fmla="*/ 121079587 h 325"/>
                  <a:gd name="T16" fmla="*/ 85645069 w 289"/>
                  <a:gd name="T17" fmla="*/ 121079587 h 325"/>
                  <a:gd name="T18" fmla="*/ 85645069 w 289"/>
                  <a:gd name="T19" fmla="*/ 121079587 h 325"/>
                  <a:gd name="T20" fmla="*/ 85645069 w 289"/>
                  <a:gd name="T21" fmla="*/ 121079587 h 325"/>
                  <a:gd name="T22" fmla="*/ 81204592 w 289"/>
                  <a:gd name="T23" fmla="*/ 105865119 h 325"/>
                  <a:gd name="T24" fmla="*/ 57730991 w 289"/>
                  <a:gd name="T25" fmla="*/ 38035772 h 325"/>
                  <a:gd name="T26" fmla="*/ 0 w 289"/>
                  <a:gd name="T27" fmla="*/ 38035772 h 325"/>
                  <a:gd name="T28" fmla="*/ 57096978 w 289"/>
                  <a:gd name="T29" fmla="*/ 206025508 h 325"/>
                  <a:gd name="T30" fmla="*/ 116731600 w 289"/>
                  <a:gd name="T31" fmla="*/ 206025508 h 32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89" h="325">
                    <a:moveTo>
                      <a:pt x="184" y="325"/>
                    </a:moveTo>
                    <a:lnTo>
                      <a:pt x="289" y="0"/>
                    </a:lnTo>
                    <a:lnTo>
                      <a:pt x="197" y="0"/>
                    </a:lnTo>
                    <a:lnTo>
                      <a:pt x="143" y="167"/>
                    </a:lnTo>
                    <a:lnTo>
                      <a:pt x="135" y="191"/>
                    </a:lnTo>
                    <a:lnTo>
                      <a:pt x="128" y="167"/>
                    </a:lnTo>
                    <a:lnTo>
                      <a:pt x="91" y="60"/>
                    </a:lnTo>
                    <a:lnTo>
                      <a:pt x="0" y="60"/>
                    </a:lnTo>
                    <a:lnTo>
                      <a:pt x="90" y="325"/>
                    </a:lnTo>
                    <a:lnTo>
                      <a:pt x="184" y="325"/>
                    </a:lnTo>
                    <a:close/>
                  </a:path>
                </a:pathLst>
              </a:custGeom>
              <a:solidFill>
                <a:srgbClr val="F06E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grpSp>
          <p:nvGrpSpPr>
            <p:cNvPr id="11" name="_VTT_logo_102019_07_blue_on_white" hidden="1">
              <a:extLst>
                <a:ext uri="{FF2B5EF4-FFF2-40B4-BE49-F238E27FC236}">
                  <a16:creationId xmlns:a16="http://schemas.microsoft.com/office/drawing/2014/main" id="{B963A05E-94D8-1AD3-9337-5110A951B1FD}"/>
                </a:ext>
              </a:extLst>
            </p:cNvPr>
            <p:cNvGrpSpPr>
              <a:grpSpLocks/>
            </p:cNvGrpSpPr>
            <p:nvPr userDrawn="1"/>
          </p:nvGrpSpPr>
          <p:grpSpPr bwMode="auto">
            <a:xfrm>
              <a:off x="7909204" y="1770762"/>
              <a:ext cx="971550" cy="655638"/>
              <a:chOff x="379933" y="-15999"/>
              <a:chExt cx="971550" cy="655638"/>
            </a:xfrm>
          </p:grpSpPr>
          <p:sp>
            <p:nvSpPr>
              <p:cNvPr id="22" name="Box">
                <a:extLst>
                  <a:ext uri="{FF2B5EF4-FFF2-40B4-BE49-F238E27FC236}">
                    <a16:creationId xmlns:a16="http://schemas.microsoft.com/office/drawing/2014/main" id="{24C02899-CE69-470D-C9E1-6A5F7C9EBB31}"/>
                  </a:ext>
                </a:extLst>
              </p:cNvPr>
              <p:cNvSpPr>
                <a:spLocks noChangeArrowheads="1"/>
              </p:cNvSpPr>
              <p:nvPr userDrawn="1"/>
            </p:nvSpPr>
            <p:spPr bwMode="auto">
              <a:xfrm>
                <a:off x="379933" y="-15999"/>
                <a:ext cx="971550" cy="655638"/>
              </a:xfrm>
              <a:prstGeom prst="rect">
                <a:avLst/>
              </a:prstGeom>
              <a:solidFill>
                <a:srgbClr val="FFFFFF"/>
              </a:solidFill>
              <a:ln>
                <a:noFill/>
              </a:ln>
            </p:spPr>
            <p:txBody>
              <a:bodyPr/>
              <a:lstStyle>
                <a:lvl1pPr defTabSz="455613">
                  <a:defRPr b="1">
                    <a:solidFill>
                      <a:schemeClr val="tx1"/>
                    </a:solidFill>
                    <a:latin typeface="Verdana" panose="020B0604030504040204" pitchFamily="34" charset="0"/>
                  </a:defRPr>
                </a:lvl1pPr>
                <a:lvl2pPr marL="742950" indent="-285750" defTabSz="455613">
                  <a:defRPr b="1">
                    <a:solidFill>
                      <a:schemeClr val="tx1"/>
                    </a:solidFill>
                    <a:latin typeface="Verdana" panose="020B0604030504040204" pitchFamily="34" charset="0"/>
                  </a:defRPr>
                </a:lvl2pPr>
                <a:lvl3pPr marL="1143000" indent="-228600" defTabSz="455613">
                  <a:defRPr b="1">
                    <a:solidFill>
                      <a:schemeClr val="tx1"/>
                    </a:solidFill>
                    <a:latin typeface="Verdana" panose="020B0604030504040204" pitchFamily="34" charset="0"/>
                  </a:defRPr>
                </a:lvl3pPr>
                <a:lvl4pPr marL="1600200" indent="-228600" defTabSz="455613">
                  <a:defRPr b="1">
                    <a:solidFill>
                      <a:schemeClr val="tx1"/>
                    </a:solidFill>
                    <a:latin typeface="Verdana" panose="020B0604030504040204" pitchFamily="34" charset="0"/>
                  </a:defRPr>
                </a:lvl4pPr>
                <a:lvl5pPr marL="2057400" indent="-228600" defTabSz="455613">
                  <a:defRPr b="1">
                    <a:solidFill>
                      <a:schemeClr val="tx1"/>
                    </a:solidFill>
                    <a:latin typeface="Verdana" panose="020B0604030504040204" pitchFamily="34" charset="0"/>
                  </a:defRPr>
                </a:lvl5pPr>
                <a:lvl6pPr marL="2514600" indent="-228600" defTabSz="455613" eaLnBrk="0" fontAlgn="base" hangingPunct="0">
                  <a:spcBef>
                    <a:spcPct val="0"/>
                  </a:spcBef>
                  <a:spcAft>
                    <a:spcPct val="0"/>
                  </a:spcAft>
                  <a:defRPr b="1">
                    <a:solidFill>
                      <a:schemeClr val="tx1"/>
                    </a:solidFill>
                    <a:latin typeface="Verdana" panose="020B0604030504040204" pitchFamily="34" charset="0"/>
                  </a:defRPr>
                </a:lvl6pPr>
                <a:lvl7pPr marL="2971800" indent="-228600" defTabSz="455613" eaLnBrk="0" fontAlgn="base" hangingPunct="0">
                  <a:spcBef>
                    <a:spcPct val="0"/>
                  </a:spcBef>
                  <a:spcAft>
                    <a:spcPct val="0"/>
                  </a:spcAft>
                  <a:defRPr b="1">
                    <a:solidFill>
                      <a:schemeClr val="tx1"/>
                    </a:solidFill>
                    <a:latin typeface="Verdana" panose="020B0604030504040204" pitchFamily="34" charset="0"/>
                  </a:defRPr>
                </a:lvl7pPr>
                <a:lvl8pPr marL="3429000" indent="-228600" defTabSz="455613" eaLnBrk="0" fontAlgn="base" hangingPunct="0">
                  <a:spcBef>
                    <a:spcPct val="0"/>
                  </a:spcBef>
                  <a:spcAft>
                    <a:spcPct val="0"/>
                  </a:spcAft>
                  <a:defRPr b="1">
                    <a:solidFill>
                      <a:schemeClr val="tx1"/>
                    </a:solidFill>
                    <a:latin typeface="Verdana" panose="020B0604030504040204" pitchFamily="34" charset="0"/>
                  </a:defRPr>
                </a:lvl8pPr>
                <a:lvl9pPr marL="3886200" indent="-228600" defTabSz="455613" eaLnBrk="0" fontAlgn="base" hangingPunct="0">
                  <a:spcBef>
                    <a:spcPct val="0"/>
                  </a:spcBef>
                  <a:spcAft>
                    <a:spcPct val="0"/>
                  </a:spcAft>
                  <a:defRPr b="1">
                    <a:solidFill>
                      <a:schemeClr val="tx1"/>
                    </a:solidFill>
                    <a:latin typeface="Verdana" panose="020B0604030504040204" pitchFamily="34" charset="0"/>
                  </a:defRPr>
                </a:lvl9pPr>
              </a:lstStyle>
              <a:p>
                <a:pPr eaLnBrk="1" hangingPunct="1">
                  <a:defRPr/>
                </a:pPr>
                <a:endParaRPr lang="en-GB" altLang="de-DE" b="0">
                  <a:solidFill>
                    <a:srgbClr val="000000"/>
                  </a:solidFill>
                  <a:latin typeface="Arial" panose="020B0604020202020204" pitchFamily="34" charset="0"/>
                </a:endParaRPr>
              </a:p>
            </p:txBody>
          </p:sp>
          <p:sp>
            <p:nvSpPr>
              <p:cNvPr id="23" name="T2">
                <a:extLst>
                  <a:ext uri="{FF2B5EF4-FFF2-40B4-BE49-F238E27FC236}">
                    <a16:creationId xmlns:a16="http://schemas.microsoft.com/office/drawing/2014/main" id="{064FBA3F-CB7B-A682-19A9-288113995FF7}"/>
                  </a:ext>
                </a:extLst>
              </p:cNvPr>
              <p:cNvSpPr>
                <a:spLocks/>
              </p:cNvSpPr>
              <p:nvPr userDrawn="1"/>
            </p:nvSpPr>
            <p:spPr bwMode="auto">
              <a:xfrm>
                <a:off x="1011758" y="168151"/>
                <a:ext cx="176213" cy="258763"/>
              </a:xfrm>
              <a:custGeom>
                <a:avLst/>
                <a:gdLst>
                  <a:gd name="T0" fmla="*/ 98916612 w 222"/>
                  <a:gd name="T1" fmla="*/ 206025508 h 325"/>
                  <a:gd name="T2" fmla="*/ 98916612 w 222"/>
                  <a:gd name="T3" fmla="*/ 49446026 h 325"/>
                  <a:gd name="T4" fmla="*/ 139869466 w 222"/>
                  <a:gd name="T5" fmla="*/ 49446026 h 325"/>
                  <a:gd name="T6" fmla="*/ 139869466 w 222"/>
                  <a:gd name="T7" fmla="*/ 0 h 325"/>
                  <a:gd name="T8" fmla="*/ 0 w 222"/>
                  <a:gd name="T9" fmla="*/ 0 h 325"/>
                  <a:gd name="T10" fmla="*/ 0 w 222"/>
                  <a:gd name="T11" fmla="*/ 49446026 h 325"/>
                  <a:gd name="T12" fmla="*/ 41583093 w 222"/>
                  <a:gd name="T13" fmla="*/ 49446026 h 325"/>
                  <a:gd name="T14" fmla="*/ 41583093 w 222"/>
                  <a:gd name="T15" fmla="*/ 206025508 h 325"/>
                  <a:gd name="T16" fmla="*/ 41583093 w 222"/>
                  <a:gd name="T17" fmla="*/ 206025508 h 325"/>
                  <a:gd name="T18" fmla="*/ 98916612 w 222"/>
                  <a:gd name="T19" fmla="*/ 206025508 h 3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22" h="325">
                    <a:moveTo>
                      <a:pt x="157" y="325"/>
                    </a:moveTo>
                    <a:lnTo>
                      <a:pt x="157" y="78"/>
                    </a:lnTo>
                    <a:lnTo>
                      <a:pt x="222" y="78"/>
                    </a:lnTo>
                    <a:lnTo>
                      <a:pt x="222" y="0"/>
                    </a:lnTo>
                    <a:lnTo>
                      <a:pt x="0" y="0"/>
                    </a:lnTo>
                    <a:lnTo>
                      <a:pt x="0" y="78"/>
                    </a:lnTo>
                    <a:lnTo>
                      <a:pt x="66" y="78"/>
                    </a:lnTo>
                    <a:lnTo>
                      <a:pt x="66" y="325"/>
                    </a:lnTo>
                    <a:lnTo>
                      <a:pt x="157" y="325"/>
                    </a:lnTo>
                    <a:close/>
                  </a:path>
                </a:pathLst>
              </a:custGeom>
              <a:solidFill>
                <a:srgbClr val="00579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 name="T1">
                <a:extLst>
                  <a:ext uri="{FF2B5EF4-FFF2-40B4-BE49-F238E27FC236}">
                    <a16:creationId xmlns:a16="http://schemas.microsoft.com/office/drawing/2014/main" id="{19F20D3E-7137-A690-FE62-E01020228318}"/>
                  </a:ext>
                </a:extLst>
              </p:cNvPr>
              <p:cNvSpPr>
                <a:spLocks/>
              </p:cNvSpPr>
              <p:nvPr userDrawn="1"/>
            </p:nvSpPr>
            <p:spPr bwMode="auto">
              <a:xfrm>
                <a:off x="799033" y="168151"/>
                <a:ext cx="193675" cy="258763"/>
              </a:xfrm>
              <a:custGeom>
                <a:avLst/>
                <a:gdLst>
                  <a:gd name="T0" fmla="*/ 55443438 w 244"/>
                  <a:gd name="T1" fmla="*/ 49446026 h 325"/>
                  <a:gd name="T2" fmla="*/ 55443438 w 244"/>
                  <a:gd name="T3" fmla="*/ 206025508 h 325"/>
                  <a:gd name="T4" fmla="*/ 112776794 w 244"/>
                  <a:gd name="T5" fmla="*/ 206025508 h 325"/>
                  <a:gd name="T6" fmla="*/ 112776794 w 244"/>
                  <a:gd name="T7" fmla="*/ 49446026 h 325"/>
                  <a:gd name="T8" fmla="*/ 153729531 w 244"/>
                  <a:gd name="T9" fmla="*/ 49446026 h 325"/>
                  <a:gd name="T10" fmla="*/ 153729531 w 244"/>
                  <a:gd name="T11" fmla="*/ 0 h 325"/>
                  <a:gd name="T12" fmla="*/ 15751175 w 244"/>
                  <a:gd name="T13" fmla="*/ 0 h 325"/>
                  <a:gd name="T14" fmla="*/ 0 w 244"/>
                  <a:gd name="T15" fmla="*/ 49446026 h 325"/>
                  <a:gd name="T16" fmla="*/ 55443438 w 244"/>
                  <a:gd name="T17" fmla="*/ 49446026 h 3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44" h="325">
                    <a:moveTo>
                      <a:pt x="88" y="78"/>
                    </a:moveTo>
                    <a:lnTo>
                      <a:pt x="88" y="325"/>
                    </a:lnTo>
                    <a:lnTo>
                      <a:pt x="179" y="325"/>
                    </a:lnTo>
                    <a:lnTo>
                      <a:pt x="179" y="78"/>
                    </a:lnTo>
                    <a:lnTo>
                      <a:pt x="244" y="78"/>
                    </a:lnTo>
                    <a:lnTo>
                      <a:pt x="244" y="0"/>
                    </a:lnTo>
                    <a:lnTo>
                      <a:pt x="25" y="0"/>
                    </a:lnTo>
                    <a:lnTo>
                      <a:pt x="0" y="78"/>
                    </a:lnTo>
                    <a:lnTo>
                      <a:pt x="88" y="78"/>
                    </a:lnTo>
                    <a:close/>
                  </a:path>
                </a:pathLst>
              </a:custGeom>
              <a:solidFill>
                <a:srgbClr val="00579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 name="V">
                <a:extLst>
                  <a:ext uri="{FF2B5EF4-FFF2-40B4-BE49-F238E27FC236}">
                    <a16:creationId xmlns:a16="http://schemas.microsoft.com/office/drawing/2014/main" id="{566D4DA5-2ED0-2611-4946-8ADDB49F52B8}"/>
                  </a:ext>
                </a:extLst>
              </p:cNvPr>
              <p:cNvSpPr>
                <a:spLocks/>
              </p:cNvSpPr>
              <p:nvPr userDrawn="1"/>
            </p:nvSpPr>
            <p:spPr bwMode="auto">
              <a:xfrm>
                <a:off x="567258" y="168151"/>
                <a:ext cx="230188" cy="258763"/>
              </a:xfrm>
              <a:custGeom>
                <a:avLst/>
                <a:gdLst>
                  <a:gd name="T0" fmla="*/ 116731600 w 289"/>
                  <a:gd name="T1" fmla="*/ 206025508 h 325"/>
                  <a:gd name="T2" fmla="*/ 183344344 w 289"/>
                  <a:gd name="T3" fmla="*/ 0 h 325"/>
                  <a:gd name="T4" fmla="*/ 124978544 w 289"/>
                  <a:gd name="T5" fmla="*/ 0 h 325"/>
                  <a:gd name="T6" fmla="*/ 90720356 w 289"/>
                  <a:gd name="T7" fmla="*/ 105865119 h 325"/>
                  <a:gd name="T8" fmla="*/ 85645069 w 289"/>
                  <a:gd name="T9" fmla="*/ 121079587 h 325"/>
                  <a:gd name="T10" fmla="*/ 85645069 w 289"/>
                  <a:gd name="T11" fmla="*/ 121079587 h 325"/>
                  <a:gd name="T12" fmla="*/ 85645069 w 289"/>
                  <a:gd name="T13" fmla="*/ 121079587 h 325"/>
                  <a:gd name="T14" fmla="*/ 85645069 w 289"/>
                  <a:gd name="T15" fmla="*/ 121079587 h 325"/>
                  <a:gd name="T16" fmla="*/ 85645069 w 289"/>
                  <a:gd name="T17" fmla="*/ 121079587 h 325"/>
                  <a:gd name="T18" fmla="*/ 85645069 w 289"/>
                  <a:gd name="T19" fmla="*/ 121079587 h 325"/>
                  <a:gd name="T20" fmla="*/ 85645069 w 289"/>
                  <a:gd name="T21" fmla="*/ 121079587 h 325"/>
                  <a:gd name="T22" fmla="*/ 81204592 w 289"/>
                  <a:gd name="T23" fmla="*/ 105865119 h 325"/>
                  <a:gd name="T24" fmla="*/ 57730991 w 289"/>
                  <a:gd name="T25" fmla="*/ 38035772 h 325"/>
                  <a:gd name="T26" fmla="*/ 0 w 289"/>
                  <a:gd name="T27" fmla="*/ 38035772 h 325"/>
                  <a:gd name="T28" fmla="*/ 57096978 w 289"/>
                  <a:gd name="T29" fmla="*/ 206025508 h 325"/>
                  <a:gd name="T30" fmla="*/ 116731600 w 289"/>
                  <a:gd name="T31" fmla="*/ 206025508 h 32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89" h="325">
                    <a:moveTo>
                      <a:pt x="184" y="325"/>
                    </a:moveTo>
                    <a:lnTo>
                      <a:pt x="289" y="0"/>
                    </a:lnTo>
                    <a:lnTo>
                      <a:pt x="197" y="0"/>
                    </a:lnTo>
                    <a:lnTo>
                      <a:pt x="143" y="167"/>
                    </a:lnTo>
                    <a:lnTo>
                      <a:pt x="135" y="191"/>
                    </a:lnTo>
                    <a:lnTo>
                      <a:pt x="128" y="167"/>
                    </a:lnTo>
                    <a:lnTo>
                      <a:pt x="91" y="60"/>
                    </a:lnTo>
                    <a:lnTo>
                      <a:pt x="0" y="60"/>
                    </a:lnTo>
                    <a:lnTo>
                      <a:pt x="90" y="325"/>
                    </a:lnTo>
                    <a:lnTo>
                      <a:pt x="184" y="325"/>
                    </a:lnTo>
                    <a:close/>
                  </a:path>
                </a:pathLst>
              </a:custGeom>
              <a:solidFill>
                <a:srgbClr val="00579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grpSp>
          <p:nvGrpSpPr>
            <p:cNvPr id="12" name="_VTT_logo_102019_08_black_on_white" hidden="1">
              <a:extLst>
                <a:ext uri="{FF2B5EF4-FFF2-40B4-BE49-F238E27FC236}">
                  <a16:creationId xmlns:a16="http://schemas.microsoft.com/office/drawing/2014/main" id="{52249161-1715-1178-C7AA-4A60DA57377F}"/>
                </a:ext>
              </a:extLst>
            </p:cNvPr>
            <p:cNvGrpSpPr>
              <a:grpSpLocks/>
            </p:cNvGrpSpPr>
            <p:nvPr userDrawn="1"/>
          </p:nvGrpSpPr>
          <p:grpSpPr bwMode="auto">
            <a:xfrm>
              <a:off x="7909204" y="1770762"/>
              <a:ext cx="971550" cy="655638"/>
              <a:chOff x="379933" y="-15999"/>
              <a:chExt cx="971550" cy="655638"/>
            </a:xfrm>
          </p:grpSpPr>
          <p:sp>
            <p:nvSpPr>
              <p:cNvPr id="18" name="Box">
                <a:extLst>
                  <a:ext uri="{FF2B5EF4-FFF2-40B4-BE49-F238E27FC236}">
                    <a16:creationId xmlns:a16="http://schemas.microsoft.com/office/drawing/2014/main" id="{1538470F-7573-78EF-4EBD-8AE09248320A}"/>
                  </a:ext>
                </a:extLst>
              </p:cNvPr>
              <p:cNvSpPr>
                <a:spLocks noChangeArrowheads="1"/>
              </p:cNvSpPr>
              <p:nvPr userDrawn="1"/>
            </p:nvSpPr>
            <p:spPr bwMode="auto">
              <a:xfrm>
                <a:off x="379933" y="-15999"/>
                <a:ext cx="971550" cy="655638"/>
              </a:xfrm>
              <a:prstGeom prst="rect">
                <a:avLst/>
              </a:prstGeom>
              <a:solidFill>
                <a:srgbClr val="FFFFFF"/>
              </a:solidFill>
              <a:ln>
                <a:noFill/>
              </a:ln>
            </p:spPr>
            <p:txBody>
              <a:bodyPr/>
              <a:lstStyle>
                <a:lvl1pPr defTabSz="455613">
                  <a:defRPr b="1">
                    <a:solidFill>
                      <a:schemeClr val="tx1"/>
                    </a:solidFill>
                    <a:latin typeface="Verdana" panose="020B0604030504040204" pitchFamily="34" charset="0"/>
                  </a:defRPr>
                </a:lvl1pPr>
                <a:lvl2pPr marL="742950" indent="-285750" defTabSz="455613">
                  <a:defRPr b="1">
                    <a:solidFill>
                      <a:schemeClr val="tx1"/>
                    </a:solidFill>
                    <a:latin typeface="Verdana" panose="020B0604030504040204" pitchFamily="34" charset="0"/>
                  </a:defRPr>
                </a:lvl2pPr>
                <a:lvl3pPr marL="1143000" indent="-228600" defTabSz="455613">
                  <a:defRPr b="1">
                    <a:solidFill>
                      <a:schemeClr val="tx1"/>
                    </a:solidFill>
                    <a:latin typeface="Verdana" panose="020B0604030504040204" pitchFamily="34" charset="0"/>
                  </a:defRPr>
                </a:lvl3pPr>
                <a:lvl4pPr marL="1600200" indent="-228600" defTabSz="455613">
                  <a:defRPr b="1">
                    <a:solidFill>
                      <a:schemeClr val="tx1"/>
                    </a:solidFill>
                    <a:latin typeface="Verdana" panose="020B0604030504040204" pitchFamily="34" charset="0"/>
                  </a:defRPr>
                </a:lvl4pPr>
                <a:lvl5pPr marL="2057400" indent="-228600" defTabSz="455613">
                  <a:defRPr b="1">
                    <a:solidFill>
                      <a:schemeClr val="tx1"/>
                    </a:solidFill>
                    <a:latin typeface="Verdana" panose="020B0604030504040204" pitchFamily="34" charset="0"/>
                  </a:defRPr>
                </a:lvl5pPr>
                <a:lvl6pPr marL="2514600" indent="-228600" defTabSz="455613" eaLnBrk="0" fontAlgn="base" hangingPunct="0">
                  <a:spcBef>
                    <a:spcPct val="0"/>
                  </a:spcBef>
                  <a:spcAft>
                    <a:spcPct val="0"/>
                  </a:spcAft>
                  <a:defRPr b="1">
                    <a:solidFill>
                      <a:schemeClr val="tx1"/>
                    </a:solidFill>
                    <a:latin typeface="Verdana" panose="020B0604030504040204" pitchFamily="34" charset="0"/>
                  </a:defRPr>
                </a:lvl6pPr>
                <a:lvl7pPr marL="2971800" indent="-228600" defTabSz="455613" eaLnBrk="0" fontAlgn="base" hangingPunct="0">
                  <a:spcBef>
                    <a:spcPct val="0"/>
                  </a:spcBef>
                  <a:spcAft>
                    <a:spcPct val="0"/>
                  </a:spcAft>
                  <a:defRPr b="1">
                    <a:solidFill>
                      <a:schemeClr val="tx1"/>
                    </a:solidFill>
                    <a:latin typeface="Verdana" panose="020B0604030504040204" pitchFamily="34" charset="0"/>
                  </a:defRPr>
                </a:lvl7pPr>
                <a:lvl8pPr marL="3429000" indent="-228600" defTabSz="455613" eaLnBrk="0" fontAlgn="base" hangingPunct="0">
                  <a:spcBef>
                    <a:spcPct val="0"/>
                  </a:spcBef>
                  <a:spcAft>
                    <a:spcPct val="0"/>
                  </a:spcAft>
                  <a:defRPr b="1">
                    <a:solidFill>
                      <a:schemeClr val="tx1"/>
                    </a:solidFill>
                    <a:latin typeface="Verdana" panose="020B0604030504040204" pitchFamily="34" charset="0"/>
                  </a:defRPr>
                </a:lvl8pPr>
                <a:lvl9pPr marL="3886200" indent="-228600" defTabSz="455613" eaLnBrk="0" fontAlgn="base" hangingPunct="0">
                  <a:spcBef>
                    <a:spcPct val="0"/>
                  </a:spcBef>
                  <a:spcAft>
                    <a:spcPct val="0"/>
                  </a:spcAft>
                  <a:defRPr b="1">
                    <a:solidFill>
                      <a:schemeClr val="tx1"/>
                    </a:solidFill>
                    <a:latin typeface="Verdana" panose="020B0604030504040204" pitchFamily="34" charset="0"/>
                  </a:defRPr>
                </a:lvl9pPr>
              </a:lstStyle>
              <a:p>
                <a:pPr eaLnBrk="1" hangingPunct="1">
                  <a:defRPr/>
                </a:pPr>
                <a:endParaRPr lang="en-GB" altLang="de-DE" b="0">
                  <a:solidFill>
                    <a:srgbClr val="000000"/>
                  </a:solidFill>
                  <a:latin typeface="Arial" panose="020B0604020202020204" pitchFamily="34" charset="0"/>
                </a:endParaRPr>
              </a:p>
            </p:txBody>
          </p:sp>
          <p:sp>
            <p:nvSpPr>
              <p:cNvPr id="19" name="T2">
                <a:extLst>
                  <a:ext uri="{FF2B5EF4-FFF2-40B4-BE49-F238E27FC236}">
                    <a16:creationId xmlns:a16="http://schemas.microsoft.com/office/drawing/2014/main" id="{6638C13D-FD8A-45F6-80CC-B04F91CBE9E6}"/>
                  </a:ext>
                </a:extLst>
              </p:cNvPr>
              <p:cNvSpPr>
                <a:spLocks/>
              </p:cNvSpPr>
              <p:nvPr userDrawn="1"/>
            </p:nvSpPr>
            <p:spPr bwMode="auto">
              <a:xfrm>
                <a:off x="1011758" y="168151"/>
                <a:ext cx="176213" cy="258763"/>
              </a:xfrm>
              <a:custGeom>
                <a:avLst/>
                <a:gdLst>
                  <a:gd name="T0" fmla="*/ 98916612 w 222"/>
                  <a:gd name="T1" fmla="*/ 206025508 h 325"/>
                  <a:gd name="T2" fmla="*/ 98916612 w 222"/>
                  <a:gd name="T3" fmla="*/ 49446026 h 325"/>
                  <a:gd name="T4" fmla="*/ 139869466 w 222"/>
                  <a:gd name="T5" fmla="*/ 49446026 h 325"/>
                  <a:gd name="T6" fmla="*/ 139869466 w 222"/>
                  <a:gd name="T7" fmla="*/ 0 h 325"/>
                  <a:gd name="T8" fmla="*/ 0 w 222"/>
                  <a:gd name="T9" fmla="*/ 0 h 325"/>
                  <a:gd name="T10" fmla="*/ 0 w 222"/>
                  <a:gd name="T11" fmla="*/ 49446026 h 325"/>
                  <a:gd name="T12" fmla="*/ 41583093 w 222"/>
                  <a:gd name="T13" fmla="*/ 49446026 h 325"/>
                  <a:gd name="T14" fmla="*/ 41583093 w 222"/>
                  <a:gd name="T15" fmla="*/ 206025508 h 325"/>
                  <a:gd name="T16" fmla="*/ 41583093 w 222"/>
                  <a:gd name="T17" fmla="*/ 206025508 h 325"/>
                  <a:gd name="T18" fmla="*/ 98916612 w 222"/>
                  <a:gd name="T19" fmla="*/ 206025508 h 3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22" h="325">
                    <a:moveTo>
                      <a:pt x="157" y="325"/>
                    </a:moveTo>
                    <a:lnTo>
                      <a:pt x="157" y="78"/>
                    </a:lnTo>
                    <a:lnTo>
                      <a:pt x="222" y="78"/>
                    </a:lnTo>
                    <a:lnTo>
                      <a:pt x="222" y="0"/>
                    </a:lnTo>
                    <a:lnTo>
                      <a:pt x="0" y="0"/>
                    </a:lnTo>
                    <a:lnTo>
                      <a:pt x="0" y="78"/>
                    </a:lnTo>
                    <a:lnTo>
                      <a:pt x="66" y="78"/>
                    </a:lnTo>
                    <a:lnTo>
                      <a:pt x="66" y="325"/>
                    </a:lnTo>
                    <a:lnTo>
                      <a:pt x="157" y="32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 name="T1">
                <a:extLst>
                  <a:ext uri="{FF2B5EF4-FFF2-40B4-BE49-F238E27FC236}">
                    <a16:creationId xmlns:a16="http://schemas.microsoft.com/office/drawing/2014/main" id="{89E3C445-9BB1-9F41-3DDB-027277AA3F2B}"/>
                  </a:ext>
                </a:extLst>
              </p:cNvPr>
              <p:cNvSpPr>
                <a:spLocks/>
              </p:cNvSpPr>
              <p:nvPr userDrawn="1"/>
            </p:nvSpPr>
            <p:spPr bwMode="auto">
              <a:xfrm>
                <a:off x="799033" y="168151"/>
                <a:ext cx="193675" cy="258763"/>
              </a:xfrm>
              <a:custGeom>
                <a:avLst/>
                <a:gdLst>
                  <a:gd name="T0" fmla="*/ 55443438 w 244"/>
                  <a:gd name="T1" fmla="*/ 49446026 h 325"/>
                  <a:gd name="T2" fmla="*/ 55443438 w 244"/>
                  <a:gd name="T3" fmla="*/ 206025508 h 325"/>
                  <a:gd name="T4" fmla="*/ 112776794 w 244"/>
                  <a:gd name="T5" fmla="*/ 206025508 h 325"/>
                  <a:gd name="T6" fmla="*/ 112776794 w 244"/>
                  <a:gd name="T7" fmla="*/ 49446026 h 325"/>
                  <a:gd name="T8" fmla="*/ 153729531 w 244"/>
                  <a:gd name="T9" fmla="*/ 49446026 h 325"/>
                  <a:gd name="T10" fmla="*/ 153729531 w 244"/>
                  <a:gd name="T11" fmla="*/ 0 h 325"/>
                  <a:gd name="T12" fmla="*/ 15751175 w 244"/>
                  <a:gd name="T13" fmla="*/ 0 h 325"/>
                  <a:gd name="T14" fmla="*/ 0 w 244"/>
                  <a:gd name="T15" fmla="*/ 49446026 h 325"/>
                  <a:gd name="T16" fmla="*/ 55443438 w 244"/>
                  <a:gd name="T17" fmla="*/ 49446026 h 3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44" h="325">
                    <a:moveTo>
                      <a:pt x="88" y="78"/>
                    </a:moveTo>
                    <a:lnTo>
                      <a:pt x="88" y="325"/>
                    </a:lnTo>
                    <a:lnTo>
                      <a:pt x="179" y="325"/>
                    </a:lnTo>
                    <a:lnTo>
                      <a:pt x="179" y="78"/>
                    </a:lnTo>
                    <a:lnTo>
                      <a:pt x="244" y="78"/>
                    </a:lnTo>
                    <a:lnTo>
                      <a:pt x="244" y="0"/>
                    </a:lnTo>
                    <a:lnTo>
                      <a:pt x="25" y="0"/>
                    </a:lnTo>
                    <a:lnTo>
                      <a:pt x="0" y="78"/>
                    </a:lnTo>
                    <a:lnTo>
                      <a:pt x="88" y="7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 name="V">
                <a:extLst>
                  <a:ext uri="{FF2B5EF4-FFF2-40B4-BE49-F238E27FC236}">
                    <a16:creationId xmlns:a16="http://schemas.microsoft.com/office/drawing/2014/main" id="{543F5D31-03CD-9281-8324-CDDB3A28FE74}"/>
                  </a:ext>
                </a:extLst>
              </p:cNvPr>
              <p:cNvSpPr>
                <a:spLocks/>
              </p:cNvSpPr>
              <p:nvPr userDrawn="1"/>
            </p:nvSpPr>
            <p:spPr bwMode="auto">
              <a:xfrm>
                <a:off x="567258" y="168151"/>
                <a:ext cx="230188" cy="258763"/>
              </a:xfrm>
              <a:custGeom>
                <a:avLst/>
                <a:gdLst>
                  <a:gd name="T0" fmla="*/ 116731600 w 289"/>
                  <a:gd name="T1" fmla="*/ 206025508 h 325"/>
                  <a:gd name="T2" fmla="*/ 183344344 w 289"/>
                  <a:gd name="T3" fmla="*/ 0 h 325"/>
                  <a:gd name="T4" fmla="*/ 124978544 w 289"/>
                  <a:gd name="T5" fmla="*/ 0 h 325"/>
                  <a:gd name="T6" fmla="*/ 90720356 w 289"/>
                  <a:gd name="T7" fmla="*/ 105865119 h 325"/>
                  <a:gd name="T8" fmla="*/ 85645069 w 289"/>
                  <a:gd name="T9" fmla="*/ 121079587 h 325"/>
                  <a:gd name="T10" fmla="*/ 85645069 w 289"/>
                  <a:gd name="T11" fmla="*/ 121079587 h 325"/>
                  <a:gd name="T12" fmla="*/ 85645069 w 289"/>
                  <a:gd name="T13" fmla="*/ 121079587 h 325"/>
                  <a:gd name="T14" fmla="*/ 85645069 w 289"/>
                  <a:gd name="T15" fmla="*/ 121079587 h 325"/>
                  <a:gd name="T16" fmla="*/ 85645069 w 289"/>
                  <a:gd name="T17" fmla="*/ 121079587 h 325"/>
                  <a:gd name="T18" fmla="*/ 85645069 w 289"/>
                  <a:gd name="T19" fmla="*/ 121079587 h 325"/>
                  <a:gd name="T20" fmla="*/ 85645069 w 289"/>
                  <a:gd name="T21" fmla="*/ 121079587 h 325"/>
                  <a:gd name="T22" fmla="*/ 81204592 w 289"/>
                  <a:gd name="T23" fmla="*/ 105865119 h 325"/>
                  <a:gd name="T24" fmla="*/ 57730991 w 289"/>
                  <a:gd name="T25" fmla="*/ 38035772 h 325"/>
                  <a:gd name="T26" fmla="*/ 0 w 289"/>
                  <a:gd name="T27" fmla="*/ 38035772 h 325"/>
                  <a:gd name="T28" fmla="*/ 57096978 w 289"/>
                  <a:gd name="T29" fmla="*/ 206025508 h 325"/>
                  <a:gd name="T30" fmla="*/ 116731600 w 289"/>
                  <a:gd name="T31" fmla="*/ 206025508 h 32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89" h="325">
                    <a:moveTo>
                      <a:pt x="184" y="325"/>
                    </a:moveTo>
                    <a:lnTo>
                      <a:pt x="289" y="0"/>
                    </a:lnTo>
                    <a:lnTo>
                      <a:pt x="197" y="0"/>
                    </a:lnTo>
                    <a:lnTo>
                      <a:pt x="143" y="167"/>
                    </a:lnTo>
                    <a:lnTo>
                      <a:pt x="135" y="191"/>
                    </a:lnTo>
                    <a:lnTo>
                      <a:pt x="128" y="167"/>
                    </a:lnTo>
                    <a:lnTo>
                      <a:pt x="91" y="60"/>
                    </a:lnTo>
                    <a:lnTo>
                      <a:pt x="0" y="60"/>
                    </a:lnTo>
                    <a:lnTo>
                      <a:pt x="90" y="325"/>
                    </a:lnTo>
                    <a:lnTo>
                      <a:pt x="184" y="32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grpSp>
          <p:nvGrpSpPr>
            <p:cNvPr id="13" name="_VTT_logo_102019_09_orange_on_white" hidden="1">
              <a:extLst>
                <a:ext uri="{FF2B5EF4-FFF2-40B4-BE49-F238E27FC236}">
                  <a16:creationId xmlns:a16="http://schemas.microsoft.com/office/drawing/2014/main" id="{F25177AE-7736-2C3C-F409-E16DF496EB92}"/>
                </a:ext>
              </a:extLst>
            </p:cNvPr>
            <p:cNvGrpSpPr>
              <a:grpSpLocks/>
            </p:cNvGrpSpPr>
            <p:nvPr userDrawn="1"/>
          </p:nvGrpSpPr>
          <p:grpSpPr bwMode="auto">
            <a:xfrm>
              <a:off x="7909204" y="1770762"/>
              <a:ext cx="971550" cy="655638"/>
              <a:chOff x="379933" y="-15999"/>
              <a:chExt cx="971550" cy="655638"/>
            </a:xfrm>
          </p:grpSpPr>
          <p:sp>
            <p:nvSpPr>
              <p:cNvPr id="14" name="Box">
                <a:extLst>
                  <a:ext uri="{FF2B5EF4-FFF2-40B4-BE49-F238E27FC236}">
                    <a16:creationId xmlns:a16="http://schemas.microsoft.com/office/drawing/2014/main" id="{D3EDA7F0-AEF6-171A-61CD-4326E68C5F34}"/>
                  </a:ext>
                </a:extLst>
              </p:cNvPr>
              <p:cNvSpPr>
                <a:spLocks noChangeArrowheads="1"/>
              </p:cNvSpPr>
              <p:nvPr userDrawn="1"/>
            </p:nvSpPr>
            <p:spPr bwMode="auto">
              <a:xfrm>
                <a:off x="379933" y="-15999"/>
                <a:ext cx="971550" cy="655638"/>
              </a:xfrm>
              <a:prstGeom prst="rect">
                <a:avLst/>
              </a:prstGeom>
              <a:solidFill>
                <a:srgbClr val="FFFFFF"/>
              </a:solidFill>
              <a:ln>
                <a:noFill/>
              </a:ln>
            </p:spPr>
            <p:txBody>
              <a:bodyPr/>
              <a:lstStyle>
                <a:lvl1pPr defTabSz="455613">
                  <a:defRPr b="1">
                    <a:solidFill>
                      <a:schemeClr val="tx1"/>
                    </a:solidFill>
                    <a:latin typeface="Verdana" panose="020B0604030504040204" pitchFamily="34" charset="0"/>
                  </a:defRPr>
                </a:lvl1pPr>
                <a:lvl2pPr marL="742950" indent="-285750" defTabSz="455613">
                  <a:defRPr b="1">
                    <a:solidFill>
                      <a:schemeClr val="tx1"/>
                    </a:solidFill>
                    <a:latin typeface="Verdana" panose="020B0604030504040204" pitchFamily="34" charset="0"/>
                  </a:defRPr>
                </a:lvl2pPr>
                <a:lvl3pPr marL="1143000" indent="-228600" defTabSz="455613">
                  <a:defRPr b="1">
                    <a:solidFill>
                      <a:schemeClr val="tx1"/>
                    </a:solidFill>
                    <a:latin typeface="Verdana" panose="020B0604030504040204" pitchFamily="34" charset="0"/>
                  </a:defRPr>
                </a:lvl3pPr>
                <a:lvl4pPr marL="1600200" indent="-228600" defTabSz="455613">
                  <a:defRPr b="1">
                    <a:solidFill>
                      <a:schemeClr val="tx1"/>
                    </a:solidFill>
                    <a:latin typeface="Verdana" panose="020B0604030504040204" pitchFamily="34" charset="0"/>
                  </a:defRPr>
                </a:lvl4pPr>
                <a:lvl5pPr marL="2057400" indent="-228600" defTabSz="455613">
                  <a:defRPr b="1">
                    <a:solidFill>
                      <a:schemeClr val="tx1"/>
                    </a:solidFill>
                    <a:latin typeface="Verdana" panose="020B0604030504040204" pitchFamily="34" charset="0"/>
                  </a:defRPr>
                </a:lvl5pPr>
                <a:lvl6pPr marL="2514600" indent="-228600" defTabSz="455613" eaLnBrk="0" fontAlgn="base" hangingPunct="0">
                  <a:spcBef>
                    <a:spcPct val="0"/>
                  </a:spcBef>
                  <a:spcAft>
                    <a:spcPct val="0"/>
                  </a:spcAft>
                  <a:defRPr b="1">
                    <a:solidFill>
                      <a:schemeClr val="tx1"/>
                    </a:solidFill>
                    <a:latin typeface="Verdana" panose="020B0604030504040204" pitchFamily="34" charset="0"/>
                  </a:defRPr>
                </a:lvl6pPr>
                <a:lvl7pPr marL="2971800" indent="-228600" defTabSz="455613" eaLnBrk="0" fontAlgn="base" hangingPunct="0">
                  <a:spcBef>
                    <a:spcPct val="0"/>
                  </a:spcBef>
                  <a:spcAft>
                    <a:spcPct val="0"/>
                  </a:spcAft>
                  <a:defRPr b="1">
                    <a:solidFill>
                      <a:schemeClr val="tx1"/>
                    </a:solidFill>
                    <a:latin typeface="Verdana" panose="020B0604030504040204" pitchFamily="34" charset="0"/>
                  </a:defRPr>
                </a:lvl7pPr>
                <a:lvl8pPr marL="3429000" indent="-228600" defTabSz="455613" eaLnBrk="0" fontAlgn="base" hangingPunct="0">
                  <a:spcBef>
                    <a:spcPct val="0"/>
                  </a:spcBef>
                  <a:spcAft>
                    <a:spcPct val="0"/>
                  </a:spcAft>
                  <a:defRPr b="1">
                    <a:solidFill>
                      <a:schemeClr val="tx1"/>
                    </a:solidFill>
                    <a:latin typeface="Verdana" panose="020B0604030504040204" pitchFamily="34" charset="0"/>
                  </a:defRPr>
                </a:lvl8pPr>
                <a:lvl9pPr marL="3886200" indent="-228600" defTabSz="455613" eaLnBrk="0" fontAlgn="base" hangingPunct="0">
                  <a:spcBef>
                    <a:spcPct val="0"/>
                  </a:spcBef>
                  <a:spcAft>
                    <a:spcPct val="0"/>
                  </a:spcAft>
                  <a:defRPr b="1">
                    <a:solidFill>
                      <a:schemeClr val="tx1"/>
                    </a:solidFill>
                    <a:latin typeface="Verdana" panose="020B0604030504040204" pitchFamily="34" charset="0"/>
                  </a:defRPr>
                </a:lvl9pPr>
              </a:lstStyle>
              <a:p>
                <a:pPr eaLnBrk="1" hangingPunct="1">
                  <a:defRPr/>
                </a:pPr>
                <a:endParaRPr lang="en-GB" altLang="de-DE" b="0">
                  <a:solidFill>
                    <a:srgbClr val="000000"/>
                  </a:solidFill>
                  <a:latin typeface="Arial" panose="020B0604020202020204" pitchFamily="34" charset="0"/>
                </a:endParaRPr>
              </a:p>
            </p:txBody>
          </p:sp>
          <p:sp>
            <p:nvSpPr>
              <p:cNvPr id="15" name="T2">
                <a:extLst>
                  <a:ext uri="{FF2B5EF4-FFF2-40B4-BE49-F238E27FC236}">
                    <a16:creationId xmlns:a16="http://schemas.microsoft.com/office/drawing/2014/main" id="{0D018846-3C55-9646-FF08-1184B8B9AEE7}"/>
                  </a:ext>
                </a:extLst>
              </p:cNvPr>
              <p:cNvSpPr>
                <a:spLocks/>
              </p:cNvSpPr>
              <p:nvPr userDrawn="1"/>
            </p:nvSpPr>
            <p:spPr bwMode="auto">
              <a:xfrm>
                <a:off x="1011758" y="168151"/>
                <a:ext cx="176213" cy="258763"/>
              </a:xfrm>
              <a:custGeom>
                <a:avLst/>
                <a:gdLst>
                  <a:gd name="T0" fmla="*/ 98916612 w 222"/>
                  <a:gd name="T1" fmla="*/ 206025508 h 325"/>
                  <a:gd name="T2" fmla="*/ 98916612 w 222"/>
                  <a:gd name="T3" fmla="*/ 49446026 h 325"/>
                  <a:gd name="T4" fmla="*/ 139869466 w 222"/>
                  <a:gd name="T5" fmla="*/ 49446026 h 325"/>
                  <a:gd name="T6" fmla="*/ 139869466 w 222"/>
                  <a:gd name="T7" fmla="*/ 0 h 325"/>
                  <a:gd name="T8" fmla="*/ 0 w 222"/>
                  <a:gd name="T9" fmla="*/ 0 h 325"/>
                  <a:gd name="T10" fmla="*/ 0 w 222"/>
                  <a:gd name="T11" fmla="*/ 49446026 h 325"/>
                  <a:gd name="T12" fmla="*/ 41583093 w 222"/>
                  <a:gd name="T13" fmla="*/ 49446026 h 325"/>
                  <a:gd name="T14" fmla="*/ 41583093 w 222"/>
                  <a:gd name="T15" fmla="*/ 206025508 h 325"/>
                  <a:gd name="T16" fmla="*/ 41583093 w 222"/>
                  <a:gd name="T17" fmla="*/ 206025508 h 325"/>
                  <a:gd name="T18" fmla="*/ 98916612 w 222"/>
                  <a:gd name="T19" fmla="*/ 206025508 h 3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22" h="325">
                    <a:moveTo>
                      <a:pt x="157" y="325"/>
                    </a:moveTo>
                    <a:lnTo>
                      <a:pt x="157" y="78"/>
                    </a:lnTo>
                    <a:lnTo>
                      <a:pt x="222" y="78"/>
                    </a:lnTo>
                    <a:lnTo>
                      <a:pt x="222" y="0"/>
                    </a:lnTo>
                    <a:lnTo>
                      <a:pt x="0" y="0"/>
                    </a:lnTo>
                    <a:lnTo>
                      <a:pt x="0" y="78"/>
                    </a:lnTo>
                    <a:lnTo>
                      <a:pt x="66" y="78"/>
                    </a:lnTo>
                    <a:lnTo>
                      <a:pt x="66" y="325"/>
                    </a:lnTo>
                    <a:lnTo>
                      <a:pt x="157" y="325"/>
                    </a:lnTo>
                    <a:close/>
                  </a:path>
                </a:pathLst>
              </a:custGeom>
              <a:solidFill>
                <a:srgbClr val="F06E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6" name="T1">
                <a:extLst>
                  <a:ext uri="{FF2B5EF4-FFF2-40B4-BE49-F238E27FC236}">
                    <a16:creationId xmlns:a16="http://schemas.microsoft.com/office/drawing/2014/main" id="{374790C0-BD96-D20A-A2B5-4803A85556DC}"/>
                  </a:ext>
                </a:extLst>
              </p:cNvPr>
              <p:cNvSpPr>
                <a:spLocks/>
              </p:cNvSpPr>
              <p:nvPr userDrawn="1"/>
            </p:nvSpPr>
            <p:spPr bwMode="auto">
              <a:xfrm>
                <a:off x="799033" y="168151"/>
                <a:ext cx="193675" cy="258763"/>
              </a:xfrm>
              <a:custGeom>
                <a:avLst/>
                <a:gdLst>
                  <a:gd name="T0" fmla="*/ 55443438 w 244"/>
                  <a:gd name="T1" fmla="*/ 49446026 h 325"/>
                  <a:gd name="T2" fmla="*/ 55443438 w 244"/>
                  <a:gd name="T3" fmla="*/ 206025508 h 325"/>
                  <a:gd name="T4" fmla="*/ 112776794 w 244"/>
                  <a:gd name="T5" fmla="*/ 206025508 h 325"/>
                  <a:gd name="T6" fmla="*/ 112776794 w 244"/>
                  <a:gd name="T7" fmla="*/ 49446026 h 325"/>
                  <a:gd name="T8" fmla="*/ 153729531 w 244"/>
                  <a:gd name="T9" fmla="*/ 49446026 h 325"/>
                  <a:gd name="T10" fmla="*/ 153729531 w 244"/>
                  <a:gd name="T11" fmla="*/ 0 h 325"/>
                  <a:gd name="T12" fmla="*/ 15751175 w 244"/>
                  <a:gd name="T13" fmla="*/ 0 h 325"/>
                  <a:gd name="T14" fmla="*/ 0 w 244"/>
                  <a:gd name="T15" fmla="*/ 49446026 h 325"/>
                  <a:gd name="T16" fmla="*/ 55443438 w 244"/>
                  <a:gd name="T17" fmla="*/ 49446026 h 3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44" h="325">
                    <a:moveTo>
                      <a:pt x="88" y="78"/>
                    </a:moveTo>
                    <a:lnTo>
                      <a:pt x="88" y="325"/>
                    </a:lnTo>
                    <a:lnTo>
                      <a:pt x="179" y="325"/>
                    </a:lnTo>
                    <a:lnTo>
                      <a:pt x="179" y="78"/>
                    </a:lnTo>
                    <a:lnTo>
                      <a:pt x="244" y="78"/>
                    </a:lnTo>
                    <a:lnTo>
                      <a:pt x="244" y="0"/>
                    </a:lnTo>
                    <a:lnTo>
                      <a:pt x="25" y="0"/>
                    </a:lnTo>
                    <a:lnTo>
                      <a:pt x="0" y="78"/>
                    </a:lnTo>
                    <a:lnTo>
                      <a:pt x="88" y="78"/>
                    </a:lnTo>
                    <a:close/>
                  </a:path>
                </a:pathLst>
              </a:custGeom>
              <a:solidFill>
                <a:srgbClr val="F06E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 name="V">
                <a:extLst>
                  <a:ext uri="{FF2B5EF4-FFF2-40B4-BE49-F238E27FC236}">
                    <a16:creationId xmlns:a16="http://schemas.microsoft.com/office/drawing/2014/main" id="{380E7066-42E0-1FA7-3C36-7FB4F5C3F3C9}"/>
                  </a:ext>
                </a:extLst>
              </p:cNvPr>
              <p:cNvSpPr>
                <a:spLocks/>
              </p:cNvSpPr>
              <p:nvPr userDrawn="1"/>
            </p:nvSpPr>
            <p:spPr bwMode="auto">
              <a:xfrm>
                <a:off x="567258" y="168151"/>
                <a:ext cx="230188" cy="258763"/>
              </a:xfrm>
              <a:custGeom>
                <a:avLst/>
                <a:gdLst>
                  <a:gd name="T0" fmla="*/ 116731600 w 289"/>
                  <a:gd name="T1" fmla="*/ 206025508 h 325"/>
                  <a:gd name="T2" fmla="*/ 183344344 w 289"/>
                  <a:gd name="T3" fmla="*/ 0 h 325"/>
                  <a:gd name="T4" fmla="*/ 124978544 w 289"/>
                  <a:gd name="T5" fmla="*/ 0 h 325"/>
                  <a:gd name="T6" fmla="*/ 90720356 w 289"/>
                  <a:gd name="T7" fmla="*/ 105865119 h 325"/>
                  <a:gd name="T8" fmla="*/ 85645069 w 289"/>
                  <a:gd name="T9" fmla="*/ 121079587 h 325"/>
                  <a:gd name="T10" fmla="*/ 85645069 w 289"/>
                  <a:gd name="T11" fmla="*/ 121079587 h 325"/>
                  <a:gd name="T12" fmla="*/ 85645069 w 289"/>
                  <a:gd name="T13" fmla="*/ 121079587 h 325"/>
                  <a:gd name="T14" fmla="*/ 85645069 w 289"/>
                  <a:gd name="T15" fmla="*/ 121079587 h 325"/>
                  <a:gd name="T16" fmla="*/ 85645069 w 289"/>
                  <a:gd name="T17" fmla="*/ 121079587 h 325"/>
                  <a:gd name="T18" fmla="*/ 85645069 w 289"/>
                  <a:gd name="T19" fmla="*/ 121079587 h 325"/>
                  <a:gd name="T20" fmla="*/ 85645069 w 289"/>
                  <a:gd name="T21" fmla="*/ 121079587 h 325"/>
                  <a:gd name="T22" fmla="*/ 81204592 w 289"/>
                  <a:gd name="T23" fmla="*/ 105865119 h 325"/>
                  <a:gd name="T24" fmla="*/ 57730991 w 289"/>
                  <a:gd name="T25" fmla="*/ 38035772 h 325"/>
                  <a:gd name="T26" fmla="*/ 0 w 289"/>
                  <a:gd name="T27" fmla="*/ 38035772 h 325"/>
                  <a:gd name="T28" fmla="*/ 57096978 w 289"/>
                  <a:gd name="T29" fmla="*/ 206025508 h 325"/>
                  <a:gd name="T30" fmla="*/ 116731600 w 289"/>
                  <a:gd name="T31" fmla="*/ 206025508 h 32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89" h="325">
                    <a:moveTo>
                      <a:pt x="184" y="325"/>
                    </a:moveTo>
                    <a:lnTo>
                      <a:pt x="289" y="0"/>
                    </a:lnTo>
                    <a:lnTo>
                      <a:pt x="197" y="0"/>
                    </a:lnTo>
                    <a:lnTo>
                      <a:pt x="143" y="167"/>
                    </a:lnTo>
                    <a:lnTo>
                      <a:pt x="135" y="191"/>
                    </a:lnTo>
                    <a:lnTo>
                      <a:pt x="128" y="167"/>
                    </a:lnTo>
                    <a:lnTo>
                      <a:pt x="91" y="60"/>
                    </a:lnTo>
                    <a:lnTo>
                      <a:pt x="0" y="60"/>
                    </a:lnTo>
                    <a:lnTo>
                      <a:pt x="90" y="325"/>
                    </a:lnTo>
                    <a:lnTo>
                      <a:pt x="184" y="325"/>
                    </a:lnTo>
                    <a:close/>
                  </a:path>
                </a:pathLst>
              </a:custGeom>
              <a:solidFill>
                <a:srgbClr val="F06E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grpSp>
      <p:sp>
        <p:nvSpPr>
          <p:cNvPr id="81" name="Picture Placeholder 80"/>
          <p:cNvSpPr>
            <a:spLocks noGrp="1"/>
          </p:cNvSpPr>
          <p:nvPr>
            <p:ph type="pic" sz="quarter" idx="14"/>
          </p:nvPr>
        </p:nvSpPr>
        <p:spPr>
          <a:xfrm>
            <a:off x="3893319" y="4968507"/>
            <a:ext cx="8303192" cy="1892523"/>
          </a:xfrm>
          <a:custGeom>
            <a:avLst/>
            <a:gdLst>
              <a:gd name="connsiteX0" fmla="*/ 4768245 w 6227394"/>
              <a:gd name="connsiteY0" fmla="*/ 0 h 1419392"/>
              <a:gd name="connsiteX1" fmla="*/ 6227394 w 6227394"/>
              <a:gd name="connsiteY1" fmla="*/ 121807 h 1419392"/>
              <a:gd name="connsiteX2" fmla="*/ 6227394 w 6227394"/>
              <a:gd name="connsiteY2" fmla="*/ 1419392 h 1419392"/>
              <a:gd name="connsiteX3" fmla="*/ 4768245 w 6227394"/>
              <a:gd name="connsiteY3" fmla="*/ 1419392 h 1419392"/>
              <a:gd name="connsiteX4" fmla="*/ 0 w 6227394"/>
              <a:gd name="connsiteY4" fmla="*/ 1419392 h 1419392"/>
              <a:gd name="connsiteX5" fmla="*/ 4768245 w 6227394"/>
              <a:gd name="connsiteY5" fmla="*/ 0 h 14193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27394" h="1419392">
                <a:moveTo>
                  <a:pt x="4768245" y="0"/>
                </a:moveTo>
                <a:cubicBezTo>
                  <a:pt x="5265624" y="0"/>
                  <a:pt x="5752854" y="41448"/>
                  <a:pt x="6227394" y="121807"/>
                </a:cubicBezTo>
                <a:lnTo>
                  <a:pt x="6227394" y="1419392"/>
                </a:lnTo>
                <a:lnTo>
                  <a:pt x="4768245" y="1419392"/>
                </a:lnTo>
                <a:lnTo>
                  <a:pt x="0" y="1419392"/>
                </a:lnTo>
                <a:cubicBezTo>
                  <a:pt x="1369485" y="521910"/>
                  <a:pt x="3007961" y="0"/>
                  <a:pt x="4768245" y="0"/>
                </a:cubicBezTo>
                <a:close/>
              </a:path>
            </a:pathLst>
          </a:custGeom>
          <a:solidFill>
            <a:srgbClr val="DBDBDB"/>
          </a:solidFill>
        </p:spPr>
        <p:txBody>
          <a:bodyPr wrap="square"/>
          <a:lstStyle/>
          <a:p>
            <a:pPr lvl="0"/>
            <a:endParaRPr lang="en-GB" noProof="0"/>
          </a:p>
        </p:txBody>
      </p:sp>
      <p:sp>
        <p:nvSpPr>
          <p:cNvPr id="9" name="Content Placeholder 7"/>
          <p:cNvSpPr>
            <a:spLocks noGrp="1"/>
          </p:cNvSpPr>
          <p:nvPr>
            <p:ph sz="quarter" idx="13"/>
          </p:nvPr>
        </p:nvSpPr>
        <p:spPr>
          <a:xfrm>
            <a:off x="958851" y="2097600"/>
            <a:ext cx="9264000" cy="2864277"/>
          </a:xfrm>
        </p:spPr>
        <p:txBody>
          <a:bodyPr numCol="1" spcCol="360000"/>
          <a:lstStyle>
            <a:lvl5pPr>
              <a:defRPr/>
            </a:lvl5p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GB" noProof="0" dirty="0"/>
          </a:p>
        </p:txBody>
      </p:sp>
      <p:sp>
        <p:nvSpPr>
          <p:cNvPr id="6" name="Title 5"/>
          <p:cNvSpPr>
            <a:spLocks noGrp="1"/>
          </p:cNvSpPr>
          <p:nvPr>
            <p:ph type="title"/>
          </p:nvPr>
        </p:nvSpPr>
        <p:spPr>
          <a:xfrm>
            <a:off x="959999" y="782403"/>
            <a:ext cx="9264000" cy="991483"/>
          </a:xfrm>
        </p:spPr>
        <p:txBody>
          <a:bodyPr/>
          <a:lstStyle>
            <a:lvl1pPr>
              <a:defRPr/>
            </a:lvl1pPr>
          </a:lstStyle>
          <a:p>
            <a:r>
              <a:rPr lang="en-GB" noProof="0" dirty="0"/>
              <a:t>Click to edit Master title style</a:t>
            </a:r>
          </a:p>
        </p:txBody>
      </p:sp>
      <p:sp>
        <p:nvSpPr>
          <p:cNvPr id="50" name="Date Placeholder 2">
            <a:extLst>
              <a:ext uri="{FF2B5EF4-FFF2-40B4-BE49-F238E27FC236}">
                <a16:creationId xmlns:a16="http://schemas.microsoft.com/office/drawing/2014/main" id="{ACF8068D-4940-2352-775E-5FE5997B8B5F}"/>
              </a:ext>
            </a:extLst>
          </p:cNvPr>
          <p:cNvSpPr>
            <a:spLocks noGrp="1"/>
          </p:cNvSpPr>
          <p:nvPr>
            <p:ph type="dt" sz="half" idx="15"/>
          </p:nvPr>
        </p:nvSpPr>
        <p:spPr/>
        <p:txBody>
          <a:bodyPr/>
          <a:lstStyle>
            <a:lvl1pPr>
              <a:defRPr>
                <a:solidFill>
                  <a:srgbClr val="AFAFAF"/>
                </a:solidFill>
              </a:defRPr>
            </a:lvl1pPr>
          </a:lstStyle>
          <a:p>
            <a:pPr>
              <a:defRPr/>
            </a:pPr>
            <a:fld id="{677B54D1-E1A3-47AE-AF62-C8981896E1F5}" type="datetime1">
              <a:rPr lang="en-GB"/>
              <a:pPr>
                <a:defRPr/>
              </a:pPr>
              <a:t>28/01/2024</a:t>
            </a:fld>
            <a:endParaRPr lang="en-GB" dirty="0"/>
          </a:p>
        </p:txBody>
      </p:sp>
      <p:sp>
        <p:nvSpPr>
          <p:cNvPr id="51" name="Footer Placeholder 3">
            <a:extLst>
              <a:ext uri="{FF2B5EF4-FFF2-40B4-BE49-F238E27FC236}">
                <a16:creationId xmlns:a16="http://schemas.microsoft.com/office/drawing/2014/main" id="{D02BCF78-3A16-8776-1156-8F950A7AE70D}"/>
              </a:ext>
            </a:extLst>
          </p:cNvPr>
          <p:cNvSpPr>
            <a:spLocks noGrp="1"/>
          </p:cNvSpPr>
          <p:nvPr>
            <p:ph type="ftr" sz="quarter" idx="16"/>
          </p:nvPr>
        </p:nvSpPr>
        <p:spPr/>
        <p:txBody>
          <a:bodyPr/>
          <a:lstStyle>
            <a:lvl1pPr>
              <a:defRPr>
                <a:solidFill>
                  <a:srgbClr val="AFAFAF"/>
                </a:solidFill>
              </a:defRPr>
            </a:lvl1pPr>
          </a:lstStyle>
          <a:p>
            <a:pPr>
              <a:defRPr/>
            </a:pPr>
            <a:r>
              <a:rPr lang="en-GB"/>
              <a:t>VTT – beyond the obvious</a:t>
            </a:r>
            <a:endParaRPr lang="en-GB" dirty="0"/>
          </a:p>
        </p:txBody>
      </p:sp>
      <p:sp>
        <p:nvSpPr>
          <p:cNvPr id="52" name="Slide Number Placeholder 4">
            <a:extLst>
              <a:ext uri="{FF2B5EF4-FFF2-40B4-BE49-F238E27FC236}">
                <a16:creationId xmlns:a16="http://schemas.microsoft.com/office/drawing/2014/main" id="{CC5B0EEC-76ED-04F4-1A46-2B7EBF53A815}"/>
              </a:ext>
            </a:extLst>
          </p:cNvPr>
          <p:cNvSpPr>
            <a:spLocks noGrp="1"/>
          </p:cNvSpPr>
          <p:nvPr>
            <p:ph type="sldNum" sz="quarter" idx="17"/>
          </p:nvPr>
        </p:nvSpPr>
        <p:spPr/>
        <p:txBody>
          <a:bodyPr/>
          <a:lstStyle>
            <a:lvl1pPr>
              <a:defRPr>
                <a:solidFill>
                  <a:srgbClr val="AFAFAF"/>
                </a:solidFill>
              </a:defRPr>
            </a:lvl1pPr>
          </a:lstStyle>
          <a:p>
            <a:pPr>
              <a:defRPr/>
            </a:pPr>
            <a:fld id="{E6E0F78B-A247-4BA4-96EC-280482634D3F}" type="slidenum">
              <a:rPr lang="en-GB"/>
              <a:pPr>
                <a:defRPr/>
              </a:pPr>
              <a:t>‹Nr.›</a:t>
            </a:fld>
            <a:endParaRPr lang="en-GB" dirty="0"/>
          </a:p>
        </p:txBody>
      </p:sp>
    </p:spTree>
    <p:extLst>
      <p:ext uri="{BB962C8B-B14F-4D97-AF65-F5344CB8AC3E}">
        <p14:creationId xmlns:p14="http://schemas.microsoft.com/office/powerpoint/2010/main" val="3011804129"/>
      </p:ext>
    </p:extLst>
  </p:cSld>
  <p:clrMapOvr>
    <a:masterClrMapping/>
  </p:clrMapOvr>
  <p:transition spd="med">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VTT 2020 Content slide 02">
    <p:spTree>
      <p:nvGrpSpPr>
        <p:cNvPr id="1" name=""/>
        <p:cNvGrpSpPr/>
        <p:nvPr/>
      </p:nvGrpSpPr>
      <p:grpSpPr>
        <a:xfrm>
          <a:off x="0" y="0"/>
          <a:ext cx="0" cy="0"/>
          <a:chOff x="0" y="0"/>
          <a:chExt cx="0" cy="0"/>
        </a:xfrm>
      </p:grpSpPr>
      <p:grpSp>
        <p:nvGrpSpPr>
          <p:cNvPr id="3" name="VTT_LogoStack_v3_16092019 pienempi koko">
            <a:extLst>
              <a:ext uri="{FF2B5EF4-FFF2-40B4-BE49-F238E27FC236}">
                <a16:creationId xmlns:a16="http://schemas.microsoft.com/office/drawing/2014/main" id="{897A933D-0749-611B-08EC-3FFFA7930806}"/>
              </a:ext>
            </a:extLst>
          </p:cNvPr>
          <p:cNvGrpSpPr>
            <a:grpSpLocks/>
          </p:cNvGrpSpPr>
          <p:nvPr userDrawn="1"/>
        </p:nvGrpSpPr>
        <p:grpSpPr bwMode="auto">
          <a:xfrm>
            <a:off x="10725150" y="0"/>
            <a:ext cx="1158875" cy="782638"/>
            <a:chOff x="7909204" y="1770762"/>
            <a:chExt cx="971550" cy="655638"/>
          </a:xfrm>
        </p:grpSpPr>
        <p:grpSp>
          <p:nvGrpSpPr>
            <p:cNvPr id="4" name="_VTT_logo_102019_01_white_on_orange">
              <a:extLst>
                <a:ext uri="{FF2B5EF4-FFF2-40B4-BE49-F238E27FC236}">
                  <a16:creationId xmlns:a16="http://schemas.microsoft.com/office/drawing/2014/main" id="{B450B8D0-AC79-D427-CF69-5ABBFB881C1A}"/>
                </a:ext>
              </a:extLst>
            </p:cNvPr>
            <p:cNvGrpSpPr>
              <a:grpSpLocks/>
            </p:cNvGrpSpPr>
            <p:nvPr userDrawn="1"/>
          </p:nvGrpSpPr>
          <p:grpSpPr bwMode="auto">
            <a:xfrm>
              <a:off x="7909204" y="1770762"/>
              <a:ext cx="971550" cy="655638"/>
              <a:chOff x="379933" y="-15999"/>
              <a:chExt cx="971550" cy="655638"/>
            </a:xfrm>
          </p:grpSpPr>
          <p:sp>
            <p:nvSpPr>
              <p:cNvPr id="47" name="Box">
                <a:extLst>
                  <a:ext uri="{FF2B5EF4-FFF2-40B4-BE49-F238E27FC236}">
                    <a16:creationId xmlns:a16="http://schemas.microsoft.com/office/drawing/2014/main" id="{75EEA943-E56F-063E-2011-8D9B5165D170}"/>
                  </a:ext>
                </a:extLst>
              </p:cNvPr>
              <p:cNvSpPr>
                <a:spLocks noChangeArrowheads="1"/>
              </p:cNvSpPr>
              <p:nvPr userDrawn="1"/>
            </p:nvSpPr>
            <p:spPr bwMode="auto">
              <a:xfrm>
                <a:off x="379933" y="-15999"/>
                <a:ext cx="971550" cy="655638"/>
              </a:xfrm>
              <a:prstGeom prst="rect">
                <a:avLst/>
              </a:prstGeom>
              <a:solidFill>
                <a:srgbClr val="F06E00"/>
              </a:solidFill>
              <a:ln>
                <a:noFill/>
              </a:ln>
            </p:spPr>
            <p:txBody>
              <a:bodyPr/>
              <a:lstStyle>
                <a:lvl1pPr defTabSz="455613">
                  <a:defRPr b="1">
                    <a:solidFill>
                      <a:schemeClr val="tx1"/>
                    </a:solidFill>
                    <a:latin typeface="Verdana" panose="020B0604030504040204" pitchFamily="34" charset="0"/>
                  </a:defRPr>
                </a:lvl1pPr>
                <a:lvl2pPr marL="742950" indent="-285750" defTabSz="455613">
                  <a:defRPr b="1">
                    <a:solidFill>
                      <a:schemeClr val="tx1"/>
                    </a:solidFill>
                    <a:latin typeface="Verdana" panose="020B0604030504040204" pitchFamily="34" charset="0"/>
                  </a:defRPr>
                </a:lvl2pPr>
                <a:lvl3pPr marL="1143000" indent="-228600" defTabSz="455613">
                  <a:defRPr b="1">
                    <a:solidFill>
                      <a:schemeClr val="tx1"/>
                    </a:solidFill>
                    <a:latin typeface="Verdana" panose="020B0604030504040204" pitchFamily="34" charset="0"/>
                  </a:defRPr>
                </a:lvl3pPr>
                <a:lvl4pPr marL="1600200" indent="-228600" defTabSz="455613">
                  <a:defRPr b="1">
                    <a:solidFill>
                      <a:schemeClr val="tx1"/>
                    </a:solidFill>
                    <a:latin typeface="Verdana" panose="020B0604030504040204" pitchFamily="34" charset="0"/>
                  </a:defRPr>
                </a:lvl4pPr>
                <a:lvl5pPr marL="2057400" indent="-228600" defTabSz="455613">
                  <a:defRPr b="1">
                    <a:solidFill>
                      <a:schemeClr val="tx1"/>
                    </a:solidFill>
                    <a:latin typeface="Verdana" panose="020B0604030504040204" pitchFamily="34" charset="0"/>
                  </a:defRPr>
                </a:lvl5pPr>
                <a:lvl6pPr marL="2514600" indent="-228600" defTabSz="455613" eaLnBrk="0" fontAlgn="base" hangingPunct="0">
                  <a:spcBef>
                    <a:spcPct val="0"/>
                  </a:spcBef>
                  <a:spcAft>
                    <a:spcPct val="0"/>
                  </a:spcAft>
                  <a:defRPr b="1">
                    <a:solidFill>
                      <a:schemeClr val="tx1"/>
                    </a:solidFill>
                    <a:latin typeface="Verdana" panose="020B0604030504040204" pitchFamily="34" charset="0"/>
                  </a:defRPr>
                </a:lvl6pPr>
                <a:lvl7pPr marL="2971800" indent="-228600" defTabSz="455613" eaLnBrk="0" fontAlgn="base" hangingPunct="0">
                  <a:spcBef>
                    <a:spcPct val="0"/>
                  </a:spcBef>
                  <a:spcAft>
                    <a:spcPct val="0"/>
                  </a:spcAft>
                  <a:defRPr b="1">
                    <a:solidFill>
                      <a:schemeClr val="tx1"/>
                    </a:solidFill>
                    <a:latin typeface="Verdana" panose="020B0604030504040204" pitchFamily="34" charset="0"/>
                  </a:defRPr>
                </a:lvl7pPr>
                <a:lvl8pPr marL="3429000" indent="-228600" defTabSz="455613" eaLnBrk="0" fontAlgn="base" hangingPunct="0">
                  <a:spcBef>
                    <a:spcPct val="0"/>
                  </a:spcBef>
                  <a:spcAft>
                    <a:spcPct val="0"/>
                  </a:spcAft>
                  <a:defRPr b="1">
                    <a:solidFill>
                      <a:schemeClr val="tx1"/>
                    </a:solidFill>
                    <a:latin typeface="Verdana" panose="020B0604030504040204" pitchFamily="34" charset="0"/>
                  </a:defRPr>
                </a:lvl8pPr>
                <a:lvl9pPr marL="3886200" indent="-228600" defTabSz="455613" eaLnBrk="0" fontAlgn="base" hangingPunct="0">
                  <a:spcBef>
                    <a:spcPct val="0"/>
                  </a:spcBef>
                  <a:spcAft>
                    <a:spcPct val="0"/>
                  </a:spcAft>
                  <a:defRPr b="1">
                    <a:solidFill>
                      <a:schemeClr val="tx1"/>
                    </a:solidFill>
                    <a:latin typeface="Verdana" panose="020B0604030504040204" pitchFamily="34" charset="0"/>
                  </a:defRPr>
                </a:lvl9pPr>
              </a:lstStyle>
              <a:p>
                <a:pPr eaLnBrk="1" hangingPunct="1">
                  <a:defRPr/>
                </a:pPr>
                <a:endParaRPr lang="en-GB" altLang="de-DE" b="0">
                  <a:solidFill>
                    <a:srgbClr val="000000"/>
                  </a:solidFill>
                  <a:latin typeface="Arial" panose="020B0604020202020204" pitchFamily="34" charset="0"/>
                </a:endParaRPr>
              </a:p>
            </p:txBody>
          </p:sp>
          <p:sp>
            <p:nvSpPr>
              <p:cNvPr id="48" name="T2">
                <a:extLst>
                  <a:ext uri="{FF2B5EF4-FFF2-40B4-BE49-F238E27FC236}">
                    <a16:creationId xmlns:a16="http://schemas.microsoft.com/office/drawing/2014/main" id="{059662D5-0870-1D4E-DE47-96CE70780FE5}"/>
                  </a:ext>
                </a:extLst>
              </p:cNvPr>
              <p:cNvSpPr>
                <a:spLocks/>
              </p:cNvSpPr>
              <p:nvPr userDrawn="1"/>
            </p:nvSpPr>
            <p:spPr bwMode="auto">
              <a:xfrm>
                <a:off x="1011758" y="168151"/>
                <a:ext cx="176213" cy="258763"/>
              </a:xfrm>
              <a:custGeom>
                <a:avLst/>
                <a:gdLst>
                  <a:gd name="T0" fmla="*/ 98916612 w 222"/>
                  <a:gd name="T1" fmla="*/ 206025508 h 325"/>
                  <a:gd name="T2" fmla="*/ 98916612 w 222"/>
                  <a:gd name="T3" fmla="*/ 49446026 h 325"/>
                  <a:gd name="T4" fmla="*/ 139869466 w 222"/>
                  <a:gd name="T5" fmla="*/ 49446026 h 325"/>
                  <a:gd name="T6" fmla="*/ 139869466 w 222"/>
                  <a:gd name="T7" fmla="*/ 0 h 325"/>
                  <a:gd name="T8" fmla="*/ 0 w 222"/>
                  <a:gd name="T9" fmla="*/ 0 h 325"/>
                  <a:gd name="T10" fmla="*/ 0 w 222"/>
                  <a:gd name="T11" fmla="*/ 49446026 h 325"/>
                  <a:gd name="T12" fmla="*/ 41583093 w 222"/>
                  <a:gd name="T13" fmla="*/ 49446026 h 325"/>
                  <a:gd name="T14" fmla="*/ 41583093 w 222"/>
                  <a:gd name="T15" fmla="*/ 206025508 h 325"/>
                  <a:gd name="T16" fmla="*/ 41583093 w 222"/>
                  <a:gd name="T17" fmla="*/ 206025508 h 325"/>
                  <a:gd name="T18" fmla="*/ 98916612 w 222"/>
                  <a:gd name="T19" fmla="*/ 206025508 h 3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22" h="325">
                    <a:moveTo>
                      <a:pt x="157" y="325"/>
                    </a:moveTo>
                    <a:lnTo>
                      <a:pt x="157" y="78"/>
                    </a:lnTo>
                    <a:lnTo>
                      <a:pt x="222" y="78"/>
                    </a:lnTo>
                    <a:lnTo>
                      <a:pt x="222" y="0"/>
                    </a:lnTo>
                    <a:lnTo>
                      <a:pt x="0" y="0"/>
                    </a:lnTo>
                    <a:lnTo>
                      <a:pt x="0" y="78"/>
                    </a:lnTo>
                    <a:lnTo>
                      <a:pt x="66" y="78"/>
                    </a:lnTo>
                    <a:lnTo>
                      <a:pt x="66" y="325"/>
                    </a:lnTo>
                    <a:lnTo>
                      <a:pt x="157" y="3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49" name="T1">
                <a:extLst>
                  <a:ext uri="{FF2B5EF4-FFF2-40B4-BE49-F238E27FC236}">
                    <a16:creationId xmlns:a16="http://schemas.microsoft.com/office/drawing/2014/main" id="{BE1AA8F1-7A49-DB63-FC3A-7D5BC5DDB90C}"/>
                  </a:ext>
                </a:extLst>
              </p:cNvPr>
              <p:cNvSpPr>
                <a:spLocks/>
              </p:cNvSpPr>
              <p:nvPr userDrawn="1"/>
            </p:nvSpPr>
            <p:spPr bwMode="auto">
              <a:xfrm>
                <a:off x="799033" y="168151"/>
                <a:ext cx="193675" cy="258763"/>
              </a:xfrm>
              <a:custGeom>
                <a:avLst/>
                <a:gdLst>
                  <a:gd name="T0" fmla="*/ 55443438 w 244"/>
                  <a:gd name="T1" fmla="*/ 49446026 h 325"/>
                  <a:gd name="T2" fmla="*/ 55443438 w 244"/>
                  <a:gd name="T3" fmla="*/ 206025508 h 325"/>
                  <a:gd name="T4" fmla="*/ 112776794 w 244"/>
                  <a:gd name="T5" fmla="*/ 206025508 h 325"/>
                  <a:gd name="T6" fmla="*/ 112776794 w 244"/>
                  <a:gd name="T7" fmla="*/ 49446026 h 325"/>
                  <a:gd name="T8" fmla="*/ 153729531 w 244"/>
                  <a:gd name="T9" fmla="*/ 49446026 h 325"/>
                  <a:gd name="T10" fmla="*/ 153729531 w 244"/>
                  <a:gd name="T11" fmla="*/ 0 h 325"/>
                  <a:gd name="T12" fmla="*/ 15751175 w 244"/>
                  <a:gd name="T13" fmla="*/ 0 h 325"/>
                  <a:gd name="T14" fmla="*/ 0 w 244"/>
                  <a:gd name="T15" fmla="*/ 49446026 h 325"/>
                  <a:gd name="T16" fmla="*/ 55443438 w 244"/>
                  <a:gd name="T17" fmla="*/ 49446026 h 3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44" h="325">
                    <a:moveTo>
                      <a:pt x="88" y="78"/>
                    </a:moveTo>
                    <a:lnTo>
                      <a:pt x="88" y="325"/>
                    </a:lnTo>
                    <a:lnTo>
                      <a:pt x="179" y="325"/>
                    </a:lnTo>
                    <a:lnTo>
                      <a:pt x="179" y="78"/>
                    </a:lnTo>
                    <a:lnTo>
                      <a:pt x="244" y="78"/>
                    </a:lnTo>
                    <a:lnTo>
                      <a:pt x="244" y="0"/>
                    </a:lnTo>
                    <a:lnTo>
                      <a:pt x="25" y="0"/>
                    </a:lnTo>
                    <a:lnTo>
                      <a:pt x="0" y="78"/>
                    </a:lnTo>
                    <a:lnTo>
                      <a:pt x="88"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0" name="V">
                <a:extLst>
                  <a:ext uri="{FF2B5EF4-FFF2-40B4-BE49-F238E27FC236}">
                    <a16:creationId xmlns:a16="http://schemas.microsoft.com/office/drawing/2014/main" id="{F3D40458-4EAC-BEB1-3F69-355BE412B4DC}"/>
                  </a:ext>
                </a:extLst>
              </p:cNvPr>
              <p:cNvSpPr>
                <a:spLocks/>
              </p:cNvSpPr>
              <p:nvPr userDrawn="1"/>
            </p:nvSpPr>
            <p:spPr bwMode="auto">
              <a:xfrm>
                <a:off x="567258" y="168151"/>
                <a:ext cx="230188" cy="258763"/>
              </a:xfrm>
              <a:custGeom>
                <a:avLst/>
                <a:gdLst>
                  <a:gd name="T0" fmla="*/ 116731600 w 289"/>
                  <a:gd name="T1" fmla="*/ 206025508 h 325"/>
                  <a:gd name="T2" fmla="*/ 183344344 w 289"/>
                  <a:gd name="T3" fmla="*/ 0 h 325"/>
                  <a:gd name="T4" fmla="*/ 124978544 w 289"/>
                  <a:gd name="T5" fmla="*/ 0 h 325"/>
                  <a:gd name="T6" fmla="*/ 90720356 w 289"/>
                  <a:gd name="T7" fmla="*/ 105865119 h 325"/>
                  <a:gd name="T8" fmla="*/ 85645069 w 289"/>
                  <a:gd name="T9" fmla="*/ 121079587 h 325"/>
                  <a:gd name="T10" fmla="*/ 85645069 w 289"/>
                  <a:gd name="T11" fmla="*/ 121079587 h 325"/>
                  <a:gd name="T12" fmla="*/ 85645069 w 289"/>
                  <a:gd name="T13" fmla="*/ 121079587 h 325"/>
                  <a:gd name="T14" fmla="*/ 85645069 w 289"/>
                  <a:gd name="T15" fmla="*/ 121079587 h 325"/>
                  <a:gd name="T16" fmla="*/ 85645069 w 289"/>
                  <a:gd name="T17" fmla="*/ 121079587 h 325"/>
                  <a:gd name="T18" fmla="*/ 85645069 w 289"/>
                  <a:gd name="T19" fmla="*/ 121079587 h 325"/>
                  <a:gd name="T20" fmla="*/ 85645069 w 289"/>
                  <a:gd name="T21" fmla="*/ 121079587 h 325"/>
                  <a:gd name="T22" fmla="*/ 81204592 w 289"/>
                  <a:gd name="T23" fmla="*/ 105865119 h 325"/>
                  <a:gd name="T24" fmla="*/ 57730991 w 289"/>
                  <a:gd name="T25" fmla="*/ 38035772 h 325"/>
                  <a:gd name="T26" fmla="*/ 0 w 289"/>
                  <a:gd name="T27" fmla="*/ 38035772 h 325"/>
                  <a:gd name="T28" fmla="*/ 57096978 w 289"/>
                  <a:gd name="T29" fmla="*/ 206025508 h 325"/>
                  <a:gd name="T30" fmla="*/ 116731600 w 289"/>
                  <a:gd name="T31" fmla="*/ 206025508 h 32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89" h="325">
                    <a:moveTo>
                      <a:pt x="184" y="325"/>
                    </a:moveTo>
                    <a:lnTo>
                      <a:pt x="289" y="0"/>
                    </a:lnTo>
                    <a:lnTo>
                      <a:pt x="197" y="0"/>
                    </a:lnTo>
                    <a:lnTo>
                      <a:pt x="143" y="167"/>
                    </a:lnTo>
                    <a:lnTo>
                      <a:pt x="135" y="191"/>
                    </a:lnTo>
                    <a:lnTo>
                      <a:pt x="128" y="167"/>
                    </a:lnTo>
                    <a:lnTo>
                      <a:pt x="91" y="60"/>
                    </a:lnTo>
                    <a:lnTo>
                      <a:pt x="0" y="60"/>
                    </a:lnTo>
                    <a:lnTo>
                      <a:pt x="90" y="325"/>
                    </a:lnTo>
                    <a:lnTo>
                      <a:pt x="184" y="3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grpSp>
          <p:nvGrpSpPr>
            <p:cNvPr id="5" name="_VTT_logo_102019_02_white_on_black" hidden="1">
              <a:extLst>
                <a:ext uri="{FF2B5EF4-FFF2-40B4-BE49-F238E27FC236}">
                  <a16:creationId xmlns:a16="http://schemas.microsoft.com/office/drawing/2014/main" id="{00537ADE-B416-DB83-7E45-FE104B39BD2E}"/>
                </a:ext>
              </a:extLst>
            </p:cNvPr>
            <p:cNvGrpSpPr>
              <a:grpSpLocks/>
            </p:cNvGrpSpPr>
            <p:nvPr userDrawn="1"/>
          </p:nvGrpSpPr>
          <p:grpSpPr bwMode="auto">
            <a:xfrm>
              <a:off x="7909204" y="1770762"/>
              <a:ext cx="971550" cy="655638"/>
              <a:chOff x="379933" y="-15999"/>
              <a:chExt cx="971550" cy="655638"/>
            </a:xfrm>
          </p:grpSpPr>
          <p:sp>
            <p:nvSpPr>
              <p:cNvPr id="43" name="Box">
                <a:extLst>
                  <a:ext uri="{FF2B5EF4-FFF2-40B4-BE49-F238E27FC236}">
                    <a16:creationId xmlns:a16="http://schemas.microsoft.com/office/drawing/2014/main" id="{5CF3F32D-67E4-726C-8074-3A6C2D6F3289}"/>
                  </a:ext>
                </a:extLst>
              </p:cNvPr>
              <p:cNvSpPr>
                <a:spLocks noChangeArrowheads="1"/>
              </p:cNvSpPr>
              <p:nvPr userDrawn="1"/>
            </p:nvSpPr>
            <p:spPr bwMode="auto">
              <a:xfrm>
                <a:off x="379933" y="-15999"/>
                <a:ext cx="971550" cy="655638"/>
              </a:xfrm>
              <a:prstGeom prst="rect">
                <a:avLst/>
              </a:prstGeom>
              <a:solidFill>
                <a:srgbClr val="000000"/>
              </a:solidFill>
              <a:ln>
                <a:noFill/>
              </a:ln>
            </p:spPr>
            <p:txBody>
              <a:bodyPr/>
              <a:lstStyle>
                <a:lvl1pPr defTabSz="455613">
                  <a:defRPr b="1">
                    <a:solidFill>
                      <a:schemeClr val="tx1"/>
                    </a:solidFill>
                    <a:latin typeface="Verdana" panose="020B0604030504040204" pitchFamily="34" charset="0"/>
                  </a:defRPr>
                </a:lvl1pPr>
                <a:lvl2pPr marL="742950" indent="-285750" defTabSz="455613">
                  <a:defRPr b="1">
                    <a:solidFill>
                      <a:schemeClr val="tx1"/>
                    </a:solidFill>
                    <a:latin typeface="Verdana" panose="020B0604030504040204" pitchFamily="34" charset="0"/>
                  </a:defRPr>
                </a:lvl2pPr>
                <a:lvl3pPr marL="1143000" indent="-228600" defTabSz="455613">
                  <a:defRPr b="1">
                    <a:solidFill>
                      <a:schemeClr val="tx1"/>
                    </a:solidFill>
                    <a:latin typeface="Verdana" panose="020B0604030504040204" pitchFamily="34" charset="0"/>
                  </a:defRPr>
                </a:lvl3pPr>
                <a:lvl4pPr marL="1600200" indent="-228600" defTabSz="455613">
                  <a:defRPr b="1">
                    <a:solidFill>
                      <a:schemeClr val="tx1"/>
                    </a:solidFill>
                    <a:latin typeface="Verdana" panose="020B0604030504040204" pitchFamily="34" charset="0"/>
                  </a:defRPr>
                </a:lvl4pPr>
                <a:lvl5pPr marL="2057400" indent="-228600" defTabSz="455613">
                  <a:defRPr b="1">
                    <a:solidFill>
                      <a:schemeClr val="tx1"/>
                    </a:solidFill>
                    <a:latin typeface="Verdana" panose="020B0604030504040204" pitchFamily="34" charset="0"/>
                  </a:defRPr>
                </a:lvl5pPr>
                <a:lvl6pPr marL="2514600" indent="-228600" defTabSz="455613" eaLnBrk="0" fontAlgn="base" hangingPunct="0">
                  <a:spcBef>
                    <a:spcPct val="0"/>
                  </a:spcBef>
                  <a:spcAft>
                    <a:spcPct val="0"/>
                  </a:spcAft>
                  <a:defRPr b="1">
                    <a:solidFill>
                      <a:schemeClr val="tx1"/>
                    </a:solidFill>
                    <a:latin typeface="Verdana" panose="020B0604030504040204" pitchFamily="34" charset="0"/>
                  </a:defRPr>
                </a:lvl6pPr>
                <a:lvl7pPr marL="2971800" indent="-228600" defTabSz="455613" eaLnBrk="0" fontAlgn="base" hangingPunct="0">
                  <a:spcBef>
                    <a:spcPct val="0"/>
                  </a:spcBef>
                  <a:spcAft>
                    <a:spcPct val="0"/>
                  </a:spcAft>
                  <a:defRPr b="1">
                    <a:solidFill>
                      <a:schemeClr val="tx1"/>
                    </a:solidFill>
                    <a:latin typeface="Verdana" panose="020B0604030504040204" pitchFamily="34" charset="0"/>
                  </a:defRPr>
                </a:lvl7pPr>
                <a:lvl8pPr marL="3429000" indent="-228600" defTabSz="455613" eaLnBrk="0" fontAlgn="base" hangingPunct="0">
                  <a:spcBef>
                    <a:spcPct val="0"/>
                  </a:spcBef>
                  <a:spcAft>
                    <a:spcPct val="0"/>
                  </a:spcAft>
                  <a:defRPr b="1">
                    <a:solidFill>
                      <a:schemeClr val="tx1"/>
                    </a:solidFill>
                    <a:latin typeface="Verdana" panose="020B0604030504040204" pitchFamily="34" charset="0"/>
                  </a:defRPr>
                </a:lvl8pPr>
                <a:lvl9pPr marL="3886200" indent="-228600" defTabSz="455613" eaLnBrk="0" fontAlgn="base" hangingPunct="0">
                  <a:spcBef>
                    <a:spcPct val="0"/>
                  </a:spcBef>
                  <a:spcAft>
                    <a:spcPct val="0"/>
                  </a:spcAft>
                  <a:defRPr b="1">
                    <a:solidFill>
                      <a:schemeClr val="tx1"/>
                    </a:solidFill>
                    <a:latin typeface="Verdana" panose="020B0604030504040204" pitchFamily="34" charset="0"/>
                  </a:defRPr>
                </a:lvl9pPr>
              </a:lstStyle>
              <a:p>
                <a:pPr eaLnBrk="1" hangingPunct="1">
                  <a:defRPr/>
                </a:pPr>
                <a:endParaRPr lang="en-GB" altLang="de-DE" b="0">
                  <a:solidFill>
                    <a:srgbClr val="000000"/>
                  </a:solidFill>
                  <a:latin typeface="Arial" panose="020B0604020202020204" pitchFamily="34" charset="0"/>
                </a:endParaRPr>
              </a:p>
            </p:txBody>
          </p:sp>
          <p:sp>
            <p:nvSpPr>
              <p:cNvPr id="44" name="T2">
                <a:extLst>
                  <a:ext uri="{FF2B5EF4-FFF2-40B4-BE49-F238E27FC236}">
                    <a16:creationId xmlns:a16="http://schemas.microsoft.com/office/drawing/2014/main" id="{EC406257-1038-03BD-7F26-165917873DC7}"/>
                  </a:ext>
                </a:extLst>
              </p:cNvPr>
              <p:cNvSpPr>
                <a:spLocks/>
              </p:cNvSpPr>
              <p:nvPr userDrawn="1"/>
            </p:nvSpPr>
            <p:spPr bwMode="auto">
              <a:xfrm>
                <a:off x="1011758" y="168151"/>
                <a:ext cx="176213" cy="258763"/>
              </a:xfrm>
              <a:custGeom>
                <a:avLst/>
                <a:gdLst>
                  <a:gd name="T0" fmla="*/ 98916612 w 222"/>
                  <a:gd name="T1" fmla="*/ 206025508 h 325"/>
                  <a:gd name="T2" fmla="*/ 98916612 w 222"/>
                  <a:gd name="T3" fmla="*/ 49446026 h 325"/>
                  <a:gd name="T4" fmla="*/ 139869466 w 222"/>
                  <a:gd name="T5" fmla="*/ 49446026 h 325"/>
                  <a:gd name="T6" fmla="*/ 139869466 w 222"/>
                  <a:gd name="T7" fmla="*/ 0 h 325"/>
                  <a:gd name="T8" fmla="*/ 0 w 222"/>
                  <a:gd name="T9" fmla="*/ 0 h 325"/>
                  <a:gd name="T10" fmla="*/ 0 w 222"/>
                  <a:gd name="T11" fmla="*/ 49446026 h 325"/>
                  <a:gd name="T12" fmla="*/ 41583093 w 222"/>
                  <a:gd name="T13" fmla="*/ 49446026 h 325"/>
                  <a:gd name="T14" fmla="*/ 41583093 w 222"/>
                  <a:gd name="T15" fmla="*/ 206025508 h 325"/>
                  <a:gd name="T16" fmla="*/ 41583093 w 222"/>
                  <a:gd name="T17" fmla="*/ 206025508 h 325"/>
                  <a:gd name="T18" fmla="*/ 98916612 w 222"/>
                  <a:gd name="T19" fmla="*/ 206025508 h 3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22" h="325">
                    <a:moveTo>
                      <a:pt x="157" y="325"/>
                    </a:moveTo>
                    <a:lnTo>
                      <a:pt x="157" y="78"/>
                    </a:lnTo>
                    <a:lnTo>
                      <a:pt x="222" y="78"/>
                    </a:lnTo>
                    <a:lnTo>
                      <a:pt x="222" y="0"/>
                    </a:lnTo>
                    <a:lnTo>
                      <a:pt x="0" y="0"/>
                    </a:lnTo>
                    <a:lnTo>
                      <a:pt x="0" y="78"/>
                    </a:lnTo>
                    <a:lnTo>
                      <a:pt x="66" y="78"/>
                    </a:lnTo>
                    <a:lnTo>
                      <a:pt x="66" y="325"/>
                    </a:lnTo>
                    <a:lnTo>
                      <a:pt x="157" y="3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45" name="T1">
                <a:extLst>
                  <a:ext uri="{FF2B5EF4-FFF2-40B4-BE49-F238E27FC236}">
                    <a16:creationId xmlns:a16="http://schemas.microsoft.com/office/drawing/2014/main" id="{DC93C6ED-4116-23E5-35C7-941409735CC1}"/>
                  </a:ext>
                </a:extLst>
              </p:cNvPr>
              <p:cNvSpPr>
                <a:spLocks/>
              </p:cNvSpPr>
              <p:nvPr userDrawn="1"/>
            </p:nvSpPr>
            <p:spPr bwMode="auto">
              <a:xfrm>
                <a:off x="799033" y="168151"/>
                <a:ext cx="193675" cy="258763"/>
              </a:xfrm>
              <a:custGeom>
                <a:avLst/>
                <a:gdLst>
                  <a:gd name="T0" fmla="*/ 55443438 w 244"/>
                  <a:gd name="T1" fmla="*/ 49446026 h 325"/>
                  <a:gd name="T2" fmla="*/ 55443438 w 244"/>
                  <a:gd name="T3" fmla="*/ 206025508 h 325"/>
                  <a:gd name="T4" fmla="*/ 112776794 w 244"/>
                  <a:gd name="T5" fmla="*/ 206025508 h 325"/>
                  <a:gd name="T6" fmla="*/ 112776794 w 244"/>
                  <a:gd name="T7" fmla="*/ 49446026 h 325"/>
                  <a:gd name="T8" fmla="*/ 153729531 w 244"/>
                  <a:gd name="T9" fmla="*/ 49446026 h 325"/>
                  <a:gd name="T10" fmla="*/ 153729531 w 244"/>
                  <a:gd name="T11" fmla="*/ 0 h 325"/>
                  <a:gd name="T12" fmla="*/ 15751175 w 244"/>
                  <a:gd name="T13" fmla="*/ 0 h 325"/>
                  <a:gd name="T14" fmla="*/ 0 w 244"/>
                  <a:gd name="T15" fmla="*/ 49446026 h 325"/>
                  <a:gd name="T16" fmla="*/ 55443438 w 244"/>
                  <a:gd name="T17" fmla="*/ 49446026 h 3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44" h="325">
                    <a:moveTo>
                      <a:pt x="88" y="78"/>
                    </a:moveTo>
                    <a:lnTo>
                      <a:pt x="88" y="325"/>
                    </a:lnTo>
                    <a:lnTo>
                      <a:pt x="179" y="325"/>
                    </a:lnTo>
                    <a:lnTo>
                      <a:pt x="179" y="78"/>
                    </a:lnTo>
                    <a:lnTo>
                      <a:pt x="244" y="78"/>
                    </a:lnTo>
                    <a:lnTo>
                      <a:pt x="244" y="0"/>
                    </a:lnTo>
                    <a:lnTo>
                      <a:pt x="25" y="0"/>
                    </a:lnTo>
                    <a:lnTo>
                      <a:pt x="0" y="78"/>
                    </a:lnTo>
                    <a:lnTo>
                      <a:pt x="88"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46" name="V">
                <a:extLst>
                  <a:ext uri="{FF2B5EF4-FFF2-40B4-BE49-F238E27FC236}">
                    <a16:creationId xmlns:a16="http://schemas.microsoft.com/office/drawing/2014/main" id="{7B662D2D-CB58-0730-5FC0-941A25245C28}"/>
                  </a:ext>
                </a:extLst>
              </p:cNvPr>
              <p:cNvSpPr>
                <a:spLocks/>
              </p:cNvSpPr>
              <p:nvPr userDrawn="1"/>
            </p:nvSpPr>
            <p:spPr bwMode="auto">
              <a:xfrm>
                <a:off x="567258" y="168151"/>
                <a:ext cx="230188" cy="258763"/>
              </a:xfrm>
              <a:custGeom>
                <a:avLst/>
                <a:gdLst>
                  <a:gd name="T0" fmla="*/ 116731600 w 289"/>
                  <a:gd name="T1" fmla="*/ 206025508 h 325"/>
                  <a:gd name="T2" fmla="*/ 183344344 w 289"/>
                  <a:gd name="T3" fmla="*/ 0 h 325"/>
                  <a:gd name="T4" fmla="*/ 124978544 w 289"/>
                  <a:gd name="T5" fmla="*/ 0 h 325"/>
                  <a:gd name="T6" fmla="*/ 90720356 w 289"/>
                  <a:gd name="T7" fmla="*/ 105865119 h 325"/>
                  <a:gd name="T8" fmla="*/ 85645069 w 289"/>
                  <a:gd name="T9" fmla="*/ 121079587 h 325"/>
                  <a:gd name="T10" fmla="*/ 85645069 w 289"/>
                  <a:gd name="T11" fmla="*/ 121079587 h 325"/>
                  <a:gd name="T12" fmla="*/ 85645069 w 289"/>
                  <a:gd name="T13" fmla="*/ 121079587 h 325"/>
                  <a:gd name="T14" fmla="*/ 85645069 w 289"/>
                  <a:gd name="T15" fmla="*/ 121079587 h 325"/>
                  <a:gd name="T16" fmla="*/ 85645069 w 289"/>
                  <a:gd name="T17" fmla="*/ 121079587 h 325"/>
                  <a:gd name="T18" fmla="*/ 85645069 w 289"/>
                  <a:gd name="T19" fmla="*/ 121079587 h 325"/>
                  <a:gd name="T20" fmla="*/ 85645069 w 289"/>
                  <a:gd name="T21" fmla="*/ 121079587 h 325"/>
                  <a:gd name="T22" fmla="*/ 81204592 w 289"/>
                  <a:gd name="T23" fmla="*/ 105865119 h 325"/>
                  <a:gd name="T24" fmla="*/ 57730991 w 289"/>
                  <a:gd name="T25" fmla="*/ 38035772 h 325"/>
                  <a:gd name="T26" fmla="*/ 0 w 289"/>
                  <a:gd name="T27" fmla="*/ 38035772 h 325"/>
                  <a:gd name="T28" fmla="*/ 57096978 w 289"/>
                  <a:gd name="T29" fmla="*/ 206025508 h 325"/>
                  <a:gd name="T30" fmla="*/ 116731600 w 289"/>
                  <a:gd name="T31" fmla="*/ 206025508 h 32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89" h="325">
                    <a:moveTo>
                      <a:pt x="184" y="325"/>
                    </a:moveTo>
                    <a:lnTo>
                      <a:pt x="289" y="0"/>
                    </a:lnTo>
                    <a:lnTo>
                      <a:pt x="197" y="0"/>
                    </a:lnTo>
                    <a:lnTo>
                      <a:pt x="143" y="167"/>
                    </a:lnTo>
                    <a:lnTo>
                      <a:pt x="135" y="191"/>
                    </a:lnTo>
                    <a:lnTo>
                      <a:pt x="128" y="167"/>
                    </a:lnTo>
                    <a:lnTo>
                      <a:pt x="91" y="60"/>
                    </a:lnTo>
                    <a:lnTo>
                      <a:pt x="0" y="60"/>
                    </a:lnTo>
                    <a:lnTo>
                      <a:pt x="90" y="325"/>
                    </a:lnTo>
                    <a:lnTo>
                      <a:pt x="184" y="3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grpSp>
          <p:nvGrpSpPr>
            <p:cNvPr id="6" name="_VTT_logo_102019_03_white_on_blue" hidden="1">
              <a:extLst>
                <a:ext uri="{FF2B5EF4-FFF2-40B4-BE49-F238E27FC236}">
                  <a16:creationId xmlns:a16="http://schemas.microsoft.com/office/drawing/2014/main" id="{90840E96-31C8-58CD-6897-7F3251415E37}"/>
                </a:ext>
              </a:extLst>
            </p:cNvPr>
            <p:cNvGrpSpPr>
              <a:grpSpLocks/>
            </p:cNvGrpSpPr>
            <p:nvPr userDrawn="1"/>
          </p:nvGrpSpPr>
          <p:grpSpPr bwMode="auto">
            <a:xfrm>
              <a:off x="7909204" y="1770762"/>
              <a:ext cx="971550" cy="655638"/>
              <a:chOff x="379933" y="-15999"/>
              <a:chExt cx="971550" cy="655638"/>
            </a:xfrm>
          </p:grpSpPr>
          <p:sp>
            <p:nvSpPr>
              <p:cNvPr id="39" name="Box">
                <a:extLst>
                  <a:ext uri="{FF2B5EF4-FFF2-40B4-BE49-F238E27FC236}">
                    <a16:creationId xmlns:a16="http://schemas.microsoft.com/office/drawing/2014/main" id="{6D93850D-D0A5-1451-41BB-E9730233B464}"/>
                  </a:ext>
                </a:extLst>
              </p:cNvPr>
              <p:cNvSpPr>
                <a:spLocks noChangeArrowheads="1"/>
              </p:cNvSpPr>
              <p:nvPr userDrawn="1"/>
            </p:nvSpPr>
            <p:spPr bwMode="auto">
              <a:xfrm>
                <a:off x="379933" y="-15999"/>
                <a:ext cx="971550" cy="655638"/>
              </a:xfrm>
              <a:prstGeom prst="rect">
                <a:avLst/>
              </a:prstGeom>
              <a:solidFill>
                <a:srgbClr val="005794"/>
              </a:solidFill>
              <a:ln>
                <a:noFill/>
              </a:ln>
            </p:spPr>
            <p:txBody>
              <a:bodyPr/>
              <a:lstStyle>
                <a:lvl1pPr defTabSz="455613">
                  <a:defRPr b="1">
                    <a:solidFill>
                      <a:schemeClr val="tx1"/>
                    </a:solidFill>
                    <a:latin typeface="Verdana" panose="020B0604030504040204" pitchFamily="34" charset="0"/>
                  </a:defRPr>
                </a:lvl1pPr>
                <a:lvl2pPr marL="742950" indent="-285750" defTabSz="455613">
                  <a:defRPr b="1">
                    <a:solidFill>
                      <a:schemeClr val="tx1"/>
                    </a:solidFill>
                    <a:latin typeface="Verdana" panose="020B0604030504040204" pitchFamily="34" charset="0"/>
                  </a:defRPr>
                </a:lvl2pPr>
                <a:lvl3pPr marL="1143000" indent="-228600" defTabSz="455613">
                  <a:defRPr b="1">
                    <a:solidFill>
                      <a:schemeClr val="tx1"/>
                    </a:solidFill>
                    <a:latin typeface="Verdana" panose="020B0604030504040204" pitchFamily="34" charset="0"/>
                  </a:defRPr>
                </a:lvl3pPr>
                <a:lvl4pPr marL="1600200" indent="-228600" defTabSz="455613">
                  <a:defRPr b="1">
                    <a:solidFill>
                      <a:schemeClr val="tx1"/>
                    </a:solidFill>
                    <a:latin typeface="Verdana" panose="020B0604030504040204" pitchFamily="34" charset="0"/>
                  </a:defRPr>
                </a:lvl4pPr>
                <a:lvl5pPr marL="2057400" indent="-228600" defTabSz="455613">
                  <a:defRPr b="1">
                    <a:solidFill>
                      <a:schemeClr val="tx1"/>
                    </a:solidFill>
                    <a:latin typeface="Verdana" panose="020B0604030504040204" pitchFamily="34" charset="0"/>
                  </a:defRPr>
                </a:lvl5pPr>
                <a:lvl6pPr marL="2514600" indent="-228600" defTabSz="455613" eaLnBrk="0" fontAlgn="base" hangingPunct="0">
                  <a:spcBef>
                    <a:spcPct val="0"/>
                  </a:spcBef>
                  <a:spcAft>
                    <a:spcPct val="0"/>
                  </a:spcAft>
                  <a:defRPr b="1">
                    <a:solidFill>
                      <a:schemeClr val="tx1"/>
                    </a:solidFill>
                    <a:latin typeface="Verdana" panose="020B0604030504040204" pitchFamily="34" charset="0"/>
                  </a:defRPr>
                </a:lvl6pPr>
                <a:lvl7pPr marL="2971800" indent="-228600" defTabSz="455613" eaLnBrk="0" fontAlgn="base" hangingPunct="0">
                  <a:spcBef>
                    <a:spcPct val="0"/>
                  </a:spcBef>
                  <a:spcAft>
                    <a:spcPct val="0"/>
                  </a:spcAft>
                  <a:defRPr b="1">
                    <a:solidFill>
                      <a:schemeClr val="tx1"/>
                    </a:solidFill>
                    <a:latin typeface="Verdana" panose="020B0604030504040204" pitchFamily="34" charset="0"/>
                  </a:defRPr>
                </a:lvl7pPr>
                <a:lvl8pPr marL="3429000" indent="-228600" defTabSz="455613" eaLnBrk="0" fontAlgn="base" hangingPunct="0">
                  <a:spcBef>
                    <a:spcPct val="0"/>
                  </a:spcBef>
                  <a:spcAft>
                    <a:spcPct val="0"/>
                  </a:spcAft>
                  <a:defRPr b="1">
                    <a:solidFill>
                      <a:schemeClr val="tx1"/>
                    </a:solidFill>
                    <a:latin typeface="Verdana" panose="020B0604030504040204" pitchFamily="34" charset="0"/>
                  </a:defRPr>
                </a:lvl8pPr>
                <a:lvl9pPr marL="3886200" indent="-228600" defTabSz="455613" eaLnBrk="0" fontAlgn="base" hangingPunct="0">
                  <a:spcBef>
                    <a:spcPct val="0"/>
                  </a:spcBef>
                  <a:spcAft>
                    <a:spcPct val="0"/>
                  </a:spcAft>
                  <a:defRPr b="1">
                    <a:solidFill>
                      <a:schemeClr val="tx1"/>
                    </a:solidFill>
                    <a:latin typeface="Verdana" panose="020B0604030504040204" pitchFamily="34" charset="0"/>
                  </a:defRPr>
                </a:lvl9pPr>
              </a:lstStyle>
              <a:p>
                <a:pPr eaLnBrk="1" hangingPunct="1">
                  <a:defRPr/>
                </a:pPr>
                <a:endParaRPr lang="en-GB" altLang="de-DE" b="0">
                  <a:solidFill>
                    <a:srgbClr val="000000"/>
                  </a:solidFill>
                  <a:latin typeface="Arial" panose="020B0604020202020204" pitchFamily="34" charset="0"/>
                </a:endParaRPr>
              </a:p>
            </p:txBody>
          </p:sp>
          <p:sp>
            <p:nvSpPr>
              <p:cNvPr id="40" name="T2">
                <a:extLst>
                  <a:ext uri="{FF2B5EF4-FFF2-40B4-BE49-F238E27FC236}">
                    <a16:creationId xmlns:a16="http://schemas.microsoft.com/office/drawing/2014/main" id="{A0FC1AC4-98F4-4D40-F4C2-6672A2443D12}"/>
                  </a:ext>
                </a:extLst>
              </p:cNvPr>
              <p:cNvSpPr>
                <a:spLocks/>
              </p:cNvSpPr>
              <p:nvPr userDrawn="1"/>
            </p:nvSpPr>
            <p:spPr bwMode="auto">
              <a:xfrm>
                <a:off x="1011758" y="168151"/>
                <a:ext cx="176213" cy="258763"/>
              </a:xfrm>
              <a:custGeom>
                <a:avLst/>
                <a:gdLst>
                  <a:gd name="T0" fmla="*/ 98916612 w 222"/>
                  <a:gd name="T1" fmla="*/ 206025508 h 325"/>
                  <a:gd name="T2" fmla="*/ 98916612 w 222"/>
                  <a:gd name="T3" fmla="*/ 49446026 h 325"/>
                  <a:gd name="T4" fmla="*/ 139869466 w 222"/>
                  <a:gd name="T5" fmla="*/ 49446026 h 325"/>
                  <a:gd name="T6" fmla="*/ 139869466 w 222"/>
                  <a:gd name="T7" fmla="*/ 0 h 325"/>
                  <a:gd name="T8" fmla="*/ 0 w 222"/>
                  <a:gd name="T9" fmla="*/ 0 h 325"/>
                  <a:gd name="T10" fmla="*/ 0 w 222"/>
                  <a:gd name="T11" fmla="*/ 49446026 h 325"/>
                  <a:gd name="T12" fmla="*/ 41583093 w 222"/>
                  <a:gd name="T13" fmla="*/ 49446026 h 325"/>
                  <a:gd name="T14" fmla="*/ 41583093 w 222"/>
                  <a:gd name="T15" fmla="*/ 206025508 h 325"/>
                  <a:gd name="T16" fmla="*/ 41583093 w 222"/>
                  <a:gd name="T17" fmla="*/ 206025508 h 325"/>
                  <a:gd name="T18" fmla="*/ 98916612 w 222"/>
                  <a:gd name="T19" fmla="*/ 206025508 h 3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22" h="325">
                    <a:moveTo>
                      <a:pt x="157" y="325"/>
                    </a:moveTo>
                    <a:lnTo>
                      <a:pt x="157" y="78"/>
                    </a:lnTo>
                    <a:lnTo>
                      <a:pt x="222" y="78"/>
                    </a:lnTo>
                    <a:lnTo>
                      <a:pt x="222" y="0"/>
                    </a:lnTo>
                    <a:lnTo>
                      <a:pt x="0" y="0"/>
                    </a:lnTo>
                    <a:lnTo>
                      <a:pt x="0" y="78"/>
                    </a:lnTo>
                    <a:lnTo>
                      <a:pt x="66" y="78"/>
                    </a:lnTo>
                    <a:lnTo>
                      <a:pt x="66" y="325"/>
                    </a:lnTo>
                    <a:lnTo>
                      <a:pt x="157" y="3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41" name="T1">
                <a:extLst>
                  <a:ext uri="{FF2B5EF4-FFF2-40B4-BE49-F238E27FC236}">
                    <a16:creationId xmlns:a16="http://schemas.microsoft.com/office/drawing/2014/main" id="{34BC6C20-6D5A-C0B1-2545-59608A996DC4}"/>
                  </a:ext>
                </a:extLst>
              </p:cNvPr>
              <p:cNvSpPr>
                <a:spLocks/>
              </p:cNvSpPr>
              <p:nvPr userDrawn="1"/>
            </p:nvSpPr>
            <p:spPr bwMode="auto">
              <a:xfrm>
                <a:off x="799033" y="168151"/>
                <a:ext cx="193675" cy="258763"/>
              </a:xfrm>
              <a:custGeom>
                <a:avLst/>
                <a:gdLst>
                  <a:gd name="T0" fmla="*/ 55443438 w 244"/>
                  <a:gd name="T1" fmla="*/ 49446026 h 325"/>
                  <a:gd name="T2" fmla="*/ 55443438 w 244"/>
                  <a:gd name="T3" fmla="*/ 206025508 h 325"/>
                  <a:gd name="T4" fmla="*/ 112776794 w 244"/>
                  <a:gd name="T5" fmla="*/ 206025508 h 325"/>
                  <a:gd name="T6" fmla="*/ 112776794 w 244"/>
                  <a:gd name="T7" fmla="*/ 49446026 h 325"/>
                  <a:gd name="T8" fmla="*/ 153729531 w 244"/>
                  <a:gd name="T9" fmla="*/ 49446026 h 325"/>
                  <a:gd name="T10" fmla="*/ 153729531 w 244"/>
                  <a:gd name="T11" fmla="*/ 0 h 325"/>
                  <a:gd name="T12" fmla="*/ 15751175 w 244"/>
                  <a:gd name="T13" fmla="*/ 0 h 325"/>
                  <a:gd name="T14" fmla="*/ 0 w 244"/>
                  <a:gd name="T15" fmla="*/ 49446026 h 325"/>
                  <a:gd name="T16" fmla="*/ 55443438 w 244"/>
                  <a:gd name="T17" fmla="*/ 49446026 h 3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44" h="325">
                    <a:moveTo>
                      <a:pt x="88" y="78"/>
                    </a:moveTo>
                    <a:lnTo>
                      <a:pt x="88" y="325"/>
                    </a:lnTo>
                    <a:lnTo>
                      <a:pt x="179" y="325"/>
                    </a:lnTo>
                    <a:lnTo>
                      <a:pt x="179" y="78"/>
                    </a:lnTo>
                    <a:lnTo>
                      <a:pt x="244" y="78"/>
                    </a:lnTo>
                    <a:lnTo>
                      <a:pt x="244" y="0"/>
                    </a:lnTo>
                    <a:lnTo>
                      <a:pt x="25" y="0"/>
                    </a:lnTo>
                    <a:lnTo>
                      <a:pt x="0" y="78"/>
                    </a:lnTo>
                    <a:lnTo>
                      <a:pt x="88"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42" name="V">
                <a:extLst>
                  <a:ext uri="{FF2B5EF4-FFF2-40B4-BE49-F238E27FC236}">
                    <a16:creationId xmlns:a16="http://schemas.microsoft.com/office/drawing/2014/main" id="{0D209DF2-0155-0BA7-C3D0-8DEC1EF81893}"/>
                  </a:ext>
                </a:extLst>
              </p:cNvPr>
              <p:cNvSpPr>
                <a:spLocks/>
              </p:cNvSpPr>
              <p:nvPr userDrawn="1"/>
            </p:nvSpPr>
            <p:spPr bwMode="auto">
              <a:xfrm>
                <a:off x="567258" y="168151"/>
                <a:ext cx="230188" cy="258763"/>
              </a:xfrm>
              <a:custGeom>
                <a:avLst/>
                <a:gdLst>
                  <a:gd name="T0" fmla="*/ 116731600 w 289"/>
                  <a:gd name="T1" fmla="*/ 206025508 h 325"/>
                  <a:gd name="T2" fmla="*/ 183344344 w 289"/>
                  <a:gd name="T3" fmla="*/ 0 h 325"/>
                  <a:gd name="T4" fmla="*/ 124978544 w 289"/>
                  <a:gd name="T5" fmla="*/ 0 h 325"/>
                  <a:gd name="T6" fmla="*/ 90720356 w 289"/>
                  <a:gd name="T7" fmla="*/ 105865119 h 325"/>
                  <a:gd name="T8" fmla="*/ 85645069 w 289"/>
                  <a:gd name="T9" fmla="*/ 121079587 h 325"/>
                  <a:gd name="T10" fmla="*/ 85645069 w 289"/>
                  <a:gd name="T11" fmla="*/ 121079587 h 325"/>
                  <a:gd name="T12" fmla="*/ 85645069 w 289"/>
                  <a:gd name="T13" fmla="*/ 121079587 h 325"/>
                  <a:gd name="T14" fmla="*/ 85645069 w 289"/>
                  <a:gd name="T15" fmla="*/ 121079587 h 325"/>
                  <a:gd name="T16" fmla="*/ 85645069 w 289"/>
                  <a:gd name="T17" fmla="*/ 121079587 h 325"/>
                  <a:gd name="T18" fmla="*/ 85645069 w 289"/>
                  <a:gd name="T19" fmla="*/ 121079587 h 325"/>
                  <a:gd name="T20" fmla="*/ 85645069 w 289"/>
                  <a:gd name="T21" fmla="*/ 121079587 h 325"/>
                  <a:gd name="T22" fmla="*/ 81204592 w 289"/>
                  <a:gd name="T23" fmla="*/ 105865119 h 325"/>
                  <a:gd name="T24" fmla="*/ 57730991 w 289"/>
                  <a:gd name="T25" fmla="*/ 38035772 h 325"/>
                  <a:gd name="T26" fmla="*/ 0 w 289"/>
                  <a:gd name="T27" fmla="*/ 38035772 h 325"/>
                  <a:gd name="T28" fmla="*/ 57096978 w 289"/>
                  <a:gd name="T29" fmla="*/ 206025508 h 325"/>
                  <a:gd name="T30" fmla="*/ 116731600 w 289"/>
                  <a:gd name="T31" fmla="*/ 206025508 h 32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89" h="325">
                    <a:moveTo>
                      <a:pt x="184" y="325"/>
                    </a:moveTo>
                    <a:lnTo>
                      <a:pt x="289" y="0"/>
                    </a:lnTo>
                    <a:lnTo>
                      <a:pt x="197" y="0"/>
                    </a:lnTo>
                    <a:lnTo>
                      <a:pt x="143" y="167"/>
                    </a:lnTo>
                    <a:lnTo>
                      <a:pt x="135" y="191"/>
                    </a:lnTo>
                    <a:lnTo>
                      <a:pt x="128" y="167"/>
                    </a:lnTo>
                    <a:lnTo>
                      <a:pt x="91" y="60"/>
                    </a:lnTo>
                    <a:lnTo>
                      <a:pt x="0" y="60"/>
                    </a:lnTo>
                    <a:lnTo>
                      <a:pt x="90" y="325"/>
                    </a:lnTo>
                    <a:lnTo>
                      <a:pt x="184" y="3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grpSp>
          <p:nvGrpSpPr>
            <p:cNvPr id="9" name="_VTT_logo_102019_04_white_on_dark_grey" hidden="1">
              <a:extLst>
                <a:ext uri="{FF2B5EF4-FFF2-40B4-BE49-F238E27FC236}">
                  <a16:creationId xmlns:a16="http://schemas.microsoft.com/office/drawing/2014/main" id="{C3144D2F-CB1A-FF40-3D90-45240C20E478}"/>
                </a:ext>
              </a:extLst>
            </p:cNvPr>
            <p:cNvGrpSpPr>
              <a:grpSpLocks/>
            </p:cNvGrpSpPr>
            <p:nvPr userDrawn="1"/>
          </p:nvGrpSpPr>
          <p:grpSpPr bwMode="auto">
            <a:xfrm>
              <a:off x="7909204" y="1770762"/>
              <a:ext cx="971550" cy="655638"/>
              <a:chOff x="379933" y="-15999"/>
              <a:chExt cx="971550" cy="655638"/>
            </a:xfrm>
          </p:grpSpPr>
          <p:sp>
            <p:nvSpPr>
              <p:cNvPr id="35" name="Box">
                <a:extLst>
                  <a:ext uri="{FF2B5EF4-FFF2-40B4-BE49-F238E27FC236}">
                    <a16:creationId xmlns:a16="http://schemas.microsoft.com/office/drawing/2014/main" id="{7516EF84-4053-886E-CB40-8CDD35BEAAC4}"/>
                  </a:ext>
                </a:extLst>
              </p:cNvPr>
              <p:cNvSpPr>
                <a:spLocks noChangeArrowheads="1"/>
              </p:cNvSpPr>
              <p:nvPr userDrawn="1"/>
            </p:nvSpPr>
            <p:spPr bwMode="auto">
              <a:xfrm>
                <a:off x="379933" y="-15999"/>
                <a:ext cx="971550" cy="655638"/>
              </a:xfrm>
              <a:prstGeom prst="rect">
                <a:avLst/>
              </a:prstGeom>
              <a:solidFill>
                <a:srgbClr val="AFAFAF"/>
              </a:solidFill>
              <a:ln>
                <a:noFill/>
              </a:ln>
            </p:spPr>
            <p:txBody>
              <a:bodyPr/>
              <a:lstStyle>
                <a:lvl1pPr defTabSz="455613">
                  <a:defRPr b="1">
                    <a:solidFill>
                      <a:schemeClr val="tx1"/>
                    </a:solidFill>
                    <a:latin typeface="Verdana" panose="020B0604030504040204" pitchFamily="34" charset="0"/>
                  </a:defRPr>
                </a:lvl1pPr>
                <a:lvl2pPr marL="742950" indent="-285750" defTabSz="455613">
                  <a:defRPr b="1">
                    <a:solidFill>
                      <a:schemeClr val="tx1"/>
                    </a:solidFill>
                    <a:latin typeface="Verdana" panose="020B0604030504040204" pitchFamily="34" charset="0"/>
                  </a:defRPr>
                </a:lvl2pPr>
                <a:lvl3pPr marL="1143000" indent="-228600" defTabSz="455613">
                  <a:defRPr b="1">
                    <a:solidFill>
                      <a:schemeClr val="tx1"/>
                    </a:solidFill>
                    <a:latin typeface="Verdana" panose="020B0604030504040204" pitchFamily="34" charset="0"/>
                  </a:defRPr>
                </a:lvl3pPr>
                <a:lvl4pPr marL="1600200" indent="-228600" defTabSz="455613">
                  <a:defRPr b="1">
                    <a:solidFill>
                      <a:schemeClr val="tx1"/>
                    </a:solidFill>
                    <a:latin typeface="Verdana" panose="020B0604030504040204" pitchFamily="34" charset="0"/>
                  </a:defRPr>
                </a:lvl4pPr>
                <a:lvl5pPr marL="2057400" indent="-228600" defTabSz="455613">
                  <a:defRPr b="1">
                    <a:solidFill>
                      <a:schemeClr val="tx1"/>
                    </a:solidFill>
                    <a:latin typeface="Verdana" panose="020B0604030504040204" pitchFamily="34" charset="0"/>
                  </a:defRPr>
                </a:lvl5pPr>
                <a:lvl6pPr marL="2514600" indent="-228600" defTabSz="455613" eaLnBrk="0" fontAlgn="base" hangingPunct="0">
                  <a:spcBef>
                    <a:spcPct val="0"/>
                  </a:spcBef>
                  <a:spcAft>
                    <a:spcPct val="0"/>
                  </a:spcAft>
                  <a:defRPr b="1">
                    <a:solidFill>
                      <a:schemeClr val="tx1"/>
                    </a:solidFill>
                    <a:latin typeface="Verdana" panose="020B0604030504040204" pitchFamily="34" charset="0"/>
                  </a:defRPr>
                </a:lvl6pPr>
                <a:lvl7pPr marL="2971800" indent="-228600" defTabSz="455613" eaLnBrk="0" fontAlgn="base" hangingPunct="0">
                  <a:spcBef>
                    <a:spcPct val="0"/>
                  </a:spcBef>
                  <a:spcAft>
                    <a:spcPct val="0"/>
                  </a:spcAft>
                  <a:defRPr b="1">
                    <a:solidFill>
                      <a:schemeClr val="tx1"/>
                    </a:solidFill>
                    <a:latin typeface="Verdana" panose="020B0604030504040204" pitchFamily="34" charset="0"/>
                  </a:defRPr>
                </a:lvl7pPr>
                <a:lvl8pPr marL="3429000" indent="-228600" defTabSz="455613" eaLnBrk="0" fontAlgn="base" hangingPunct="0">
                  <a:spcBef>
                    <a:spcPct val="0"/>
                  </a:spcBef>
                  <a:spcAft>
                    <a:spcPct val="0"/>
                  </a:spcAft>
                  <a:defRPr b="1">
                    <a:solidFill>
                      <a:schemeClr val="tx1"/>
                    </a:solidFill>
                    <a:latin typeface="Verdana" panose="020B0604030504040204" pitchFamily="34" charset="0"/>
                  </a:defRPr>
                </a:lvl8pPr>
                <a:lvl9pPr marL="3886200" indent="-228600" defTabSz="455613" eaLnBrk="0" fontAlgn="base" hangingPunct="0">
                  <a:spcBef>
                    <a:spcPct val="0"/>
                  </a:spcBef>
                  <a:spcAft>
                    <a:spcPct val="0"/>
                  </a:spcAft>
                  <a:defRPr b="1">
                    <a:solidFill>
                      <a:schemeClr val="tx1"/>
                    </a:solidFill>
                    <a:latin typeface="Verdana" panose="020B0604030504040204" pitchFamily="34" charset="0"/>
                  </a:defRPr>
                </a:lvl9pPr>
              </a:lstStyle>
              <a:p>
                <a:pPr eaLnBrk="1" hangingPunct="1">
                  <a:defRPr/>
                </a:pPr>
                <a:endParaRPr lang="en-GB" altLang="de-DE" b="0">
                  <a:solidFill>
                    <a:srgbClr val="000000"/>
                  </a:solidFill>
                  <a:latin typeface="Arial" panose="020B0604020202020204" pitchFamily="34" charset="0"/>
                </a:endParaRPr>
              </a:p>
            </p:txBody>
          </p:sp>
          <p:sp>
            <p:nvSpPr>
              <p:cNvPr id="36" name="T2">
                <a:extLst>
                  <a:ext uri="{FF2B5EF4-FFF2-40B4-BE49-F238E27FC236}">
                    <a16:creationId xmlns:a16="http://schemas.microsoft.com/office/drawing/2014/main" id="{3DB65EEA-153C-C254-2EB3-3BF4D82FB3CC}"/>
                  </a:ext>
                </a:extLst>
              </p:cNvPr>
              <p:cNvSpPr>
                <a:spLocks/>
              </p:cNvSpPr>
              <p:nvPr userDrawn="1"/>
            </p:nvSpPr>
            <p:spPr bwMode="auto">
              <a:xfrm>
                <a:off x="1011758" y="168151"/>
                <a:ext cx="176213" cy="258763"/>
              </a:xfrm>
              <a:custGeom>
                <a:avLst/>
                <a:gdLst>
                  <a:gd name="T0" fmla="*/ 98916612 w 222"/>
                  <a:gd name="T1" fmla="*/ 206025508 h 325"/>
                  <a:gd name="T2" fmla="*/ 98916612 w 222"/>
                  <a:gd name="T3" fmla="*/ 49446026 h 325"/>
                  <a:gd name="T4" fmla="*/ 139869466 w 222"/>
                  <a:gd name="T5" fmla="*/ 49446026 h 325"/>
                  <a:gd name="T6" fmla="*/ 139869466 w 222"/>
                  <a:gd name="T7" fmla="*/ 0 h 325"/>
                  <a:gd name="T8" fmla="*/ 0 w 222"/>
                  <a:gd name="T9" fmla="*/ 0 h 325"/>
                  <a:gd name="T10" fmla="*/ 0 w 222"/>
                  <a:gd name="T11" fmla="*/ 49446026 h 325"/>
                  <a:gd name="T12" fmla="*/ 41583093 w 222"/>
                  <a:gd name="T13" fmla="*/ 49446026 h 325"/>
                  <a:gd name="T14" fmla="*/ 41583093 w 222"/>
                  <a:gd name="T15" fmla="*/ 206025508 h 325"/>
                  <a:gd name="T16" fmla="*/ 41583093 w 222"/>
                  <a:gd name="T17" fmla="*/ 206025508 h 325"/>
                  <a:gd name="T18" fmla="*/ 98916612 w 222"/>
                  <a:gd name="T19" fmla="*/ 206025508 h 3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22" h="325">
                    <a:moveTo>
                      <a:pt x="157" y="325"/>
                    </a:moveTo>
                    <a:lnTo>
                      <a:pt x="157" y="78"/>
                    </a:lnTo>
                    <a:lnTo>
                      <a:pt x="222" y="78"/>
                    </a:lnTo>
                    <a:lnTo>
                      <a:pt x="222" y="0"/>
                    </a:lnTo>
                    <a:lnTo>
                      <a:pt x="0" y="0"/>
                    </a:lnTo>
                    <a:lnTo>
                      <a:pt x="0" y="78"/>
                    </a:lnTo>
                    <a:lnTo>
                      <a:pt x="66" y="78"/>
                    </a:lnTo>
                    <a:lnTo>
                      <a:pt x="66" y="325"/>
                    </a:lnTo>
                    <a:lnTo>
                      <a:pt x="157" y="3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37" name="T1">
                <a:extLst>
                  <a:ext uri="{FF2B5EF4-FFF2-40B4-BE49-F238E27FC236}">
                    <a16:creationId xmlns:a16="http://schemas.microsoft.com/office/drawing/2014/main" id="{DE4AD146-898C-CC1B-FACD-5FDE5D27DE22}"/>
                  </a:ext>
                </a:extLst>
              </p:cNvPr>
              <p:cNvSpPr>
                <a:spLocks/>
              </p:cNvSpPr>
              <p:nvPr userDrawn="1"/>
            </p:nvSpPr>
            <p:spPr bwMode="auto">
              <a:xfrm>
                <a:off x="799033" y="168151"/>
                <a:ext cx="193675" cy="258763"/>
              </a:xfrm>
              <a:custGeom>
                <a:avLst/>
                <a:gdLst>
                  <a:gd name="T0" fmla="*/ 55443438 w 244"/>
                  <a:gd name="T1" fmla="*/ 49446026 h 325"/>
                  <a:gd name="T2" fmla="*/ 55443438 w 244"/>
                  <a:gd name="T3" fmla="*/ 206025508 h 325"/>
                  <a:gd name="T4" fmla="*/ 112776794 w 244"/>
                  <a:gd name="T5" fmla="*/ 206025508 h 325"/>
                  <a:gd name="T6" fmla="*/ 112776794 w 244"/>
                  <a:gd name="T7" fmla="*/ 49446026 h 325"/>
                  <a:gd name="T8" fmla="*/ 153729531 w 244"/>
                  <a:gd name="T9" fmla="*/ 49446026 h 325"/>
                  <a:gd name="T10" fmla="*/ 153729531 w 244"/>
                  <a:gd name="T11" fmla="*/ 0 h 325"/>
                  <a:gd name="T12" fmla="*/ 15751175 w 244"/>
                  <a:gd name="T13" fmla="*/ 0 h 325"/>
                  <a:gd name="T14" fmla="*/ 0 w 244"/>
                  <a:gd name="T15" fmla="*/ 49446026 h 325"/>
                  <a:gd name="T16" fmla="*/ 55443438 w 244"/>
                  <a:gd name="T17" fmla="*/ 49446026 h 3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44" h="325">
                    <a:moveTo>
                      <a:pt x="88" y="78"/>
                    </a:moveTo>
                    <a:lnTo>
                      <a:pt x="88" y="325"/>
                    </a:lnTo>
                    <a:lnTo>
                      <a:pt x="179" y="325"/>
                    </a:lnTo>
                    <a:lnTo>
                      <a:pt x="179" y="78"/>
                    </a:lnTo>
                    <a:lnTo>
                      <a:pt x="244" y="78"/>
                    </a:lnTo>
                    <a:lnTo>
                      <a:pt x="244" y="0"/>
                    </a:lnTo>
                    <a:lnTo>
                      <a:pt x="25" y="0"/>
                    </a:lnTo>
                    <a:lnTo>
                      <a:pt x="0" y="78"/>
                    </a:lnTo>
                    <a:lnTo>
                      <a:pt x="88"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38" name="V">
                <a:extLst>
                  <a:ext uri="{FF2B5EF4-FFF2-40B4-BE49-F238E27FC236}">
                    <a16:creationId xmlns:a16="http://schemas.microsoft.com/office/drawing/2014/main" id="{92D895EB-3A7D-0C90-ABC0-28FF8BCB6E29}"/>
                  </a:ext>
                </a:extLst>
              </p:cNvPr>
              <p:cNvSpPr>
                <a:spLocks/>
              </p:cNvSpPr>
              <p:nvPr userDrawn="1"/>
            </p:nvSpPr>
            <p:spPr bwMode="auto">
              <a:xfrm>
                <a:off x="567258" y="168151"/>
                <a:ext cx="230188" cy="258763"/>
              </a:xfrm>
              <a:custGeom>
                <a:avLst/>
                <a:gdLst>
                  <a:gd name="T0" fmla="*/ 116731600 w 289"/>
                  <a:gd name="T1" fmla="*/ 206025508 h 325"/>
                  <a:gd name="T2" fmla="*/ 183344344 w 289"/>
                  <a:gd name="T3" fmla="*/ 0 h 325"/>
                  <a:gd name="T4" fmla="*/ 124978544 w 289"/>
                  <a:gd name="T5" fmla="*/ 0 h 325"/>
                  <a:gd name="T6" fmla="*/ 90720356 w 289"/>
                  <a:gd name="T7" fmla="*/ 105865119 h 325"/>
                  <a:gd name="T8" fmla="*/ 85645069 w 289"/>
                  <a:gd name="T9" fmla="*/ 121079587 h 325"/>
                  <a:gd name="T10" fmla="*/ 85645069 w 289"/>
                  <a:gd name="T11" fmla="*/ 121079587 h 325"/>
                  <a:gd name="T12" fmla="*/ 85645069 w 289"/>
                  <a:gd name="T13" fmla="*/ 121079587 h 325"/>
                  <a:gd name="T14" fmla="*/ 85645069 w 289"/>
                  <a:gd name="T15" fmla="*/ 121079587 h 325"/>
                  <a:gd name="T16" fmla="*/ 85645069 w 289"/>
                  <a:gd name="T17" fmla="*/ 121079587 h 325"/>
                  <a:gd name="T18" fmla="*/ 85645069 w 289"/>
                  <a:gd name="T19" fmla="*/ 121079587 h 325"/>
                  <a:gd name="T20" fmla="*/ 85645069 w 289"/>
                  <a:gd name="T21" fmla="*/ 121079587 h 325"/>
                  <a:gd name="T22" fmla="*/ 81204592 w 289"/>
                  <a:gd name="T23" fmla="*/ 105865119 h 325"/>
                  <a:gd name="T24" fmla="*/ 57730991 w 289"/>
                  <a:gd name="T25" fmla="*/ 38035772 h 325"/>
                  <a:gd name="T26" fmla="*/ 0 w 289"/>
                  <a:gd name="T27" fmla="*/ 38035772 h 325"/>
                  <a:gd name="T28" fmla="*/ 57096978 w 289"/>
                  <a:gd name="T29" fmla="*/ 206025508 h 325"/>
                  <a:gd name="T30" fmla="*/ 116731600 w 289"/>
                  <a:gd name="T31" fmla="*/ 206025508 h 32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89" h="325">
                    <a:moveTo>
                      <a:pt x="184" y="325"/>
                    </a:moveTo>
                    <a:lnTo>
                      <a:pt x="289" y="0"/>
                    </a:lnTo>
                    <a:lnTo>
                      <a:pt x="197" y="0"/>
                    </a:lnTo>
                    <a:lnTo>
                      <a:pt x="143" y="167"/>
                    </a:lnTo>
                    <a:lnTo>
                      <a:pt x="135" y="191"/>
                    </a:lnTo>
                    <a:lnTo>
                      <a:pt x="128" y="167"/>
                    </a:lnTo>
                    <a:lnTo>
                      <a:pt x="91" y="60"/>
                    </a:lnTo>
                    <a:lnTo>
                      <a:pt x="0" y="60"/>
                    </a:lnTo>
                    <a:lnTo>
                      <a:pt x="90" y="325"/>
                    </a:lnTo>
                    <a:lnTo>
                      <a:pt x="184" y="3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grpSp>
          <p:nvGrpSpPr>
            <p:cNvPr id="10" name="_VTT_logo_102019_05_dark_grey_on_white" hidden="1">
              <a:extLst>
                <a:ext uri="{FF2B5EF4-FFF2-40B4-BE49-F238E27FC236}">
                  <a16:creationId xmlns:a16="http://schemas.microsoft.com/office/drawing/2014/main" id="{8037A489-C8CE-6CE8-2797-F4DDE62C9738}"/>
                </a:ext>
              </a:extLst>
            </p:cNvPr>
            <p:cNvGrpSpPr>
              <a:grpSpLocks/>
            </p:cNvGrpSpPr>
            <p:nvPr userDrawn="1"/>
          </p:nvGrpSpPr>
          <p:grpSpPr bwMode="auto">
            <a:xfrm>
              <a:off x="7909204" y="1770762"/>
              <a:ext cx="971550" cy="655638"/>
              <a:chOff x="379933" y="-15999"/>
              <a:chExt cx="971550" cy="655638"/>
            </a:xfrm>
          </p:grpSpPr>
          <p:sp>
            <p:nvSpPr>
              <p:cNvPr id="31" name="Box">
                <a:extLst>
                  <a:ext uri="{FF2B5EF4-FFF2-40B4-BE49-F238E27FC236}">
                    <a16:creationId xmlns:a16="http://schemas.microsoft.com/office/drawing/2014/main" id="{0C428ABB-138E-816E-CDD4-9AA474C1771B}"/>
                  </a:ext>
                </a:extLst>
              </p:cNvPr>
              <p:cNvSpPr>
                <a:spLocks noChangeArrowheads="1"/>
              </p:cNvSpPr>
              <p:nvPr userDrawn="1"/>
            </p:nvSpPr>
            <p:spPr bwMode="auto">
              <a:xfrm>
                <a:off x="379933" y="-15999"/>
                <a:ext cx="971550" cy="655638"/>
              </a:xfrm>
              <a:prstGeom prst="rect">
                <a:avLst/>
              </a:prstGeom>
              <a:solidFill>
                <a:srgbClr val="FFFFFF"/>
              </a:solidFill>
              <a:ln>
                <a:noFill/>
              </a:ln>
            </p:spPr>
            <p:txBody>
              <a:bodyPr/>
              <a:lstStyle>
                <a:lvl1pPr defTabSz="455613">
                  <a:defRPr b="1">
                    <a:solidFill>
                      <a:schemeClr val="tx1"/>
                    </a:solidFill>
                    <a:latin typeface="Verdana" panose="020B0604030504040204" pitchFamily="34" charset="0"/>
                  </a:defRPr>
                </a:lvl1pPr>
                <a:lvl2pPr marL="742950" indent="-285750" defTabSz="455613">
                  <a:defRPr b="1">
                    <a:solidFill>
                      <a:schemeClr val="tx1"/>
                    </a:solidFill>
                    <a:latin typeface="Verdana" panose="020B0604030504040204" pitchFamily="34" charset="0"/>
                  </a:defRPr>
                </a:lvl2pPr>
                <a:lvl3pPr marL="1143000" indent="-228600" defTabSz="455613">
                  <a:defRPr b="1">
                    <a:solidFill>
                      <a:schemeClr val="tx1"/>
                    </a:solidFill>
                    <a:latin typeface="Verdana" panose="020B0604030504040204" pitchFamily="34" charset="0"/>
                  </a:defRPr>
                </a:lvl3pPr>
                <a:lvl4pPr marL="1600200" indent="-228600" defTabSz="455613">
                  <a:defRPr b="1">
                    <a:solidFill>
                      <a:schemeClr val="tx1"/>
                    </a:solidFill>
                    <a:latin typeface="Verdana" panose="020B0604030504040204" pitchFamily="34" charset="0"/>
                  </a:defRPr>
                </a:lvl4pPr>
                <a:lvl5pPr marL="2057400" indent="-228600" defTabSz="455613">
                  <a:defRPr b="1">
                    <a:solidFill>
                      <a:schemeClr val="tx1"/>
                    </a:solidFill>
                    <a:latin typeface="Verdana" panose="020B0604030504040204" pitchFamily="34" charset="0"/>
                  </a:defRPr>
                </a:lvl5pPr>
                <a:lvl6pPr marL="2514600" indent="-228600" defTabSz="455613" eaLnBrk="0" fontAlgn="base" hangingPunct="0">
                  <a:spcBef>
                    <a:spcPct val="0"/>
                  </a:spcBef>
                  <a:spcAft>
                    <a:spcPct val="0"/>
                  </a:spcAft>
                  <a:defRPr b="1">
                    <a:solidFill>
                      <a:schemeClr val="tx1"/>
                    </a:solidFill>
                    <a:latin typeface="Verdana" panose="020B0604030504040204" pitchFamily="34" charset="0"/>
                  </a:defRPr>
                </a:lvl6pPr>
                <a:lvl7pPr marL="2971800" indent="-228600" defTabSz="455613" eaLnBrk="0" fontAlgn="base" hangingPunct="0">
                  <a:spcBef>
                    <a:spcPct val="0"/>
                  </a:spcBef>
                  <a:spcAft>
                    <a:spcPct val="0"/>
                  </a:spcAft>
                  <a:defRPr b="1">
                    <a:solidFill>
                      <a:schemeClr val="tx1"/>
                    </a:solidFill>
                    <a:latin typeface="Verdana" panose="020B0604030504040204" pitchFamily="34" charset="0"/>
                  </a:defRPr>
                </a:lvl7pPr>
                <a:lvl8pPr marL="3429000" indent="-228600" defTabSz="455613" eaLnBrk="0" fontAlgn="base" hangingPunct="0">
                  <a:spcBef>
                    <a:spcPct val="0"/>
                  </a:spcBef>
                  <a:spcAft>
                    <a:spcPct val="0"/>
                  </a:spcAft>
                  <a:defRPr b="1">
                    <a:solidFill>
                      <a:schemeClr val="tx1"/>
                    </a:solidFill>
                    <a:latin typeface="Verdana" panose="020B0604030504040204" pitchFamily="34" charset="0"/>
                  </a:defRPr>
                </a:lvl8pPr>
                <a:lvl9pPr marL="3886200" indent="-228600" defTabSz="455613" eaLnBrk="0" fontAlgn="base" hangingPunct="0">
                  <a:spcBef>
                    <a:spcPct val="0"/>
                  </a:spcBef>
                  <a:spcAft>
                    <a:spcPct val="0"/>
                  </a:spcAft>
                  <a:defRPr b="1">
                    <a:solidFill>
                      <a:schemeClr val="tx1"/>
                    </a:solidFill>
                    <a:latin typeface="Verdana" panose="020B0604030504040204" pitchFamily="34" charset="0"/>
                  </a:defRPr>
                </a:lvl9pPr>
              </a:lstStyle>
              <a:p>
                <a:pPr eaLnBrk="1" hangingPunct="1">
                  <a:defRPr/>
                </a:pPr>
                <a:endParaRPr lang="en-GB" altLang="de-DE" b="0">
                  <a:solidFill>
                    <a:srgbClr val="000000"/>
                  </a:solidFill>
                  <a:latin typeface="Arial" panose="020B0604020202020204" pitchFamily="34" charset="0"/>
                </a:endParaRPr>
              </a:p>
            </p:txBody>
          </p:sp>
          <p:sp>
            <p:nvSpPr>
              <p:cNvPr id="32" name="T2">
                <a:extLst>
                  <a:ext uri="{FF2B5EF4-FFF2-40B4-BE49-F238E27FC236}">
                    <a16:creationId xmlns:a16="http://schemas.microsoft.com/office/drawing/2014/main" id="{360C948E-33C6-FF82-FBDA-9628D3118376}"/>
                  </a:ext>
                </a:extLst>
              </p:cNvPr>
              <p:cNvSpPr>
                <a:spLocks/>
              </p:cNvSpPr>
              <p:nvPr userDrawn="1"/>
            </p:nvSpPr>
            <p:spPr bwMode="auto">
              <a:xfrm>
                <a:off x="1011758" y="168151"/>
                <a:ext cx="176213" cy="258763"/>
              </a:xfrm>
              <a:custGeom>
                <a:avLst/>
                <a:gdLst>
                  <a:gd name="T0" fmla="*/ 98916612 w 222"/>
                  <a:gd name="T1" fmla="*/ 206025508 h 325"/>
                  <a:gd name="T2" fmla="*/ 98916612 w 222"/>
                  <a:gd name="T3" fmla="*/ 49446026 h 325"/>
                  <a:gd name="T4" fmla="*/ 139869466 w 222"/>
                  <a:gd name="T5" fmla="*/ 49446026 h 325"/>
                  <a:gd name="T6" fmla="*/ 139869466 w 222"/>
                  <a:gd name="T7" fmla="*/ 0 h 325"/>
                  <a:gd name="T8" fmla="*/ 0 w 222"/>
                  <a:gd name="T9" fmla="*/ 0 h 325"/>
                  <a:gd name="T10" fmla="*/ 0 w 222"/>
                  <a:gd name="T11" fmla="*/ 49446026 h 325"/>
                  <a:gd name="T12" fmla="*/ 41583093 w 222"/>
                  <a:gd name="T13" fmla="*/ 49446026 h 325"/>
                  <a:gd name="T14" fmla="*/ 41583093 w 222"/>
                  <a:gd name="T15" fmla="*/ 206025508 h 325"/>
                  <a:gd name="T16" fmla="*/ 41583093 w 222"/>
                  <a:gd name="T17" fmla="*/ 206025508 h 325"/>
                  <a:gd name="T18" fmla="*/ 98916612 w 222"/>
                  <a:gd name="T19" fmla="*/ 206025508 h 3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22" h="325">
                    <a:moveTo>
                      <a:pt x="157" y="325"/>
                    </a:moveTo>
                    <a:lnTo>
                      <a:pt x="157" y="78"/>
                    </a:lnTo>
                    <a:lnTo>
                      <a:pt x="222" y="78"/>
                    </a:lnTo>
                    <a:lnTo>
                      <a:pt x="222" y="0"/>
                    </a:lnTo>
                    <a:lnTo>
                      <a:pt x="0" y="0"/>
                    </a:lnTo>
                    <a:lnTo>
                      <a:pt x="0" y="78"/>
                    </a:lnTo>
                    <a:lnTo>
                      <a:pt x="66" y="78"/>
                    </a:lnTo>
                    <a:lnTo>
                      <a:pt x="66" y="325"/>
                    </a:lnTo>
                    <a:lnTo>
                      <a:pt x="157" y="325"/>
                    </a:lnTo>
                    <a:close/>
                  </a:path>
                </a:pathLst>
              </a:custGeom>
              <a:solidFill>
                <a:srgbClr val="AFAFA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33" name="T1">
                <a:extLst>
                  <a:ext uri="{FF2B5EF4-FFF2-40B4-BE49-F238E27FC236}">
                    <a16:creationId xmlns:a16="http://schemas.microsoft.com/office/drawing/2014/main" id="{CAC84FB4-293B-DDA0-BE3C-81D92390E683}"/>
                  </a:ext>
                </a:extLst>
              </p:cNvPr>
              <p:cNvSpPr>
                <a:spLocks/>
              </p:cNvSpPr>
              <p:nvPr userDrawn="1"/>
            </p:nvSpPr>
            <p:spPr bwMode="auto">
              <a:xfrm>
                <a:off x="799033" y="168151"/>
                <a:ext cx="193675" cy="258763"/>
              </a:xfrm>
              <a:custGeom>
                <a:avLst/>
                <a:gdLst>
                  <a:gd name="T0" fmla="*/ 55443438 w 244"/>
                  <a:gd name="T1" fmla="*/ 49446026 h 325"/>
                  <a:gd name="T2" fmla="*/ 55443438 w 244"/>
                  <a:gd name="T3" fmla="*/ 206025508 h 325"/>
                  <a:gd name="T4" fmla="*/ 112776794 w 244"/>
                  <a:gd name="T5" fmla="*/ 206025508 h 325"/>
                  <a:gd name="T6" fmla="*/ 112776794 w 244"/>
                  <a:gd name="T7" fmla="*/ 49446026 h 325"/>
                  <a:gd name="T8" fmla="*/ 153729531 w 244"/>
                  <a:gd name="T9" fmla="*/ 49446026 h 325"/>
                  <a:gd name="T10" fmla="*/ 153729531 w 244"/>
                  <a:gd name="T11" fmla="*/ 0 h 325"/>
                  <a:gd name="T12" fmla="*/ 15751175 w 244"/>
                  <a:gd name="T13" fmla="*/ 0 h 325"/>
                  <a:gd name="T14" fmla="*/ 0 w 244"/>
                  <a:gd name="T15" fmla="*/ 49446026 h 325"/>
                  <a:gd name="T16" fmla="*/ 55443438 w 244"/>
                  <a:gd name="T17" fmla="*/ 49446026 h 3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44" h="325">
                    <a:moveTo>
                      <a:pt x="88" y="78"/>
                    </a:moveTo>
                    <a:lnTo>
                      <a:pt x="88" y="325"/>
                    </a:lnTo>
                    <a:lnTo>
                      <a:pt x="179" y="325"/>
                    </a:lnTo>
                    <a:lnTo>
                      <a:pt x="179" y="78"/>
                    </a:lnTo>
                    <a:lnTo>
                      <a:pt x="244" y="78"/>
                    </a:lnTo>
                    <a:lnTo>
                      <a:pt x="244" y="0"/>
                    </a:lnTo>
                    <a:lnTo>
                      <a:pt x="25" y="0"/>
                    </a:lnTo>
                    <a:lnTo>
                      <a:pt x="0" y="78"/>
                    </a:lnTo>
                    <a:lnTo>
                      <a:pt x="88" y="78"/>
                    </a:lnTo>
                    <a:close/>
                  </a:path>
                </a:pathLst>
              </a:custGeom>
              <a:solidFill>
                <a:srgbClr val="AFAFA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34" name="V">
                <a:extLst>
                  <a:ext uri="{FF2B5EF4-FFF2-40B4-BE49-F238E27FC236}">
                    <a16:creationId xmlns:a16="http://schemas.microsoft.com/office/drawing/2014/main" id="{90BE899E-C3BF-16C2-7347-1F4887BDC303}"/>
                  </a:ext>
                </a:extLst>
              </p:cNvPr>
              <p:cNvSpPr>
                <a:spLocks/>
              </p:cNvSpPr>
              <p:nvPr userDrawn="1"/>
            </p:nvSpPr>
            <p:spPr bwMode="auto">
              <a:xfrm>
                <a:off x="567258" y="168151"/>
                <a:ext cx="230188" cy="258763"/>
              </a:xfrm>
              <a:custGeom>
                <a:avLst/>
                <a:gdLst>
                  <a:gd name="T0" fmla="*/ 116731600 w 289"/>
                  <a:gd name="T1" fmla="*/ 206025508 h 325"/>
                  <a:gd name="T2" fmla="*/ 183344344 w 289"/>
                  <a:gd name="T3" fmla="*/ 0 h 325"/>
                  <a:gd name="T4" fmla="*/ 124978544 w 289"/>
                  <a:gd name="T5" fmla="*/ 0 h 325"/>
                  <a:gd name="T6" fmla="*/ 90720356 w 289"/>
                  <a:gd name="T7" fmla="*/ 105865119 h 325"/>
                  <a:gd name="T8" fmla="*/ 85645069 w 289"/>
                  <a:gd name="T9" fmla="*/ 121079587 h 325"/>
                  <a:gd name="T10" fmla="*/ 85645069 w 289"/>
                  <a:gd name="T11" fmla="*/ 121079587 h 325"/>
                  <a:gd name="T12" fmla="*/ 85645069 w 289"/>
                  <a:gd name="T13" fmla="*/ 121079587 h 325"/>
                  <a:gd name="T14" fmla="*/ 85645069 w 289"/>
                  <a:gd name="T15" fmla="*/ 121079587 h 325"/>
                  <a:gd name="T16" fmla="*/ 85645069 w 289"/>
                  <a:gd name="T17" fmla="*/ 121079587 h 325"/>
                  <a:gd name="T18" fmla="*/ 85645069 w 289"/>
                  <a:gd name="T19" fmla="*/ 121079587 h 325"/>
                  <a:gd name="T20" fmla="*/ 85645069 w 289"/>
                  <a:gd name="T21" fmla="*/ 121079587 h 325"/>
                  <a:gd name="T22" fmla="*/ 81204592 w 289"/>
                  <a:gd name="T23" fmla="*/ 105865119 h 325"/>
                  <a:gd name="T24" fmla="*/ 57730991 w 289"/>
                  <a:gd name="T25" fmla="*/ 38035772 h 325"/>
                  <a:gd name="T26" fmla="*/ 0 w 289"/>
                  <a:gd name="T27" fmla="*/ 38035772 h 325"/>
                  <a:gd name="T28" fmla="*/ 57096978 w 289"/>
                  <a:gd name="T29" fmla="*/ 206025508 h 325"/>
                  <a:gd name="T30" fmla="*/ 116731600 w 289"/>
                  <a:gd name="T31" fmla="*/ 206025508 h 32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89" h="325">
                    <a:moveTo>
                      <a:pt x="184" y="325"/>
                    </a:moveTo>
                    <a:lnTo>
                      <a:pt x="289" y="0"/>
                    </a:lnTo>
                    <a:lnTo>
                      <a:pt x="197" y="0"/>
                    </a:lnTo>
                    <a:lnTo>
                      <a:pt x="143" y="167"/>
                    </a:lnTo>
                    <a:lnTo>
                      <a:pt x="135" y="191"/>
                    </a:lnTo>
                    <a:lnTo>
                      <a:pt x="128" y="167"/>
                    </a:lnTo>
                    <a:lnTo>
                      <a:pt x="91" y="60"/>
                    </a:lnTo>
                    <a:lnTo>
                      <a:pt x="0" y="60"/>
                    </a:lnTo>
                    <a:lnTo>
                      <a:pt x="90" y="325"/>
                    </a:lnTo>
                    <a:lnTo>
                      <a:pt x="184" y="325"/>
                    </a:lnTo>
                    <a:close/>
                  </a:path>
                </a:pathLst>
              </a:custGeom>
              <a:solidFill>
                <a:srgbClr val="AFAFA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grpSp>
          <p:nvGrpSpPr>
            <p:cNvPr id="11" name="_VTT_logo_102019_06_orange_blue_on_white" hidden="1">
              <a:extLst>
                <a:ext uri="{FF2B5EF4-FFF2-40B4-BE49-F238E27FC236}">
                  <a16:creationId xmlns:a16="http://schemas.microsoft.com/office/drawing/2014/main" id="{436D04A0-2BA9-467D-13A3-56BD4EC1BA5B}"/>
                </a:ext>
              </a:extLst>
            </p:cNvPr>
            <p:cNvGrpSpPr>
              <a:grpSpLocks/>
            </p:cNvGrpSpPr>
            <p:nvPr userDrawn="1"/>
          </p:nvGrpSpPr>
          <p:grpSpPr bwMode="auto">
            <a:xfrm>
              <a:off x="7909204" y="1770762"/>
              <a:ext cx="971550" cy="655638"/>
              <a:chOff x="379933" y="-15999"/>
              <a:chExt cx="971550" cy="655638"/>
            </a:xfrm>
          </p:grpSpPr>
          <p:sp>
            <p:nvSpPr>
              <p:cNvPr id="27" name="Box">
                <a:extLst>
                  <a:ext uri="{FF2B5EF4-FFF2-40B4-BE49-F238E27FC236}">
                    <a16:creationId xmlns:a16="http://schemas.microsoft.com/office/drawing/2014/main" id="{5CC81764-3236-8278-F09C-8DA828B00437}"/>
                  </a:ext>
                </a:extLst>
              </p:cNvPr>
              <p:cNvSpPr>
                <a:spLocks noChangeArrowheads="1"/>
              </p:cNvSpPr>
              <p:nvPr userDrawn="1"/>
            </p:nvSpPr>
            <p:spPr bwMode="auto">
              <a:xfrm>
                <a:off x="379933" y="-15999"/>
                <a:ext cx="971550" cy="655638"/>
              </a:xfrm>
              <a:prstGeom prst="rect">
                <a:avLst/>
              </a:prstGeom>
              <a:solidFill>
                <a:srgbClr val="FFFFFF"/>
              </a:solidFill>
              <a:ln>
                <a:noFill/>
              </a:ln>
            </p:spPr>
            <p:txBody>
              <a:bodyPr/>
              <a:lstStyle>
                <a:lvl1pPr defTabSz="455613">
                  <a:defRPr b="1">
                    <a:solidFill>
                      <a:schemeClr val="tx1"/>
                    </a:solidFill>
                    <a:latin typeface="Verdana" panose="020B0604030504040204" pitchFamily="34" charset="0"/>
                  </a:defRPr>
                </a:lvl1pPr>
                <a:lvl2pPr marL="742950" indent="-285750" defTabSz="455613">
                  <a:defRPr b="1">
                    <a:solidFill>
                      <a:schemeClr val="tx1"/>
                    </a:solidFill>
                    <a:latin typeface="Verdana" panose="020B0604030504040204" pitchFamily="34" charset="0"/>
                  </a:defRPr>
                </a:lvl2pPr>
                <a:lvl3pPr marL="1143000" indent="-228600" defTabSz="455613">
                  <a:defRPr b="1">
                    <a:solidFill>
                      <a:schemeClr val="tx1"/>
                    </a:solidFill>
                    <a:latin typeface="Verdana" panose="020B0604030504040204" pitchFamily="34" charset="0"/>
                  </a:defRPr>
                </a:lvl3pPr>
                <a:lvl4pPr marL="1600200" indent="-228600" defTabSz="455613">
                  <a:defRPr b="1">
                    <a:solidFill>
                      <a:schemeClr val="tx1"/>
                    </a:solidFill>
                    <a:latin typeface="Verdana" panose="020B0604030504040204" pitchFamily="34" charset="0"/>
                  </a:defRPr>
                </a:lvl4pPr>
                <a:lvl5pPr marL="2057400" indent="-228600" defTabSz="455613">
                  <a:defRPr b="1">
                    <a:solidFill>
                      <a:schemeClr val="tx1"/>
                    </a:solidFill>
                    <a:latin typeface="Verdana" panose="020B0604030504040204" pitchFamily="34" charset="0"/>
                  </a:defRPr>
                </a:lvl5pPr>
                <a:lvl6pPr marL="2514600" indent="-228600" defTabSz="455613" eaLnBrk="0" fontAlgn="base" hangingPunct="0">
                  <a:spcBef>
                    <a:spcPct val="0"/>
                  </a:spcBef>
                  <a:spcAft>
                    <a:spcPct val="0"/>
                  </a:spcAft>
                  <a:defRPr b="1">
                    <a:solidFill>
                      <a:schemeClr val="tx1"/>
                    </a:solidFill>
                    <a:latin typeface="Verdana" panose="020B0604030504040204" pitchFamily="34" charset="0"/>
                  </a:defRPr>
                </a:lvl6pPr>
                <a:lvl7pPr marL="2971800" indent="-228600" defTabSz="455613" eaLnBrk="0" fontAlgn="base" hangingPunct="0">
                  <a:spcBef>
                    <a:spcPct val="0"/>
                  </a:spcBef>
                  <a:spcAft>
                    <a:spcPct val="0"/>
                  </a:spcAft>
                  <a:defRPr b="1">
                    <a:solidFill>
                      <a:schemeClr val="tx1"/>
                    </a:solidFill>
                    <a:latin typeface="Verdana" panose="020B0604030504040204" pitchFamily="34" charset="0"/>
                  </a:defRPr>
                </a:lvl7pPr>
                <a:lvl8pPr marL="3429000" indent="-228600" defTabSz="455613" eaLnBrk="0" fontAlgn="base" hangingPunct="0">
                  <a:spcBef>
                    <a:spcPct val="0"/>
                  </a:spcBef>
                  <a:spcAft>
                    <a:spcPct val="0"/>
                  </a:spcAft>
                  <a:defRPr b="1">
                    <a:solidFill>
                      <a:schemeClr val="tx1"/>
                    </a:solidFill>
                    <a:latin typeface="Verdana" panose="020B0604030504040204" pitchFamily="34" charset="0"/>
                  </a:defRPr>
                </a:lvl8pPr>
                <a:lvl9pPr marL="3886200" indent="-228600" defTabSz="455613" eaLnBrk="0" fontAlgn="base" hangingPunct="0">
                  <a:spcBef>
                    <a:spcPct val="0"/>
                  </a:spcBef>
                  <a:spcAft>
                    <a:spcPct val="0"/>
                  </a:spcAft>
                  <a:defRPr b="1">
                    <a:solidFill>
                      <a:schemeClr val="tx1"/>
                    </a:solidFill>
                    <a:latin typeface="Verdana" panose="020B0604030504040204" pitchFamily="34" charset="0"/>
                  </a:defRPr>
                </a:lvl9pPr>
              </a:lstStyle>
              <a:p>
                <a:pPr eaLnBrk="1" hangingPunct="1">
                  <a:defRPr/>
                </a:pPr>
                <a:endParaRPr lang="en-GB" altLang="de-DE" b="0">
                  <a:solidFill>
                    <a:srgbClr val="000000"/>
                  </a:solidFill>
                  <a:latin typeface="Arial" panose="020B0604020202020204" pitchFamily="34" charset="0"/>
                </a:endParaRPr>
              </a:p>
            </p:txBody>
          </p:sp>
          <p:sp>
            <p:nvSpPr>
              <p:cNvPr id="28" name="T2">
                <a:extLst>
                  <a:ext uri="{FF2B5EF4-FFF2-40B4-BE49-F238E27FC236}">
                    <a16:creationId xmlns:a16="http://schemas.microsoft.com/office/drawing/2014/main" id="{82DC9868-7412-AD3E-56B5-04750ADCFB0B}"/>
                  </a:ext>
                </a:extLst>
              </p:cNvPr>
              <p:cNvSpPr>
                <a:spLocks/>
              </p:cNvSpPr>
              <p:nvPr userDrawn="1"/>
            </p:nvSpPr>
            <p:spPr bwMode="auto">
              <a:xfrm>
                <a:off x="1011758" y="168151"/>
                <a:ext cx="176213" cy="258763"/>
              </a:xfrm>
              <a:custGeom>
                <a:avLst/>
                <a:gdLst>
                  <a:gd name="T0" fmla="*/ 98916612 w 222"/>
                  <a:gd name="T1" fmla="*/ 206025508 h 325"/>
                  <a:gd name="T2" fmla="*/ 98916612 w 222"/>
                  <a:gd name="T3" fmla="*/ 49446026 h 325"/>
                  <a:gd name="T4" fmla="*/ 139869466 w 222"/>
                  <a:gd name="T5" fmla="*/ 49446026 h 325"/>
                  <a:gd name="T6" fmla="*/ 139869466 w 222"/>
                  <a:gd name="T7" fmla="*/ 0 h 325"/>
                  <a:gd name="T8" fmla="*/ 0 w 222"/>
                  <a:gd name="T9" fmla="*/ 0 h 325"/>
                  <a:gd name="T10" fmla="*/ 0 w 222"/>
                  <a:gd name="T11" fmla="*/ 49446026 h 325"/>
                  <a:gd name="T12" fmla="*/ 41583093 w 222"/>
                  <a:gd name="T13" fmla="*/ 49446026 h 325"/>
                  <a:gd name="T14" fmla="*/ 41583093 w 222"/>
                  <a:gd name="T15" fmla="*/ 206025508 h 325"/>
                  <a:gd name="T16" fmla="*/ 41583093 w 222"/>
                  <a:gd name="T17" fmla="*/ 206025508 h 325"/>
                  <a:gd name="T18" fmla="*/ 98916612 w 222"/>
                  <a:gd name="T19" fmla="*/ 206025508 h 3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22" h="325">
                    <a:moveTo>
                      <a:pt x="157" y="325"/>
                    </a:moveTo>
                    <a:lnTo>
                      <a:pt x="157" y="78"/>
                    </a:lnTo>
                    <a:lnTo>
                      <a:pt x="222" y="78"/>
                    </a:lnTo>
                    <a:lnTo>
                      <a:pt x="222" y="0"/>
                    </a:lnTo>
                    <a:lnTo>
                      <a:pt x="0" y="0"/>
                    </a:lnTo>
                    <a:lnTo>
                      <a:pt x="0" y="78"/>
                    </a:lnTo>
                    <a:lnTo>
                      <a:pt x="66" y="78"/>
                    </a:lnTo>
                    <a:lnTo>
                      <a:pt x="66" y="325"/>
                    </a:lnTo>
                    <a:lnTo>
                      <a:pt x="157" y="325"/>
                    </a:lnTo>
                    <a:close/>
                  </a:path>
                </a:pathLst>
              </a:custGeom>
              <a:solidFill>
                <a:srgbClr val="00579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9" name="T1">
                <a:extLst>
                  <a:ext uri="{FF2B5EF4-FFF2-40B4-BE49-F238E27FC236}">
                    <a16:creationId xmlns:a16="http://schemas.microsoft.com/office/drawing/2014/main" id="{076FD0CF-ED0F-8D59-D881-EDBB6234D68F}"/>
                  </a:ext>
                </a:extLst>
              </p:cNvPr>
              <p:cNvSpPr>
                <a:spLocks/>
              </p:cNvSpPr>
              <p:nvPr userDrawn="1"/>
            </p:nvSpPr>
            <p:spPr bwMode="auto">
              <a:xfrm>
                <a:off x="799033" y="168151"/>
                <a:ext cx="193675" cy="258763"/>
              </a:xfrm>
              <a:custGeom>
                <a:avLst/>
                <a:gdLst>
                  <a:gd name="T0" fmla="*/ 55443438 w 244"/>
                  <a:gd name="T1" fmla="*/ 49446026 h 325"/>
                  <a:gd name="T2" fmla="*/ 55443438 w 244"/>
                  <a:gd name="T3" fmla="*/ 206025508 h 325"/>
                  <a:gd name="T4" fmla="*/ 112776794 w 244"/>
                  <a:gd name="T5" fmla="*/ 206025508 h 325"/>
                  <a:gd name="T6" fmla="*/ 112776794 w 244"/>
                  <a:gd name="T7" fmla="*/ 49446026 h 325"/>
                  <a:gd name="T8" fmla="*/ 153729531 w 244"/>
                  <a:gd name="T9" fmla="*/ 49446026 h 325"/>
                  <a:gd name="T10" fmla="*/ 153729531 w 244"/>
                  <a:gd name="T11" fmla="*/ 0 h 325"/>
                  <a:gd name="T12" fmla="*/ 15751175 w 244"/>
                  <a:gd name="T13" fmla="*/ 0 h 325"/>
                  <a:gd name="T14" fmla="*/ 0 w 244"/>
                  <a:gd name="T15" fmla="*/ 49446026 h 325"/>
                  <a:gd name="T16" fmla="*/ 55443438 w 244"/>
                  <a:gd name="T17" fmla="*/ 49446026 h 3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44" h="325">
                    <a:moveTo>
                      <a:pt x="88" y="78"/>
                    </a:moveTo>
                    <a:lnTo>
                      <a:pt x="88" y="325"/>
                    </a:lnTo>
                    <a:lnTo>
                      <a:pt x="179" y="325"/>
                    </a:lnTo>
                    <a:lnTo>
                      <a:pt x="179" y="78"/>
                    </a:lnTo>
                    <a:lnTo>
                      <a:pt x="244" y="78"/>
                    </a:lnTo>
                    <a:lnTo>
                      <a:pt x="244" y="0"/>
                    </a:lnTo>
                    <a:lnTo>
                      <a:pt x="25" y="0"/>
                    </a:lnTo>
                    <a:lnTo>
                      <a:pt x="0" y="78"/>
                    </a:lnTo>
                    <a:lnTo>
                      <a:pt x="88" y="78"/>
                    </a:lnTo>
                    <a:close/>
                  </a:path>
                </a:pathLst>
              </a:custGeom>
              <a:solidFill>
                <a:srgbClr val="00579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30" name="V">
                <a:extLst>
                  <a:ext uri="{FF2B5EF4-FFF2-40B4-BE49-F238E27FC236}">
                    <a16:creationId xmlns:a16="http://schemas.microsoft.com/office/drawing/2014/main" id="{17866F66-5C1A-2E6E-AB3B-B6922863597A}"/>
                  </a:ext>
                </a:extLst>
              </p:cNvPr>
              <p:cNvSpPr>
                <a:spLocks/>
              </p:cNvSpPr>
              <p:nvPr userDrawn="1"/>
            </p:nvSpPr>
            <p:spPr bwMode="auto">
              <a:xfrm>
                <a:off x="567258" y="168151"/>
                <a:ext cx="230188" cy="258763"/>
              </a:xfrm>
              <a:custGeom>
                <a:avLst/>
                <a:gdLst>
                  <a:gd name="T0" fmla="*/ 116731600 w 289"/>
                  <a:gd name="T1" fmla="*/ 206025508 h 325"/>
                  <a:gd name="T2" fmla="*/ 183344344 w 289"/>
                  <a:gd name="T3" fmla="*/ 0 h 325"/>
                  <a:gd name="T4" fmla="*/ 124978544 w 289"/>
                  <a:gd name="T5" fmla="*/ 0 h 325"/>
                  <a:gd name="T6" fmla="*/ 90720356 w 289"/>
                  <a:gd name="T7" fmla="*/ 105865119 h 325"/>
                  <a:gd name="T8" fmla="*/ 85645069 w 289"/>
                  <a:gd name="T9" fmla="*/ 121079587 h 325"/>
                  <a:gd name="T10" fmla="*/ 85645069 w 289"/>
                  <a:gd name="T11" fmla="*/ 121079587 h 325"/>
                  <a:gd name="T12" fmla="*/ 85645069 w 289"/>
                  <a:gd name="T13" fmla="*/ 121079587 h 325"/>
                  <a:gd name="T14" fmla="*/ 85645069 w 289"/>
                  <a:gd name="T15" fmla="*/ 121079587 h 325"/>
                  <a:gd name="T16" fmla="*/ 85645069 w 289"/>
                  <a:gd name="T17" fmla="*/ 121079587 h 325"/>
                  <a:gd name="T18" fmla="*/ 85645069 w 289"/>
                  <a:gd name="T19" fmla="*/ 121079587 h 325"/>
                  <a:gd name="T20" fmla="*/ 85645069 w 289"/>
                  <a:gd name="T21" fmla="*/ 121079587 h 325"/>
                  <a:gd name="T22" fmla="*/ 81204592 w 289"/>
                  <a:gd name="T23" fmla="*/ 105865119 h 325"/>
                  <a:gd name="T24" fmla="*/ 57730991 w 289"/>
                  <a:gd name="T25" fmla="*/ 38035772 h 325"/>
                  <a:gd name="T26" fmla="*/ 0 w 289"/>
                  <a:gd name="T27" fmla="*/ 38035772 h 325"/>
                  <a:gd name="T28" fmla="*/ 57096978 w 289"/>
                  <a:gd name="T29" fmla="*/ 206025508 h 325"/>
                  <a:gd name="T30" fmla="*/ 116731600 w 289"/>
                  <a:gd name="T31" fmla="*/ 206025508 h 32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89" h="325">
                    <a:moveTo>
                      <a:pt x="184" y="325"/>
                    </a:moveTo>
                    <a:lnTo>
                      <a:pt x="289" y="0"/>
                    </a:lnTo>
                    <a:lnTo>
                      <a:pt x="197" y="0"/>
                    </a:lnTo>
                    <a:lnTo>
                      <a:pt x="143" y="167"/>
                    </a:lnTo>
                    <a:lnTo>
                      <a:pt x="135" y="191"/>
                    </a:lnTo>
                    <a:lnTo>
                      <a:pt x="128" y="167"/>
                    </a:lnTo>
                    <a:lnTo>
                      <a:pt x="91" y="60"/>
                    </a:lnTo>
                    <a:lnTo>
                      <a:pt x="0" y="60"/>
                    </a:lnTo>
                    <a:lnTo>
                      <a:pt x="90" y="325"/>
                    </a:lnTo>
                    <a:lnTo>
                      <a:pt x="184" y="325"/>
                    </a:lnTo>
                    <a:close/>
                  </a:path>
                </a:pathLst>
              </a:custGeom>
              <a:solidFill>
                <a:srgbClr val="F06E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grpSp>
          <p:nvGrpSpPr>
            <p:cNvPr id="12" name="_VTT_logo_102019_07_blue_on_white" hidden="1">
              <a:extLst>
                <a:ext uri="{FF2B5EF4-FFF2-40B4-BE49-F238E27FC236}">
                  <a16:creationId xmlns:a16="http://schemas.microsoft.com/office/drawing/2014/main" id="{A9AC2379-9CD3-BAF1-057B-972693FD7CB6}"/>
                </a:ext>
              </a:extLst>
            </p:cNvPr>
            <p:cNvGrpSpPr>
              <a:grpSpLocks/>
            </p:cNvGrpSpPr>
            <p:nvPr userDrawn="1"/>
          </p:nvGrpSpPr>
          <p:grpSpPr bwMode="auto">
            <a:xfrm>
              <a:off x="7909204" y="1770762"/>
              <a:ext cx="971550" cy="655638"/>
              <a:chOff x="379933" y="-15999"/>
              <a:chExt cx="971550" cy="655638"/>
            </a:xfrm>
          </p:grpSpPr>
          <p:sp>
            <p:nvSpPr>
              <p:cNvPr id="23" name="Box">
                <a:extLst>
                  <a:ext uri="{FF2B5EF4-FFF2-40B4-BE49-F238E27FC236}">
                    <a16:creationId xmlns:a16="http://schemas.microsoft.com/office/drawing/2014/main" id="{B970C060-502E-1B95-C755-87D382EE1A91}"/>
                  </a:ext>
                </a:extLst>
              </p:cNvPr>
              <p:cNvSpPr>
                <a:spLocks noChangeArrowheads="1"/>
              </p:cNvSpPr>
              <p:nvPr userDrawn="1"/>
            </p:nvSpPr>
            <p:spPr bwMode="auto">
              <a:xfrm>
                <a:off x="379933" y="-15999"/>
                <a:ext cx="971550" cy="655638"/>
              </a:xfrm>
              <a:prstGeom prst="rect">
                <a:avLst/>
              </a:prstGeom>
              <a:solidFill>
                <a:srgbClr val="FFFFFF"/>
              </a:solidFill>
              <a:ln>
                <a:noFill/>
              </a:ln>
            </p:spPr>
            <p:txBody>
              <a:bodyPr/>
              <a:lstStyle>
                <a:lvl1pPr defTabSz="455613">
                  <a:defRPr b="1">
                    <a:solidFill>
                      <a:schemeClr val="tx1"/>
                    </a:solidFill>
                    <a:latin typeface="Verdana" panose="020B0604030504040204" pitchFamily="34" charset="0"/>
                  </a:defRPr>
                </a:lvl1pPr>
                <a:lvl2pPr marL="742950" indent="-285750" defTabSz="455613">
                  <a:defRPr b="1">
                    <a:solidFill>
                      <a:schemeClr val="tx1"/>
                    </a:solidFill>
                    <a:latin typeface="Verdana" panose="020B0604030504040204" pitchFamily="34" charset="0"/>
                  </a:defRPr>
                </a:lvl2pPr>
                <a:lvl3pPr marL="1143000" indent="-228600" defTabSz="455613">
                  <a:defRPr b="1">
                    <a:solidFill>
                      <a:schemeClr val="tx1"/>
                    </a:solidFill>
                    <a:latin typeface="Verdana" panose="020B0604030504040204" pitchFamily="34" charset="0"/>
                  </a:defRPr>
                </a:lvl3pPr>
                <a:lvl4pPr marL="1600200" indent="-228600" defTabSz="455613">
                  <a:defRPr b="1">
                    <a:solidFill>
                      <a:schemeClr val="tx1"/>
                    </a:solidFill>
                    <a:latin typeface="Verdana" panose="020B0604030504040204" pitchFamily="34" charset="0"/>
                  </a:defRPr>
                </a:lvl4pPr>
                <a:lvl5pPr marL="2057400" indent="-228600" defTabSz="455613">
                  <a:defRPr b="1">
                    <a:solidFill>
                      <a:schemeClr val="tx1"/>
                    </a:solidFill>
                    <a:latin typeface="Verdana" panose="020B0604030504040204" pitchFamily="34" charset="0"/>
                  </a:defRPr>
                </a:lvl5pPr>
                <a:lvl6pPr marL="2514600" indent="-228600" defTabSz="455613" eaLnBrk="0" fontAlgn="base" hangingPunct="0">
                  <a:spcBef>
                    <a:spcPct val="0"/>
                  </a:spcBef>
                  <a:spcAft>
                    <a:spcPct val="0"/>
                  </a:spcAft>
                  <a:defRPr b="1">
                    <a:solidFill>
                      <a:schemeClr val="tx1"/>
                    </a:solidFill>
                    <a:latin typeface="Verdana" panose="020B0604030504040204" pitchFamily="34" charset="0"/>
                  </a:defRPr>
                </a:lvl6pPr>
                <a:lvl7pPr marL="2971800" indent="-228600" defTabSz="455613" eaLnBrk="0" fontAlgn="base" hangingPunct="0">
                  <a:spcBef>
                    <a:spcPct val="0"/>
                  </a:spcBef>
                  <a:spcAft>
                    <a:spcPct val="0"/>
                  </a:spcAft>
                  <a:defRPr b="1">
                    <a:solidFill>
                      <a:schemeClr val="tx1"/>
                    </a:solidFill>
                    <a:latin typeface="Verdana" panose="020B0604030504040204" pitchFamily="34" charset="0"/>
                  </a:defRPr>
                </a:lvl7pPr>
                <a:lvl8pPr marL="3429000" indent="-228600" defTabSz="455613" eaLnBrk="0" fontAlgn="base" hangingPunct="0">
                  <a:spcBef>
                    <a:spcPct val="0"/>
                  </a:spcBef>
                  <a:spcAft>
                    <a:spcPct val="0"/>
                  </a:spcAft>
                  <a:defRPr b="1">
                    <a:solidFill>
                      <a:schemeClr val="tx1"/>
                    </a:solidFill>
                    <a:latin typeface="Verdana" panose="020B0604030504040204" pitchFamily="34" charset="0"/>
                  </a:defRPr>
                </a:lvl8pPr>
                <a:lvl9pPr marL="3886200" indent="-228600" defTabSz="455613" eaLnBrk="0" fontAlgn="base" hangingPunct="0">
                  <a:spcBef>
                    <a:spcPct val="0"/>
                  </a:spcBef>
                  <a:spcAft>
                    <a:spcPct val="0"/>
                  </a:spcAft>
                  <a:defRPr b="1">
                    <a:solidFill>
                      <a:schemeClr val="tx1"/>
                    </a:solidFill>
                    <a:latin typeface="Verdana" panose="020B0604030504040204" pitchFamily="34" charset="0"/>
                  </a:defRPr>
                </a:lvl9pPr>
              </a:lstStyle>
              <a:p>
                <a:pPr eaLnBrk="1" hangingPunct="1">
                  <a:defRPr/>
                </a:pPr>
                <a:endParaRPr lang="en-GB" altLang="de-DE" b="0">
                  <a:solidFill>
                    <a:srgbClr val="000000"/>
                  </a:solidFill>
                  <a:latin typeface="Arial" panose="020B0604020202020204" pitchFamily="34" charset="0"/>
                </a:endParaRPr>
              </a:p>
            </p:txBody>
          </p:sp>
          <p:sp>
            <p:nvSpPr>
              <p:cNvPr id="24" name="T2">
                <a:extLst>
                  <a:ext uri="{FF2B5EF4-FFF2-40B4-BE49-F238E27FC236}">
                    <a16:creationId xmlns:a16="http://schemas.microsoft.com/office/drawing/2014/main" id="{3707FFBC-A564-337E-6A34-98FB4125FCC0}"/>
                  </a:ext>
                </a:extLst>
              </p:cNvPr>
              <p:cNvSpPr>
                <a:spLocks/>
              </p:cNvSpPr>
              <p:nvPr userDrawn="1"/>
            </p:nvSpPr>
            <p:spPr bwMode="auto">
              <a:xfrm>
                <a:off x="1011758" y="168151"/>
                <a:ext cx="176213" cy="258763"/>
              </a:xfrm>
              <a:custGeom>
                <a:avLst/>
                <a:gdLst>
                  <a:gd name="T0" fmla="*/ 98916612 w 222"/>
                  <a:gd name="T1" fmla="*/ 206025508 h 325"/>
                  <a:gd name="T2" fmla="*/ 98916612 w 222"/>
                  <a:gd name="T3" fmla="*/ 49446026 h 325"/>
                  <a:gd name="T4" fmla="*/ 139869466 w 222"/>
                  <a:gd name="T5" fmla="*/ 49446026 h 325"/>
                  <a:gd name="T6" fmla="*/ 139869466 w 222"/>
                  <a:gd name="T7" fmla="*/ 0 h 325"/>
                  <a:gd name="T8" fmla="*/ 0 w 222"/>
                  <a:gd name="T9" fmla="*/ 0 h 325"/>
                  <a:gd name="T10" fmla="*/ 0 w 222"/>
                  <a:gd name="T11" fmla="*/ 49446026 h 325"/>
                  <a:gd name="T12" fmla="*/ 41583093 w 222"/>
                  <a:gd name="T13" fmla="*/ 49446026 h 325"/>
                  <a:gd name="T14" fmla="*/ 41583093 w 222"/>
                  <a:gd name="T15" fmla="*/ 206025508 h 325"/>
                  <a:gd name="T16" fmla="*/ 41583093 w 222"/>
                  <a:gd name="T17" fmla="*/ 206025508 h 325"/>
                  <a:gd name="T18" fmla="*/ 98916612 w 222"/>
                  <a:gd name="T19" fmla="*/ 206025508 h 3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22" h="325">
                    <a:moveTo>
                      <a:pt x="157" y="325"/>
                    </a:moveTo>
                    <a:lnTo>
                      <a:pt x="157" y="78"/>
                    </a:lnTo>
                    <a:lnTo>
                      <a:pt x="222" y="78"/>
                    </a:lnTo>
                    <a:lnTo>
                      <a:pt x="222" y="0"/>
                    </a:lnTo>
                    <a:lnTo>
                      <a:pt x="0" y="0"/>
                    </a:lnTo>
                    <a:lnTo>
                      <a:pt x="0" y="78"/>
                    </a:lnTo>
                    <a:lnTo>
                      <a:pt x="66" y="78"/>
                    </a:lnTo>
                    <a:lnTo>
                      <a:pt x="66" y="325"/>
                    </a:lnTo>
                    <a:lnTo>
                      <a:pt x="157" y="325"/>
                    </a:lnTo>
                    <a:close/>
                  </a:path>
                </a:pathLst>
              </a:custGeom>
              <a:solidFill>
                <a:srgbClr val="00579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 name="T1">
                <a:extLst>
                  <a:ext uri="{FF2B5EF4-FFF2-40B4-BE49-F238E27FC236}">
                    <a16:creationId xmlns:a16="http://schemas.microsoft.com/office/drawing/2014/main" id="{97A5E970-1CE7-C20A-630D-F5A4564C2717}"/>
                  </a:ext>
                </a:extLst>
              </p:cNvPr>
              <p:cNvSpPr>
                <a:spLocks/>
              </p:cNvSpPr>
              <p:nvPr userDrawn="1"/>
            </p:nvSpPr>
            <p:spPr bwMode="auto">
              <a:xfrm>
                <a:off x="799033" y="168151"/>
                <a:ext cx="193675" cy="258763"/>
              </a:xfrm>
              <a:custGeom>
                <a:avLst/>
                <a:gdLst>
                  <a:gd name="T0" fmla="*/ 55443438 w 244"/>
                  <a:gd name="T1" fmla="*/ 49446026 h 325"/>
                  <a:gd name="T2" fmla="*/ 55443438 w 244"/>
                  <a:gd name="T3" fmla="*/ 206025508 h 325"/>
                  <a:gd name="T4" fmla="*/ 112776794 w 244"/>
                  <a:gd name="T5" fmla="*/ 206025508 h 325"/>
                  <a:gd name="T6" fmla="*/ 112776794 w 244"/>
                  <a:gd name="T7" fmla="*/ 49446026 h 325"/>
                  <a:gd name="T8" fmla="*/ 153729531 w 244"/>
                  <a:gd name="T9" fmla="*/ 49446026 h 325"/>
                  <a:gd name="T10" fmla="*/ 153729531 w 244"/>
                  <a:gd name="T11" fmla="*/ 0 h 325"/>
                  <a:gd name="T12" fmla="*/ 15751175 w 244"/>
                  <a:gd name="T13" fmla="*/ 0 h 325"/>
                  <a:gd name="T14" fmla="*/ 0 w 244"/>
                  <a:gd name="T15" fmla="*/ 49446026 h 325"/>
                  <a:gd name="T16" fmla="*/ 55443438 w 244"/>
                  <a:gd name="T17" fmla="*/ 49446026 h 3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44" h="325">
                    <a:moveTo>
                      <a:pt x="88" y="78"/>
                    </a:moveTo>
                    <a:lnTo>
                      <a:pt x="88" y="325"/>
                    </a:lnTo>
                    <a:lnTo>
                      <a:pt x="179" y="325"/>
                    </a:lnTo>
                    <a:lnTo>
                      <a:pt x="179" y="78"/>
                    </a:lnTo>
                    <a:lnTo>
                      <a:pt x="244" y="78"/>
                    </a:lnTo>
                    <a:lnTo>
                      <a:pt x="244" y="0"/>
                    </a:lnTo>
                    <a:lnTo>
                      <a:pt x="25" y="0"/>
                    </a:lnTo>
                    <a:lnTo>
                      <a:pt x="0" y="78"/>
                    </a:lnTo>
                    <a:lnTo>
                      <a:pt x="88" y="78"/>
                    </a:lnTo>
                    <a:close/>
                  </a:path>
                </a:pathLst>
              </a:custGeom>
              <a:solidFill>
                <a:srgbClr val="00579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 name="V">
                <a:extLst>
                  <a:ext uri="{FF2B5EF4-FFF2-40B4-BE49-F238E27FC236}">
                    <a16:creationId xmlns:a16="http://schemas.microsoft.com/office/drawing/2014/main" id="{FD057064-6419-7B5C-16BB-EFDE573E39E2}"/>
                  </a:ext>
                </a:extLst>
              </p:cNvPr>
              <p:cNvSpPr>
                <a:spLocks/>
              </p:cNvSpPr>
              <p:nvPr userDrawn="1"/>
            </p:nvSpPr>
            <p:spPr bwMode="auto">
              <a:xfrm>
                <a:off x="567258" y="168151"/>
                <a:ext cx="230188" cy="258763"/>
              </a:xfrm>
              <a:custGeom>
                <a:avLst/>
                <a:gdLst>
                  <a:gd name="T0" fmla="*/ 116731600 w 289"/>
                  <a:gd name="T1" fmla="*/ 206025508 h 325"/>
                  <a:gd name="T2" fmla="*/ 183344344 w 289"/>
                  <a:gd name="T3" fmla="*/ 0 h 325"/>
                  <a:gd name="T4" fmla="*/ 124978544 w 289"/>
                  <a:gd name="T5" fmla="*/ 0 h 325"/>
                  <a:gd name="T6" fmla="*/ 90720356 w 289"/>
                  <a:gd name="T7" fmla="*/ 105865119 h 325"/>
                  <a:gd name="T8" fmla="*/ 85645069 w 289"/>
                  <a:gd name="T9" fmla="*/ 121079587 h 325"/>
                  <a:gd name="T10" fmla="*/ 85645069 w 289"/>
                  <a:gd name="T11" fmla="*/ 121079587 h 325"/>
                  <a:gd name="T12" fmla="*/ 85645069 w 289"/>
                  <a:gd name="T13" fmla="*/ 121079587 h 325"/>
                  <a:gd name="T14" fmla="*/ 85645069 w 289"/>
                  <a:gd name="T15" fmla="*/ 121079587 h 325"/>
                  <a:gd name="T16" fmla="*/ 85645069 w 289"/>
                  <a:gd name="T17" fmla="*/ 121079587 h 325"/>
                  <a:gd name="T18" fmla="*/ 85645069 w 289"/>
                  <a:gd name="T19" fmla="*/ 121079587 h 325"/>
                  <a:gd name="T20" fmla="*/ 85645069 w 289"/>
                  <a:gd name="T21" fmla="*/ 121079587 h 325"/>
                  <a:gd name="T22" fmla="*/ 81204592 w 289"/>
                  <a:gd name="T23" fmla="*/ 105865119 h 325"/>
                  <a:gd name="T24" fmla="*/ 57730991 w 289"/>
                  <a:gd name="T25" fmla="*/ 38035772 h 325"/>
                  <a:gd name="T26" fmla="*/ 0 w 289"/>
                  <a:gd name="T27" fmla="*/ 38035772 h 325"/>
                  <a:gd name="T28" fmla="*/ 57096978 w 289"/>
                  <a:gd name="T29" fmla="*/ 206025508 h 325"/>
                  <a:gd name="T30" fmla="*/ 116731600 w 289"/>
                  <a:gd name="T31" fmla="*/ 206025508 h 32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89" h="325">
                    <a:moveTo>
                      <a:pt x="184" y="325"/>
                    </a:moveTo>
                    <a:lnTo>
                      <a:pt x="289" y="0"/>
                    </a:lnTo>
                    <a:lnTo>
                      <a:pt x="197" y="0"/>
                    </a:lnTo>
                    <a:lnTo>
                      <a:pt x="143" y="167"/>
                    </a:lnTo>
                    <a:lnTo>
                      <a:pt x="135" y="191"/>
                    </a:lnTo>
                    <a:lnTo>
                      <a:pt x="128" y="167"/>
                    </a:lnTo>
                    <a:lnTo>
                      <a:pt x="91" y="60"/>
                    </a:lnTo>
                    <a:lnTo>
                      <a:pt x="0" y="60"/>
                    </a:lnTo>
                    <a:lnTo>
                      <a:pt x="90" y="325"/>
                    </a:lnTo>
                    <a:lnTo>
                      <a:pt x="184" y="325"/>
                    </a:lnTo>
                    <a:close/>
                  </a:path>
                </a:pathLst>
              </a:custGeom>
              <a:solidFill>
                <a:srgbClr val="00579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grpSp>
          <p:nvGrpSpPr>
            <p:cNvPr id="13" name="_VTT_logo_102019_08_black_on_white" hidden="1">
              <a:extLst>
                <a:ext uri="{FF2B5EF4-FFF2-40B4-BE49-F238E27FC236}">
                  <a16:creationId xmlns:a16="http://schemas.microsoft.com/office/drawing/2014/main" id="{39CB61BC-7477-3F57-A364-E37B27330EAE}"/>
                </a:ext>
              </a:extLst>
            </p:cNvPr>
            <p:cNvGrpSpPr>
              <a:grpSpLocks/>
            </p:cNvGrpSpPr>
            <p:nvPr userDrawn="1"/>
          </p:nvGrpSpPr>
          <p:grpSpPr bwMode="auto">
            <a:xfrm>
              <a:off x="7909204" y="1770762"/>
              <a:ext cx="971550" cy="655638"/>
              <a:chOff x="379933" y="-15999"/>
              <a:chExt cx="971550" cy="655638"/>
            </a:xfrm>
          </p:grpSpPr>
          <p:sp>
            <p:nvSpPr>
              <p:cNvPr id="19" name="Box">
                <a:extLst>
                  <a:ext uri="{FF2B5EF4-FFF2-40B4-BE49-F238E27FC236}">
                    <a16:creationId xmlns:a16="http://schemas.microsoft.com/office/drawing/2014/main" id="{4DCF5474-9E72-83C3-7EFE-D8BB772668FA}"/>
                  </a:ext>
                </a:extLst>
              </p:cNvPr>
              <p:cNvSpPr>
                <a:spLocks noChangeArrowheads="1"/>
              </p:cNvSpPr>
              <p:nvPr userDrawn="1"/>
            </p:nvSpPr>
            <p:spPr bwMode="auto">
              <a:xfrm>
                <a:off x="379933" y="-15999"/>
                <a:ext cx="971550" cy="655638"/>
              </a:xfrm>
              <a:prstGeom prst="rect">
                <a:avLst/>
              </a:prstGeom>
              <a:solidFill>
                <a:srgbClr val="FFFFFF"/>
              </a:solidFill>
              <a:ln>
                <a:noFill/>
              </a:ln>
            </p:spPr>
            <p:txBody>
              <a:bodyPr/>
              <a:lstStyle>
                <a:lvl1pPr defTabSz="455613">
                  <a:defRPr b="1">
                    <a:solidFill>
                      <a:schemeClr val="tx1"/>
                    </a:solidFill>
                    <a:latin typeface="Verdana" panose="020B0604030504040204" pitchFamily="34" charset="0"/>
                  </a:defRPr>
                </a:lvl1pPr>
                <a:lvl2pPr marL="742950" indent="-285750" defTabSz="455613">
                  <a:defRPr b="1">
                    <a:solidFill>
                      <a:schemeClr val="tx1"/>
                    </a:solidFill>
                    <a:latin typeface="Verdana" panose="020B0604030504040204" pitchFamily="34" charset="0"/>
                  </a:defRPr>
                </a:lvl2pPr>
                <a:lvl3pPr marL="1143000" indent="-228600" defTabSz="455613">
                  <a:defRPr b="1">
                    <a:solidFill>
                      <a:schemeClr val="tx1"/>
                    </a:solidFill>
                    <a:latin typeface="Verdana" panose="020B0604030504040204" pitchFamily="34" charset="0"/>
                  </a:defRPr>
                </a:lvl3pPr>
                <a:lvl4pPr marL="1600200" indent="-228600" defTabSz="455613">
                  <a:defRPr b="1">
                    <a:solidFill>
                      <a:schemeClr val="tx1"/>
                    </a:solidFill>
                    <a:latin typeface="Verdana" panose="020B0604030504040204" pitchFamily="34" charset="0"/>
                  </a:defRPr>
                </a:lvl4pPr>
                <a:lvl5pPr marL="2057400" indent="-228600" defTabSz="455613">
                  <a:defRPr b="1">
                    <a:solidFill>
                      <a:schemeClr val="tx1"/>
                    </a:solidFill>
                    <a:latin typeface="Verdana" panose="020B0604030504040204" pitchFamily="34" charset="0"/>
                  </a:defRPr>
                </a:lvl5pPr>
                <a:lvl6pPr marL="2514600" indent="-228600" defTabSz="455613" eaLnBrk="0" fontAlgn="base" hangingPunct="0">
                  <a:spcBef>
                    <a:spcPct val="0"/>
                  </a:spcBef>
                  <a:spcAft>
                    <a:spcPct val="0"/>
                  </a:spcAft>
                  <a:defRPr b="1">
                    <a:solidFill>
                      <a:schemeClr val="tx1"/>
                    </a:solidFill>
                    <a:latin typeface="Verdana" panose="020B0604030504040204" pitchFamily="34" charset="0"/>
                  </a:defRPr>
                </a:lvl6pPr>
                <a:lvl7pPr marL="2971800" indent="-228600" defTabSz="455613" eaLnBrk="0" fontAlgn="base" hangingPunct="0">
                  <a:spcBef>
                    <a:spcPct val="0"/>
                  </a:spcBef>
                  <a:spcAft>
                    <a:spcPct val="0"/>
                  </a:spcAft>
                  <a:defRPr b="1">
                    <a:solidFill>
                      <a:schemeClr val="tx1"/>
                    </a:solidFill>
                    <a:latin typeface="Verdana" panose="020B0604030504040204" pitchFamily="34" charset="0"/>
                  </a:defRPr>
                </a:lvl7pPr>
                <a:lvl8pPr marL="3429000" indent="-228600" defTabSz="455613" eaLnBrk="0" fontAlgn="base" hangingPunct="0">
                  <a:spcBef>
                    <a:spcPct val="0"/>
                  </a:spcBef>
                  <a:spcAft>
                    <a:spcPct val="0"/>
                  </a:spcAft>
                  <a:defRPr b="1">
                    <a:solidFill>
                      <a:schemeClr val="tx1"/>
                    </a:solidFill>
                    <a:latin typeface="Verdana" panose="020B0604030504040204" pitchFamily="34" charset="0"/>
                  </a:defRPr>
                </a:lvl8pPr>
                <a:lvl9pPr marL="3886200" indent="-228600" defTabSz="455613" eaLnBrk="0" fontAlgn="base" hangingPunct="0">
                  <a:spcBef>
                    <a:spcPct val="0"/>
                  </a:spcBef>
                  <a:spcAft>
                    <a:spcPct val="0"/>
                  </a:spcAft>
                  <a:defRPr b="1">
                    <a:solidFill>
                      <a:schemeClr val="tx1"/>
                    </a:solidFill>
                    <a:latin typeface="Verdana" panose="020B0604030504040204" pitchFamily="34" charset="0"/>
                  </a:defRPr>
                </a:lvl9pPr>
              </a:lstStyle>
              <a:p>
                <a:pPr eaLnBrk="1" hangingPunct="1">
                  <a:defRPr/>
                </a:pPr>
                <a:endParaRPr lang="en-GB" altLang="de-DE" b="0">
                  <a:solidFill>
                    <a:srgbClr val="000000"/>
                  </a:solidFill>
                  <a:latin typeface="Arial" panose="020B0604020202020204" pitchFamily="34" charset="0"/>
                </a:endParaRPr>
              </a:p>
            </p:txBody>
          </p:sp>
          <p:sp>
            <p:nvSpPr>
              <p:cNvPr id="20" name="T2">
                <a:extLst>
                  <a:ext uri="{FF2B5EF4-FFF2-40B4-BE49-F238E27FC236}">
                    <a16:creationId xmlns:a16="http://schemas.microsoft.com/office/drawing/2014/main" id="{1DABA22A-3751-AD35-C5D6-CDA7D6E3E70D}"/>
                  </a:ext>
                </a:extLst>
              </p:cNvPr>
              <p:cNvSpPr>
                <a:spLocks/>
              </p:cNvSpPr>
              <p:nvPr userDrawn="1"/>
            </p:nvSpPr>
            <p:spPr bwMode="auto">
              <a:xfrm>
                <a:off x="1011758" y="168151"/>
                <a:ext cx="176213" cy="258763"/>
              </a:xfrm>
              <a:custGeom>
                <a:avLst/>
                <a:gdLst>
                  <a:gd name="T0" fmla="*/ 98916612 w 222"/>
                  <a:gd name="T1" fmla="*/ 206025508 h 325"/>
                  <a:gd name="T2" fmla="*/ 98916612 w 222"/>
                  <a:gd name="T3" fmla="*/ 49446026 h 325"/>
                  <a:gd name="T4" fmla="*/ 139869466 w 222"/>
                  <a:gd name="T5" fmla="*/ 49446026 h 325"/>
                  <a:gd name="T6" fmla="*/ 139869466 w 222"/>
                  <a:gd name="T7" fmla="*/ 0 h 325"/>
                  <a:gd name="T8" fmla="*/ 0 w 222"/>
                  <a:gd name="T9" fmla="*/ 0 h 325"/>
                  <a:gd name="T10" fmla="*/ 0 w 222"/>
                  <a:gd name="T11" fmla="*/ 49446026 h 325"/>
                  <a:gd name="T12" fmla="*/ 41583093 w 222"/>
                  <a:gd name="T13" fmla="*/ 49446026 h 325"/>
                  <a:gd name="T14" fmla="*/ 41583093 w 222"/>
                  <a:gd name="T15" fmla="*/ 206025508 h 325"/>
                  <a:gd name="T16" fmla="*/ 41583093 w 222"/>
                  <a:gd name="T17" fmla="*/ 206025508 h 325"/>
                  <a:gd name="T18" fmla="*/ 98916612 w 222"/>
                  <a:gd name="T19" fmla="*/ 206025508 h 3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22" h="325">
                    <a:moveTo>
                      <a:pt x="157" y="325"/>
                    </a:moveTo>
                    <a:lnTo>
                      <a:pt x="157" y="78"/>
                    </a:lnTo>
                    <a:lnTo>
                      <a:pt x="222" y="78"/>
                    </a:lnTo>
                    <a:lnTo>
                      <a:pt x="222" y="0"/>
                    </a:lnTo>
                    <a:lnTo>
                      <a:pt x="0" y="0"/>
                    </a:lnTo>
                    <a:lnTo>
                      <a:pt x="0" y="78"/>
                    </a:lnTo>
                    <a:lnTo>
                      <a:pt x="66" y="78"/>
                    </a:lnTo>
                    <a:lnTo>
                      <a:pt x="66" y="325"/>
                    </a:lnTo>
                    <a:lnTo>
                      <a:pt x="157" y="32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 name="T1">
                <a:extLst>
                  <a:ext uri="{FF2B5EF4-FFF2-40B4-BE49-F238E27FC236}">
                    <a16:creationId xmlns:a16="http://schemas.microsoft.com/office/drawing/2014/main" id="{78606679-2BED-E34F-6A92-8DF14BB77726}"/>
                  </a:ext>
                </a:extLst>
              </p:cNvPr>
              <p:cNvSpPr>
                <a:spLocks/>
              </p:cNvSpPr>
              <p:nvPr userDrawn="1"/>
            </p:nvSpPr>
            <p:spPr bwMode="auto">
              <a:xfrm>
                <a:off x="799033" y="168151"/>
                <a:ext cx="193675" cy="258763"/>
              </a:xfrm>
              <a:custGeom>
                <a:avLst/>
                <a:gdLst>
                  <a:gd name="T0" fmla="*/ 55443438 w 244"/>
                  <a:gd name="T1" fmla="*/ 49446026 h 325"/>
                  <a:gd name="T2" fmla="*/ 55443438 w 244"/>
                  <a:gd name="T3" fmla="*/ 206025508 h 325"/>
                  <a:gd name="T4" fmla="*/ 112776794 w 244"/>
                  <a:gd name="T5" fmla="*/ 206025508 h 325"/>
                  <a:gd name="T6" fmla="*/ 112776794 w 244"/>
                  <a:gd name="T7" fmla="*/ 49446026 h 325"/>
                  <a:gd name="T8" fmla="*/ 153729531 w 244"/>
                  <a:gd name="T9" fmla="*/ 49446026 h 325"/>
                  <a:gd name="T10" fmla="*/ 153729531 w 244"/>
                  <a:gd name="T11" fmla="*/ 0 h 325"/>
                  <a:gd name="T12" fmla="*/ 15751175 w 244"/>
                  <a:gd name="T13" fmla="*/ 0 h 325"/>
                  <a:gd name="T14" fmla="*/ 0 w 244"/>
                  <a:gd name="T15" fmla="*/ 49446026 h 325"/>
                  <a:gd name="T16" fmla="*/ 55443438 w 244"/>
                  <a:gd name="T17" fmla="*/ 49446026 h 3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44" h="325">
                    <a:moveTo>
                      <a:pt x="88" y="78"/>
                    </a:moveTo>
                    <a:lnTo>
                      <a:pt x="88" y="325"/>
                    </a:lnTo>
                    <a:lnTo>
                      <a:pt x="179" y="325"/>
                    </a:lnTo>
                    <a:lnTo>
                      <a:pt x="179" y="78"/>
                    </a:lnTo>
                    <a:lnTo>
                      <a:pt x="244" y="78"/>
                    </a:lnTo>
                    <a:lnTo>
                      <a:pt x="244" y="0"/>
                    </a:lnTo>
                    <a:lnTo>
                      <a:pt x="25" y="0"/>
                    </a:lnTo>
                    <a:lnTo>
                      <a:pt x="0" y="78"/>
                    </a:lnTo>
                    <a:lnTo>
                      <a:pt x="88" y="7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 name="V">
                <a:extLst>
                  <a:ext uri="{FF2B5EF4-FFF2-40B4-BE49-F238E27FC236}">
                    <a16:creationId xmlns:a16="http://schemas.microsoft.com/office/drawing/2014/main" id="{08D574CC-A818-55DE-910F-4BD66E455208}"/>
                  </a:ext>
                </a:extLst>
              </p:cNvPr>
              <p:cNvSpPr>
                <a:spLocks/>
              </p:cNvSpPr>
              <p:nvPr userDrawn="1"/>
            </p:nvSpPr>
            <p:spPr bwMode="auto">
              <a:xfrm>
                <a:off x="567258" y="168151"/>
                <a:ext cx="230188" cy="258763"/>
              </a:xfrm>
              <a:custGeom>
                <a:avLst/>
                <a:gdLst>
                  <a:gd name="T0" fmla="*/ 116731600 w 289"/>
                  <a:gd name="T1" fmla="*/ 206025508 h 325"/>
                  <a:gd name="T2" fmla="*/ 183344344 w 289"/>
                  <a:gd name="T3" fmla="*/ 0 h 325"/>
                  <a:gd name="T4" fmla="*/ 124978544 w 289"/>
                  <a:gd name="T5" fmla="*/ 0 h 325"/>
                  <a:gd name="T6" fmla="*/ 90720356 w 289"/>
                  <a:gd name="T7" fmla="*/ 105865119 h 325"/>
                  <a:gd name="T8" fmla="*/ 85645069 w 289"/>
                  <a:gd name="T9" fmla="*/ 121079587 h 325"/>
                  <a:gd name="T10" fmla="*/ 85645069 w 289"/>
                  <a:gd name="T11" fmla="*/ 121079587 h 325"/>
                  <a:gd name="T12" fmla="*/ 85645069 w 289"/>
                  <a:gd name="T13" fmla="*/ 121079587 h 325"/>
                  <a:gd name="T14" fmla="*/ 85645069 w 289"/>
                  <a:gd name="T15" fmla="*/ 121079587 h 325"/>
                  <a:gd name="T16" fmla="*/ 85645069 w 289"/>
                  <a:gd name="T17" fmla="*/ 121079587 h 325"/>
                  <a:gd name="T18" fmla="*/ 85645069 w 289"/>
                  <a:gd name="T19" fmla="*/ 121079587 h 325"/>
                  <a:gd name="T20" fmla="*/ 85645069 w 289"/>
                  <a:gd name="T21" fmla="*/ 121079587 h 325"/>
                  <a:gd name="T22" fmla="*/ 81204592 w 289"/>
                  <a:gd name="T23" fmla="*/ 105865119 h 325"/>
                  <a:gd name="T24" fmla="*/ 57730991 w 289"/>
                  <a:gd name="T25" fmla="*/ 38035772 h 325"/>
                  <a:gd name="T26" fmla="*/ 0 w 289"/>
                  <a:gd name="T27" fmla="*/ 38035772 h 325"/>
                  <a:gd name="T28" fmla="*/ 57096978 w 289"/>
                  <a:gd name="T29" fmla="*/ 206025508 h 325"/>
                  <a:gd name="T30" fmla="*/ 116731600 w 289"/>
                  <a:gd name="T31" fmla="*/ 206025508 h 32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89" h="325">
                    <a:moveTo>
                      <a:pt x="184" y="325"/>
                    </a:moveTo>
                    <a:lnTo>
                      <a:pt x="289" y="0"/>
                    </a:lnTo>
                    <a:lnTo>
                      <a:pt x="197" y="0"/>
                    </a:lnTo>
                    <a:lnTo>
                      <a:pt x="143" y="167"/>
                    </a:lnTo>
                    <a:lnTo>
                      <a:pt x="135" y="191"/>
                    </a:lnTo>
                    <a:lnTo>
                      <a:pt x="128" y="167"/>
                    </a:lnTo>
                    <a:lnTo>
                      <a:pt x="91" y="60"/>
                    </a:lnTo>
                    <a:lnTo>
                      <a:pt x="0" y="60"/>
                    </a:lnTo>
                    <a:lnTo>
                      <a:pt x="90" y="325"/>
                    </a:lnTo>
                    <a:lnTo>
                      <a:pt x="184" y="32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grpSp>
          <p:nvGrpSpPr>
            <p:cNvPr id="14" name="_VTT_logo_102019_09_orange_on_white" hidden="1">
              <a:extLst>
                <a:ext uri="{FF2B5EF4-FFF2-40B4-BE49-F238E27FC236}">
                  <a16:creationId xmlns:a16="http://schemas.microsoft.com/office/drawing/2014/main" id="{D76F6254-00A1-9DE0-A62A-A2A4056526FD}"/>
                </a:ext>
              </a:extLst>
            </p:cNvPr>
            <p:cNvGrpSpPr>
              <a:grpSpLocks/>
            </p:cNvGrpSpPr>
            <p:nvPr userDrawn="1"/>
          </p:nvGrpSpPr>
          <p:grpSpPr bwMode="auto">
            <a:xfrm>
              <a:off x="7909204" y="1770762"/>
              <a:ext cx="971550" cy="655638"/>
              <a:chOff x="379933" y="-15999"/>
              <a:chExt cx="971550" cy="655638"/>
            </a:xfrm>
          </p:grpSpPr>
          <p:sp>
            <p:nvSpPr>
              <p:cNvPr id="15" name="Box">
                <a:extLst>
                  <a:ext uri="{FF2B5EF4-FFF2-40B4-BE49-F238E27FC236}">
                    <a16:creationId xmlns:a16="http://schemas.microsoft.com/office/drawing/2014/main" id="{F2C585CD-965E-4869-A1D5-99DEFC3E3033}"/>
                  </a:ext>
                </a:extLst>
              </p:cNvPr>
              <p:cNvSpPr>
                <a:spLocks noChangeArrowheads="1"/>
              </p:cNvSpPr>
              <p:nvPr userDrawn="1"/>
            </p:nvSpPr>
            <p:spPr bwMode="auto">
              <a:xfrm>
                <a:off x="379933" y="-15999"/>
                <a:ext cx="971550" cy="655638"/>
              </a:xfrm>
              <a:prstGeom prst="rect">
                <a:avLst/>
              </a:prstGeom>
              <a:solidFill>
                <a:srgbClr val="FFFFFF"/>
              </a:solidFill>
              <a:ln>
                <a:noFill/>
              </a:ln>
            </p:spPr>
            <p:txBody>
              <a:bodyPr/>
              <a:lstStyle>
                <a:lvl1pPr defTabSz="455613">
                  <a:defRPr b="1">
                    <a:solidFill>
                      <a:schemeClr val="tx1"/>
                    </a:solidFill>
                    <a:latin typeface="Verdana" panose="020B0604030504040204" pitchFamily="34" charset="0"/>
                  </a:defRPr>
                </a:lvl1pPr>
                <a:lvl2pPr marL="742950" indent="-285750" defTabSz="455613">
                  <a:defRPr b="1">
                    <a:solidFill>
                      <a:schemeClr val="tx1"/>
                    </a:solidFill>
                    <a:latin typeface="Verdana" panose="020B0604030504040204" pitchFamily="34" charset="0"/>
                  </a:defRPr>
                </a:lvl2pPr>
                <a:lvl3pPr marL="1143000" indent="-228600" defTabSz="455613">
                  <a:defRPr b="1">
                    <a:solidFill>
                      <a:schemeClr val="tx1"/>
                    </a:solidFill>
                    <a:latin typeface="Verdana" panose="020B0604030504040204" pitchFamily="34" charset="0"/>
                  </a:defRPr>
                </a:lvl3pPr>
                <a:lvl4pPr marL="1600200" indent="-228600" defTabSz="455613">
                  <a:defRPr b="1">
                    <a:solidFill>
                      <a:schemeClr val="tx1"/>
                    </a:solidFill>
                    <a:latin typeface="Verdana" panose="020B0604030504040204" pitchFamily="34" charset="0"/>
                  </a:defRPr>
                </a:lvl4pPr>
                <a:lvl5pPr marL="2057400" indent="-228600" defTabSz="455613">
                  <a:defRPr b="1">
                    <a:solidFill>
                      <a:schemeClr val="tx1"/>
                    </a:solidFill>
                    <a:latin typeface="Verdana" panose="020B0604030504040204" pitchFamily="34" charset="0"/>
                  </a:defRPr>
                </a:lvl5pPr>
                <a:lvl6pPr marL="2514600" indent="-228600" defTabSz="455613" eaLnBrk="0" fontAlgn="base" hangingPunct="0">
                  <a:spcBef>
                    <a:spcPct val="0"/>
                  </a:spcBef>
                  <a:spcAft>
                    <a:spcPct val="0"/>
                  </a:spcAft>
                  <a:defRPr b="1">
                    <a:solidFill>
                      <a:schemeClr val="tx1"/>
                    </a:solidFill>
                    <a:latin typeface="Verdana" panose="020B0604030504040204" pitchFamily="34" charset="0"/>
                  </a:defRPr>
                </a:lvl6pPr>
                <a:lvl7pPr marL="2971800" indent="-228600" defTabSz="455613" eaLnBrk="0" fontAlgn="base" hangingPunct="0">
                  <a:spcBef>
                    <a:spcPct val="0"/>
                  </a:spcBef>
                  <a:spcAft>
                    <a:spcPct val="0"/>
                  </a:spcAft>
                  <a:defRPr b="1">
                    <a:solidFill>
                      <a:schemeClr val="tx1"/>
                    </a:solidFill>
                    <a:latin typeface="Verdana" panose="020B0604030504040204" pitchFamily="34" charset="0"/>
                  </a:defRPr>
                </a:lvl7pPr>
                <a:lvl8pPr marL="3429000" indent="-228600" defTabSz="455613" eaLnBrk="0" fontAlgn="base" hangingPunct="0">
                  <a:spcBef>
                    <a:spcPct val="0"/>
                  </a:spcBef>
                  <a:spcAft>
                    <a:spcPct val="0"/>
                  </a:spcAft>
                  <a:defRPr b="1">
                    <a:solidFill>
                      <a:schemeClr val="tx1"/>
                    </a:solidFill>
                    <a:latin typeface="Verdana" panose="020B0604030504040204" pitchFamily="34" charset="0"/>
                  </a:defRPr>
                </a:lvl8pPr>
                <a:lvl9pPr marL="3886200" indent="-228600" defTabSz="455613" eaLnBrk="0" fontAlgn="base" hangingPunct="0">
                  <a:spcBef>
                    <a:spcPct val="0"/>
                  </a:spcBef>
                  <a:spcAft>
                    <a:spcPct val="0"/>
                  </a:spcAft>
                  <a:defRPr b="1">
                    <a:solidFill>
                      <a:schemeClr val="tx1"/>
                    </a:solidFill>
                    <a:latin typeface="Verdana" panose="020B0604030504040204" pitchFamily="34" charset="0"/>
                  </a:defRPr>
                </a:lvl9pPr>
              </a:lstStyle>
              <a:p>
                <a:pPr eaLnBrk="1" hangingPunct="1">
                  <a:defRPr/>
                </a:pPr>
                <a:endParaRPr lang="en-GB" altLang="de-DE" b="0">
                  <a:solidFill>
                    <a:srgbClr val="000000"/>
                  </a:solidFill>
                  <a:latin typeface="Arial" panose="020B0604020202020204" pitchFamily="34" charset="0"/>
                </a:endParaRPr>
              </a:p>
            </p:txBody>
          </p:sp>
          <p:sp>
            <p:nvSpPr>
              <p:cNvPr id="16" name="T2">
                <a:extLst>
                  <a:ext uri="{FF2B5EF4-FFF2-40B4-BE49-F238E27FC236}">
                    <a16:creationId xmlns:a16="http://schemas.microsoft.com/office/drawing/2014/main" id="{D019CD4C-ED1E-958A-E04E-32EC1FA5595D}"/>
                  </a:ext>
                </a:extLst>
              </p:cNvPr>
              <p:cNvSpPr>
                <a:spLocks/>
              </p:cNvSpPr>
              <p:nvPr userDrawn="1"/>
            </p:nvSpPr>
            <p:spPr bwMode="auto">
              <a:xfrm>
                <a:off x="1011758" y="168151"/>
                <a:ext cx="176213" cy="258763"/>
              </a:xfrm>
              <a:custGeom>
                <a:avLst/>
                <a:gdLst>
                  <a:gd name="T0" fmla="*/ 98916612 w 222"/>
                  <a:gd name="T1" fmla="*/ 206025508 h 325"/>
                  <a:gd name="T2" fmla="*/ 98916612 w 222"/>
                  <a:gd name="T3" fmla="*/ 49446026 h 325"/>
                  <a:gd name="T4" fmla="*/ 139869466 w 222"/>
                  <a:gd name="T5" fmla="*/ 49446026 h 325"/>
                  <a:gd name="T6" fmla="*/ 139869466 w 222"/>
                  <a:gd name="T7" fmla="*/ 0 h 325"/>
                  <a:gd name="T8" fmla="*/ 0 w 222"/>
                  <a:gd name="T9" fmla="*/ 0 h 325"/>
                  <a:gd name="T10" fmla="*/ 0 w 222"/>
                  <a:gd name="T11" fmla="*/ 49446026 h 325"/>
                  <a:gd name="T12" fmla="*/ 41583093 w 222"/>
                  <a:gd name="T13" fmla="*/ 49446026 h 325"/>
                  <a:gd name="T14" fmla="*/ 41583093 w 222"/>
                  <a:gd name="T15" fmla="*/ 206025508 h 325"/>
                  <a:gd name="T16" fmla="*/ 41583093 w 222"/>
                  <a:gd name="T17" fmla="*/ 206025508 h 325"/>
                  <a:gd name="T18" fmla="*/ 98916612 w 222"/>
                  <a:gd name="T19" fmla="*/ 206025508 h 3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22" h="325">
                    <a:moveTo>
                      <a:pt x="157" y="325"/>
                    </a:moveTo>
                    <a:lnTo>
                      <a:pt x="157" y="78"/>
                    </a:lnTo>
                    <a:lnTo>
                      <a:pt x="222" y="78"/>
                    </a:lnTo>
                    <a:lnTo>
                      <a:pt x="222" y="0"/>
                    </a:lnTo>
                    <a:lnTo>
                      <a:pt x="0" y="0"/>
                    </a:lnTo>
                    <a:lnTo>
                      <a:pt x="0" y="78"/>
                    </a:lnTo>
                    <a:lnTo>
                      <a:pt x="66" y="78"/>
                    </a:lnTo>
                    <a:lnTo>
                      <a:pt x="66" y="325"/>
                    </a:lnTo>
                    <a:lnTo>
                      <a:pt x="157" y="325"/>
                    </a:lnTo>
                    <a:close/>
                  </a:path>
                </a:pathLst>
              </a:custGeom>
              <a:solidFill>
                <a:srgbClr val="F06E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 name="T1">
                <a:extLst>
                  <a:ext uri="{FF2B5EF4-FFF2-40B4-BE49-F238E27FC236}">
                    <a16:creationId xmlns:a16="http://schemas.microsoft.com/office/drawing/2014/main" id="{B1014616-F460-C995-F39D-4782A97C05A2}"/>
                  </a:ext>
                </a:extLst>
              </p:cNvPr>
              <p:cNvSpPr>
                <a:spLocks/>
              </p:cNvSpPr>
              <p:nvPr userDrawn="1"/>
            </p:nvSpPr>
            <p:spPr bwMode="auto">
              <a:xfrm>
                <a:off x="799033" y="168151"/>
                <a:ext cx="193675" cy="258763"/>
              </a:xfrm>
              <a:custGeom>
                <a:avLst/>
                <a:gdLst>
                  <a:gd name="T0" fmla="*/ 55443438 w 244"/>
                  <a:gd name="T1" fmla="*/ 49446026 h 325"/>
                  <a:gd name="T2" fmla="*/ 55443438 w 244"/>
                  <a:gd name="T3" fmla="*/ 206025508 h 325"/>
                  <a:gd name="T4" fmla="*/ 112776794 w 244"/>
                  <a:gd name="T5" fmla="*/ 206025508 h 325"/>
                  <a:gd name="T6" fmla="*/ 112776794 w 244"/>
                  <a:gd name="T7" fmla="*/ 49446026 h 325"/>
                  <a:gd name="T8" fmla="*/ 153729531 w 244"/>
                  <a:gd name="T9" fmla="*/ 49446026 h 325"/>
                  <a:gd name="T10" fmla="*/ 153729531 w 244"/>
                  <a:gd name="T11" fmla="*/ 0 h 325"/>
                  <a:gd name="T12" fmla="*/ 15751175 w 244"/>
                  <a:gd name="T13" fmla="*/ 0 h 325"/>
                  <a:gd name="T14" fmla="*/ 0 w 244"/>
                  <a:gd name="T15" fmla="*/ 49446026 h 325"/>
                  <a:gd name="T16" fmla="*/ 55443438 w 244"/>
                  <a:gd name="T17" fmla="*/ 49446026 h 3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44" h="325">
                    <a:moveTo>
                      <a:pt x="88" y="78"/>
                    </a:moveTo>
                    <a:lnTo>
                      <a:pt x="88" y="325"/>
                    </a:lnTo>
                    <a:lnTo>
                      <a:pt x="179" y="325"/>
                    </a:lnTo>
                    <a:lnTo>
                      <a:pt x="179" y="78"/>
                    </a:lnTo>
                    <a:lnTo>
                      <a:pt x="244" y="78"/>
                    </a:lnTo>
                    <a:lnTo>
                      <a:pt x="244" y="0"/>
                    </a:lnTo>
                    <a:lnTo>
                      <a:pt x="25" y="0"/>
                    </a:lnTo>
                    <a:lnTo>
                      <a:pt x="0" y="78"/>
                    </a:lnTo>
                    <a:lnTo>
                      <a:pt x="88" y="78"/>
                    </a:lnTo>
                    <a:close/>
                  </a:path>
                </a:pathLst>
              </a:custGeom>
              <a:solidFill>
                <a:srgbClr val="F06E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 name="V">
                <a:extLst>
                  <a:ext uri="{FF2B5EF4-FFF2-40B4-BE49-F238E27FC236}">
                    <a16:creationId xmlns:a16="http://schemas.microsoft.com/office/drawing/2014/main" id="{E2F4E51E-CA37-C60A-016A-294D5DEE0F87}"/>
                  </a:ext>
                </a:extLst>
              </p:cNvPr>
              <p:cNvSpPr>
                <a:spLocks/>
              </p:cNvSpPr>
              <p:nvPr userDrawn="1"/>
            </p:nvSpPr>
            <p:spPr bwMode="auto">
              <a:xfrm>
                <a:off x="567258" y="168151"/>
                <a:ext cx="230188" cy="258763"/>
              </a:xfrm>
              <a:custGeom>
                <a:avLst/>
                <a:gdLst>
                  <a:gd name="T0" fmla="*/ 116731600 w 289"/>
                  <a:gd name="T1" fmla="*/ 206025508 h 325"/>
                  <a:gd name="T2" fmla="*/ 183344344 w 289"/>
                  <a:gd name="T3" fmla="*/ 0 h 325"/>
                  <a:gd name="T4" fmla="*/ 124978544 w 289"/>
                  <a:gd name="T5" fmla="*/ 0 h 325"/>
                  <a:gd name="T6" fmla="*/ 90720356 w 289"/>
                  <a:gd name="T7" fmla="*/ 105865119 h 325"/>
                  <a:gd name="T8" fmla="*/ 85645069 w 289"/>
                  <a:gd name="T9" fmla="*/ 121079587 h 325"/>
                  <a:gd name="T10" fmla="*/ 85645069 w 289"/>
                  <a:gd name="T11" fmla="*/ 121079587 h 325"/>
                  <a:gd name="T12" fmla="*/ 85645069 w 289"/>
                  <a:gd name="T13" fmla="*/ 121079587 h 325"/>
                  <a:gd name="T14" fmla="*/ 85645069 w 289"/>
                  <a:gd name="T15" fmla="*/ 121079587 h 325"/>
                  <a:gd name="T16" fmla="*/ 85645069 w 289"/>
                  <a:gd name="T17" fmla="*/ 121079587 h 325"/>
                  <a:gd name="T18" fmla="*/ 85645069 w 289"/>
                  <a:gd name="T19" fmla="*/ 121079587 h 325"/>
                  <a:gd name="T20" fmla="*/ 85645069 w 289"/>
                  <a:gd name="T21" fmla="*/ 121079587 h 325"/>
                  <a:gd name="T22" fmla="*/ 81204592 w 289"/>
                  <a:gd name="T23" fmla="*/ 105865119 h 325"/>
                  <a:gd name="T24" fmla="*/ 57730991 w 289"/>
                  <a:gd name="T25" fmla="*/ 38035772 h 325"/>
                  <a:gd name="T26" fmla="*/ 0 w 289"/>
                  <a:gd name="T27" fmla="*/ 38035772 h 325"/>
                  <a:gd name="T28" fmla="*/ 57096978 w 289"/>
                  <a:gd name="T29" fmla="*/ 206025508 h 325"/>
                  <a:gd name="T30" fmla="*/ 116731600 w 289"/>
                  <a:gd name="T31" fmla="*/ 206025508 h 32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89" h="325">
                    <a:moveTo>
                      <a:pt x="184" y="325"/>
                    </a:moveTo>
                    <a:lnTo>
                      <a:pt x="289" y="0"/>
                    </a:lnTo>
                    <a:lnTo>
                      <a:pt x="197" y="0"/>
                    </a:lnTo>
                    <a:lnTo>
                      <a:pt x="143" y="167"/>
                    </a:lnTo>
                    <a:lnTo>
                      <a:pt x="135" y="191"/>
                    </a:lnTo>
                    <a:lnTo>
                      <a:pt x="128" y="167"/>
                    </a:lnTo>
                    <a:lnTo>
                      <a:pt x="91" y="60"/>
                    </a:lnTo>
                    <a:lnTo>
                      <a:pt x="0" y="60"/>
                    </a:lnTo>
                    <a:lnTo>
                      <a:pt x="90" y="325"/>
                    </a:lnTo>
                    <a:lnTo>
                      <a:pt x="184" y="325"/>
                    </a:lnTo>
                    <a:close/>
                  </a:path>
                </a:pathLst>
              </a:custGeom>
              <a:solidFill>
                <a:srgbClr val="F06E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grpSp>
      <p:sp>
        <p:nvSpPr>
          <p:cNvPr id="2" name="Title 1"/>
          <p:cNvSpPr>
            <a:spLocks noGrp="1"/>
          </p:cNvSpPr>
          <p:nvPr>
            <p:ph type="title"/>
          </p:nvPr>
        </p:nvSpPr>
        <p:spPr/>
        <p:txBody>
          <a:bodyPr/>
          <a:lstStyle>
            <a:lvl1pPr>
              <a:defRPr/>
            </a:lvl1pPr>
          </a:lstStyle>
          <a:p>
            <a:r>
              <a:rPr lang="en-GB" noProof="0"/>
              <a:t>Click to edit Master title style</a:t>
            </a:r>
          </a:p>
        </p:txBody>
      </p:sp>
      <p:sp>
        <p:nvSpPr>
          <p:cNvPr id="8" name="Content Placeholder 7"/>
          <p:cNvSpPr>
            <a:spLocks noGrp="1"/>
          </p:cNvSpPr>
          <p:nvPr>
            <p:ph sz="quarter" idx="13"/>
          </p:nvPr>
        </p:nvSpPr>
        <p:spPr>
          <a:xfrm>
            <a:off x="958851" y="2097600"/>
            <a:ext cx="5324720" cy="4046400"/>
          </a:xfrm>
        </p:spPr>
        <p:txBody>
          <a:body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GB" noProof="0"/>
          </a:p>
        </p:txBody>
      </p:sp>
      <p:sp>
        <p:nvSpPr>
          <p:cNvPr id="7" name="Picture Placeholder 3"/>
          <p:cNvSpPr>
            <a:spLocks noGrp="1"/>
          </p:cNvSpPr>
          <p:nvPr>
            <p:ph type="pic" sz="quarter" idx="14"/>
          </p:nvPr>
        </p:nvSpPr>
        <p:spPr>
          <a:xfrm>
            <a:off x="6383500" y="2133600"/>
            <a:ext cx="3840000" cy="4007061"/>
          </a:xfrm>
        </p:spPr>
        <p:txBody>
          <a:bodyPr anchor="ctr" anchorCtr="1"/>
          <a:lstStyle>
            <a:lvl1pPr marL="13006" indent="0" algn="ctr">
              <a:buNone/>
              <a:defRPr>
                <a:solidFill>
                  <a:schemeClr val="accent3"/>
                </a:solidFill>
              </a:defRPr>
            </a:lvl1pPr>
          </a:lstStyle>
          <a:p>
            <a:pPr lvl="0"/>
            <a:r>
              <a:rPr lang="de-DE" noProof="0"/>
              <a:t>Bild durch Klicken auf Symbol hinzufügen</a:t>
            </a:r>
            <a:endParaRPr lang="en-GB" noProof="0" dirty="0"/>
          </a:p>
        </p:txBody>
      </p:sp>
      <p:sp>
        <p:nvSpPr>
          <p:cNvPr id="51" name="Date Placeholder 2">
            <a:extLst>
              <a:ext uri="{FF2B5EF4-FFF2-40B4-BE49-F238E27FC236}">
                <a16:creationId xmlns:a16="http://schemas.microsoft.com/office/drawing/2014/main" id="{F84DE5A7-1D12-0ED7-16B5-AEED681FB32A}"/>
              </a:ext>
            </a:extLst>
          </p:cNvPr>
          <p:cNvSpPr>
            <a:spLocks noGrp="1"/>
          </p:cNvSpPr>
          <p:nvPr>
            <p:ph type="dt" sz="half" idx="15"/>
          </p:nvPr>
        </p:nvSpPr>
        <p:spPr/>
        <p:txBody>
          <a:bodyPr/>
          <a:lstStyle>
            <a:lvl1pPr>
              <a:defRPr/>
            </a:lvl1pPr>
          </a:lstStyle>
          <a:p>
            <a:pPr>
              <a:defRPr/>
            </a:pPr>
            <a:fld id="{B3603A36-64F9-4E0E-A9CA-50041F7503AE}" type="datetime1">
              <a:rPr lang="en-GB"/>
              <a:pPr>
                <a:defRPr/>
              </a:pPr>
              <a:t>28/01/2024</a:t>
            </a:fld>
            <a:endParaRPr lang="en-GB" dirty="0"/>
          </a:p>
        </p:txBody>
      </p:sp>
      <p:sp>
        <p:nvSpPr>
          <p:cNvPr id="52" name="Footer Placeholder 3">
            <a:extLst>
              <a:ext uri="{FF2B5EF4-FFF2-40B4-BE49-F238E27FC236}">
                <a16:creationId xmlns:a16="http://schemas.microsoft.com/office/drawing/2014/main" id="{0229DDDD-1853-8A1A-F1CE-5D20DA120F7B}"/>
              </a:ext>
            </a:extLst>
          </p:cNvPr>
          <p:cNvSpPr>
            <a:spLocks noGrp="1"/>
          </p:cNvSpPr>
          <p:nvPr>
            <p:ph type="ftr" sz="quarter" idx="16"/>
          </p:nvPr>
        </p:nvSpPr>
        <p:spPr/>
        <p:txBody>
          <a:bodyPr/>
          <a:lstStyle>
            <a:lvl1pPr>
              <a:defRPr/>
            </a:lvl1pPr>
          </a:lstStyle>
          <a:p>
            <a:pPr>
              <a:defRPr/>
            </a:pPr>
            <a:r>
              <a:rPr lang="en-GB"/>
              <a:t>VTT – beyond the obvious</a:t>
            </a:r>
            <a:endParaRPr lang="en-GB" dirty="0"/>
          </a:p>
        </p:txBody>
      </p:sp>
      <p:sp>
        <p:nvSpPr>
          <p:cNvPr id="53" name="Slide Number Placeholder 4">
            <a:extLst>
              <a:ext uri="{FF2B5EF4-FFF2-40B4-BE49-F238E27FC236}">
                <a16:creationId xmlns:a16="http://schemas.microsoft.com/office/drawing/2014/main" id="{1F9AB2B3-5992-EF14-84D7-36278F853047}"/>
              </a:ext>
            </a:extLst>
          </p:cNvPr>
          <p:cNvSpPr>
            <a:spLocks noGrp="1"/>
          </p:cNvSpPr>
          <p:nvPr>
            <p:ph type="sldNum" sz="quarter" idx="17"/>
          </p:nvPr>
        </p:nvSpPr>
        <p:spPr/>
        <p:txBody>
          <a:bodyPr/>
          <a:lstStyle>
            <a:lvl1pPr>
              <a:defRPr/>
            </a:lvl1pPr>
          </a:lstStyle>
          <a:p>
            <a:pPr>
              <a:defRPr/>
            </a:pPr>
            <a:fld id="{34110AF0-3B34-4C10-9721-D964FBD57B64}" type="slidenum">
              <a:rPr lang="en-GB"/>
              <a:pPr>
                <a:defRPr/>
              </a:pPr>
              <a:t>‹Nr.›</a:t>
            </a:fld>
            <a:endParaRPr lang="en-GB" dirty="0"/>
          </a:p>
        </p:txBody>
      </p:sp>
    </p:spTree>
    <p:extLst>
      <p:ext uri="{BB962C8B-B14F-4D97-AF65-F5344CB8AC3E}">
        <p14:creationId xmlns:p14="http://schemas.microsoft.com/office/powerpoint/2010/main" val="3312486144"/>
      </p:ext>
    </p:extLst>
  </p:cSld>
  <p:clrMapOvr>
    <a:masterClrMapping/>
  </p:clrMapOvr>
  <p:transition spd="med">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VTT 2020 Content slide 03 - 2 columns">
    <p:spTree>
      <p:nvGrpSpPr>
        <p:cNvPr id="1" name=""/>
        <p:cNvGrpSpPr/>
        <p:nvPr/>
      </p:nvGrpSpPr>
      <p:grpSpPr>
        <a:xfrm>
          <a:off x="0" y="0"/>
          <a:ext cx="0" cy="0"/>
          <a:chOff x="0" y="0"/>
          <a:chExt cx="0" cy="0"/>
        </a:xfrm>
      </p:grpSpPr>
      <p:grpSp>
        <p:nvGrpSpPr>
          <p:cNvPr id="3" name="VTT_LogoStack_v3_16092019 pienempi koko">
            <a:extLst>
              <a:ext uri="{FF2B5EF4-FFF2-40B4-BE49-F238E27FC236}">
                <a16:creationId xmlns:a16="http://schemas.microsoft.com/office/drawing/2014/main" id="{D4B4E4BC-EF71-8F24-DDB8-52A59D3608AB}"/>
              </a:ext>
            </a:extLst>
          </p:cNvPr>
          <p:cNvGrpSpPr>
            <a:grpSpLocks/>
          </p:cNvGrpSpPr>
          <p:nvPr userDrawn="1"/>
        </p:nvGrpSpPr>
        <p:grpSpPr bwMode="auto">
          <a:xfrm>
            <a:off x="10725150" y="0"/>
            <a:ext cx="1158875" cy="782638"/>
            <a:chOff x="7909204" y="1770762"/>
            <a:chExt cx="971550" cy="655638"/>
          </a:xfrm>
        </p:grpSpPr>
        <p:grpSp>
          <p:nvGrpSpPr>
            <p:cNvPr id="4" name="_VTT_logo_102019_01_white_on_orange">
              <a:extLst>
                <a:ext uri="{FF2B5EF4-FFF2-40B4-BE49-F238E27FC236}">
                  <a16:creationId xmlns:a16="http://schemas.microsoft.com/office/drawing/2014/main" id="{958900CA-79EF-8612-1B90-F6CCAEC39EC5}"/>
                </a:ext>
              </a:extLst>
            </p:cNvPr>
            <p:cNvGrpSpPr>
              <a:grpSpLocks/>
            </p:cNvGrpSpPr>
            <p:nvPr userDrawn="1"/>
          </p:nvGrpSpPr>
          <p:grpSpPr bwMode="auto">
            <a:xfrm>
              <a:off x="7909204" y="1770762"/>
              <a:ext cx="971550" cy="655638"/>
              <a:chOff x="379933" y="-15999"/>
              <a:chExt cx="971550" cy="655638"/>
            </a:xfrm>
          </p:grpSpPr>
          <p:sp>
            <p:nvSpPr>
              <p:cNvPr id="46" name="Box">
                <a:extLst>
                  <a:ext uri="{FF2B5EF4-FFF2-40B4-BE49-F238E27FC236}">
                    <a16:creationId xmlns:a16="http://schemas.microsoft.com/office/drawing/2014/main" id="{CA879FEF-CC88-0729-7F21-067643DE1222}"/>
                  </a:ext>
                </a:extLst>
              </p:cNvPr>
              <p:cNvSpPr>
                <a:spLocks noChangeArrowheads="1"/>
              </p:cNvSpPr>
              <p:nvPr userDrawn="1"/>
            </p:nvSpPr>
            <p:spPr bwMode="auto">
              <a:xfrm>
                <a:off x="379933" y="-15999"/>
                <a:ext cx="971550" cy="655638"/>
              </a:xfrm>
              <a:prstGeom prst="rect">
                <a:avLst/>
              </a:prstGeom>
              <a:solidFill>
                <a:srgbClr val="F06E00"/>
              </a:solidFill>
              <a:ln>
                <a:noFill/>
              </a:ln>
            </p:spPr>
            <p:txBody>
              <a:bodyPr/>
              <a:lstStyle>
                <a:lvl1pPr defTabSz="455613">
                  <a:defRPr b="1">
                    <a:solidFill>
                      <a:schemeClr val="tx1"/>
                    </a:solidFill>
                    <a:latin typeface="Verdana" panose="020B0604030504040204" pitchFamily="34" charset="0"/>
                  </a:defRPr>
                </a:lvl1pPr>
                <a:lvl2pPr marL="742950" indent="-285750" defTabSz="455613">
                  <a:defRPr b="1">
                    <a:solidFill>
                      <a:schemeClr val="tx1"/>
                    </a:solidFill>
                    <a:latin typeface="Verdana" panose="020B0604030504040204" pitchFamily="34" charset="0"/>
                  </a:defRPr>
                </a:lvl2pPr>
                <a:lvl3pPr marL="1143000" indent="-228600" defTabSz="455613">
                  <a:defRPr b="1">
                    <a:solidFill>
                      <a:schemeClr val="tx1"/>
                    </a:solidFill>
                    <a:latin typeface="Verdana" panose="020B0604030504040204" pitchFamily="34" charset="0"/>
                  </a:defRPr>
                </a:lvl3pPr>
                <a:lvl4pPr marL="1600200" indent="-228600" defTabSz="455613">
                  <a:defRPr b="1">
                    <a:solidFill>
                      <a:schemeClr val="tx1"/>
                    </a:solidFill>
                    <a:latin typeface="Verdana" panose="020B0604030504040204" pitchFamily="34" charset="0"/>
                  </a:defRPr>
                </a:lvl4pPr>
                <a:lvl5pPr marL="2057400" indent="-228600" defTabSz="455613">
                  <a:defRPr b="1">
                    <a:solidFill>
                      <a:schemeClr val="tx1"/>
                    </a:solidFill>
                    <a:latin typeface="Verdana" panose="020B0604030504040204" pitchFamily="34" charset="0"/>
                  </a:defRPr>
                </a:lvl5pPr>
                <a:lvl6pPr marL="2514600" indent="-228600" defTabSz="455613" eaLnBrk="0" fontAlgn="base" hangingPunct="0">
                  <a:spcBef>
                    <a:spcPct val="0"/>
                  </a:spcBef>
                  <a:spcAft>
                    <a:spcPct val="0"/>
                  </a:spcAft>
                  <a:defRPr b="1">
                    <a:solidFill>
                      <a:schemeClr val="tx1"/>
                    </a:solidFill>
                    <a:latin typeface="Verdana" panose="020B0604030504040204" pitchFamily="34" charset="0"/>
                  </a:defRPr>
                </a:lvl6pPr>
                <a:lvl7pPr marL="2971800" indent="-228600" defTabSz="455613" eaLnBrk="0" fontAlgn="base" hangingPunct="0">
                  <a:spcBef>
                    <a:spcPct val="0"/>
                  </a:spcBef>
                  <a:spcAft>
                    <a:spcPct val="0"/>
                  </a:spcAft>
                  <a:defRPr b="1">
                    <a:solidFill>
                      <a:schemeClr val="tx1"/>
                    </a:solidFill>
                    <a:latin typeface="Verdana" panose="020B0604030504040204" pitchFamily="34" charset="0"/>
                  </a:defRPr>
                </a:lvl7pPr>
                <a:lvl8pPr marL="3429000" indent="-228600" defTabSz="455613" eaLnBrk="0" fontAlgn="base" hangingPunct="0">
                  <a:spcBef>
                    <a:spcPct val="0"/>
                  </a:spcBef>
                  <a:spcAft>
                    <a:spcPct val="0"/>
                  </a:spcAft>
                  <a:defRPr b="1">
                    <a:solidFill>
                      <a:schemeClr val="tx1"/>
                    </a:solidFill>
                    <a:latin typeface="Verdana" panose="020B0604030504040204" pitchFamily="34" charset="0"/>
                  </a:defRPr>
                </a:lvl8pPr>
                <a:lvl9pPr marL="3886200" indent="-228600" defTabSz="455613" eaLnBrk="0" fontAlgn="base" hangingPunct="0">
                  <a:spcBef>
                    <a:spcPct val="0"/>
                  </a:spcBef>
                  <a:spcAft>
                    <a:spcPct val="0"/>
                  </a:spcAft>
                  <a:defRPr b="1">
                    <a:solidFill>
                      <a:schemeClr val="tx1"/>
                    </a:solidFill>
                    <a:latin typeface="Verdana" panose="020B0604030504040204" pitchFamily="34" charset="0"/>
                  </a:defRPr>
                </a:lvl9pPr>
              </a:lstStyle>
              <a:p>
                <a:pPr eaLnBrk="1" hangingPunct="1">
                  <a:defRPr/>
                </a:pPr>
                <a:endParaRPr lang="en-GB" altLang="de-DE" b="0">
                  <a:solidFill>
                    <a:srgbClr val="000000"/>
                  </a:solidFill>
                  <a:latin typeface="Arial" panose="020B0604020202020204" pitchFamily="34" charset="0"/>
                </a:endParaRPr>
              </a:p>
            </p:txBody>
          </p:sp>
          <p:sp>
            <p:nvSpPr>
              <p:cNvPr id="47" name="T2">
                <a:extLst>
                  <a:ext uri="{FF2B5EF4-FFF2-40B4-BE49-F238E27FC236}">
                    <a16:creationId xmlns:a16="http://schemas.microsoft.com/office/drawing/2014/main" id="{233BB0FC-F82C-7995-961C-86C9E2EE549C}"/>
                  </a:ext>
                </a:extLst>
              </p:cNvPr>
              <p:cNvSpPr>
                <a:spLocks/>
              </p:cNvSpPr>
              <p:nvPr userDrawn="1"/>
            </p:nvSpPr>
            <p:spPr bwMode="auto">
              <a:xfrm>
                <a:off x="1011758" y="168151"/>
                <a:ext cx="176213" cy="258763"/>
              </a:xfrm>
              <a:custGeom>
                <a:avLst/>
                <a:gdLst>
                  <a:gd name="T0" fmla="*/ 98916612 w 222"/>
                  <a:gd name="T1" fmla="*/ 206025508 h 325"/>
                  <a:gd name="T2" fmla="*/ 98916612 w 222"/>
                  <a:gd name="T3" fmla="*/ 49446026 h 325"/>
                  <a:gd name="T4" fmla="*/ 139869466 w 222"/>
                  <a:gd name="T5" fmla="*/ 49446026 h 325"/>
                  <a:gd name="T6" fmla="*/ 139869466 w 222"/>
                  <a:gd name="T7" fmla="*/ 0 h 325"/>
                  <a:gd name="T8" fmla="*/ 0 w 222"/>
                  <a:gd name="T9" fmla="*/ 0 h 325"/>
                  <a:gd name="T10" fmla="*/ 0 w 222"/>
                  <a:gd name="T11" fmla="*/ 49446026 h 325"/>
                  <a:gd name="T12" fmla="*/ 41583093 w 222"/>
                  <a:gd name="T13" fmla="*/ 49446026 h 325"/>
                  <a:gd name="T14" fmla="*/ 41583093 w 222"/>
                  <a:gd name="T15" fmla="*/ 206025508 h 325"/>
                  <a:gd name="T16" fmla="*/ 41583093 w 222"/>
                  <a:gd name="T17" fmla="*/ 206025508 h 325"/>
                  <a:gd name="T18" fmla="*/ 98916612 w 222"/>
                  <a:gd name="T19" fmla="*/ 206025508 h 3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22" h="325">
                    <a:moveTo>
                      <a:pt x="157" y="325"/>
                    </a:moveTo>
                    <a:lnTo>
                      <a:pt x="157" y="78"/>
                    </a:lnTo>
                    <a:lnTo>
                      <a:pt x="222" y="78"/>
                    </a:lnTo>
                    <a:lnTo>
                      <a:pt x="222" y="0"/>
                    </a:lnTo>
                    <a:lnTo>
                      <a:pt x="0" y="0"/>
                    </a:lnTo>
                    <a:lnTo>
                      <a:pt x="0" y="78"/>
                    </a:lnTo>
                    <a:lnTo>
                      <a:pt x="66" y="78"/>
                    </a:lnTo>
                    <a:lnTo>
                      <a:pt x="66" y="325"/>
                    </a:lnTo>
                    <a:lnTo>
                      <a:pt x="157" y="3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48" name="T1">
                <a:extLst>
                  <a:ext uri="{FF2B5EF4-FFF2-40B4-BE49-F238E27FC236}">
                    <a16:creationId xmlns:a16="http://schemas.microsoft.com/office/drawing/2014/main" id="{6462812C-0B3A-E1D3-D40C-6F10CC111BA0}"/>
                  </a:ext>
                </a:extLst>
              </p:cNvPr>
              <p:cNvSpPr>
                <a:spLocks/>
              </p:cNvSpPr>
              <p:nvPr userDrawn="1"/>
            </p:nvSpPr>
            <p:spPr bwMode="auto">
              <a:xfrm>
                <a:off x="799033" y="168151"/>
                <a:ext cx="193675" cy="258763"/>
              </a:xfrm>
              <a:custGeom>
                <a:avLst/>
                <a:gdLst>
                  <a:gd name="T0" fmla="*/ 55443438 w 244"/>
                  <a:gd name="T1" fmla="*/ 49446026 h 325"/>
                  <a:gd name="T2" fmla="*/ 55443438 w 244"/>
                  <a:gd name="T3" fmla="*/ 206025508 h 325"/>
                  <a:gd name="T4" fmla="*/ 112776794 w 244"/>
                  <a:gd name="T5" fmla="*/ 206025508 h 325"/>
                  <a:gd name="T6" fmla="*/ 112776794 w 244"/>
                  <a:gd name="T7" fmla="*/ 49446026 h 325"/>
                  <a:gd name="T8" fmla="*/ 153729531 w 244"/>
                  <a:gd name="T9" fmla="*/ 49446026 h 325"/>
                  <a:gd name="T10" fmla="*/ 153729531 w 244"/>
                  <a:gd name="T11" fmla="*/ 0 h 325"/>
                  <a:gd name="T12" fmla="*/ 15751175 w 244"/>
                  <a:gd name="T13" fmla="*/ 0 h 325"/>
                  <a:gd name="T14" fmla="*/ 0 w 244"/>
                  <a:gd name="T15" fmla="*/ 49446026 h 325"/>
                  <a:gd name="T16" fmla="*/ 55443438 w 244"/>
                  <a:gd name="T17" fmla="*/ 49446026 h 3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44" h="325">
                    <a:moveTo>
                      <a:pt x="88" y="78"/>
                    </a:moveTo>
                    <a:lnTo>
                      <a:pt x="88" y="325"/>
                    </a:lnTo>
                    <a:lnTo>
                      <a:pt x="179" y="325"/>
                    </a:lnTo>
                    <a:lnTo>
                      <a:pt x="179" y="78"/>
                    </a:lnTo>
                    <a:lnTo>
                      <a:pt x="244" y="78"/>
                    </a:lnTo>
                    <a:lnTo>
                      <a:pt x="244" y="0"/>
                    </a:lnTo>
                    <a:lnTo>
                      <a:pt x="25" y="0"/>
                    </a:lnTo>
                    <a:lnTo>
                      <a:pt x="0" y="78"/>
                    </a:lnTo>
                    <a:lnTo>
                      <a:pt x="88"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49" name="V">
                <a:extLst>
                  <a:ext uri="{FF2B5EF4-FFF2-40B4-BE49-F238E27FC236}">
                    <a16:creationId xmlns:a16="http://schemas.microsoft.com/office/drawing/2014/main" id="{C7A310AA-D63C-89FE-B7C6-40BA2A659C30}"/>
                  </a:ext>
                </a:extLst>
              </p:cNvPr>
              <p:cNvSpPr>
                <a:spLocks/>
              </p:cNvSpPr>
              <p:nvPr userDrawn="1"/>
            </p:nvSpPr>
            <p:spPr bwMode="auto">
              <a:xfrm>
                <a:off x="567258" y="168151"/>
                <a:ext cx="230188" cy="258763"/>
              </a:xfrm>
              <a:custGeom>
                <a:avLst/>
                <a:gdLst>
                  <a:gd name="T0" fmla="*/ 116731600 w 289"/>
                  <a:gd name="T1" fmla="*/ 206025508 h 325"/>
                  <a:gd name="T2" fmla="*/ 183344344 w 289"/>
                  <a:gd name="T3" fmla="*/ 0 h 325"/>
                  <a:gd name="T4" fmla="*/ 124978544 w 289"/>
                  <a:gd name="T5" fmla="*/ 0 h 325"/>
                  <a:gd name="T6" fmla="*/ 90720356 w 289"/>
                  <a:gd name="T7" fmla="*/ 105865119 h 325"/>
                  <a:gd name="T8" fmla="*/ 85645069 w 289"/>
                  <a:gd name="T9" fmla="*/ 121079587 h 325"/>
                  <a:gd name="T10" fmla="*/ 85645069 w 289"/>
                  <a:gd name="T11" fmla="*/ 121079587 h 325"/>
                  <a:gd name="T12" fmla="*/ 85645069 w 289"/>
                  <a:gd name="T13" fmla="*/ 121079587 h 325"/>
                  <a:gd name="T14" fmla="*/ 85645069 w 289"/>
                  <a:gd name="T15" fmla="*/ 121079587 h 325"/>
                  <a:gd name="T16" fmla="*/ 85645069 w 289"/>
                  <a:gd name="T17" fmla="*/ 121079587 h 325"/>
                  <a:gd name="T18" fmla="*/ 85645069 w 289"/>
                  <a:gd name="T19" fmla="*/ 121079587 h 325"/>
                  <a:gd name="T20" fmla="*/ 85645069 w 289"/>
                  <a:gd name="T21" fmla="*/ 121079587 h 325"/>
                  <a:gd name="T22" fmla="*/ 81204592 w 289"/>
                  <a:gd name="T23" fmla="*/ 105865119 h 325"/>
                  <a:gd name="T24" fmla="*/ 57730991 w 289"/>
                  <a:gd name="T25" fmla="*/ 38035772 h 325"/>
                  <a:gd name="T26" fmla="*/ 0 w 289"/>
                  <a:gd name="T27" fmla="*/ 38035772 h 325"/>
                  <a:gd name="T28" fmla="*/ 57096978 w 289"/>
                  <a:gd name="T29" fmla="*/ 206025508 h 325"/>
                  <a:gd name="T30" fmla="*/ 116731600 w 289"/>
                  <a:gd name="T31" fmla="*/ 206025508 h 32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89" h="325">
                    <a:moveTo>
                      <a:pt x="184" y="325"/>
                    </a:moveTo>
                    <a:lnTo>
                      <a:pt x="289" y="0"/>
                    </a:lnTo>
                    <a:lnTo>
                      <a:pt x="197" y="0"/>
                    </a:lnTo>
                    <a:lnTo>
                      <a:pt x="143" y="167"/>
                    </a:lnTo>
                    <a:lnTo>
                      <a:pt x="135" y="191"/>
                    </a:lnTo>
                    <a:lnTo>
                      <a:pt x="128" y="167"/>
                    </a:lnTo>
                    <a:lnTo>
                      <a:pt x="91" y="60"/>
                    </a:lnTo>
                    <a:lnTo>
                      <a:pt x="0" y="60"/>
                    </a:lnTo>
                    <a:lnTo>
                      <a:pt x="90" y="325"/>
                    </a:lnTo>
                    <a:lnTo>
                      <a:pt x="184" y="3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grpSp>
          <p:nvGrpSpPr>
            <p:cNvPr id="5" name="_VTT_logo_102019_02_white_on_black" hidden="1">
              <a:extLst>
                <a:ext uri="{FF2B5EF4-FFF2-40B4-BE49-F238E27FC236}">
                  <a16:creationId xmlns:a16="http://schemas.microsoft.com/office/drawing/2014/main" id="{C6D0B344-0622-7C8F-A853-383C62754F49}"/>
                </a:ext>
              </a:extLst>
            </p:cNvPr>
            <p:cNvGrpSpPr>
              <a:grpSpLocks/>
            </p:cNvGrpSpPr>
            <p:nvPr userDrawn="1"/>
          </p:nvGrpSpPr>
          <p:grpSpPr bwMode="auto">
            <a:xfrm>
              <a:off x="7909204" y="1770762"/>
              <a:ext cx="971550" cy="655638"/>
              <a:chOff x="379933" y="-15999"/>
              <a:chExt cx="971550" cy="655638"/>
            </a:xfrm>
          </p:grpSpPr>
          <p:sp>
            <p:nvSpPr>
              <p:cNvPr id="42" name="Box">
                <a:extLst>
                  <a:ext uri="{FF2B5EF4-FFF2-40B4-BE49-F238E27FC236}">
                    <a16:creationId xmlns:a16="http://schemas.microsoft.com/office/drawing/2014/main" id="{52567225-B453-8CC4-E8B6-5E872E7154D1}"/>
                  </a:ext>
                </a:extLst>
              </p:cNvPr>
              <p:cNvSpPr>
                <a:spLocks noChangeArrowheads="1"/>
              </p:cNvSpPr>
              <p:nvPr userDrawn="1"/>
            </p:nvSpPr>
            <p:spPr bwMode="auto">
              <a:xfrm>
                <a:off x="379933" y="-15999"/>
                <a:ext cx="971550" cy="655638"/>
              </a:xfrm>
              <a:prstGeom prst="rect">
                <a:avLst/>
              </a:prstGeom>
              <a:solidFill>
                <a:srgbClr val="000000"/>
              </a:solidFill>
              <a:ln>
                <a:noFill/>
              </a:ln>
            </p:spPr>
            <p:txBody>
              <a:bodyPr/>
              <a:lstStyle>
                <a:lvl1pPr defTabSz="455613">
                  <a:defRPr b="1">
                    <a:solidFill>
                      <a:schemeClr val="tx1"/>
                    </a:solidFill>
                    <a:latin typeface="Verdana" panose="020B0604030504040204" pitchFamily="34" charset="0"/>
                  </a:defRPr>
                </a:lvl1pPr>
                <a:lvl2pPr marL="742950" indent="-285750" defTabSz="455613">
                  <a:defRPr b="1">
                    <a:solidFill>
                      <a:schemeClr val="tx1"/>
                    </a:solidFill>
                    <a:latin typeface="Verdana" panose="020B0604030504040204" pitchFamily="34" charset="0"/>
                  </a:defRPr>
                </a:lvl2pPr>
                <a:lvl3pPr marL="1143000" indent="-228600" defTabSz="455613">
                  <a:defRPr b="1">
                    <a:solidFill>
                      <a:schemeClr val="tx1"/>
                    </a:solidFill>
                    <a:latin typeface="Verdana" panose="020B0604030504040204" pitchFamily="34" charset="0"/>
                  </a:defRPr>
                </a:lvl3pPr>
                <a:lvl4pPr marL="1600200" indent="-228600" defTabSz="455613">
                  <a:defRPr b="1">
                    <a:solidFill>
                      <a:schemeClr val="tx1"/>
                    </a:solidFill>
                    <a:latin typeface="Verdana" panose="020B0604030504040204" pitchFamily="34" charset="0"/>
                  </a:defRPr>
                </a:lvl4pPr>
                <a:lvl5pPr marL="2057400" indent="-228600" defTabSz="455613">
                  <a:defRPr b="1">
                    <a:solidFill>
                      <a:schemeClr val="tx1"/>
                    </a:solidFill>
                    <a:latin typeface="Verdana" panose="020B0604030504040204" pitchFamily="34" charset="0"/>
                  </a:defRPr>
                </a:lvl5pPr>
                <a:lvl6pPr marL="2514600" indent="-228600" defTabSz="455613" eaLnBrk="0" fontAlgn="base" hangingPunct="0">
                  <a:spcBef>
                    <a:spcPct val="0"/>
                  </a:spcBef>
                  <a:spcAft>
                    <a:spcPct val="0"/>
                  </a:spcAft>
                  <a:defRPr b="1">
                    <a:solidFill>
                      <a:schemeClr val="tx1"/>
                    </a:solidFill>
                    <a:latin typeface="Verdana" panose="020B0604030504040204" pitchFamily="34" charset="0"/>
                  </a:defRPr>
                </a:lvl6pPr>
                <a:lvl7pPr marL="2971800" indent="-228600" defTabSz="455613" eaLnBrk="0" fontAlgn="base" hangingPunct="0">
                  <a:spcBef>
                    <a:spcPct val="0"/>
                  </a:spcBef>
                  <a:spcAft>
                    <a:spcPct val="0"/>
                  </a:spcAft>
                  <a:defRPr b="1">
                    <a:solidFill>
                      <a:schemeClr val="tx1"/>
                    </a:solidFill>
                    <a:latin typeface="Verdana" panose="020B0604030504040204" pitchFamily="34" charset="0"/>
                  </a:defRPr>
                </a:lvl7pPr>
                <a:lvl8pPr marL="3429000" indent="-228600" defTabSz="455613" eaLnBrk="0" fontAlgn="base" hangingPunct="0">
                  <a:spcBef>
                    <a:spcPct val="0"/>
                  </a:spcBef>
                  <a:spcAft>
                    <a:spcPct val="0"/>
                  </a:spcAft>
                  <a:defRPr b="1">
                    <a:solidFill>
                      <a:schemeClr val="tx1"/>
                    </a:solidFill>
                    <a:latin typeface="Verdana" panose="020B0604030504040204" pitchFamily="34" charset="0"/>
                  </a:defRPr>
                </a:lvl8pPr>
                <a:lvl9pPr marL="3886200" indent="-228600" defTabSz="455613" eaLnBrk="0" fontAlgn="base" hangingPunct="0">
                  <a:spcBef>
                    <a:spcPct val="0"/>
                  </a:spcBef>
                  <a:spcAft>
                    <a:spcPct val="0"/>
                  </a:spcAft>
                  <a:defRPr b="1">
                    <a:solidFill>
                      <a:schemeClr val="tx1"/>
                    </a:solidFill>
                    <a:latin typeface="Verdana" panose="020B0604030504040204" pitchFamily="34" charset="0"/>
                  </a:defRPr>
                </a:lvl9pPr>
              </a:lstStyle>
              <a:p>
                <a:pPr eaLnBrk="1" hangingPunct="1">
                  <a:defRPr/>
                </a:pPr>
                <a:endParaRPr lang="en-GB" altLang="de-DE" b="0">
                  <a:solidFill>
                    <a:srgbClr val="000000"/>
                  </a:solidFill>
                  <a:latin typeface="Arial" panose="020B0604020202020204" pitchFamily="34" charset="0"/>
                </a:endParaRPr>
              </a:p>
            </p:txBody>
          </p:sp>
          <p:sp>
            <p:nvSpPr>
              <p:cNvPr id="43" name="T2">
                <a:extLst>
                  <a:ext uri="{FF2B5EF4-FFF2-40B4-BE49-F238E27FC236}">
                    <a16:creationId xmlns:a16="http://schemas.microsoft.com/office/drawing/2014/main" id="{662E6BC3-4975-53C8-38B2-EF70D1AEF0BD}"/>
                  </a:ext>
                </a:extLst>
              </p:cNvPr>
              <p:cNvSpPr>
                <a:spLocks/>
              </p:cNvSpPr>
              <p:nvPr userDrawn="1"/>
            </p:nvSpPr>
            <p:spPr bwMode="auto">
              <a:xfrm>
                <a:off x="1011758" y="168151"/>
                <a:ext cx="176213" cy="258763"/>
              </a:xfrm>
              <a:custGeom>
                <a:avLst/>
                <a:gdLst>
                  <a:gd name="T0" fmla="*/ 98916612 w 222"/>
                  <a:gd name="T1" fmla="*/ 206025508 h 325"/>
                  <a:gd name="T2" fmla="*/ 98916612 w 222"/>
                  <a:gd name="T3" fmla="*/ 49446026 h 325"/>
                  <a:gd name="T4" fmla="*/ 139869466 w 222"/>
                  <a:gd name="T5" fmla="*/ 49446026 h 325"/>
                  <a:gd name="T6" fmla="*/ 139869466 w 222"/>
                  <a:gd name="T7" fmla="*/ 0 h 325"/>
                  <a:gd name="T8" fmla="*/ 0 w 222"/>
                  <a:gd name="T9" fmla="*/ 0 h 325"/>
                  <a:gd name="T10" fmla="*/ 0 w 222"/>
                  <a:gd name="T11" fmla="*/ 49446026 h 325"/>
                  <a:gd name="T12" fmla="*/ 41583093 w 222"/>
                  <a:gd name="T13" fmla="*/ 49446026 h 325"/>
                  <a:gd name="T14" fmla="*/ 41583093 w 222"/>
                  <a:gd name="T15" fmla="*/ 206025508 h 325"/>
                  <a:gd name="T16" fmla="*/ 41583093 w 222"/>
                  <a:gd name="T17" fmla="*/ 206025508 h 325"/>
                  <a:gd name="T18" fmla="*/ 98916612 w 222"/>
                  <a:gd name="T19" fmla="*/ 206025508 h 3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22" h="325">
                    <a:moveTo>
                      <a:pt x="157" y="325"/>
                    </a:moveTo>
                    <a:lnTo>
                      <a:pt x="157" y="78"/>
                    </a:lnTo>
                    <a:lnTo>
                      <a:pt x="222" y="78"/>
                    </a:lnTo>
                    <a:lnTo>
                      <a:pt x="222" y="0"/>
                    </a:lnTo>
                    <a:lnTo>
                      <a:pt x="0" y="0"/>
                    </a:lnTo>
                    <a:lnTo>
                      <a:pt x="0" y="78"/>
                    </a:lnTo>
                    <a:lnTo>
                      <a:pt x="66" y="78"/>
                    </a:lnTo>
                    <a:lnTo>
                      <a:pt x="66" y="325"/>
                    </a:lnTo>
                    <a:lnTo>
                      <a:pt x="157" y="3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44" name="T1">
                <a:extLst>
                  <a:ext uri="{FF2B5EF4-FFF2-40B4-BE49-F238E27FC236}">
                    <a16:creationId xmlns:a16="http://schemas.microsoft.com/office/drawing/2014/main" id="{75718846-732D-9ADF-4CFD-47B6AA3A6680}"/>
                  </a:ext>
                </a:extLst>
              </p:cNvPr>
              <p:cNvSpPr>
                <a:spLocks/>
              </p:cNvSpPr>
              <p:nvPr userDrawn="1"/>
            </p:nvSpPr>
            <p:spPr bwMode="auto">
              <a:xfrm>
                <a:off x="799033" y="168151"/>
                <a:ext cx="193675" cy="258763"/>
              </a:xfrm>
              <a:custGeom>
                <a:avLst/>
                <a:gdLst>
                  <a:gd name="T0" fmla="*/ 55443438 w 244"/>
                  <a:gd name="T1" fmla="*/ 49446026 h 325"/>
                  <a:gd name="T2" fmla="*/ 55443438 w 244"/>
                  <a:gd name="T3" fmla="*/ 206025508 h 325"/>
                  <a:gd name="T4" fmla="*/ 112776794 w 244"/>
                  <a:gd name="T5" fmla="*/ 206025508 h 325"/>
                  <a:gd name="T6" fmla="*/ 112776794 w 244"/>
                  <a:gd name="T7" fmla="*/ 49446026 h 325"/>
                  <a:gd name="T8" fmla="*/ 153729531 w 244"/>
                  <a:gd name="T9" fmla="*/ 49446026 h 325"/>
                  <a:gd name="T10" fmla="*/ 153729531 w 244"/>
                  <a:gd name="T11" fmla="*/ 0 h 325"/>
                  <a:gd name="T12" fmla="*/ 15751175 w 244"/>
                  <a:gd name="T13" fmla="*/ 0 h 325"/>
                  <a:gd name="T14" fmla="*/ 0 w 244"/>
                  <a:gd name="T15" fmla="*/ 49446026 h 325"/>
                  <a:gd name="T16" fmla="*/ 55443438 w 244"/>
                  <a:gd name="T17" fmla="*/ 49446026 h 3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44" h="325">
                    <a:moveTo>
                      <a:pt x="88" y="78"/>
                    </a:moveTo>
                    <a:lnTo>
                      <a:pt x="88" y="325"/>
                    </a:lnTo>
                    <a:lnTo>
                      <a:pt x="179" y="325"/>
                    </a:lnTo>
                    <a:lnTo>
                      <a:pt x="179" y="78"/>
                    </a:lnTo>
                    <a:lnTo>
                      <a:pt x="244" y="78"/>
                    </a:lnTo>
                    <a:lnTo>
                      <a:pt x="244" y="0"/>
                    </a:lnTo>
                    <a:lnTo>
                      <a:pt x="25" y="0"/>
                    </a:lnTo>
                    <a:lnTo>
                      <a:pt x="0" y="78"/>
                    </a:lnTo>
                    <a:lnTo>
                      <a:pt x="88"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45" name="V">
                <a:extLst>
                  <a:ext uri="{FF2B5EF4-FFF2-40B4-BE49-F238E27FC236}">
                    <a16:creationId xmlns:a16="http://schemas.microsoft.com/office/drawing/2014/main" id="{FEF41659-E75B-AAA5-4824-B2E441BAFBF0}"/>
                  </a:ext>
                </a:extLst>
              </p:cNvPr>
              <p:cNvSpPr>
                <a:spLocks/>
              </p:cNvSpPr>
              <p:nvPr userDrawn="1"/>
            </p:nvSpPr>
            <p:spPr bwMode="auto">
              <a:xfrm>
                <a:off x="567258" y="168151"/>
                <a:ext cx="230188" cy="258763"/>
              </a:xfrm>
              <a:custGeom>
                <a:avLst/>
                <a:gdLst>
                  <a:gd name="T0" fmla="*/ 116731600 w 289"/>
                  <a:gd name="T1" fmla="*/ 206025508 h 325"/>
                  <a:gd name="T2" fmla="*/ 183344344 w 289"/>
                  <a:gd name="T3" fmla="*/ 0 h 325"/>
                  <a:gd name="T4" fmla="*/ 124978544 w 289"/>
                  <a:gd name="T5" fmla="*/ 0 h 325"/>
                  <a:gd name="T6" fmla="*/ 90720356 w 289"/>
                  <a:gd name="T7" fmla="*/ 105865119 h 325"/>
                  <a:gd name="T8" fmla="*/ 85645069 w 289"/>
                  <a:gd name="T9" fmla="*/ 121079587 h 325"/>
                  <a:gd name="T10" fmla="*/ 85645069 w 289"/>
                  <a:gd name="T11" fmla="*/ 121079587 h 325"/>
                  <a:gd name="T12" fmla="*/ 85645069 w 289"/>
                  <a:gd name="T13" fmla="*/ 121079587 h 325"/>
                  <a:gd name="T14" fmla="*/ 85645069 w 289"/>
                  <a:gd name="T15" fmla="*/ 121079587 h 325"/>
                  <a:gd name="T16" fmla="*/ 85645069 w 289"/>
                  <a:gd name="T17" fmla="*/ 121079587 h 325"/>
                  <a:gd name="T18" fmla="*/ 85645069 w 289"/>
                  <a:gd name="T19" fmla="*/ 121079587 h 325"/>
                  <a:gd name="T20" fmla="*/ 85645069 w 289"/>
                  <a:gd name="T21" fmla="*/ 121079587 h 325"/>
                  <a:gd name="T22" fmla="*/ 81204592 w 289"/>
                  <a:gd name="T23" fmla="*/ 105865119 h 325"/>
                  <a:gd name="T24" fmla="*/ 57730991 w 289"/>
                  <a:gd name="T25" fmla="*/ 38035772 h 325"/>
                  <a:gd name="T26" fmla="*/ 0 w 289"/>
                  <a:gd name="T27" fmla="*/ 38035772 h 325"/>
                  <a:gd name="T28" fmla="*/ 57096978 w 289"/>
                  <a:gd name="T29" fmla="*/ 206025508 h 325"/>
                  <a:gd name="T30" fmla="*/ 116731600 w 289"/>
                  <a:gd name="T31" fmla="*/ 206025508 h 32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89" h="325">
                    <a:moveTo>
                      <a:pt x="184" y="325"/>
                    </a:moveTo>
                    <a:lnTo>
                      <a:pt x="289" y="0"/>
                    </a:lnTo>
                    <a:lnTo>
                      <a:pt x="197" y="0"/>
                    </a:lnTo>
                    <a:lnTo>
                      <a:pt x="143" y="167"/>
                    </a:lnTo>
                    <a:lnTo>
                      <a:pt x="135" y="191"/>
                    </a:lnTo>
                    <a:lnTo>
                      <a:pt x="128" y="167"/>
                    </a:lnTo>
                    <a:lnTo>
                      <a:pt x="91" y="60"/>
                    </a:lnTo>
                    <a:lnTo>
                      <a:pt x="0" y="60"/>
                    </a:lnTo>
                    <a:lnTo>
                      <a:pt x="90" y="325"/>
                    </a:lnTo>
                    <a:lnTo>
                      <a:pt x="184" y="3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grpSp>
          <p:nvGrpSpPr>
            <p:cNvPr id="6" name="_VTT_logo_102019_03_white_on_blue" hidden="1">
              <a:extLst>
                <a:ext uri="{FF2B5EF4-FFF2-40B4-BE49-F238E27FC236}">
                  <a16:creationId xmlns:a16="http://schemas.microsoft.com/office/drawing/2014/main" id="{DE72DF51-0B22-5C0C-CE6A-F818A7F0AED5}"/>
                </a:ext>
              </a:extLst>
            </p:cNvPr>
            <p:cNvGrpSpPr>
              <a:grpSpLocks/>
            </p:cNvGrpSpPr>
            <p:nvPr userDrawn="1"/>
          </p:nvGrpSpPr>
          <p:grpSpPr bwMode="auto">
            <a:xfrm>
              <a:off x="7909204" y="1770762"/>
              <a:ext cx="971550" cy="655638"/>
              <a:chOff x="379933" y="-15999"/>
              <a:chExt cx="971550" cy="655638"/>
            </a:xfrm>
          </p:grpSpPr>
          <p:sp>
            <p:nvSpPr>
              <p:cNvPr id="38" name="Box">
                <a:extLst>
                  <a:ext uri="{FF2B5EF4-FFF2-40B4-BE49-F238E27FC236}">
                    <a16:creationId xmlns:a16="http://schemas.microsoft.com/office/drawing/2014/main" id="{8D1EA4E3-FCA6-BF34-8DE6-D57B51043511}"/>
                  </a:ext>
                </a:extLst>
              </p:cNvPr>
              <p:cNvSpPr>
                <a:spLocks noChangeArrowheads="1"/>
              </p:cNvSpPr>
              <p:nvPr userDrawn="1"/>
            </p:nvSpPr>
            <p:spPr bwMode="auto">
              <a:xfrm>
                <a:off x="379933" y="-15999"/>
                <a:ext cx="971550" cy="655638"/>
              </a:xfrm>
              <a:prstGeom prst="rect">
                <a:avLst/>
              </a:prstGeom>
              <a:solidFill>
                <a:srgbClr val="005794"/>
              </a:solidFill>
              <a:ln>
                <a:noFill/>
              </a:ln>
            </p:spPr>
            <p:txBody>
              <a:bodyPr/>
              <a:lstStyle>
                <a:lvl1pPr defTabSz="455613">
                  <a:defRPr b="1">
                    <a:solidFill>
                      <a:schemeClr val="tx1"/>
                    </a:solidFill>
                    <a:latin typeface="Verdana" panose="020B0604030504040204" pitchFamily="34" charset="0"/>
                  </a:defRPr>
                </a:lvl1pPr>
                <a:lvl2pPr marL="742950" indent="-285750" defTabSz="455613">
                  <a:defRPr b="1">
                    <a:solidFill>
                      <a:schemeClr val="tx1"/>
                    </a:solidFill>
                    <a:latin typeface="Verdana" panose="020B0604030504040204" pitchFamily="34" charset="0"/>
                  </a:defRPr>
                </a:lvl2pPr>
                <a:lvl3pPr marL="1143000" indent="-228600" defTabSz="455613">
                  <a:defRPr b="1">
                    <a:solidFill>
                      <a:schemeClr val="tx1"/>
                    </a:solidFill>
                    <a:latin typeface="Verdana" panose="020B0604030504040204" pitchFamily="34" charset="0"/>
                  </a:defRPr>
                </a:lvl3pPr>
                <a:lvl4pPr marL="1600200" indent="-228600" defTabSz="455613">
                  <a:defRPr b="1">
                    <a:solidFill>
                      <a:schemeClr val="tx1"/>
                    </a:solidFill>
                    <a:latin typeface="Verdana" panose="020B0604030504040204" pitchFamily="34" charset="0"/>
                  </a:defRPr>
                </a:lvl4pPr>
                <a:lvl5pPr marL="2057400" indent="-228600" defTabSz="455613">
                  <a:defRPr b="1">
                    <a:solidFill>
                      <a:schemeClr val="tx1"/>
                    </a:solidFill>
                    <a:latin typeface="Verdana" panose="020B0604030504040204" pitchFamily="34" charset="0"/>
                  </a:defRPr>
                </a:lvl5pPr>
                <a:lvl6pPr marL="2514600" indent="-228600" defTabSz="455613" eaLnBrk="0" fontAlgn="base" hangingPunct="0">
                  <a:spcBef>
                    <a:spcPct val="0"/>
                  </a:spcBef>
                  <a:spcAft>
                    <a:spcPct val="0"/>
                  </a:spcAft>
                  <a:defRPr b="1">
                    <a:solidFill>
                      <a:schemeClr val="tx1"/>
                    </a:solidFill>
                    <a:latin typeface="Verdana" panose="020B0604030504040204" pitchFamily="34" charset="0"/>
                  </a:defRPr>
                </a:lvl6pPr>
                <a:lvl7pPr marL="2971800" indent="-228600" defTabSz="455613" eaLnBrk="0" fontAlgn="base" hangingPunct="0">
                  <a:spcBef>
                    <a:spcPct val="0"/>
                  </a:spcBef>
                  <a:spcAft>
                    <a:spcPct val="0"/>
                  </a:spcAft>
                  <a:defRPr b="1">
                    <a:solidFill>
                      <a:schemeClr val="tx1"/>
                    </a:solidFill>
                    <a:latin typeface="Verdana" panose="020B0604030504040204" pitchFamily="34" charset="0"/>
                  </a:defRPr>
                </a:lvl7pPr>
                <a:lvl8pPr marL="3429000" indent="-228600" defTabSz="455613" eaLnBrk="0" fontAlgn="base" hangingPunct="0">
                  <a:spcBef>
                    <a:spcPct val="0"/>
                  </a:spcBef>
                  <a:spcAft>
                    <a:spcPct val="0"/>
                  </a:spcAft>
                  <a:defRPr b="1">
                    <a:solidFill>
                      <a:schemeClr val="tx1"/>
                    </a:solidFill>
                    <a:latin typeface="Verdana" panose="020B0604030504040204" pitchFamily="34" charset="0"/>
                  </a:defRPr>
                </a:lvl8pPr>
                <a:lvl9pPr marL="3886200" indent="-228600" defTabSz="455613" eaLnBrk="0" fontAlgn="base" hangingPunct="0">
                  <a:spcBef>
                    <a:spcPct val="0"/>
                  </a:spcBef>
                  <a:spcAft>
                    <a:spcPct val="0"/>
                  </a:spcAft>
                  <a:defRPr b="1">
                    <a:solidFill>
                      <a:schemeClr val="tx1"/>
                    </a:solidFill>
                    <a:latin typeface="Verdana" panose="020B0604030504040204" pitchFamily="34" charset="0"/>
                  </a:defRPr>
                </a:lvl9pPr>
              </a:lstStyle>
              <a:p>
                <a:pPr eaLnBrk="1" hangingPunct="1">
                  <a:defRPr/>
                </a:pPr>
                <a:endParaRPr lang="en-GB" altLang="de-DE" b="0">
                  <a:solidFill>
                    <a:srgbClr val="000000"/>
                  </a:solidFill>
                  <a:latin typeface="Arial" panose="020B0604020202020204" pitchFamily="34" charset="0"/>
                </a:endParaRPr>
              </a:p>
            </p:txBody>
          </p:sp>
          <p:sp>
            <p:nvSpPr>
              <p:cNvPr id="39" name="T2">
                <a:extLst>
                  <a:ext uri="{FF2B5EF4-FFF2-40B4-BE49-F238E27FC236}">
                    <a16:creationId xmlns:a16="http://schemas.microsoft.com/office/drawing/2014/main" id="{A6D7E59F-69E0-3BFA-21A3-E460F0410C4D}"/>
                  </a:ext>
                </a:extLst>
              </p:cNvPr>
              <p:cNvSpPr>
                <a:spLocks/>
              </p:cNvSpPr>
              <p:nvPr userDrawn="1"/>
            </p:nvSpPr>
            <p:spPr bwMode="auto">
              <a:xfrm>
                <a:off x="1011758" y="168151"/>
                <a:ext cx="176213" cy="258763"/>
              </a:xfrm>
              <a:custGeom>
                <a:avLst/>
                <a:gdLst>
                  <a:gd name="T0" fmla="*/ 98916612 w 222"/>
                  <a:gd name="T1" fmla="*/ 206025508 h 325"/>
                  <a:gd name="T2" fmla="*/ 98916612 w 222"/>
                  <a:gd name="T3" fmla="*/ 49446026 h 325"/>
                  <a:gd name="T4" fmla="*/ 139869466 w 222"/>
                  <a:gd name="T5" fmla="*/ 49446026 h 325"/>
                  <a:gd name="T6" fmla="*/ 139869466 w 222"/>
                  <a:gd name="T7" fmla="*/ 0 h 325"/>
                  <a:gd name="T8" fmla="*/ 0 w 222"/>
                  <a:gd name="T9" fmla="*/ 0 h 325"/>
                  <a:gd name="T10" fmla="*/ 0 w 222"/>
                  <a:gd name="T11" fmla="*/ 49446026 h 325"/>
                  <a:gd name="T12" fmla="*/ 41583093 w 222"/>
                  <a:gd name="T13" fmla="*/ 49446026 h 325"/>
                  <a:gd name="T14" fmla="*/ 41583093 w 222"/>
                  <a:gd name="T15" fmla="*/ 206025508 h 325"/>
                  <a:gd name="T16" fmla="*/ 41583093 w 222"/>
                  <a:gd name="T17" fmla="*/ 206025508 h 325"/>
                  <a:gd name="T18" fmla="*/ 98916612 w 222"/>
                  <a:gd name="T19" fmla="*/ 206025508 h 3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22" h="325">
                    <a:moveTo>
                      <a:pt x="157" y="325"/>
                    </a:moveTo>
                    <a:lnTo>
                      <a:pt x="157" y="78"/>
                    </a:lnTo>
                    <a:lnTo>
                      <a:pt x="222" y="78"/>
                    </a:lnTo>
                    <a:lnTo>
                      <a:pt x="222" y="0"/>
                    </a:lnTo>
                    <a:lnTo>
                      <a:pt x="0" y="0"/>
                    </a:lnTo>
                    <a:lnTo>
                      <a:pt x="0" y="78"/>
                    </a:lnTo>
                    <a:lnTo>
                      <a:pt x="66" y="78"/>
                    </a:lnTo>
                    <a:lnTo>
                      <a:pt x="66" y="325"/>
                    </a:lnTo>
                    <a:lnTo>
                      <a:pt x="157" y="3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40" name="T1">
                <a:extLst>
                  <a:ext uri="{FF2B5EF4-FFF2-40B4-BE49-F238E27FC236}">
                    <a16:creationId xmlns:a16="http://schemas.microsoft.com/office/drawing/2014/main" id="{045747C3-C5EC-6E4A-7468-5F2E5F95A43B}"/>
                  </a:ext>
                </a:extLst>
              </p:cNvPr>
              <p:cNvSpPr>
                <a:spLocks/>
              </p:cNvSpPr>
              <p:nvPr userDrawn="1"/>
            </p:nvSpPr>
            <p:spPr bwMode="auto">
              <a:xfrm>
                <a:off x="799033" y="168151"/>
                <a:ext cx="193675" cy="258763"/>
              </a:xfrm>
              <a:custGeom>
                <a:avLst/>
                <a:gdLst>
                  <a:gd name="T0" fmla="*/ 55443438 w 244"/>
                  <a:gd name="T1" fmla="*/ 49446026 h 325"/>
                  <a:gd name="T2" fmla="*/ 55443438 w 244"/>
                  <a:gd name="T3" fmla="*/ 206025508 h 325"/>
                  <a:gd name="T4" fmla="*/ 112776794 w 244"/>
                  <a:gd name="T5" fmla="*/ 206025508 h 325"/>
                  <a:gd name="T6" fmla="*/ 112776794 w 244"/>
                  <a:gd name="T7" fmla="*/ 49446026 h 325"/>
                  <a:gd name="T8" fmla="*/ 153729531 w 244"/>
                  <a:gd name="T9" fmla="*/ 49446026 h 325"/>
                  <a:gd name="T10" fmla="*/ 153729531 w 244"/>
                  <a:gd name="T11" fmla="*/ 0 h 325"/>
                  <a:gd name="T12" fmla="*/ 15751175 w 244"/>
                  <a:gd name="T13" fmla="*/ 0 h 325"/>
                  <a:gd name="T14" fmla="*/ 0 w 244"/>
                  <a:gd name="T15" fmla="*/ 49446026 h 325"/>
                  <a:gd name="T16" fmla="*/ 55443438 w 244"/>
                  <a:gd name="T17" fmla="*/ 49446026 h 3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44" h="325">
                    <a:moveTo>
                      <a:pt x="88" y="78"/>
                    </a:moveTo>
                    <a:lnTo>
                      <a:pt x="88" y="325"/>
                    </a:lnTo>
                    <a:lnTo>
                      <a:pt x="179" y="325"/>
                    </a:lnTo>
                    <a:lnTo>
                      <a:pt x="179" y="78"/>
                    </a:lnTo>
                    <a:lnTo>
                      <a:pt x="244" y="78"/>
                    </a:lnTo>
                    <a:lnTo>
                      <a:pt x="244" y="0"/>
                    </a:lnTo>
                    <a:lnTo>
                      <a:pt x="25" y="0"/>
                    </a:lnTo>
                    <a:lnTo>
                      <a:pt x="0" y="78"/>
                    </a:lnTo>
                    <a:lnTo>
                      <a:pt x="88"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41" name="V">
                <a:extLst>
                  <a:ext uri="{FF2B5EF4-FFF2-40B4-BE49-F238E27FC236}">
                    <a16:creationId xmlns:a16="http://schemas.microsoft.com/office/drawing/2014/main" id="{C6917BC8-F013-7B71-3C23-42D7EA198BEC}"/>
                  </a:ext>
                </a:extLst>
              </p:cNvPr>
              <p:cNvSpPr>
                <a:spLocks/>
              </p:cNvSpPr>
              <p:nvPr userDrawn="1"/>
            </p:nvSpPr>
            <p:spPr bwMode="auto">
              <a:xfrm>
                <a:off x="567258" y="168151"/>
                <a:ext cx="230188" cy="258763"/>
              </a:xfrm>
              <a:custGeom>
                <a:avLst/>
                <a:gdLst>
                  <a:gd name="T0" fmla="*/ 116731600 w 289"/>
                  <a:gd name="T1" fmla="*/ 206025508 h 325"/>
                  <a:gd name="T2" fmla="*/ 183344344 w 289"/>
                  <a:gd name="T3" fmla="*/ 0 h 325"/>
                  <a:gd name="T4" fmla="*/ 124978544 w 289"/>
                  <a:gd name="T5" fmla="*/ 0 h 325"/>
                  <a:gd name="T6" fmla="*/ 90720356 w 289"/>
                  <a:gd name="T7" fmla="*/ 105865119 h 325"/>
                  <a:gd name="T8" fmla="*/ 85645069 w 289"/>
                  <a:gd name="T9" fmla="*/ 121079587 h 325"/>
                  <a:gd name="T10" fmla="*/ 85645069 w 289"/>
                  <a:gd name="T11" fmla="*/ 121079587 h 325"/>
                  <a:gd name="T12" fmla="*/ 85645069 w 289"/>
                  <a:gd name="T13" fmla="*/ 121079587 h 325"/>
                  <a:gd name="T14" fmla="*/ 85645069 w 289"/>
                  <a:gd name="T15" fmla="*/ 121079587 h 325"/>
                  <a:gd name="T16" fmla="*/ 85645069 w 289"/>
                  <a:gd name="T17" fmla="*/ 121079587 h 325"/>
                  <a:gd name="T18" fmla="*/ 85645069 w 289"/>
                  <a:gd name="T19" fmla="*/ 121079587 h 325"/>
                  <a:gd name="T20" fmla="*/ 85645069 w 289"/>
                  <a:gd name="T21" fmla="*/ 121079587 h 325"/>
                  <a:gd name="T22" fmla="*/ 81204592 w 289"/>
                  <a:gd name="T23" fmla="*/ 105865119 h 325"/>
                  <a:gd name="T24" fmla="*/ 57730991 w 289"/>
                  <a:gd name="T25" fmla="*/ 38035772 h 325"/>
                  <a:gd name="T26" fmla="*/ 0 w 289"/>
                  <a:gd name="T27" fmla="*/ 38035772 h 325"/>
                  <a:gd name="T28" fmla="*/ 57096978 w 289"/>
                  <a:gd name="T29" fmla="*/ 206025508 h 325"/>
                  <a:gd name="T30" fmla="*/ 116731600 w 289"/>
                  <a:gd name="T31" fmla="*/ 206025508 h 32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89" h="325">
                    <a:moveTo>
                      <a:pt x="184" y="325"/>
                    </a:moveTo>
                    <a:lnTo>
                      <a:pt x="289" y="0"/>
                    </a:lnTo>
                    <a:lnTo>
                      <a:pt x="197" y="0"/>
                    </a:lnTo>
                    <a:lnTo>
                      <a:pt x="143" y="167"/>
                    </a:lnTo>
                    <a:lnTo>
                      <a:pt x="135" y="191"/>
                    </a:lnTo>
                    <a:lnTo>
                      <a:pt x="128" y="167"/>
                    </a:lnTo>
                    <a:lnTo>
                      <a:pt x="91" y="60"/>
                    </a:lnTo>
                    <a:lnTo>
                      <a:pt x="0" y="60"/>
                    </a:lnTo>
                    <a:lnTo>
                      <a:pt x="90" y="325"/>
                    </a:lnTo>
                    <a:lnTo>
                      <a:pt x="184" y="3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grpSp>
          <p:nvGrpSpPr>
            <p:cNvPr id="7" name="_VTT_logo_102019_04_white_on_dark_grey" hidden="1">
              <a:extLst>
                <a:ext uri="{FF2B5EF4-FFF2-40B4-BE49-F238E27FC236}">
                  <a16:creationId xmlns:a16="http://schemas.microsoft.com/office/drawing/2014/main" id="{494CB23B-AC02-5A48-C20A-B331AE6B07F2}"/>
                </a:ext>
              </a:extLst>
            </p:cNvPr>
            <p:cNvGrpSpPr>
              <a:grpSpLocks/>
            </p:cNvGrpSpPr>
            <p:nvPr userDrawn="1"/>
          </p:nvGrpSpPr>
          <p:grpSpPr bwMode="auto">
            <a:xfrm>
              <a:off x="7909204" y="1770762"/>
              <a:ext cx="971550" cy="655638"/>
              <a:chOff x="379933" y="-15999"/>
              <a:chExt cx="971550" cy="655638"/>
            </a:xfrm>
          </p:grpSpPr>
          <p:sp>
            <p:nvSpPr>
              <p:cNvPr id="34" name="Box">
                <a:extLst>
                  <a:ext uri="{FF2B5EF4-FFF2-40B4-BE49-F238E27FC236}">
                    <a16:creationId xmlns:a16="http://schemas.microsoft.com/office/drawing/2014/main" id="{D2D6E31C-6EAD-63AC-5915-8E2B24D62054}"/>
                  </a:ext>
                </a:extLst>
              </p:cNvPr>
              <p:cNvSpPr>
                <a:spLocks noChangeArrowheads="1"/>
              </p:cNvSpPr>
              <p:nvPr userDrawn="1"/>
            </p:nvSpPr>
            <p:spPr bwMode="auto">
              <a:xfrm>
                <a:off x="379933" y="-15999"/>
                <a:ext cx="971550" cy="655638"/>
              </a:xfrm>
              <a:prstGeom prst="rect">
                <a:avLst/>
              </a:prstGeom>
              <a:solidFill>
                <a:srgbClr val="AFAFAF"/>
              </a:solidFill>
              <a:ln>
                <a:noFill/>
              </a:ln>
            </p:spPr>
            <p:txBody>
              <a:bodyPr/>
              <a:lstStyle>
                <a:lvl1pPr defTabSz="455613">
                  <a:defRPr b="1">
                    <a:solidFill>
                      <a:schemeClr val="tx1"/>
                    </a:solidFill>
                    <a:latin typeface="Verdana" panose="020B0604030504040204" pitchFamily="34" charset="0"/>
                  </a:defRPr>
                </a:lvl1pPr>
                <a:lvl2pPr marL="742950" indent="-285750" defTabSz="455613">
                  <a:defRPr b="1">
                    <a:solidFill>
                      <a:schemeClr val="tx1"/>
                    </a:solidFill>
                    <a:latin typeface="Verdana" panose="020B0604030504040204" pitchFamily="34" charset="0"/>
                  </a:defRPr>
                </a:lvl2pPr>
                <a:lvl3pPr marL="1143000" indent="-228600" defTabSz="455613">
                  <a:defRPr b="1">
                    <a:solidFill>
                      <a:schemeClr val="tx1"/>
                    </a:solidFill>
                    <a:latin typeface="Verdana" panose="020B0604030504040204" pitchFamily="34" charset="0"/>
                  </a:defRPr>
                </a:lvl3pPr>
                <a:lvl4pPr marL="1600200" indent="-228600" defTabSz="455613">
                  <a:defRPr b="1">
                    <a:solidFill>
                      <a:schemeClr val="tx1"/>
                    </a:solidFill>
                    <a:latin typeface="Verdana" panose="020B0604030504040204" pitchFamily="34" charset="0"/>
                  </a:defRPr>
                </a:lvl4pPr>
                <a:lvl5pPr marL="2057400" indent="-228600" defTabSz="455613">
                  <a:defRPr b="1">
                    <a:solidFill>
                      <a:schemeClr val="tx1"/>
                    </a:solidFill>
                    <a:latin typeface="Verdana" panose="020B0604030504040204" pitchFamily="34" charset="0"/>
                  </a:defRPr>
                </a:lvl5pPr>
                <a:lvl6pPr marL="2514600" indent="-228600" defTabSz="455613" eaLnBrk="0" fontAlgn="base" hangingPunct="0">
                  <a:spcBef>
                    <a:spcPct val="0"/>
                  </a:spcBef>
                  <a:spcAft>
                    <a:spcPct val="0"/>
                  </a:spcAft>
                  <a:defRPr b="1">
                    <a:solidFill>
                      <a:schemeClr val="tx1"/>
                    </a:solidFill>
                    <a:latin typeface="Verdana" panose="020B0604030504040204" pitchFamily="34" charset="0"/>
                  </a:defRPr>
                </a:lvl6pPr>
                <a:lvl7pPr marL="2971800" indent="-228600" defTabSz="455613" eaLnBrk="0" fontAlgn="base" hangingPunct="0">
                  <a:spcBef>
                    <a:spcPct val="0"/>
                  </a:spcBef>
                  <a:spcAft>
                    <a:spcPct val="0"/>
                  </a:spcAft>
                  <a:defRPr b="1">
                    <a:solidFill>
                      <a:schemeClr val="tx1"/>
                    </a:solidFill>
                    <a:latin typeface="Verdana" panose="020B0604030504040204" pitchFamily="34" charset="0"/>
                  </a:defRPr>
                </a:lvl7pPr>
                <a:lvl8pPr marL="3429000" indent="-228600" defTabSz="455613" eaLnBrk="0" fontAlgn="base" hangingPunct="0">
                  <a:spcBef>
                    <a:spcPct val="0"/>
                  </a:spcBef>
                  <a:spcAft>
                    <a:spcPct val="0"/>
                  </a:spcAft>
                  <a:defRPr b="1">
                    <a:solidFill>
                      <a:schemeClr val="tx1"/>
                    </a:solidFill>
                    <a:latin typeface="Verdana" panose="020B0604030504040204" pitchFamily="34" charset="0"/>
                  </a:defRPr>
                </a:lvl8pPr>
                <a:lvl9pPr marL="3886200" indent="-228600" defTabSz="455613" eaLnBrk="0" fontAlgn="base" hangingPunct="0">
                  <a:spcBef>
                    <a:spcPct val="0"/>
                  </a:spcBef>
                  <a:spcAft>
                    <a:spcPct val="0"/>
                  </a:spcAft>
                  <a:defRPr b="1">
                    <a:solidFill>
                      <a:schemeClr val="tx1"/>
                    </a:solidFill>
                    <a:latin typeface="Verdana" panose="020B0604030504040204" pitchFamily="34" charset="0"/>
                  </a:defRPr>
                </a:lvl9pPr>
              </a:lstStyle>
              <a:p>
                <a:pPr eaLnBrk="1" hangingPunct="1">
                  <a:defRPr/>
                </a:pPr>
                <a:endParaRPr lang="en-GB" altLang="de-DE" b="0">
                  <a:solidFill>
                    <a:srgbClr val="000000"/>
                  </a:solidFill>
                  <a:latin typeface="Arial" panose="020B0604020202020204" pitchFamily="34" charset="0"/>
                </a:endParaRPr>
              </a:p>
            </p:txBody>
          </p:sp>
          <p:sp>
            <p:nvSpPr>
              <p:cNvPr id="35" name="T2">
                <a:extLst>
                  <a:ext uri="{FF2B5EF4-FFF2-40B4-BE49-F238E27FC236}">
                    <a16:creationId xmlns:a16="http://schemas.microsoft.com/office/drawing/2014/main" id="{C3FDF182-3226-6B9B-5264-F5127C9D1917}"/>
                  </a:ext>
                </a:extLst>
              </p:cNvPr>
              <p:cNvSpPr>
                <a:spLocks/>
              </p:cNvSpPr>
              <p:nvPr userDrawn="1"/>
            </p:nvSpPr>
            <p:spPr bwMode="auto">
              <a:xfrm>
                <a:off x="1011758" y="168151"/>
                <a:ext cx="176213" cy="258763"/>
              </a:xfrm>
              <a:custGeom>
                <a:avLst/>
                <a:gdLst>
                  <a:gd name="T0" fmla="*/ 98916612 w 222"/>
                  <a:gd name="T1" fmla="*/ 206025508 h 325"/>
                  <a:gd name="T2" fmla="*/ 98916612 w 222"/>
                  <a:gd name="T3" fmla="*/ 49446026 h 325"/>
                  <a:gd name="T4" fmla="*/ 139869466 w 222"/>
                  <a:gd name="T5" fmla="*/ 49446026 h 325"/>
                  <a:gd name="T6" fmla="*/ 139869466 w 222"/>
                  <a:gd name="T7" fmla="*/ 0 h 325"/>
                  <a:gd name="T8" fmla="*/ 0 w 222"/>
                  <a:gd name="T9" fmla="*/ 0 h 325"/>
                  <a:gd name="T10" fmla="*/ 0 w 222"/>
                  <a:gd name="T11" fmla="*/ 49446026 h 325"/>
                  <a:gd name="T12" fmla="*/ 41583093 w 222"/>
                  <a:gd name="T13" fmla="*/ 49446026 h 325"/>
                  <a:gd name="T14" fmla="*/ 41583093 w 222"/>
                  <a:gd name="T15" fmla="*/ 206025508 h 325"/>
                  <a:gd name="T16" fmla="*/ 41583093 w 222"/>
                  <a:gd name="T17" fmla="*/ 206025508 h 325"/>
                  <a:gd name="T18" fmla="*/ 98916612 w 222"/>
                  <a:gd name="T19" fmla="*/ 206025508 h 3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22" h="325">
                    <a:moveTo>
                      <a:pt x="157" y="325"/>
                    </a:moveTo>
                    <a:lnTo>
                      <a:pt x="157" y="78"/>
                    </a:lnTo>
                    <a:lnTo>
                      <a:pt x="222" y="78"/>
                    </a:lnTo>
                    <a:lnTo>
                      <a:pt x="222" y="0"/>
                    </a:lnTo>
                    <a:lnTo>
                      <a:pt x="0" y="0"/>
                    </a:lnTo>
                    <a:lnTo>
                      <a:pt x="0" y="78"/>
                    </a:lnTo>
                    <a:lnTo>
                      <a:pt x="66" y="78"/>
                    </a:lnTo>
                    <a:lnTo>
                      <a:pt x="66" y="325"/>
                    </a:lnTo>
                    <a:lnTo>
                      <a:pt x="157" y="3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36" name="T1">
                <a:extLst>
                  <a:ext uri="{FF2B5EF4-FFF2-40B4-BE49-F238E27FC236}">
                    <a16:creationId xmlns:a16="http://schemas.microsoft.com/office/drawing/2014/main" id="{E3FC643F-79AB-647C-4B59-43F1735AC833}"/>
                  </a:ext>
                </a:extLst>
              </p:cNvPr>
              <p:cNvSpPr>
                <a:spLocks/>
              </p:cNvSpPr>
              <p:nvPr userDrawn="1"/>
            </p:nvSpPr>
            <p:spPr bwMode="auto">
              <a:xfrm>
                <a:off x="799033" y="168151"/>
                <a:ext cx="193675" cy="258763"/>
              </a:xfrm>
              <a:custGeom>
                <a:avLst/>
                <a:gdLst>
                  <a:gd name="T0" fmla="*/ 55443438 w 244"/>
                  <a:gd name="T1" fmla="*/ 49446026 h 325"/>
                  <a:gd name="T2" fmla="*/ 55443438 w 244"/>
                  <a:gd name="T3" fmla="*/ 206025508 h 325"/>
                  <a:gd name="T4" fmla="*/ 112776794 w 244"/>
                  <a:gd name="T5" fmla="*/ 206025508 h 325"/>
                  <a:gd name="T6" fmla="*/ 112776794 w 244"/>
                  <a:gd name="T7" fmla="*/ 49446026 h 325"/>
                  <a:gd name="T8" fmla="*/ 153729531 w 244"/>
                  <a:gd name="T9" fmla="*/ 49446026 h 325"/>
                  <a:gd name="T10" fmla="*/ 153729531 w 244"/>
                  <a:gd name="T11" fmla="*/ 0 h 325"/>
                  <a:gd name="T12" fmla="*/ 15751175 w 244"/>
                  <a:gd name="T13" fmla="*/ 0 h 325"/>
                  <a:gd name="T14" fmla="*/ 0 w 244"/>
                  <a:gd name="T15" fmla="*/ 49446026 h 325"/>
                  <a:gd name="T16" fmla="*/ 55443438 w 244"/>
                  <a:gd name="T17" fmla="*/ 49446026 h 3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44" h="325">
                    <a:moveTo>
                      <a:pt x="88" y="78"/>
                    </a:moveTo>
                    <a:lnTo>
                      <a:pt x="88" y="325"/>
                    </a:lnTo>
                    <a:lnTo>
                      <a:pt x="179" y="325"/>
                    </a:lnTo>
                    <a:lnTo>
                      <a:pt x="179" y="78"/>
                    </a:lnTo>
                    <a:lnTo>
                      <a:pt x="244" y="78"/>
                    </a:lnTo>
                    <a:lnTo>
                      <a:pt x="244" y="0"/>
                    </a:lnTo>
                    <a:lnTo>
                      <a:pt x="25" y="0"/>
                    </a:lnTo>
                    <a:lnTo>
                      <a:pt x="0" y="78"/>
                    </a:lnTo>
                    <a:lnTo>
                      <a:pt x="88"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37" name="V">
                <a:extLst>
                  <a:ext uri="{FF2B5EF4-FFF2-40B4-BE49-F238E27FC236}">
                    <a16:creationId xmlns:a16="http://schemas.microsoft.com/office/drawing/2014/main" id="{E06D1850-BEB5-2958-2E4E-C12658B377F0}"/>
                  </a:ext>
                </a:extLst>
              </p:cNvPr>
              <p:cNvSpPr>
                <a:spLocks/>
              </p:cNvSpPr>
              <p:nvPr userDrawn="1"/>
            </p:nvSpPr>
            <p:spPr bwMode="auto">
              <a:xfrm>
                <a:off x="567258" y="168151"/>
                <a:ext cx="230188" cy="258763"/>
              </a:xfrm>
              <a:custGeom>
                <a:avLst/>
                <a:gdLst>
                  <a:gd name="T0" fmla="*/ 116731600 w 289"/>
                  <a:gd name="T1" fmla="*/ 206025508 h 325"/>
                  <a:gd name="T2" fmla="*/ 183344344 w 289"/>
                  <a:gd name="T3" fmla="*/ 0 h 325"/>
                  <a:gd name="T4" fmla="*/ 124978544 w 289"/>
                  <a:gd name="T5" fmla="*/ 0 h 325"/>
                  <a:gd name="T6" fmla="*/ 90720356 w 289"/>
                  <a:gd name="T7" fmla="*/ 105865119 h 325"/>
                  <a:gd name="T8" fmla="*/ 85645069 w 289"/>
                  <a:gd name="T9" fmla="*/ 121079587 h 325"/>
                  <a:gd name="T10" fmla="*/ 85645069 w 289"/>
                  <a:gd name="T11" fmla="*/ 121079587 h 325"/>
                  <a:gd name="T12" fmla="*/ 85645069 w 289"/>
                  <a:gd name="T13" fmla="*/ 121079587 h 325"/>
                  <a:gd name="T14" fmla="*/ 85645069 w 289"/>
                  <a:gd name="T15" fmla="*/ 121079587 h 325"/>
                  <a:gd name="T16" fmla="*/ 85645069 w 289"/>
                  <a:gd name="T17" fmla="*/ 121079587 h 325"/>
                  <a:gd name="T18" fmla="*/ 85645069 w 289"/>
                  <a:gd name="T19" fmla="*/ 121079587 h 325"/>
                  <a:gd name="T20" fmla="*/ 85645069 w 289"/>
                  <a:gd name="T21" fmla="*/ 121079587 h 325"/>
                  <a:gd name="T22" fmla="*/ 81204592 w 289"/>
                  <a:gd name="T23" fmla="*/ 105865119 h 325"/>
                  <a:gd name="T24" fmla="*/ 57730991 w 289"/>
                  <a:gd name="T25" fmla="*/ 38035772 h 325"/>
                  <a:gd name="T26" fmla="*/ 0 w 289"/>
                  <a:gd name="T27" fmla="*/ 38035772 h 325"/>
                  <a:gd name="T28" fmla="*/ 57096978 w 289"/>
                  <a:gd name="T29" fmla="*/ 206025508 h 325"/>
                  <a:gd name="T30" fmla="*/ 116731600 w 289"/>
                  <a:gd name="T31" fmla="*/ 206025508 h 32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89" h="325">
                    <a:moveTo>
                      <a:pt x="184" y="325"/>
                    </a:moveTo>
                    <a:lnTo>
                      <a:pt x="289" y="0"/>
                    </a:lnTo>
                    <a:lnTo>
                      <a:pt x="197" y="0"/>
                    </a:lnTo>
                    <a:lnTo>
                      <a:pt x="143" y="167"/>
                    </a:lnTo>
                    <a:lnTo>
                      <a:pt x="135" y="191"/>
                    </a:lnTo>
                    <a:lnTo>
                      <a:pt x="128" y="167"/>
                    </a:lnTo>
                    <a:lnTo>
                      <a:pt x="91" y="60"/>
                    </a:lnTo>
                    <a:lnTo>
                      <a:pt x="0" y="60"/>
                    </a:lnTo>
                    <a:lnTo>
                      <a:pt x="90" y="325"/>
                    </a:lnTo>
                    <a:lnTo>
                      <a:pt x="184" y="3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grpSp>
          <p:nvGrpSpPr>
            <p:cNvPr id="9" name="_VTT_logo_102019_05_dark_grey_on_white" hidden="1">
              <a:extLst>
                <a:ext uri="{FF2B5EF4-FFF2-40B4-BE49-F238E27FC236}">
                  <a16:creationId xmlns:a16="http://schemas.microsoft.com/office/drawing/2014/main" id="{DE62BE41-9648-CE30-DD1C-3F892E93C1B0}"/>
                </a:ext>
              </a:extLst>
            </p:cNvPr>
            <p:cNvGrpSpPr>
              <a:grpSpLocks/>
            </p:cNvGrpSpPr>
            <p:nvPr userDrawn="1"/>
          </p:nvGrpSpPr>
          <p:grpSpPr bwMode="auto">
            <a:xfrm>
              <a:off x="7909204" y="1770762"/>
              <a:ext cx="971550" cy="655638"/>
              <a:chOff x="379933" y="-15999"/>
              <a:chExt cx="971550" cy="655638"/>
            </a:xfrm>
          </p:grpSpPr>
          <p:sp>
            <p:nvSpPr>
              <p:cNvPr id="30" name="Box">
                <a:extLst>
                  <a:ext uri="{FF2B5EF4-FFF2-40B4-BE49-F238E27FC236}">
                    <a16:creationId xmlns:a16="http://schemas.microsoft.com/office/drawing/2014/main" id="{9C943162-DD81-D3A8-8200-10C03F0B2C17}"/>
                  </a:ext>
                </a:extLst>
              </p:cNvPr>
              <p:cNvSpPr>
                <a:spLocks noChangeArrowheads="1"/>
              </p:cNvSpPr>
              <p:nvPr userDrawn="1"/>
            </p:nvSpPr>
            <p:spPr bwMode="auto">
              <a:xfrm>
                <a:off x="379933" y="-15999"/>
                <a:ext cx="971550" cy="655638"/>
              </a:xfrm>
              <a:prstGeom prst="rect">
                <a:avLst/>
              </a:prstGeom>
              <a:solidFill>
                <a:srgbClr val="FFFFFF"/>
              </a:solidFill>
              <a:ln>
                <a:noFill/>
              </a:ln>
            </p:spPr>
            <p:txBody>
              <a:bodyPr/>
              <a:lstStyle>
                <a:lvl1pPr defTabSz="455613">
                  <a:defRPr b="1">
                    <a:solidFill>
                      <a:schemeClr val="tx1"/>
                    </a:solidFill>
                    <a:latin typeface="Verdana" panose="020B0604030504040204" pitchFamily="34" charset="0"/>
                  </a:defRPr>
                </a:lvl1pPr>
                <a:lvl2pPr marL="742950" indent="-285750" defTabSz="455613">
                  <a:defRPr b="1">
                    <a:solidFill>
                      <a:schemeClr val="tx1"/>
                    </a:solidFill>
                    <a:latin typeface="Verdana" panose="020B0604030504040204" pitchFamily="34" charset="0"/>
                  </a:defRPr>
                </a:lvl2pPr>
                <a:lvl3pPr marL="1143000" indent="-228600" defTabSz="455613">
                  <a:defRPr b="1">
                    <a:solidFill>
                      <a:schemeClr val="tx1"/>
                    </a:solidFill>
                    <a:latin typeface="Verdana" panose="020B0604030504040204" pitchFamily="34" charset="0"/>
                  </a:defRPr>
                </a:lvl3pPr>
                <a:lvl4pPr marL="1600200" indent="-228600" defTabSz="455613">
                  <a:defRPr b="1">
                    <a:solidFill>
                      <a:schemeClr val="tx1"/>
                    </a:solidFill>
                    <a:latin typeface="Verdana" panose="020B0604030504040204" pitchFamily="34" charset="0"/>
                  </a:defRPr>
                </a:lvl4pPr>
                <a:lvl5pPr marL="2057400" indent="-228600" defTabSz="455613">
                  <a:defRPr b="1">
                    <a:solidFill>
                      <a:schemeClr val="tx1"/>
                    </a:solidFill>
                    <a:latin typeface="Verdana" panose="020B0604030504040204" pitchFamily="34" charset="0"/>
                  </a:defRPr>
                </a:lvl5pPr>
                <a:lvl6pPr marL="2514600" indent="-228600" defTabSz="455613" eaLnBrk="0" fontAlgn="base" hangingPunct="0">
                  <a:spcBef>
                    <a:spcPct val="0"/>
                  </a:spcBef>
                  <a:spcAft>
                    <a:spcPct val="0"/>
                  </a:spcAft>
                  <a:defRPr b="1">
                    <a:solidFill>
                      <a:schemeClr val="tx1"/>
                    </a:solidFill>
                    <a:latin typeface="Verdana" panose="020B0604030504040204" pitchFamily="34" charset="0"/>
                  </a:defRPr>
                </a:lvl6pPr>
                <a:lvl7pPr marL="2971800" indent="-228600" defTabSz="455613" eaLnBrk="0" fontAlgn="base" hangingPunct="0">
                  <a:spcBef>
                    <a:spcPct val="0"/>
                  </a:spcBef>
                  <a:spcAft>
                    <a:spcPct val="0"/>
                  </a:spcAft>
                  <a:defRPr b="1">
                    <a:solidFill>
                      <a:schemeClr val="tx1"/>
                    </a:solidFill>
                    <a:latin typeface="Verdana" panose="020B0604030504040204" pitchFamily="34" charset="0"/>
                  </a:defRPr>
                </a:lvl7pPr>
                <a:lvl8pPr marL="3429000" indent="-228600" defTabSz="455613" eaLnBrk="0" fontAlgn="base" hangingPunct="0">
                  <a:spcBef>
                    <a:spcPct val="0"/>
                  </a:spcBef>
                  <a:spcAft>
                    <a:spcPct val="0"/>
                  </a:spcAft>
                  <a:defRPr b="1">
                    <a:solidFill>
                      <a:schemeClr val="tx1"/>
                    </a:solidFill>
                    <a:latin typeface="Verdana" panose="020B0604030504040204" pitchFamily="34" charset="0"/>
                  </a:defRPr>
                </a:lvl8pPr>
                <a:lvl9pPr marL="3886200" indent="-228600" defTabSz="455613" eaLnBrk="0" fontAlgn="base" hangingPunct="0">
                  <a:spcBef>
                    <a:spcPct val="0"/>
                  </a:spcBef>
                  <a:spcAft>
                    <a:spcPct val="0"/>
                  </a:spcAft>
                  <a:defRPr b="1">
                    <a:solidFill>
                      <a:schemeClr val="tx1"/>
                    </a:solidFill>
                    <a:latin typeface="Verdana" panose="020B0604030504040204" pitchFamily="34" charset="0"/>
                  </a:defRPr>
                </a:lvl9pPr>
              </a:lstStyle>
              <a:p>
                <a:pPr eaLnBrk="1" hangingPunct="1">
                  <a:defRPr/>
                </a:pPr>
                <a:endParaRPr lang="en-GB" altLang="de-DE" b="0">
                  <a:solidFill>
                    <a:srgbClr val="000000"/>
                  </a:solidFill>
                  <a:latin typeface="Arial" panose="020B0604020202020204" pitchFamily="34" charset="0"/>
                </a:endParaRPr>
              </a:p>
            </p:txBody>
          </p:sp>
          <p:sp>
            <p:nvSpPr>
              <p:cNvPr id="31" name="T2">
                <a:extLst>
                  <a:ext uri="{FF2B5EF4-FFF2-40B4-BE49-F238E27FC236}">
                    <a16:creationId xmlns:a16="http://schemas.microsoft.com/office/drawing/2014/main" id="{CD16DEEB-240D-87C4-0593-A37D9F3AA1BF}"/>
                  </a:ext>
                </a:extLst>
              </p:cNvPr>
              <p:cNvSpPr>
                <a:spLocks/>
              </p:cNvSpPr>
              <p:nvPr userDrawn="1"/>
            </p:nvSpPr>
            <p:spPr bwMode="auto">
              <a:xfrm>
                <a:off x="1011758" y="168151"/>
                <a:ext cx="176213" cy="258763"/>
              </a:xfrm>
              <a:custGeom>
                <a:avLst/>
                <a:gdLst>
                  <a:gd name="T0" fmla="*/ 98916612 w 222"/>
                  <a:gd name="T1" fmla="*/ 206025508 h 325"/>
                  <a:gd name="T2" fmla="*/ 98916612 w 222"/>
                  <a:gd name="T3" fmla="*/ 49446026 h 325"/>
                  <a:gd name="T4" fmla="*/ 139869466 w 222"/>
                  <a:gd name="T5" fmla="*/ 49446026 h 325"/>
                  <a:gd name="T6" fmla="*/ 139869466 w 222"/>
                  <a:gd name="T7" fmla="*/ 0 h 325"/>
                  <a:gd name="T8" fmla="*/ 0 w 222"/>
                  <a:gd name="T9" fmla="*/ 0 h 325"/>
                  <a:gd name="T10" fmla="*/ 0 w 222"/>
                  <a:gd name="T11" fmla="*/ 49446026 h 325"/>
                  <a:gd name="T12" fmla="*/ 41583093 w 222"/>
                  <a:gd name="T13" fmla="*/ 49446026 h 325"/>
                  <a:gd name="T14" fmla="*/ 41583093 w 222"/>
                  <a:gd name="T15" fmla="*/ 206025508 h 325"/>
                  <a:gd name="T16" fmla="*/ 41583093 w 222"/>
                  <a:gd name="T17" fmla="*/ 206025508 h 325"/>
                  <a:gd name="T18" fmla="*/ 98916612 w 222"/>
                  <a:gd name="T19" fmla="*/ 206025508 h 3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22" h="325">
                    <a:moveTo>
                      <a:pt x="157" y="325"/>
                    </a:moveTo>
                    <a:lnTo>
                      <a:pt x="157" y="78"/>
                    </a:lnTo>
                    <a:lnTo>
                      <a:pt x="222" y="78"/>
                    </a:lnTo>
                    <a:lnTo>
                      <a:pt x="222" y="0"/>
                    </a:lnTo>
                    <a:lnTo>
                      <a:pt x="0" y="0"/>
                    </a:lnTo>
                    <a:lnTo>
                      <a:pt x="0" y="78"/>
                    </a:lnTo>
                    <a:lnTo>
                      <a:pt x="66" y="78"/>
                    </a:lnTo>
                    <a:lnTo>
                      <a:pt x="66" y="325"/>
                    </a:lnTo>
                    <a:lnTo>
                      <a:pt x="157" y="325"/>
                    </a:lnTo>
                    <a:close/>
                  </a:path>
                </a:pathLst>
              </a:custGeom>
              <a:solidFill>
                <a:srgbClr val="AFAFA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32" name="T1">
                <a:extLst>
                  <a:ext uri="{FF2B5EF4-FFF2-40B4-BE49-F238E27FC236}">
                    <a16:creationId xmlns:a16="http://schemas.microsoft.com/office/drawing/2014/main" id="{A00D0A88-117A-4449-4478-47907AE8369A}"/>
                  </a:ext>
                </a:extLst>
              </p:cNvPr>
              <p:cNvSpPr>
                <a:spLocks/>
              </p:cNvSpPr>
              <p:nvPr userDrawn="1"/>
            </p:nvSpPr>
            <p:spPr bwMode="auto">
              <a:xfrm>
                <a:off x="799033" y="168151"/>
                <a:ext cx="193675" cy="258763"/>
              </a:xfrm>
              <a:custGeom>
                <a:avLst/>
                <a:gdLst>
                  <a:gd name="T0" fmla="*/ 55443438 w 244"/>
                  <a:gd name="T1" fmla="*/ 49446026 h 325"/>
                  <a:gd name="T2" fmla="*/ 55443438 w 244"/>
                  <a:gd name="T3" fmla="*/ 206025508 h 325"/>
                  <a:gd name="T4" fmla="*/ 112776794 w 244"/>
                  <a:gd name="T5" fmla="*/ 206025508 h 325"/>
                  <a:gd name="T6" fmla="*/ 112776794 w 244"/>
                  <a:gd name="T7" fmla="*/ 49446026 h 325"/>
                  <a:gd name="T8" fmla="*/ 153729531 w 244"/>
                  <a:gd name="T9" fmla="*/ 49446026 h 325"/>
                  <a:gd name="T10" fmla="*/ 153729531 w 244"/>
                  <a:gd name="T11" fmla="*/ 0 h 325"/>
                  <a:gd name="T12" fmla="*/ 15751175 w 244"/>
                  <a:gd name="T13" fmla="*/ 0 h 325"/>
                  <a:gd name="T14" fmla="*/ 0 w 244"/>
                  <a:gd name="T15" fmla="*/ 49446026 h 325"/>
                  <a:gd name="T16" fmla="*/ 55443438 w 244"/>
                  <a:gd name="T17" fmla="*/ 49446026 h 3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44" h="325">
                    <a:moveTo>
                      <a:pt x="88" y="78"/>
                    </a:moveTo>
                    <a:lnTo>
                      <a:pt x="88" y="325"/>
                    </a:lnTo>
                    <a:lnTo>
                      <a:pt x="179" y="325"/>
                    </a:lnTo>
                    <a:lnTo>
                      <a:pt x="179" y="78"/>
                    </a:lnTo>
                    <a:lnTo>
                      <a:pt x="244" y="78"/>
                    </a:lnTo>
                    <a:lnTo>
                      <a:pt x="244" y="0"/>
                    </a:lnTo>
                    <a:lnTo>
                      <a:pt x="25" y="0"/>
                    </a:lnTo>
                    <a:lnTo>
                      <a:pt x="0" y="78"/>
                    </a:lnTo>
                    <a:lnTo>
                      <a:pt x="88" y="78"/>
                    </a:lnTo>
                    <a:close/>
                  </a:path>
                </a:pathLst>
              </a:custGeom>
              <a:solidFill>
                <a:srgbClr val="AFAFA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33" name="V">
                <a:extLst>
                  <a:ext uri="{FF2B5EF4-FFF2-40B4-BE49-F238E27FC236}">
                    <a16:creationId xmlns:a16="http://schemas.microsoft.com/office/drawing/2014/main" id="{829206C3-BCA5-57B5-F8BF-E00BCFFC37AB}"/>
                  </a:ext>
                </a:extLst>
              </p:cNvPr>
              <p:cNvSpPr>
                <a:spLocks/>
              </p:cNvSpPr>
              <p:nvPr userDrawn="1"/>
            </p:nvSpPr>
            <p:spPr bwMode="auto">
              <a:xfrm>
                <a:off x="567258" y="168151"/>
                <a:ext cx="230188" cy="258763"/>
              </a:xfrm>
              <a:custGeom>
                <a:avLst/>
                <a:gdLst>
                  <a:gd name="T0" fmla="*/ 116731600 w 289"/>
                  <a:gd name="T1" fmla="*/ 206025508 h 325"/>
                  <a:gd name="T2" fmla="*/ 183344344 w 289"/>
                  <a:gd name="T3" fmla="*/ 0 h 325"/>
                  <a:gd name="T4" fmla="*/ 124978544 w 289"/>
                  <a:gd name="T5" fmla="*/ 0 h 325"/>
                  <a:gd name="T6" fmla="*/ 90720356 w 289"/>
                  <a:gd name="T7" fmla="*/ 105865119 h 325"/>
                  <a:gd name="T8" fmla="*/ 85645069 w 289"/>
                  <a:gd name="T9" fmla="*/ 121079587 h 325"/>
                  <a:gd name="T10" fmla="*/ 85645069 w 289"/>
                  <a:gd name="T11" fmla="*/ 121079587 h 325"/>
                  <a:gd name="T12" fmla="*/ 85645069 w 289"/>
                  <a:gd name="T13" fmla="*/ 121079587 h 325"/>
                  <a:gd name="T14" fmla="*/ 85645069 w 289"/>
                  <a:gd name="T15" fmla="*/ 121079587 h 325"/>
                  <a:gd name="T16" fmla="*/ 85645069 w 289"/>
                  <a:gd name="T17" fmla="*/ 121079587 h 325"/>
                  <a:gd name="T18" fmla="*/ 85645069 w 289"/>
                  <a:gd name="T19" fmla="*/ 121079587 h 325"/>
                  <a:gd name="T20" fmla="*/ 85645069 w 289"/>
                  <a:gd name="T21" fmla="*/ 121079587 h 325"/>
                  <a:gd name="T22" fmla="*/ 81204592 w 289"/>
                  <a:gd name="T23" fmla="*/ 105865119 h 325"/>
                  <a:gd name="T24" fmla="*/ 57730991 w 289"/>
                  <a:gd name="T25" fmla="*/ 38035772 h 325"/>
                  <a:gd name="T26" fmla="*/ 0 w 289"/>
                  <a:gd name="T27" fmla="*/ 38035772 h 325"/>
                  <a:gd name="T28" fmla="*/ 57096978 w 289"/>
                  <a:gd name="T29" fmla="*/ 206025508 h 325"/>
                  <a:gd name="T30" fmla="*/ 116731600 w 289"/>
                  <a:gd name="T31" fmla="*/ 206025508 h 32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89" h="325">
                    <a:moveTo>
                      <a:pt x="184" y="325"/>
                    </a:moveTo>
                    <a:lnTo>
                      <a:pt x="289" y="0"/>
                    </a:lnTo>
                    <a:lnTo>
                      <a:pt x="197" y="0"/>
                    </a:lnTo>
                    <a:lnTo>
                      <a:pt x="143" y="167"/>
                    </a:lnTo>
                    <a:lnTo>
                      <a:pt x="135" y="191"/>
                    </a:lnTo>
                    <a:lnTo>
                      <a:pt x="128" y="167"/>
                    </a:lnTo>
                    <a:lnTo>
                      <a:pt x="91" y="60"/>
                    </a:lnTo>
                    <a:lnTo>
                      <a:pt x="0" y="60"/>
                    </a:lnTo>
                    <a:lnTo>
                      <a:pt x="90" y="325"/>
                    </a:lnTo>
                    <a:lnTo>
                      <a:pt x="184" y="325"/>
                    </a:lnTo>
                    <a:close/>
                  </a:path>
                </a:pathLst>
              </a:custGeom>
              <a:solidFill>
                <a:srgbClr val="AFAFA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grpSp>
          <p:nvGrpSpPr>
            <p:cNvPr id="10" name="_VTT_logo_102019_06_orange_blue_on_white" hidden="1">
              <a:extLst>
                <a:ext uri="{FF2B5EF4-FFF2-40B4-BE49-F238E27FC236}">
                  <a16:creationId xmlns:a16="http://schemas.microsoft.com/office/drawing/2014/main" id="{84223E66-AD72-6951-EBD8-50E559F7B6FF}"/>
                </a:ext>
              </a:extLst>
            </p:cNvPr>
            <p:cNvGrpSpPr>
              <a:grpSpLocks/>
            </p:cNvGrpSpPr>
            <p:nvPr userDrawn="1"/>
          </p:nvGrpSpPr>
          <p:grpSpPr bwMode="auto">
            <a:xfrm>
              <a:off x="7909204" y="1770762"/>
              <a:ext cx="971550" cy="655638"/>
              <a:chOff x="379933" y="-15999"/>
              <a:chExt cx="971550" cy="655638"/>
            </a:xfrm>
          </p:grpSpPr>
          <p:sp>
            <p:nvSpPr>
              <p:cNvPr id="26" name="Box">
                <a:extLst>
                  <a:ext uri="{FF2B5EF4-FFF2-40B4-BE49-F238E27FC236}">
                    <a16:creationId xmlns:a16="http://schemas.microsoft.com/office/drawing/2014/main" id="{DC830522-1642-2CB0-0009-83C10077AE9E}"/>
                  </a:ext>
                </a:extLst>
              </p:cNvPr>
              <p:cNvSpPr>
                <a:spLocks noChangeArrowheads="1"/>
              </p:cNvSpPr>
              <p:nvPr userDrawn="1"/>
            </p:nvSpPr>
            <p:spPr bwMode="auto">
              <a:xfrm>
                <a:off x="379933" y="-15999"/>
                <a:ext cx="971550" cy="655638"/>
              </a:xfrm>
              <a:prstGeom prst="rect">
                <a:avLst/>
              </a:prstGeom>
              <a:solidFill>
                <a:srgbClr val="FFFFFF"/>
              </a:solidFill>
              <a:ln>
                <a:noFill/>
              </a:ln>
            </p:spPr>
            <p:txBody>
              <a:bodyPr/>
              <a:lstStyle>
                <a:lvl1pPr defTabSz="455613">
                  <a:defRPr b="1">
                    <a:solidFill>
                      <a:schemeClr val="tx1"/>
                    </a:solidFill>
                    <a:latin typeface="Verdana" panose="020B0604030504040204" pitchFamily="34" charset="0"/>
                  </a:defRPr>
                </a:lvl1pPr>
                <a:lvl2pPr marL="742950" indent="-285750" defTabSz="455613">
                  <a:defRPr b="1">
                    <a:solidFill>
                      <a:schemeClr val="tx1"/>
                    </a:solidFill>
                    <a:latin typeface="Verdana" panose="020B0604030504040204" pitchFamily="34" charset="0"/>
                  </a:defRPr>
                </a:lvl2pPr>
                <a:lvl3pPr marL="1143000" indent="-228600" defTabSz="455613">
                  <a:defRPr b="1">
                    <a:solidFill>
                      <a:schemeClr val="tx1"/>
                    </a:solidFill>
                    <a:latin typeface="Verdana" panose="020B0604030504040204" pitchFamily="34" charset="0"/>
                  </a:defRPr>
                </a:lvl3pPr>
                <a:lvl4pPr marL="1600200" indent="-228600" defTabSz="455613">
                  <a:defRPr b="1">
                    <a:solidFill>
                      <a:schemeClr val="tx1"/>
                    </a:solidFill>
                    <a:latin typeface="Verdana" panose="020B0604030504040204" pitchFamily="34" charset="0"/>
                  </a:defRPr>
                </a:lvl4pPr>
                <a:lvl5pPr marL="2057400" indent="-228600" defTabSz="455613">
                  <a:defRPr b="1">
                    <a:solidFill>
                      <a:schemeClr val="tx1"/>
                    </a:solidFill>
                    <a:latin typeface="Verdana" panose="020B0604030504040204" pitchFamily="34" charset="0"/>
                  </a:defRPr>
                </a:lvl5pPr>
                <a:lvl6pPr marL="2514600" indent="-228600" defTabSz="455613" eaLnBrk="0" fontAlgn="base" hangingPunct="0">
                  <a:spcBef>
                    <a:spcPct val="0"/>
                  </a:spcBef>
                  <a:spcAft>
                    <a:spcPct val="0"/>
                  </a:spcAft>
                  <a:defRPr b="1">
                    <a:solidFill>
                      <a:schemeClr val="tx1"/>
                    </a:solidFill>
                    <a:latin typeface="Verdana" panose="020B0604030504040204" pitchFamily="34" charset="0"/>
                  </a:defRPr>
                </a:lvl6pPr>
                <a:lvl7pPr marL="2971800" indent="-228600" defTabSz="455613" eaLnBrk="0" fontAlgn="base" hangingPunct="0">
                  <a:spcBef>
                    <a:spcPct val="0"/>
                  </a:spcBef>
                  <a:spcAft>
                    <a:spcPct val="0"/>
                  </a:spcAft>
                  <a:defRPr b="1">
                    <a:solidFill>
                      <a:schemeClr val="tx1"/>
                    </a:solidFill>
                    <a:latin typeface="Verdana" panose="020B0604030504040204" pitchFamily="34" charset="0"/>
                  </a:defRPr>
                </a:lvl7pPr>
                <a:lvl8pPr marL="3429000" indent="-228600" defTabSz="455613" eaLnBrk="0" fontAlgn="base" hangingPunct="0">
                  <a:spcBef>
                    <a:spcPct val="0"/>
                  </a:spcBef>
                  <a:spcAft>
                    <a:spcPct val="0"/>
                  </a:spcAft>
                  <a:defRPr b="1">
                    <a:solidFill>
                      <a:schemeClr val="tx1"/>
                    </a:solidFill>
                    <a:latin typeface="Verdana" panose="020B0604030504040204" pitchFamily="34" charset="0"/>
                  </a:defRPr>
                </a:lvl8pPr>
                <a:lvl9pPr marL="3886200" indent="-228600" defTabSz="455613" eaLnBrk="0" fontAlgn="base" hangingPunct="0">
                  <a:spcBef>
                    <a:spcPct val="0"/>
                  </a:spcBef>
                  <a:spcAft>
                    <a:spcPct val="0"/>
                  </a:spcAft>
                  <a:defRPr b="1">
                    <a:solidFill>
                      <a:schemeClr val="tx1"/>
                    </a:solidFill>
                    <a:latin typeface="Verdana" panose="020B0604030504040204" pitchFamily="34" charset="0"/>
                  </a:defRPr>
                </a:lvl9pPr>
              </a:lstStyle>
              <a:p>
                <a:pPr eaLnBrk="1" hangingPunct="1">
                  <a:defRPr/>
                </a:pPr>
                <a:endParaRPr lang="en-GB" altLang="de-DE" b="0">
                  <a:solidFill>
                    <a:srgbClr val="000000"/>
                  </a:solidFill>
                  <a:latin typeface="Arial" panose="020B0604020202020204" pitchFamily="34" charset="0"/>
                </a:endParaRPr>
              </a:p>
            </p:txBody>
          </p:sp>
          <p:sp>
            <p:nvSpPr>
              <p:cNvPr id="27" name="T2">
                <a:extLst>
                  <a:ext uri="{FF2B5EF4-FFF2-40B4-BE49-F238E27FC236}">
                    <a16:creationId xmlns:a16="http://schemas.microsoft.com/office/drawing/2014/main" id="{70B8CA26-8DF5-0C87-D78A-9ED84CBEC234}"/>
                  </a:ext>
                </a:extLst>
              </p:cNvPr>
              <p:cNvSpPr>
                <a:spLocks/>
              </p:cNvSpPr>
              <p:nvPr userDrawn="1"/>
            </p:nvSpPr>
            <p:spPr bwMode="auto">
              <a:xfrm>
                <a:off x="1011758" y="168151"/>
                <a:ext cx="176213" cy="258763"/>
              </a:xfrm>
              <a:custGeom>
                <a:avLst/>
                <a:gdLst>
                  <a:gd name="T0" fmla="*/ 98916612 w 222"/>
                  <a:gd name="T1" fmla="*/ 206025508 h 325"/>
                  <a:gd name="T2" fmla="*/ 98916612 w 222"/>
                  <a:gd name="T3" fmla="*/ 49446026 h 325"/>
                  <a:gd name="T4" fmla="*/ 139869466 w 222"/>
                  <a:gd name="T5" fmla="*/ 49446026 h 325"/>
                  <a:gd name="T6" fmla="*/ 139869466 w 222"/>
                  <a:gd name="T7" fmla="*/ 0 h 325"/>
                  <a:gd name="T8" fmla="*/ 0 w 222"/>
                  <a:gd name="T9" fmla="*/ 0 h 325"/>
                  <a:gd name="T10" fmla="*/ 0 w 222"/>
                  <a:gd name="T11" fmla="*/ 49446026 h 325"/>
                  <a:gd name="T12" fmla="*/ 41583093 w 222"/>
                  <a:gd name="T13" fmla="*/ 49446026 h 325"/>
                  <a:gd name="T14" fmla="*/ 41583093 w 222"/>
                  <a:gd name="T15" fmla="*/ 206025508 h 325"/>
                  <a:gd name="T16" fmla="*/ 41583093 w 222"/>
                  <a:gd name="T17" fmla="*/ 206025508 h 325"/>
                  <a:gd name="T18" fmla="*/ 98916612 w 222"/>
                  <a:gd name="T19" fmla="*/ 206025508 h 3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22" h="325">
                    <a:moveTo>
                      <a:pt x="157" y="325"/>
                    </a:moveTo>
                    <a:lnTo>
                      <a:pt x="157" y="78"/>
                    </a:lnTo>
                    <a:lnTo>
                      <a:pt x="222" y="78"/>
                    </a:lnTo>
                    <a:lnTo>
                      <a:pt x="222" y="0"/>
                    </a:lnTo>
                    <a:lnTo>
                      <a:pt x="0" y="0"/>
                    </a:lnTo>
                    <a:lnTo>
                      <a:pt x="0" y="78"/>
                    </a:lnTo>
                    <a:lnTo>
                      <a:pt x="66" y="78"/>
                    </a:lnTo>
                    <a:lnTo>
                      <a:pt x="66" y="325"/>
                    </a:lnTo>
                    <a:lnTo>
                      <a:pt x="157" y="325"/>
                    </a:lnTo>
                    <a:close/>
                  </a:path>
                </a:pathLst>
              </a:custGeom>
              <a:solidFill>
                <a:srgbClr val="00579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8" name="T1">
                <a:extLst>
                  <a:ext uri="{FF2B5EF4-FFF2-40B4-BE49-F238E27FC236}">
                    <a16:creationId xmlns:a16="http://schemas.microsoft.com/office/drawing/2014/main" id="{6AF9CD0E-0FDD-3751-F661-30DB32DCA50E}"/>
                  </a:ext>
                </a:extLst>
              </p:cNvPr>
              <p:cNvSpPr>
                <a:spLocks/>
              </p:cNvSpPr>
              <p:nvPr userDrawn="1"/>
            </p:nvSpPr>
            <p:spPr bwMode="auto">
              <a:xfrm>
                <a:off x="799033" y="168151"/>
                <a:ext cx="193675" cy="258763"/>
              </a:xfrm>
              <a:custGeom>
                <a:avLst/>
                <a:gdLst>
                  <a:gd name="T0" fmla="*/ 55443438 w 244"/>
                  <a:gd name="T1" fmla="*/ 49446026 h 325"/>
                  <a:gd name="T2" fmla="*/ 55443438 w 244"/>
                  <a:gd name="T3" fmla="*/ 206025508 h 325"/>
                  <a:gd name="T4" fmla="*/ 112776794 w 244"/>
                  <a:gd name="T5" fmla="*/ 206025508 h 325"/>
                  <a:gd name="T6" fmla="*/ 112776794 w 244"/>
                  <a:gd name="T7" fmla="*/ 49446026 h 325"/>
                  <a:gd name="T8" fmla="*/ 153729531 w 244"/>
                  <a:gd name="T9" fmla="*/ 49446026 h 325"/>
                  <a:gd name="T10" fmla="*/ 153729531 w 244"/>
                  <a:gd name="T11" fmla="*/ 0 h 325"/>
                  <a:gd name="T12" fmla="*/ 15751175 w 244"/>
                  <a:gd name="T13" fmla="*/ 0 h 325"/>
                  <a:gd name="T14" fmla="*/ 0 w 244"/>
                  <a:gd name="T15" fmla="*/ 49446026 h 325"/>
                  <a:gd name="T16" fmla="*/ 55443438 w 244"/>
                  <a:gd name="T17" fmla="*/ 49446026 h 3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44" h="325">
                    <a:moveTo>
                      <a:pt x="88" y="78"/>
                    </a:moveTo>
                    <a:lnTo>
                      <a:pt x="88" y="325"/>
                    </a:lnTo>
                    <a:lnTo>
                      <a:pt x="179" y="325"/>
                    </a:lnTo>
                    <a:lnTo>
                      <a:pt x="179" y="78"/>
                    </a:lnTo>
                    <a:lnTo>
                      <a:pt x="244" y="78"/>
                    </a:lnTo>
                    <a:lnTo>
                      <a:pt x="244" y="0"/>
                    </a:lnTo>
                    <a:lnTo>
                      <a:pt x="25" y="0"/>
                    </a:lnTo>
                    <a:lnTo>
                      <a:pt x="0" y="78"/>
                    </a:lnTo>
                    <a:lnTo>
                      <a:pt x="88" y="78"/>
                    </a:lnTo>
                    <a:close/>
                  </a:path>
                </a:pathLst>
              </a:custGeom>
              <a:solidFill>
                <a:srgbClr val="00579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9" name="V">
                <a:extLst>
                  <a:ext uri="{FF2B5EF4-FFF2-40B4-BE49-F238E27FC236}">
                    <a16:creationId xmlns:a16="http://schemas.microsoft.com/office/drawing/2014/main" id="{9C5B925E-A7D0-C22B-8466-7AAF57B2AAD5}"/>
                  </a:ext>
                </a:extLst>
              </p:cNvPr>
              <p:cNvSpPr>
                <a:spLocks/>
              </p:cNvSpPr>
              <p:nvPr userDrawn="1"/>
            </p:nvSpPr>
            <p:spPr bwMode="auto">
              <a:xfrm>
                <a:off x="567258" y="168151"/>
                <a:ext cx="230188" cy="258763"/>
              </a:xfrm>
              <a:custGeom>
                <a:avLst/>
                <a:gdLst>
                  <a:gd name="T0" fmla="*/ 116731600 w 289"/>
                  <a:gd name="T1" fmla="*/ 206025508 h 325"/>
                  <a:gd name="T2" fmla="*/ 183344344 w 289"/>
                  <a:gd name="T3" fmla="*/ 0 h 325"/>
                  <a:gd name="T4" fmla="*/ 124978544 w 289"/>
                  <a:gd name="T5" fmla="*/ 0 h 325"/>
                  <a:gd name="T6" fmla="*/ 90720356 w 289"/>
                  <a:gd name="T7" fmla="*/ 105865119 h 325"/>
                  <a:gd name="T8" fmla="*/ 85645069 w 289"/>
                  <a:gd name="T9" fmla="*/ 121079587 h 325"/>
                  <a:gd name="T10" fmla="*/ 85645069 w 289"/>
                  <a:gd name="T11" fmla="*/ 121079587 h 325"/>
                  <a:gd name="T12" fmla="*/ 85645069 w 289"/>
                  <a:gd name="T13" fmla="*/ 121079587 h 325"/>
                  <a:gd name="T14" fmla="*/ 85645069 w 289"/>
                  <a:gd name="T15" fmla="*/ 121079587 h 325"/>
                  <a:gd name="T16" fmla="*/ 85645069 w 289"/>
                  <a:gd name="T17" fmla="*/ 121079587 h 325"/>
                  <a:gd name="T18" fmla="*/ 85645069 w 289"/>
                  <a:gd name="T19" fmla="*/ 121079587 h 325"/>
                  <a:gd name="T20" fmla="*/ 85645069 w 289"/>
                  <a:gd name="T21" fmla="*/ 121079587 h 325"/>
                  <a:gd name="T22" fmla="*/ 81204592 w 289"/>
                  <a:gd name="T23" fmla="*/ 105865119 h 325"/>
                  <a:gd name="T24" fmla="*/ 57730991 w 289"/>
                  <a:gd name="T25" fmla="*/ 38035772 h 325"/>
                  <a:gd name="T26" fmla="*/ 0 w 289"/>
                  <a:gd name="T27" fmla="*/ 38035772 h 325"/>
                  <a:gd name="T28" fmla="*/ 57096978 w 289"/>
                  <a:gd name="T29" fmla="*/ 206025508 h 325"/>
                  <a:gd name="T30" fmla="*/ 116731600 w 289"/>
                  <a:gd name="T31" fmla="*/ 206025508 h 32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89" h="325">
                    <a:moveTo>
                      <a:pt x="184" y="325"/>
                    </a:moveTo>
                    <a:lnTo>
                      <a:pt x="289" y="0"/>
                    </a:lnTo>
                    <a:lnTo>
                      <a:pt x="197" y="0"/>
                    </a:lnTo>
                    <a:lnTo>
                      <a:pt x="143" y="167"/>
                    </a:lnTo>
                    <a:lnTo>
                      <a:pt x="135" y="191"/>
                    </a:lnTo>
                    <a:lnTo>
                      <a:pt x="128" y="167"/>
                    </a:lnTo>
                    <a:lnTo>
                      <a:pt x="91" y="60"/>
                    </a:lnTo>
                    <a:lnTo>
                      <a:pt x="0" y="60"/>
                    </a:lnTo>
                    <a:lnTo>
                      <a:pt x="90" y="325"/>
                    </a:lnTo>
                    <a:lnTo>
                      <a:pt x="184" y="325"/>
                    </a:lnTo>
                    <a:close/>
                  </a:path>
                </a:pathLst>
              </a:custGeom>
              <a:solidFill>
                <a:srgbClr val="F06E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grpSp>
          <p:nvGrpSpPr>
            <p:cNvPr id="11" name="_VTT_logo_102019_07_blue_on_white" hidden="1">
              <a:extLst>
                <a:ext uri="{FF2B5EF4-FFF2-40B4-BE49-F238E27FC236}">
                  <a16:creationId xmlns:a16="http://schemas.microsoft.com/office/drawing/2014/main" id="{9C080DF7-AA94-4E21-7865-F5331B5E4096}"/>
                </a:ext>
              </a:extLst>
            </p:cNvPr>
            <p:cNvGrpSpPr>
              <a:grpSpLocks/>
            </p:cNvGrpSpPr>
            <p:nvPr userDrawn="1"/>
          </p:nvGrpSpPr>
          <p:grpSpPr bwMode="auto">
            <a:xfrm>
              <a:off x="7909204" y="1770762"/>
              <a:ext cx="971550" cy="655638"/>
              <a:chOff x="379933" y="-15999"/>
              <a:chExt cx="971550" cy="655638"/>
            </a:xfrm>
          </p:grpSpPr>
          <p:sp>
            <p:nvSpPr>
              <p:cNvPr id="22" name="Box">
                <a:extLst>
                  <a:ext uri="{FF2B5EF4-FFF2-40B4-BE49-F238E27FC236}">
                    <a16:creationId xmlns:a16="http://schemas.microsoft.com/office/drawing/2014/main" id="{0825B395-17AE-FC4D-E15B-9973820AEE9D}"/>
                  </a:ext>
                </a:extLst>
              </p:cNvPr>
              <p:cNvSpPr>
                <a:spLocks noChangeArrowheads="1"/>
              </p:cNvSpPr>
              <p:nvPr userDrawn="1"/>
            </p:nvSpPr>
            <p:spPr bwMode="auto">
              <a:xfrm>
                <a:off x="379933" y="-15999"/>
                <a:ext cx="971550" cy="655638"/>
              </a:xfrm>
              <a:prstGeom prst="rect">
                <a:avLst/>
              </a:prstGeom>
              <a:solidFill>
                <a:srgbClr val="FFFFFF"/>
              </a:solidFill>
              <a:ln>
                <a:noFill/>
              </a:ln>
            </p:spPr>
            <p:txBody>
              <a:bodyPr/>
              <a:lstStyle>
                <a:lvl1pPr defTabSz="455613">
                  <a:defRPr b="1">
                    <a:solidFill>
                      <a:schemeClr val="tx1"/>
                    </a:solidFill>
                    <a:latin typeface="Verdana" panose="020B0604030504040204" pitchFamily="34" charset="0"/>
                  </a:defRPr>
                </a:lvl1pPr>
                <a:lvl2pPr marL="742950" indent="-285750" defTabSz="455613">
                  <a:defRPr b="1">
                    <a:solidFill>
                      <a:schemeClr val="tx1"/>
                    </a:solidFill>
                    <a:latin typeface="Verdana" panose="020B0604030504040204" pitchFamily="34" charset="0"/>
                  </a:defRPr>
                </a:lvl2pPr>
                <a:lvl3pPr marL="1143000" indent="-228600" defTabSz="455613">
                  <a:defRPr b="1">
                    <a:solidFill>
                      <a:schemeClr val="tx1"/>
                    </a:solidFill>
                    <a:latin typeface="Verdana" panose="020B0604030504040204" pitchFamily="34" charset="0"/>
                  </a:defRPr>
                </a:lvl3pPr>
                <a:lvl4pPr marL="1600200" indent="-228600" defTabSz="455613">
                  <a:defRPr b="1">
                    <a:solidFill>
                      <a:schemeClr val="tx1"/>
                    </a:solidFill>
                    <a:latin typeface="Verdana" panose="020B0604030504040204" pitchFamily="34" charset="0"/>
                  </a:defRPr>
                </a:lvl4pPr>
                <a:lvl5pPr marL="2057400" indent="-228600" defTabSz="455613">
                  <a:defRPr b="1">
                    <a:solidFill>
                      <a:schemeClr val="tx1"/>
                    </a:solidFill>
                    <a:latin typeface="Verdana" panose="020B0604030504040204" pitchFamily="34" charset="0"/>
                  </a:defRPr>
                </a:lvl5pPr>
                <a:lvl6pPr marL="2514600" indent="-228600" defTabSz="455613" eaLnBrk="0" fontAlgn="base" hangingPunct="0">
                  <a:spcBef>
                    <a:spcPct val="0"/>
                  </a:spcBef>
                  <a:spcAft>
                    <a:spcPct val="0"/>
                  </a:spcAft>
                  <a:defRPr b="1">
                    <a:solidFill>
                      <a:schemeClr val="tx1"/>
                    </a:solidFill>
                    <a:latin typeface="Verdana" panose="020B0604030504040204" pitchFamily="34" charset="0"/>
                  </a:defRPr>
                </a:lvl6pPr>
                <a:lvl7pPr marL="2971800" indent="-228600" defTabSz="455613" eaLnBrk="0" fontAlgn="base" hangingPunct="0">
                  <a:spcBef>
                    <a:spcPct val="0"/>
                  </a:spcBef>
                  <a:spcAft>
                    <a:spcPct val="0"/>
                  </a:spcAft>
                  <a:defRPr b="1">
                    <a:solidFill>
                      <a:schemeClr val="tx1"/>
                    </a:solidFill>
                    <a:latin typeface="Verdana" panose="020B0604030504040204" pitchFamily="34" charset="0"/>
                  </a:defRPr>
                </a:lvl7pPr>
                <a:lvl8pPr marL="3429000" indent="-228600" defTabSz="455613" eaLnBrk="0" fontAlgn="base" hangingPunct="0">
                  <a:spcBef>
                    <a:spcPct val="0"/>
                  </a:spcBef>
                  <a:spcAft>
                    <a:spcPct val="0"/>
                  </a:spcAft>
                  <a:defRPr b="1">
                    <a:solidFill>
                      <a:schemeClr val="tx1"/>
                    </a:solidFill>
                    <a:latin typeface="Verdana" panose="020B0604030504040204" pitchFamily="34" charset="0"/>
                  </a:defRPr>
                </a:lvl8pPr>
                <a:lvl9pPr marL="3886200" indent="-228600" defTabSz="455613" eaLnBrk="0" fontAlgn="base" hangingPunct="0">
                  <a:spcBef>
                    <a:spcPct val="0"/>
                  </a:spcBef>
                  <a:spcAft>
                    <a:spcPct val="0"/>
                  </a:spcAft>
                  <a:defRPr b="1">
                    <a:solidFill>
                      <a:schemeClr val="tx1"/>
                    </a:solidFill>
                    <a:latin typeface="Verdana" panose="020B0604030504040204" pitchFamily="34" charset="0"/>
                  </a:defRPr>
                </a:lvl9pPr>
              </a:lstStyle>
              <a:p>
                <a:pPr eaLnBrk="1" hangingPunct="1">
                  <a:defRPr/>
                </a:pPr>
                <a:endParaRPr lang="en-GB" altLang="de-DE" b="0">
                  <a:solidFill>
                    <a:srgbClr val="000000"/>
                  </a:solidFill>
                  <a:latin typeface="Arial" panose="020B0604020202020204" pitchFamily="34" charset="0"/>
                </a:endParaRPr>
              </a:p>
            </p:txBody>
          </p:sp>
          <p:sp>
            <p:nvSpPr>
              <p:cNvPr id="23" name="T2">
                <a:extLst>
                  <a:ext uri="{FF2B5EF4-FFF2-40B4-BE49-F238E27FC236}">
                    <a16:creationId xmlns:a16="http://schemas.microsoft.com/office/drawing/2014/main" id="{8CF40D24-6EC3-B2D0-EE3F-7F32B95CE0A7}"/>
                  </a:ext>
                </a:extLst>
              </p:cNvPr>
              <p:cNvSpPr>
                <a:spLocks/>
              </p:cNvSpPr>
              <p:nvPr userDrawn="1"/>
            </p:nvSpPr>
            <p:spPr bwMode="auto">
              <a:xfrm>
                <a:off x="1011758" y="168151"/>
                <a:ext cx="176213" cy="258763"/>
              </a:xfrm>
              <a:custGeom>
                <a:avLst/>
                <a:gdLst>
                  <a:gd name="T0" fmla="*/ 98916612 w 222"/>
                  <a:gd name="T1" fmla="*/ 206025508 h 325"/>
                  <a:gd name="T2" fmla="*/ 98916612 w 222"/>
                  <a:gd name="T3" fmla="*/ 49446026 h 325"/>
                  <a:gd name="T4" fmla="*/ 139869466 w 222"/>
                  <a:gd name="T5" fmla="*/ 49446026 h 325"/>
                  <a:gd name="T6" fmla="*/ 139869466 w 222"/>
                  <a:gd name="T7" fmla="*/ 0 h 325"/>
                  <a:gd name="T8" fmla="*/ 0 w 222"/>
                  <a:gd name="T9" fmla="*/ 0 h 325"/>
                  <a:gd name="T10" fmla="*/ 0 w 222"/>
                  <a:gd name="T11" fmla="*/ 49446026 h 325"/>
                  <a:gd name="T12" fmla="*/ 41583093 w 222"/>
                  <a:gd name="T13" fmla="*/ 49446026 h 325"/>
                  <a:gd name="T14" fmla="*/ 41583093 w 222"/>
                  <a:gd name="T15" fmla="*/ 206025508 h 325"/>
                  <a:gd name="T16" fmla="*/ 41583093 w 222"/>
                  <a:gd name="T17" fmla="*/ 206025508 h 325"/>
                  <a:gd name="T18" fmla="*/ 98916612 w 222"/>
                  <a:gd name="T19" fmla="*/ 206025508 h 3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22" h="325">
                    <a:moveTo>
                      <a:pt x="157" y="325"/>
                    </a:moveTo>
                    <a:lnTo>
                      <a:pt x="157" y="78"/>
                    </a:lnTo>
                    <a:lnTo>
                      <a:pt x="222" y="78"/>
                    </a:lnTo>
                    <a:lnTo>
                      <a:pt x="222" y="0"/>
                    </a:lnTo>
                    <a:lnTo>
                      <a:pt x="0" y="0"/>
                    </a:lnTo>
                    <a:lnTo>
                      <a:pt x="0" y="78"/>
                    </a:lnTo>
                    <a:lnTo>
                      <a:pt x="66" y="78"/>
                    </a:lnTo>
                    <a:lnTo>
                      <a:pt x="66" y="325"/>
                    </a:lnTo>
                    <a:lnTo>
                      <a:pt x="157" y="325"/>
                    </a:lnTo>
                    <a:close/>
                  </a:path>
                </a:pathLst>
              </a:custGeom>
              <a:solidFill>
                <a:srgbClr val="00579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 name="T1">
                <a:extLst>
                  <a:ext uri="{FF2B5EF4-FFF2-40B4-BE49-F238E27FC236}">
                    <a16:creationId xmlns:a16="http://schemas.microsoft.com/office/drawing/2014/main" id="{1D2E6B73-BDD4-0B79-E75E-0E1017E58647}"/>
                  </a:ext>
                </a:extLst>
              </p:cNvPr>
              <p:cNvSpPr>
                <a:spLocks/>
              </p:cNvSpPr>
              <p:nvPr userDrawn="1"/>
            </p:nvSpPr>
            <p:spPr bwMode="auto">
              <a:xfrm>
                <a:off x="799033" y="168151"/>
                <a:ext cx="193675" cy="258763"/>
              </a:xfrm>
              <a:custGeom>
                <a:avLst/>
                <a:gdLst>
                  <a:gd name="T0" fmla="*/ 55443438 w 244"/>
                  <a:gd name="T1" fmla="*/ 49446026 h 325"/>
                  <a:gd name="T2" fmla="*/ 55443438 w 244"/>
                  <a:gd name="T3" fmla="*/ 206025508 h 325"/>
                  <a:gd name="T4" fmla="*/ 112776794 w 244"/>
                  <a:gd name="T5" fmla="*/ 206025508 h 325"/>
                  <a:gd name="T6" fmla="*/ 112776794 w 244"/>
                  <a:gd name="T7" fmla="*/ 49446026 h 325"/>
                  <a:gd name="T8" fmla="*/ 153729531 w 244"/>
                  <a:gd name="T9" fmla="*/ 49446026 h 325"/>
                  <a:gd name="T10" fmla="*/ 153729531 w 244"/>
                  <a:gd name="T11" fmla="*/ 0 h 325"/>
                  <a:gd name="T12" fmla="*/ 15751175 w 244"/>
                  <a:gd name="T13" fmla="*/ 0 h 325"/>
                  <a:gd name="T14" fmla="*/ 0 w 244"/>
                  <a:gd name="T15" fmla="*/ 49446026 h 325"/>
                  <a:gd name="T16" fmla="*/ 55443438 w 244"/>
                  <a:gd name="T17" fmla="*/ 49446026 h 3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44" h="325">
                    <a:moveTo>
                      <a:pt x="88" y="78"/>
                    </a:moveTo>
                    <a:lnTo>
                      <a:pt x="88" y="325"/>
                    </a:lnTo>
                    <a:lnTo>
                      <a:pt x="179" y="325"/>
                    </a:lnTo>
                    <a:lnTo>
                      <a:pt x="179" y="78"/>
                    </a:lnTo>
                    <a:lnTo>
                      <a:pt x="244" y="78"/>
                    </a:lnTo>
                    <a:lnTo>
                      <a:pt x="244" y="0"/>
                    </a:lnTo>
                    <a:lnTo>
                      <a:pt x="25" y="0"/>
                    </a:lnTo>
                    <a:lnTo>
                      <a:pt x="0" y="78"/>
                    </a:lnTo>
                    <a:lnTo>
                      <a:pt x="88" y="78"/>
                    </a:lnTo>
                    <a:close/>
                  </a:path>
                </a:pathLst>
              </a:custGeom>
              <a:solidFill>
                <a:srgbClr val="00579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 name="V">
                <a:extLst>
                  <a:ext uri="{FF2B5EF4-FFF2-40B4-BE49-F238E27FC236}">
                    <a16:creationId xmlns:a16="http://schemas.microsoft.com/office/drawing/2014/main" id="{E28FAFFA-BA85-E803-8A26-90AB455A2C71}"/>
                  </a:ext>
                </a:extLst>
              </p:cNvPr>
              <p:cNvSpPr>
                <a:spLocks/>
              </p:cNvSpPr>
              <p:nvPr userDrawn="1"/>
            </p:nvSpPr>
            <p:spPr bwMode="auto">
              <a:xfrm>
                <a:off x="567258" y="168151"/>
                <a:ext cx="230188" cy="258763"/>
              </a:xfrm>
              <a:custGeom>
                <a:avLst/>
                <a:gdLst>
                  <a:gd name="T0" fmla="*/ 116731600 w 289"/>
                  <a:gd name="T1" fmla="*/ 206025508 h 325"/>
                  <a:gd name="T2" fmla="*/ 183344344 w 289"/>
                  <a:gd name="T3" fmla="*/ 0 h 325"/>
                  <a:gd name="T4" fmla="*/ 124978544 w 289"/>
                  <a:gd name="T5" fmla="*/ 0 h 325"/>
                  <a:gd name="T6" fmla="*/ 90720356 w 289"/>
                  <a:gd name="T7" fmla="*/ 105865119 h 325"/>
                  <a:gd name="T8" fmla="*/ 85645069 w 289"/>
                  <a:gd name="T9" fmla="*/ 121079587 h 325"/>
                  <a:gd name="T10" fmla="*/ 85645069 w 289"/>
                  <a:gd name="T11" fmla="*/ 121079587 h 325"/>
                  <a:gd name="T12" fmla="*/ 85645069 w 289"/>
                  <a:gd name="T13" fmla="*/ 121079587 h 325"/>
                  <a:gd name="T14" fmla="*/ 85645069 w 289"/>
                  <a:gd name="T15" fmla="*/ 121079587 h 325"/>
                  <a:gd name="T16" fmla="*/ 85645069 w 289"/>
                  <a:gd name="T17" fmla="*/ 121079587 h 325"/>
                  <a:gd name="T18" fmla="*/ 85645069 w 289"/>
                  <a:gd name="T19" fmla="*/ 121079587 h 325"/>
                  <a:gd name="T20" fmla="*/ 85645069 w 289"/>
                  <a:gd name="T21" fmla="*/ 121079587 h 325"/>
                  <a:gd name="T22" fmla="*/ 81204592 w 289"/>
                  <a:gd name="T23" fmla="*/ 105865119 h 325"/>
                  <a:gd name="T24" fmla="*/ 57730991 w 289"/>
                  <a:gd name="T25" fmla="*/ 38035772 h 325"/>
                  <a:gd name="T26" fmla="*/ 0 w 289"/>
                  <a:gd name="T27" fmla="*/ 38035772 h 325"/>
                  <a:gd name="T28" fmla="*/ 57096978 w 289"/>
                  <a:gd name="T29" fmla="*/ 206025508 h 325"/>
                  <a:gd name="T30" fmla="*/ 116731600 w 289"/>
                  <a:gd name="T31" fmla="*/ 206025508 h 32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89" h="325">
                    <a:moveTo>
                      <a:pt x="184" y="325"/>
                    </a:moveTo>
                    <a:lnTo>
                      <a:pt x="289" y="0"/>
                    </a:lnTo>
                    <a:lnTo>
                      <a:pt x="197" y="0"/>
                    </a:lnTo>
                    <a:lnTo>
                      <a:pt x="143" y="167"/>
                    </a:lnTo>
                    <a:lnTo>
                      <a:pt x="135" y="191"/>
                    </a:lnTo>
                    <a:lnTo>
                      <a:pt x="128" y="167"/>
                    </a:lnTo>
                    <a:lnTo>
                      <a:pt x="91" y="60"/>
                    </a:lnTo>
                    <a:lnTo>
                      <a:pt x="0" y="60"/>
                    </a:lnTo>
                    <a:lnTo>
                      <a:pt x="90" y="325"/>
                    </a:lnTo>
                    <a:lnTo>
                      <a:pt x="184" y="325"/>
                    </a:lnTo>
                    <a:close/>
                  </a:path>
                </a:pathLst>
              </a:custGeom>
              <a:solidFill>
                <a:srgbClr val="00579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grpSp>
          <p:nvGrpSpPr>
            <p:cNvPr id="12" name="_VTT_logo_102019_08_black_on_white" hidden="1">
              <a:extLst>
                <a:ext uri="{FF2B5EF4-FFF2-40B4-BE49-F238E27FC236}">
                  <a16:creationId xmlns:a16="http://schemas.microsoft.com/office/drawing/2014/main" id="{0ED8490D-3807-FE77-156D-1891DC4AADBE}"/>
                </a:ext>
              </a:extLst>
            </p:cNvPr>
            <p:cNvGrpSpPr>
              <a:grpSpLocks/>
            </p:cNvGrpSpPr>
            <p:nvPr userDrawn="1"/>
          </p:nvGrpSpPr>
          <p:grpSpPr bwMode="auto">
            <a:xfrm>
              <a:off x="7909204" y="1770762"/>
              <a:ext cx="971550" cy="655638"/>
              <a:chOff x="379933" y="-15999"/>
              <a:chExt cx="971550" cy="655638"/>
            </a:xfrm>
          </p:grpSpPr>
          <p:sp>
            <p:nvSpPr>
              <p:cNvPr id="18" name="Box">
                <a:extLst>
                  <a:ext uri="{FF2B5EF4-FFF2-40B4-BE49-F238E27FC236}">
                    <a16:creationId xmlns:a16="http://schemas.microsoft.com/office/drawing/2014/main" id="{822A0B9A-D51E-1AB3-967D-CC9E9310BEB0}"/>
                  </a:ext>
                </a:extLst>
              </p:cNvPr>
              <p:cNvSpPr>
                <a:spLocks noChangeArrowheads="1"/>
              </p:cNvSpPr>
              <p:nvPr userDrawn="1"/>
            </p:nvSpPr>
            <p:spPr bwMode="auto">
              <a:xfrm>
                <a:off x="379933" y="-15999"/>
                <a:ext cx="971550" cy="655638"/>
              </a:xfrm>
              <a:prstGeom prst="rect">
                <a:avLst/>
              </a:prstGeom>
              <a:solidFill>
                <a:srgbClr val="FFFFFF"/>
              </a:solidFill>
              <a:ln>
                <a:noFill/>
              </a:ln>
            </p:spPr>
            <p:txBody>
              <a:bodyPr/>
              <a:lstStyle>
                <a:lvl1pPr defTabSz="455613">
                  <a:defRPr b="1">
                    <a:solidFill>
                      <a:schemeClr val="tx1"/>
                    </a:solidFill>
                    <a:latin typeface="Verdana" panose="020B0604030504040204" pitchFamily="34" charset="0"/>
                  </a:defRPr>
                </a:lvl1pPr>
                <a:lvl2pPr marL="742950" indent="-285750" defTabSz="455613">
                  <a:defRPr b="1">
                    <a:solidFill>
                      <a:schemeClr val="tx1"/>
                    </a:solidFill>
                    <a:latin typeface="Verdana" panose="020B0604030504040204" pitchFamily="34" charset="0"/>
                  </a:defRPr>
                </a:lvl2pPr>
                <a:lvl3pPr marL="1143000" indent="-228600" defTabSz="455613">
                  <a:defRPr b="1">
                    <a:solidFill>
                      <a:schemeClr val="tx1"/>
                    </a:solidFill>
                    <a:latin typeface="Verdana" panose="020B0604030504040204" pitchFamily="34" charset="0"/>
                  </a:defRPr>
                </a:lvl3pPr>
                <a:lvl4pPr marL="1600200" indent="-228600" defTabSz="455613">
                  <a:defRPr b="1">
                    <a:solidFill>
                      <a:schemeClr val="tx1"/>
                    </a:solidFill>
                    <a:latin typeface="Verdana" panose="020B0604030504040204" pitchFamily="34" charset="0"/>
                  </a:defRPr>
                </a:lvl4pPr>
                <a:lvl5pPr marL="2057400" indent="-228600" defTabSz="455613">
                  <a:defRPr b="1">
                    <a:solidFill>
                      <a:schemeClr val="tx1"/>
                    </a:solidFill>
                    <a:latin typeface="Verdana" panose="020B0604030504040204" pitchFamily="34" charset="0"/>
                  </a:defRPr>
                </a:lvl5pPr>
                <a:lvl6pPr marL="2514600" indent="-228600" defTabSz="455613" eaLnBrk="0" fontAlgn="base" hangingPunct="0">
                  <a:spcBef>
                    <a:spcPct val="0"/>
                  </a:spcBef>
                  <a:spcAft>
                    <a:spcPct val="0"/>
                  </a:spcAft>
                  <a:defRPr b="1">
                    <a:solidFill>
                      <a:schemeClr val="tx1"/>
                    </a:solidFill>
                    <a:latin typeface="Verdana" panose="020B0604030504040204" pitchFamily="34" charset="0"/>
                  </a:defRPr>
                </a:lvl6pPr>
                <a:lvl7pPr marL="2971800" indent="-228600" defTabSz="455613" eaLnBrk="0" fontAlgn="base" hangingPunct="0">
                  <a:spcBef>
                    <a:spcPct val="0"/>
                  </a:spcBef>
                  <a:spcAft>
                    <a:spcPct val="0"/>
                  </a:spcAft>
                  <a:defRPr b="1">
                    <a:solidFill>
                      <a:schemeClr val="tx1"/>
                    </a:solidFill>
                    <a:latin typeface="Verdana" panose="020B0604030504040204" pitchFamily="34" charset="0"/>
                  </a:defRPr>
                </a:lvl7pPr>
                <a:lvl8pPr marL="3429000" indent="-228600" defTabSz="455613" eaLnBrk="0" fontAlgn="base" hangingPunct="0">
                  <a:spcBef>
                    <a:spcPct val="0"/>
                  </a:spcBef>
                  <a:spcAft>
                    <a:spcPct val="0"/>
                  </a:spcAft>
                  <a:defRPr b="1">
                    <a:solidFill>
                      <a:schemeClr val="tx1"/>
                    </a:solidFill>
                    <a:latin typeface="Verdana" panose="020B0604030504040204" pitchFamily="34" charset="0"/>
                  </a:defRPr>
                </a:lvl8pPr>
                <a:lvl9pPr marL="3886200" indent="-228600" defTabSz="455613" eaLnBrk="0" fontAlgn="base" hangingPunct="0">
                  <a:spcBef>
                    <a:spcPct val="0"/>
                  </a:spcBef>
                  <a:spcAft>
                    <a:spcPct val="0"/>
                  </a:spcAft>
                  <a:defRPr b="1">
                    <a:solidFill>
                      <a:schemeClr val="tx1"/>
                    </a:solidFill>
                    <a:latin typeface="Verdana" panose="020B0604030504040204" pitchFamily="34" charset="0"/>
                  </a:defRPr>
                </a:lvl9pPr>
              </a:lstStyle>
              <a:p>
                <a:pPr eaLnBrk="1" hangingPunct="1">
                  <a:defRPr/>
                </a:pPr>
                <a:endParaRPr lang="en-GB" altLang="de-DE" b="0">
                  <a:solidFill>
                    <a:srgbClr val="000000"/>
                  </a:solidFill>
                  <a:latin typeface="Arial" panose="020B0604020202020204" pitchFamily="34" charset="0"/>
                </a:endParaRPr>
              </a:p>
            </p:txBody>
          </p:sp>
          <p:sp>
            <p:nvSpPr>
              <p:cNvPr id="19" name="T2">
                <a:extLst>
                  <a:ext uri="{FF2B5EF4-FFF2-40B4-BE49-F238E27FC236}">
                    <a16:creationId xmlns:a16="http://schemas.microsoft.com/office/drawing/2014/main" id="{9468B11A-B088-07E3-81AC-1EF0DA46A605}"/>
                  </a:ext>
                </a:extLst>
              </p:cNvPr>
              <p:cNvSpPr>
                <a:spLocks/>
              </p:cNvSpPr>
              <p:nvPr userDrawn="1"/>
            </p:nvSpPr>
            <p:spPr bwMode="auto">
              <a:xfrm>
                <a:off x="1011758" y="168151"/>
                <a:ext cx="176213" cy="258763"/>
              </a:xfrm>
              <a:custGeom>
                <a:avLst/>
                <a:gdLst>
                  <a:gd name="T0" fmla="*/ 98916612 w 222"/>
                  <a:gd name="T1" fmla="*/ 206025508 h 325"/>
                  <a:gd name="T2" fmla="*/ 98916612 w 222"/>
                  <a:gd name="T3" fmla="*/ 49446026 h 325"/>
                  <a:gd name="T4" fmla="*/ 139869466 w 222"/>
                  <a:gd name="T5" fmla="*/ 49446026 h 325"/>
                  <a:gd name="T6" fmla="*/ 139869466 w 222"/>
                  <a:gd name="T7" fmla="*/ 0 h 325"/>
                  <a:gd name="T8" fmla="*/ 0 w 222"/>
                  <a:gd name="T9" fmla="*/ 0 h 325"/>
                  <a:gd name="T10" fmla="*/ 0 w 222"/>
                  <a:gd name="T11" fmla="*/ 49446026 h 325"/>
                  <a:gd name="T12" fmla="*/ 41583093 w 222"/>
                  <a:gd name="T13" fmla="*/ 49446026 h 325"/>
                  <a:gd name="T14" fmla="*/ 41583093 w 222"/>
                  <a:gd name="T15" fmla="*/ 206025508 h 325"/>
                  <a:gd name="T16" fmla="*/ 41583093 w 222"/>
                  <a:gd name="T17" fmla="*/ 206025508 h 325"/>
                  <a:gd name="T18" fmla="*/ 98916612 w 222"/>
                  <a:gd name="T19" fmla="*/ 206025508 h 3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22" h="325">
                    <a:moveTo>
                      <a:pt x="157" y="325"/>
                    </a:moveTo>
                    <a:lnTo>
                      <a:pt x="157" y="78"/>
                    </a:lnTo>
                    <a:lnTo>
                      <a:pt x="222" y="78"/>
                    </a:lnTo>
                    <a:lnTo>
                      <a:pt x="222" y="0"/>
                    </a:lnTo>
                    <a:lnTo>
                      <a:pt x="0" y="0"/>
                    </a:lnTo>
                    <a:lnTo>
                      <a:pt x="0" y="78"/>
                    </a:lnTo>
                    <a:lnTo>
                      <a:pt x="66" y="78"/>
                    </a:lnTo>
                    <a:lnTo>
                      <a:pt x="66" y="325"/>
                    </a:lnTo>
                    <a:lnTo>
                      <a:pt x="157" y="32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 name="T1">
                <a:extLst>
                  <a:ext uri="{FF2B5EF4-FFF2-40B4-BE49-F238E27FC236}">
                    <a16:creationId xmlns:a16="http://schemas.microsoft.com/office/drawing/2014/main" id="{59699654-0D54-128F-F757-305C518C84D4}"/>
                  </a:ext>
                </a:extLst>
              </p:cNvPr>
              <p:cNvSpPr>
                <a:spLocks/>
              </p:cNvSpPr>
              <p:nvPr userDrawn="1"/>
            </p:nvSpPr>
            <p:spPr bwMode="auto">
              <a:xfrm>
                <a:off x="799033" y="168151"/>
                <a:ext cx="193675" cy="258763"/>
              </a:xfrm>
              <a:custGeom>
                <a:avLst/>
                <a:gdLst>
                  <a:gd name="T0" fmla="*/ 55443438 w 244"/>
                  <a:gd name="T1" fmla="*/ 49446026 h 325"/>
                  <a:gd name="T2" fmla="*/ 55443438 w 244"/>
                  <a:gd name="T3" fmla="*/ 206025508 h 325"/>
                  <a:gd name="T4" fmla="*/ 112776794 w 244"/>
                  <a:gd name="T5" fmla="*/ 206025508 h 325"/>
                  <a:gd name="T6" fmla="*/ 112776794 w 244"/>
                  <a:gd name="T7" fmla="*/ 49446026 h 325"/>
                  <a:gd name="T8" fmla="*/ 153729531 w 244"/>
                  <a:gd name="T9" fmla="*/ 49446026 h 325"/>
                  <a:gd name="T10" fmla="*/ 153729531 w 244"/>
                  <a:gd name="T11" fmla="*/ 0 h 325"/>
                  <a:gd name="T12" fmla="*/ 15751175 w 244"/>
                  <a:gd name="T13" fmla="*/ 0 h 325"/>
                  <a:gd name="T14" fmla="*/ 0 w 244"/>
                  <a:gd name="T15" fmla="*/ 49446026 h 325"/>
                  <a:gd name="T16" fmla="*/ 55443438 w 244"/>
                  <a:gd name="T17" fmla="*/ 49446026 h 3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44" h="325">
                    <a:moveTo>
                      <a:pt x="88" y="78"/>
                    </a:moveTo>
                    <a:lnTo>
                      <a:pt x="88" y="325"/>
                    </a:lnTo>
                    <a:lnTo>
                      <a:pt x="179" y="325"/>
                    </a:lnTo>
                    <a:lnTo>
                      <a:pt x="179" y="78"/>
                    </a:lnTo>
                    <a:lnTo>
                      <a:pt x="244" y="78"/>
                    </a:lnTo>
                    <a:lnTo>
                      <a:pt x="244" y="0"/>
                    </a:lnTo>
                    <a:lnTo>
                      <a:pt x="25" y="0"/>
                    </a:lnTo>
                    <a:lnTo>
                      <a:pt x="0" y="78"/>
                    </a:lnTo>
                    <a:lnTo>
                      <a:pt x="88" y="7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 name="V">
                <a:extLst>
                  <a:ext uri="{FF2B5EF4-FFF2-40B4-BE49-F238E27FC236}">
                    <a16:creationId xmlns:a16="http://schemas.microsoft.com/office/drawing/2014/main" id="{3C45B80E-77F4-2728-AFFB-BB05F5B6B965}"/>
                  </a:ext>
                </a:extLst>
              </p:cNvPr>
              <p:cNvSpPr>
                <a:spLocks/>
              </p:cNvSpPr>
              <p:nvPr userDrawn="1"/>
            </p:nvSpPr>
            <p:spPr bwMode="auto">
              <a:xfrm>
                <a:off x="567258" y="168151"/>
                <a:ext cx="230188" cy="258763"/>
              </a:xfrm>
              <a:custGeom>
                <a:avLst/>
                <a:gdLst>
                  <a:gd name="T0" fmla="*/ 116731600 w 289"/>
                  <a:gd name="T1" fmla="*/ 206025508 h 325"/>
                  <a:gd name="T2" fmla="*/ 183344344 w 289"/>
                  <a:gd name="T3" fmla="*/ 0 h 325"/>
                  <a:gd name="T4" fmla="*/ 124978544 w 289"/>
                  <a:gd name="T5" fmla="*/ 0 h 325"/>
                  <a:gd name="T6" fmla="*/ 90720356 w 289"/>
                  <a:gd name="T7" fmla="*/ 105865119 h 325"/>
                  <a:gd name="T8" fmla="*/ 85645069 w 289"/>
                  <a:gd name="T9" fmla="*/ 121079587 h 325"/>
                  <a:gd name="T10" fmla="*/ 85645069 w 289"/>
                  <a:gd name="T11" fmla="*/ 121079587 h 325"/>
                  <a:gd name="T12" fmla="*/ 85645069 w 289"/>
                  <a:gd name="T13" fmla="*/ 121079587 h 325"/>
                  <a:gd name="T14" fmla="*/ 85645069 w 289"/>
                  <a:gd name="T15" fmla="*/ 121079587 h 325"/>
                  <a:gd name="T16" fmla="*/ 85645069 w 289"/>
                  <a:gd name="T17" fmla="*/ 121079587 h 325"/>
                  <a:gd name="T18" fmla="*/ 85645069 w 289"/>
                  <a:gd name="T19" fmla="*/ 121079587 h 325"/>
                  <a:gd name="T20" fmla="*/ 85645069 w 289"/>
                  <a:gd name="T21" fmla="*/ 121079587 h 325"/>
                  <a:gd name="T22" fmla="*/ 81204592 w 289"/>
                  <a:gd name="T23" fmla="*/ 105865119 h 325"/>
                  <a:gd name="T24" fmla="*/ 57730991 w 289"/>
                  <a:gd name="T25" fmla="*/ 38035772 h 325"/>
                  <a:gd name="T26" fmla="*/ 0 w 289"/>
                  <a:gd name="T27" fmla="*/ 38035772 h 325"/>
                  <a:gd name="T28" fmla="*/ 57096978 w 289"/>
                  <a:gd name="T29" fmla="*/ 206025508 h 325"/>
                  <a:gd name="T30" fmla="*/ 116731600 w 289"/>
                  <a:gd name="T31" fmla="*/ 206025508 h 32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89" h="325">
                    <a:moveTo>
                      <a:pt x="184" y="325"/>
                    </a:moveTo>
                    <a:lnTo>
                      <a:pt x="289" y="0"/>
                    </a:lnTo>
                    <a:lnTo>
                      <a:pt x="197" y="0"/>
                    </a:lnTo>
                    <a:lnTo>
                      <a:pt x="143" y="167"/>
                    </a:lnTo>
                    <a:lnTo>
                      <a:pt x="135" y="191"/>
                    </a:lnTo>
                    <a:lnTo>
                      <a:pt x="128" y="167"/>
                    </a:lnTo>
                    <a:lnTo>
                      <a:pt x="91" y="60"/>
                    </a:lnTo>
                    <a:lnTo>
                      <a:pt x="0" y="60"/>
                    </a:lnTo>
                    <a:lnTo>
                      <a:pt x="90" y="325"/>
                    </a:lnTo>
                    <a:lnTo>
                      <a:pt x="184" y="32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grpSp>
          <p:nvGrpSpPr>
            <p:cNvPr id="13" name="_VTT_logo_102019_09_orange_on_white" hidden="1">
              <a:extLst>
                <a:ext uri="{FF2B5EF4-FFF2-40B4-BE49-F238E27FC236}">
                  <a16:creationId xmlns:a16="http://schemas.microsoft.com/office/drawing/2014/main" id="{B3FB8FFF-FB1E-95EB-A860-2CD6C5AED782}"/>
                </a:ext>
              </a:extLst>
            </p:cNvPr>
            <p:cNvGrpSpPr>
              <a:grpSpLocks/>
            </p:cNvGrpSpPr>
            <p:nvPr userDrawn="1"/>
          </p:nvGrpSpPr>
          <p:grpSpPr bwMode="auto">
            <a:xfrm>
              <a:off x="7909204" y="1770762"/>
              <a:ext cx="971550" cy="655638"/>
              <a:chOff x="379933" y="-15999"/>
              <a:chExt cx="971550" cy="655638"/>
            </a:xfrm>
          </p:grpSpPr>
          <p:sp>
            <p:nvSpPr>
              <p:cNvPr id="14" name="Box">
                <a:extLst>
                  <a:ext uri="{FF2B5EF4-FFF2-40B4-BE49-F238E27FC236}">
                    <a16:creationId xmlns:a16="http://schemas.microsoft.com/office/drawing/2014/main" id="{EA5922C8-B5E8-EDFB-3BC7-C0CF83D26FA2}"/>
                  </a:ext>
                </a:extLst>
              </p:cNvPr>
              <p:cNvSpPr>
                <a:spLocks noChangeArrowheads="1"/>
              </p:cNvSpPr>
              <p:nvPr userDrawn="1"/>
            </p:nvSpPr>
            <p:spPr bwMode="auto">
              <a:xfrm>
                <a:off x="379933" y="-15999"/>
                <a:ext cx="971550" cy="655638"/>
              </a:xfrm>
              <a:prstGeom prst="rect">
                <a:avLst/>
              </a:prstGeom>
              <a:solidFill>
                <a:srgbClr val="FFFFFF"/>
              </a:solidFill>
              <a:ln>
                <a:noFill/>
              </a:ln>
            </p:spPr>
            <p:txBody>
              <a:bodyPr/>
              <a:lstStyle>
                <a:lvl1pPr defTabSz="455613">
                  <a:defRPr b="1">
                    <a:solidFill>
                      <a:schemeClr val="tx1"/>
                    </a:solidFill>
                    <a:latin typeface="Verdana" panose="020B0604030504040204" pitchFamily="34" charset="0"/>
                  </a:defRPr>
                </a:lvl1pPr>
                <a:lvl2pPr marL="742950" indent="-285750" defTabSz="455613">
                  <a:defRPr b="1">
                    <a:solidFill>
                      <a:schemeClr val="tx1"/>
                    </a:solidFill>
                    <a:latin typeface="Verdana" panose="020B0604030504040204" pitchFamily="34" charset="0"/>
                  </a:defRPr>
                </a:lvl2pPr>
                <a:lvl3pPr marL="1143000" indent="-228600" defTabSz="455613">
                  <a:defRPr b="1">
                    <a:solidFill>
                      <a:schemeClr val="tx1"/>
                    </a:solidFill>
                    <a:latin typeface="Verdana" panose="020B0604030504040204" pitchFamily="34" charset="0"/>
                  </a:defRPr>
                </a:lvl3pPr>
                <a:lvl4pPr marL="1600200" indent="-228600" defTabSz="455613">
                  <a:defRPr b="1">
                    <a:solidFill>
                      <a:schemeClr val="tx1"/>
                    </a:solidFill>
                    <a:latin typeface="Verdana" panose="020B0604030504040204" pitchFamily="34" charset="0"/>
                  </a:defRPr>
                </a:lvl4pPr>
                <a:lvl5pPr marL="2057400" indent="-228600" defTabSz="455613">
                  <a:defRPr b="1">
                    <a:solidFill>
                      <a:schemeClr val="tx1"/>
                    </a:solidFill>
                    <a:latin typeface="Verdana" panose="020B0604030504040204" pitchFamily="34" charset="0"/>
                  </a:defRPr>
                </a:lvl5pPr>
                <a:lvl6pPr marL="2514600" indent="-228600" defTabSz="455613" eaLnBrk="0" fontAlgn="base" hangingPunct="0">
                  <a:spcBef>
                    <a:spcPct val="0"/>
                  </a:spcBef>
                  <a:spcAft>
                    <a:spcPct val="0"/>
                  </a:spcAft>
                  <a:defRPr b="1">
                    <a:solidFill>
                      <a:schemeClr val="tx1"/>
                    </a:solidFill>
                    <a:latin typeface="Verdana" panose="020B0604030504040204" pitchFamily="34" charset="0"/>
                  </a:defRPr>
                </a:lvl6pPr>
                <a:lvl7pPr marL="2971800" indent="-228600" defTabSz="455613" eaLnBrk="0" fontAlgn="base" hangingPunct="0">
                  <a:spcBef>
                    <a:spcPct val="0"/>
                  </a:spcBef>
                  <a:spcAft>
                    <a:spcPct val="0"/>
                  </a:spcAft>
                  <a:defRPr b="1">
                    <a:solidFill>
                      <a:schemeClr val="tx1"/>
                    </a:solidFill>
                    <a:latin typeface="Verdana" panose="020B0604030504040204" pitchFamily="34" charset="0"/>
                  </a:defRPr>
                </a:lvl7pPr>
                <a:lvl8pPr marL="3429000" indent="-228600" defTabSz="455613" eaLnBrk="0" fontAlgn="base" hangingPunct="0">
                  <a:spcBef>
                    <a:spcPct val="0"/>
                  </a:spcBef>
                  <a:spcAft>
                    <a:spcPct val="0"/>
                  </a:spcAft>
                  <a:defRPr b="1">
                    <a:solidFill>
                      <a:schemeClr val="tx1"/>
                    </a:solidFill>
                    <a:latin typeface="Verdana" panose="020B0604030504040204" pitchFamily="34" charset="0"/>
                  </a:defRPr>
                </a:lvl8pPr>
                <a:lvl9pPr marL="3886200" indent="-228600" defTabSz="455613" eaLnBrk="0" fontAlgn="base" hangingPunct="0">
                  <a:spcBef>
                    <a:spcPct val="0"/>
                  </a:spcBef>
                  <a:spcAft>
                    <a:spcPct val="0"/>
                  </a:spcAft>
                  <a:defRPr b="1">
                    <a:solidFill>
                      <a:schemeClr val="tx1"/>
                    </a:solidFill>
                    <a:latin typeface="Verdana" panose="020B0604030504040204" pitchFamily="34" charset="0"/>
                  </a:defRPr>
                </a:lvl9pPr>
              </a:lstStyle>
              <a:p>
                <a:pPr eaLnBrk="1" hangingPunct="1">
                  <a:defRPr/>
                </a:pPr>
                <a:endParaRPr lang="en-GB" altLang="de-DE" b="0">
                  <a:solidFill>
                    <a:srgbClr val="000000"/>
                  </a:solidFill>
                  <a:latin typeface="Arial" panose="020B0604020202020204" pitchFamily="34" charset="0"/>
                </a:endParaRPr>
              </a:p>
            </p:txBody>
          </p:sp>
          <p:sp>
            <p:nvSpPr>
              <p:cNvPr id="15" name="T2">
                <a:extLst>
                  <a:ext uri="{FF2B5EF4-FFF2-40B4-BE49-F238E27FC236}">
                    <a16:creationId xmlns:a16="http://schemas.microsoft.com/office/drawing/2014/main" id="{D3B31F77-2B50-93F4-449F-11F6A8EF50E4}"/>
                  </a:ext>
                </a:extLst>
              </p:cNvPr>
              <p:cNvSpPr>
                <a:spLocks/>
              </p:cNvSpPr>
              <p:nvPr userDrawn="1"/>
            </p:nvSpPr>
            <p:spPr bwMode="auto">
              <a:xfrm>
                <a:off x="1011758" y="168151"/>
                <a:ext cx="176213" cy="258763"/>
              </a:xfrm>
              <a:custGeom>
                <a:avLst/>
                <a:gdLst>
                  <a:gd name="T0" fmla="*/ 98916612 w 222"/>
                  <a:gd name="T1" fmla="*/ 206025508 h 325"/>
                  <a:gd name="T2" fmla="*/ 98916612 w 222"/>
                  <a:gd name="T3" fmla="*/ 49446026 h 325"/>
                  <a:gd name="T4" fmla="*/ 139869466 w 222"/>
                  <a:gd name="T5" fmla="*/ 49446026 h 325"/>
                  <a:gd name="T6" fmla="*/ 139869466 w 222"/>
                  <a:gd name="T7" fmla="*/ 0 h 325"/>
                  <a:gd name="T8" fmla="*/ 0 w 222"/>
                  <a:gd name="T9" fmla="*/ 0 h 325"/>
                  <a:gd name="T10" fmla="*/ 0 w 222"/>
                  <a:gd name="T11" fmla="*/ 49446026 h 325"/>
                  <a:gd name="T12" fmla="*/ 41583093 w 222"/>
                  <a:gd name="T13" fmla="*/ 49446026 h 325"/>
                  <a:gd name="T14" fmla="*/ 41583093 w 222"/>
                  <a:gd name="T15" fmla="*/ 206025508 h 325"/>
                  <a:gd name="T16" fmla="*/ 41583093 w 222"/>
                  <a:gd name="T17" fmla="*/ 206025508 h 325"/>
                  <a:gd name="T18" fmla="*/ 98916612 w 222"/>
                  <a:gd name="T19" fmla="*/ 206025508 h 3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22" h="325">
                    <a:moveTo>
                      <a:pt x="157" y="325"/>
                    </a:moveTo>
                    <a:lnTo>
                      <a:pt x="157" y="78"/>
                    </a:lnTo>
                    <a:lnTo>
                      <a:pt x="222" y="78"/>
                    </a:lnTo>
                    <a:lnTo>
                      <a:pt x="222" y="0"/>
                    </a:lnTo>
                    <a:lnTo>
                      <a:pt x="0" y="0"/>
                    </a:lnTo>
                    <a:lnTo>
                      <a:pt x="0" y="78"/>
                    </a:lnTo>
                    <a:lnTo>
                      <a:pt x="66" y="78"/>
                    </a:lnTo>
                    <a:lnTo>
                      <a:pt x="66" y="325"/>
                    </a:lnTo>
                    <a:lnTo>
                      <a:pt x="157" y="325"/>
                    </a:lnTo>
                    <a:close/>
                  </a:path>
                </a:pathLst>
              </a:custGeom>
              <a:solidFill>
                <a:srgbClr val="F06E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6" name="T1">
                <a:extLst>
                  <a:ext uri="{FF2B5EF4-FFF2-40B4-BE49-F238E27FC236}">
                    <a16:creationId xmlns:a16="http://schemas.microsoft.com/office/drawing/2014/main" id="{77FB3F8C-2AE4-E7DE-53E6-F995770DD02B}"/>
                  </a:ext>
                </a:extLst>
              </p:cNvPr>
              <p:cNvSpPr>
                <a:spLocks/>
              </p:cNvSpPr>
              <p:nvPr userDrawn="1"/>
            </p:nvSpPr>
            <p:spPr bwMode="auto">
              <a:xfrm>
                <a:off x="799033" y="168151"/>
                <a:ext cx="193675" cy="258763"/>
              </a:xfrm>
              <a:custGeom>
                <a:avLst/>
                <a:gdLst>
                  <a:gd name="T0" fmla="*/ 55443438 w 244"/>
                  <a:gd name="T1" fmla="*/ 49446026 h 325"/>
                  <a:gd name="T2" fmla="*/ 55443438 w 244"/>
                  <a:gd name="T3" fmla="*/ 206025508 h 325"/>
                  <a:gd name="T4" fmla="*/ 112776794 w 244"/>
                  <a:gd name="T5" fmla="*/ 206025508 h 325"/>
                  <a:gd name="T6" fmla="*/ 112776794 w 244"/>
                  <a:gd name="T7" fmla="*/ 49446026 h 325"/>
                  <a:gd name="T8" fmla="*/ 153729531 w 244"/>
                  <a:gd name="T9" fmla="*/ 49446026 h 325"/>
                  <a:gd name="T10" fmla="*/ 153729531 w 244"/>
                  <a:gd name="T11" fmla="*/ 0 h 325"/>
                  <a:gd name="T12" fmla="*/ 15751175 w 244"/>
                  <a:gd name="T13" fmla="*/ 0 h 325"/>
                  <a:gd name="T14" fmla="*/ 0 w 244"/>
                  <a:gd name="T15" fmla="*/ 49446026 h 325"/>
                  <a:gd name="T16" fmla="*/ 55443438 w 244"/>
                  <a:gd name="T17" fmla="*/ 49446026 h 3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44" h="325">
                    <a:moveTo>
                      <a:pt x="88" y="78"/>
                    </a:moveTo>
                    <a:lnTo>
                      <a:pt x="88" y="325"/>
                    </a:lnTo>
                    <a:lnTo>
                      <a:pt x="179" y="325"/>
                    </a:lnTo>
                    <a:lnTo>
                      <a:pt x="179" y="78"/>
                    </a:lnTo>
                    <a:lnTo>
                      <a:pt x="244" y="78"/>
                    </a:lnTo>
                    <a:lnTo>
                      <a:pt x="244" y="0"/>
                    </a:lnTo>
                    <a:lnTo>
                      <a:pt x="25" y="0"/>
                    </a:lnTo>
                    <a:lnTo>
                      <a:pt x="0" y="78"/>
                    </a:lnTo>
                    <a:lnTo>
                      <a:pt x="88" y="78"/>
                    </a:lnTo>
                    <a:close/>
                  </a:path>
                </a:pathLst>
              </a:custGeom>
              <a:solidFill>
                <a:srgbClr val="F06E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 name="V">
                <a:extLst>
                  <a:ext uri="{FF2B5EF4-FFF2-40B4-BE49-F238E27FC236}">
                    <a16:creationId xmlns:a16="http://schemas.microsoft.com/office/drawing/2014/main" id="{BAA833C5-BE1B-1F7D-E98D-432C9B69A4F8}"/>
                  </a:ext>
                </a:extLst>
              </p:cNvPr>
              <p:cNvSpPr>
                <a:spLocks/>
              </p:cNvSpPr>
              <p:nvPr userDrawn="1"/>
            </p:nvSpPr>
            <p:spPr bwMode="auto">
              <a:xfrm>
                <a:off x="567258" y="168151"/>
                <a:ext cx="230188" cy="258763"/>
              </a:xfrm>
              <a:custGeom>
                <a:avLst/>
                <a:gdLst>
                  <a:gd name="T0" fmla="*/ 116731600 w 289"/>
                  <a:gd name="T1" fmla="*/ 206025508 h 325"/>
                  <a:gd name="T2" fmla="*/ 183344344 w 289"/>
                  <a:gd name="T3" fmla="*/ 0 h 325"/>
                  <a:gd name="T4" fmla="*/ 124978544 w 289"/>
                  <a:gd name="T5" fmla="*/ 0 h 325"/>
                  <a:gd name="T6" fmla="*/ 90720356 w 289"/>
                  <a:gd name="T7" fmla="*/ 105865119 h 325"/>
                  <a:gd name="T8" fmla="*/ 85645069 w 289"/>
                  <a:gd name="T9" fmla="*/ 121079587 h 325"/>
                  <a:gd name="T10" fmla="*/ 85645069 w 289"/>
                  <a:gd name="T11" fmla="*/ 121079587 h 325"/>
                  <a:gd name="T12" fmla="*/ 85645069 w 289"/>
                  <a:gd name="T13" fmla="*/ 121079587 h 325"/>
                  <a:gd name="T14" fmla="*/ 85645069 w 289"/>
                  <a:gd name="T15" fmla="*/ 121079587 h 325"/>
                  <a:gd name="T16" fmla="*/ 85645069 w 289"/>
                  <a:gd name="T17" fmla="*/ 121079587 h 325"/>
                  <a:gd name="T18" fmla="*/ 85645069 w 289"/>
                  <a:gd name="T19" fmla="*/ 121079587 h 325"/>
                  <a:gd name="T20" fmla="*/ 85645069 w 289"/>
                  <a:gd name="T21" fmla="*/ 121079587 h 325"/>
                  <a:gd name="T22" fmla="*/ 81204592 w 289"/>
                  <a:gd name="T23" fmla="*/ 105865119 h 325"/>
                  <a:gd name="T24" fmla="*/ 57730991 w 289"/>
                  <a:gd name="T25" fmla="*/ 38035772 h 325"/>
                  <a:gd name="T26" fmla="*/ 0 w 289"/>
                  <a:gd name="T27" fmla="*/ 38035772 h 325"/>
                  <a:gd name="T28" fmla="*/ 57096978 w 289"/>
                  <a:gd name="T29" fmla="*/ 206025508 h 325"/>
                  <a:gd name="T30" fmla="*/ 116731600 w 289"/>
                  <a:gd name="T31" fmla="*/ 206025508 h 32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89" h="325">
                    <a:moveTo>
                      <a:pt x="184" y="325"/>
                    </a:moveTo>
                    <a:lnTo>
                      <a:pt x="289" y="0"/>
                    </a:lnTo>
                    <a:lnTo>
                      <a:pt x="197" y="0"/>
                    </a:lnTo>
                    <a:lnTo>
                      <a:pt x="143" y="167"/>
                    </a:lnTo>
                    <a:lnTo>
                      <a:pt x="135" y="191"/>
                    </a:lnTo>
                    <a:lnTo>
                      <a:pt x="128" y="167"/>
                    </a:lnTo>
                    <a:lnTo>
                      <a:pt x="91" y="60"/>
                    </a:lnTo>
                    <a:lnTo>
                      <a:pt x="0" y="60"/>
                    </a:lnTo>
                    <a:lnTo>
                      <a:pt x="90" y="325"/>
                    </a:lnTo>
                    <a:lnTo>
                      <a:pt x="184" y="325"/>
                    </a:lnTo>
                    <a:close/>
                  </a:path>
                </a:pathLst>
              </a:custGeom>
              <a:solidFill>
                <a:srgbClr val="F06E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grpSp>
      <p:sp>
        <p:nvSpPr>
          <p:cNvPr id="2" name="Title 1"/>
          <p:cNvSpPr>
            <a:spLocks noGrp="1"/>
          </p:cNvSpPr>
          <p:nvPr>
            <p:ph type="title"/>
          </p:nvPr>
        </p:nvSpPr>
        <p:spPr/>
        <p:txBody>
          <a:bodyPr/>
          <a:lstStyle/>
          <a:p>
            <a:r>
              <a:rPr lang="en-GB" noProof="0"/>
              <a:t>Click to edit Master title style</a:t>
            </a:r>
          </a:p>
        </p:txBody>
      </p:sp>
      <p:sp>
        <p:nvSpPr>
          <p:cNvPr id="8" name="Content Placeholder 7"/>
          <p:cNvSpPr>
            <a:spLocks noGrp="1"/>
          </p:cNvSpPr>
          <p:nvPr>
            <p:ph sz="quarter" idx="13"/>
          </p:nvPr>
        </p:nvSpPr>
        <p:spPr>
          <a:xfrm>
            <a:off x="958850" y="2097600"/>
            <a:ext cx="9263999" cy="4065600"/>
          </a:xfrm>
        </p:spPr>
        <p:txBody>
          <a:bodyPr numCol="2" spcCol="360000"/>
          <a:lstStyle>
            <a:lvl5pPr>
              <a:defRPr/>
            </a:lvl5p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GB" noProof="0" dirty="0"/>
          </a:p>
        </p:txBody>
      </p:sp>
      <p:sp>
        <p:nvSpPr>
          <p:cNvPr id="50" name="Date Placeholder 2">
            <a:extLst>
              <a:ext uri="{FF2B5EF4-FFF2-40B4-BE49-F238E27FC236}">
                <a16:creationId xmlns:a16="http://schemas.microsoft.com/office/drawing/2014/main" id="{D2E2A72F-4B25-A78B-6526-FF778C8F087E}"/>
              </a:ext>
            </a:extLst>
          </p:cNvPr>
          <p:cNvSpPr>
            <a:spLocks noGrp="1"/>
          </p:cNvSpPr>
          <p:nvPr>
            <p:ph type="dt" sz="half" idx="14"/>
          </p:nvPr>
        </p:nvSpPr>
        <p:spPr/>
        <p:txBody>
          <a:bodyPr/>
          <a:lstStyle>
            <a:lvl1pPr>
              <a:defRPr/>
            </a:lvl1pPr>
          </a:lstStyle>
          <a:p>
            <a:pPr>
              <a:defRPr/>
            </a:pPr>
            <a:fld id="{DCE0C3ED-A4A6-410C-8565-A15F424DB5F9}" type="datetime1">
              <a:rPr lang="en-GB"/>
              <a:pPr>
                <a:defRPr/>
              </a:pPr>
              <a:t>28/01/2024</a:t>
            </a:fld>
            <a:endParaRPr lang="en-GB" dirty="0"/>
          </a:p>
        </p:txBody>
      </p:sp>
      <p:sp>
        <p:nvSpPr>
          <p:cNvPr id="51" name="Footer Placeholder 3">
            <a:extLst>
              <a:ext uri="{FF2B5EF4-FFF2-40B4-BE49-F238E27FC236}">
                <a16:creationId xmlns:a16="http://schemas.microsoft.com/office/drawing/2014/main" id="{B4EE9B5D-315D-E70A-A68A-839C0F16DF67}"/>
              </a:ext>
            </a:extLst>
          </p:cNvPr>
          <p:cNvSpPr>
            <a:spLocks noGrp="1"/>
          </p:cNvSpPr>
          <p:nvPr>
            <p:ph type="ftr" sz="quarter" idx="15"/>
          </p:nvPr>
        </p:nvSpPr>
        <p:spPr/>
        <p:txBody>
          <a:bodyPr/>
          <a:lstStyle>
            <a:lvl1pPr>
              <a:defRPr/>
            </a:lvl1pPr>
          </a:lstStyle>
          <a:p>
            <a:pPr>
              <a:defRPr/>
            </a:pPr>
            <a:r>
              <a:rPr lang="en-GB"/>
              <a:t>VTT – beyond the obvious</a:t>
            </a:r>
            <a:endParaRPr lang="en-GB" dirty="0"/>
          </a:p>
        </p:txBody>
      </p:sp>
      <p:sp>
        <p:nvSpPr>
          <p:cNvPr id="52" name="Slide Number Placeholder 4">
            <a:extLst>
              <a:ext uri="{FF2B5EF4-FFF2-40B4-BE49-F238E27FC236}">
                <a16:creationId xmlns:a16="http://schemas.microsoft.com/office/drawing/2014/main" id="{B40DFB28-DF1E-7A3D-A4E7-691CCEC2275C}"/>
              </a:ext>
            </a:extLst>
          </p:cNvPr>
          <p:cNvSpPr>
            <a:spLocks noGrp="1"/>
          </p:cNvSpPr>
          <p:nvPr>
            <p:ph type="sldNum" sz="quarter" idx="16"/>
          </p:nvPr>
        </p:nvSpPr>
        <p:spPr/>
        <p:txBody>
          <a:bodyPr/>
          <a:lstStyle>
            <a:lvl1pPr>
              <a:defRPr/>
            </a:lvl1pPr>
          </a:lstStyle>
          <a:p>
            <a:pPr>
              <a:defRPr/>
            </a:pPr>
            <a:fld id="{425F2A32-9BA6-4AC5-A6F2-FC49DCB614F5}" type="slidenum">
              <a:rPr lang="en-GB"/>
              <a:pPr>
                <a:defRPr/>
              </a:pPr>
              <a:t>‹Nr.›</a:t>
            </a:fld>
            <a:endParaRPr lang="en-GB" dirty="0"/>
          </a:p>
        </p:txBody>
      </p:sp>
    </p:spTree>
    <p:extLst>
      <p:ext uri="{BB962C8B-B14F-4D97-AF65-F5344CB8AC3E}">
        <p14:creationId xmlns:p14="http://schemas.microsoft.com/office/powerpoint/2010/main" val="4157727532"/>
      </p:ext>
    </p:extLst>
  </p:cSld>
  <p:clrMapOvr>
    <a:masterClrMapping/>
  </p:clrMapOvr>
  <p:transition spd="med">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VTT 2020 Content slide 04">
    <p:spTree>
      <p:nvGrpSpPr>
        <p:cNvPr id="1" name=""/>
        <p:cNvGrpSpPr/>
        <p:nvPr/>
      </p:nvGrpSpPr>
      <p:grpSpPr>
        <a:xfrm>
          <a:off x="0" y="0"/>
          <a:ext cx="0" cy="0"/>
          <a:chOff x="0" y="0"/>
          <a:chExt cx="0" cy="0"/>
        </a:xfrm>
      </p:grpSpPr>
      <p:grpSp>
        <p:nvGrpSpPr>
          <p:cNvPr id="3" name="VTT_LogoStack_v3_16092019 pienempi koko">
            <a:extLst>
              <a:ext uri="{FF2B5EF4-FFF2-40B4-BE49-F238E27FC236}">
                <a16:creationId xmlns:a16="http://schemas.microsoft.com/office/drawing/2014/main" id="{CB89CA7F-B349-2901-8774-5F5C834BBE8E}"/>
              </a:ext>
            </a:extLst>
          </p:cNvPr>
          <p:cNvGrpSpPr>
            <a:grpSpLocks/>
          </p:cNvGrpSpPr>
          <p:nvPr userDrawn="1"/>
        </p:nvGrpSpPr>
        <p:grpSpPr bwMode="auto">
          <a:xfrm>
            <a:off x="10725150" y="0"/>
            <a:ext cx="1158875" cy="782638"/>
            <a:chOff x="7909204" y="1770762"/>
            <a:chExt cx="971550" cy="655638"/>
          </a:xfrm>
        </p:grpSpPr>
        <p:grpSp>
          <p:nvGrpSpPr>
            <p:cNvPr id="4" name="_VTT_logo_102019_01_white_on_orange">
              <a:extLst>
                <a:ext uri="{FF2B5EF4-FFF2-40B4-BE49-F238E27FC236}">
                  <a16:creationId xmlns:a16="http://schemas.microsoft.com/office/drawing/2014/main" id="{D624CA20-4710-0390-3594-621DADE7B446}"/>
                </a:ext>
              </a:extLst>
            </p:cNvPr>
            <p:cNvGrpSpPr>
              <a:grpSpLocks/>
            </p:cNvGrpSpPr>
            <p:nvPr userDrawn="1"/>
          </p:nvGrpSpPr>
          <p:grpSpPr bwMode="auto">
            <a:xfrm>
              <a:off x="7909204" y="1770762"/>
              <a:ext cx="971550" cy="655638"/>
              <a:chOff x="379933" y="-15999"/>
              <a:chExt cx="971550" cy="655638"/>
            </a:xfrm>
          </p:grpSpPr>
          <p:sp>
            <p:nvSpPr>
              <p:cNvPr id="48" name="Box">
                <a:extLst>
                  <a:ext uri="{FF2B5EF4-FFF2-40B4-BE49-F238E27FC236}">
                    <a16:creationId xmlns:a16="http://schemas.microsoft.com/office/drawing/2014/main" id="{387E7EDF-8F1C-5EA5-485E-FFFF0D2EF7ED}"/>
                  </a:ext>
                </a:extLst>
              </p:cNvPr>
              <p:cNvSpPr>
                <a:spLocks noChangeArrowheads="1"/>
              </p:cNvSpPr>
              <p:nvPr userDrawn="1"/>
            </p:nvSpPr>
            <p:spPr bwMode="auto">
              <a:xfrm>
                <a:off x="379933" y="-15999"/>
                <a:ext cx="971550" cy="655638"/>
              </a:xfrm>
              <a:prstGeom prst="rect">
                <a:avLst/>
              </a:prstGeom>
              <a:solidFill>
                <a:srgbClr val="F06E00"/>
              </a:solidFill>
              <a:ln>
                <a:noFill/>
              </a:ln>
            </p:spPr>
            <p:txBody>
              <a:bodyPr/>
              <a:lstStyle>
                <a:lvl1pPr defTabSz="455613">
                  <a:defRPr b="1">
                    <a:solidFill>
                      <a:schemeClr val="tx1"/>
                    </a:solidFill>
                    <a:latin typeface="Verdana" panose="020B0604030504040204" pitchFamily="34" charset="0"/>
                  </a:defRPr>
                </a:lvl1pPr>
                <a:lvl2pPr marL="742950" indent="-285750" defTabSz="455613">
                  <a:defRPr b="1">
                    <a:solidFill>
                      <a:schemeClr val="tx1"/>
                    </a:solidFill>
                    <a:latin typeface="Verdana" panose="020B0604030504040204" pitchFamily="34" charset="0"/>
                  </a:defRPr>
                </a:lvl2pPr>
                <a:lvl3pPr marL="1143000" indent="-228600" defTabSz="455613">
                  <a:defRPr b="1">
                    <a:solidFill>
                      <a:schemeClr val="tx1"/>
                    </a:solidFill>
                    <a:latin typeface="Verdana" panose="020B0604030504040204" pitchFamily="34" charset="0"/>
                  </a:defRPr>
                </a:lvl3pPr>
                <a:lvl4pPr marL="1600200" indent="-228600" defTabSz="455613">
                  <a:defRPr b="1">
                    <a:solidFill>
                      <a:schemeClr val="tx1"/>
                    </a:solidFill>
                    <a:latin typeface="Verdana" panose="020B0604030504040204" pitchFamily="34" charset="0"/>
                  </a:defRPr>
                </a:lvl4pPr>
                <a:lvl5pPr marL="2057400" indent="-228600" defTabSz="455613">
                  <a:defRPr b="1">
                    <a:solidFill>
                      <a:schemeClr val="tx1"/>
                    </a:solidFill>
                    <a:latin typeface="Verdana" panose="020B0604030504040204" pitchFamily="34" charset="0"/>
                  </a:defRPr>
                </a:lvl5pPr>
                <a:lvl6pPr marL="2514600" indent="-228600" defTabSz="455613" eaLnBrk="0" fontAlgn="base" hangingPunct="0">
                  <a:spcBef>
                    <a:spcPct val="0"/>
                  </a:spcBef>
                  <a:spcAft>
                    <a:spcPct val="0"/>
                  </a:spcAft>
                  <a:defRPr b="1">
                    <a:solidFill>
                      <a:schemeClr val="tx1"/>
                    </a:solidFill>
                    <a:latin typeface="Verdana" panose="020B0604030504040204" pitchFamily="34" charset="0"/>
                  </a:defRPr>
                </a:lvl6pPr>
                <a:lvl7pPr marL="2971800" indent="-228600" defTabSz="455613" eaLnBrk="0" fontAlgn="base" hangingPunct="0">
                  <a:spcBef>
                    <a:spcPct val="0"/>
                  </a:spcBef>
                  <a:spcAft>
                    <a:spcPct val="0"/>
                  </a:spcAft>
                  <a:defRPr b="1">
                    <a:solidFill>
                      <a:schemeClr val="tx1"/>
                    </a:solidFill>
                    <a:latin typeface="Verdana" panose="020B0604030504040204" pitchFamily="34" charset="0"/>
                  </a:defRPr>
                </a:lvl7pPr>
                <a:lvl8pPr marL="3429000" indent="-228600" defTabSz="455613" eaLnBrk="0" fontAlgn="base" hangingPunct="0">
                  <a:spcBef>
                    <a:spcPct val="0"/>
                  </a:spcBef>
                  <a:spcAft>
                    <a:spcPct val="0"/>
                  </a:spcAft>
                  <a:defRPr b="1">
                    <a:solidFill>
                      <a:schemeClr val="tx1"/>
                    </a:solidFill>
                    <a:latin typeface="Verdana" panose="020B0604030504040204" pitchFamily="34" charset="0"/>
                  </a:defRPr>
                </a:lvl8pPr>
                <a:lvl9pPr marL="3886200" indent="-228600" defTabSz="455613" eaLnBrk="0" fontAlgn="base" hangingPunct="0">
                  <a:spcBef>
                    <a:spcPct val="0"/>
                  </a:spcBef>
                  <a:spcAft>
                    <a:spcPct val="0"/>
                  </a:spcAft>
                  <a:defRPr b="1">
                    <a:solidFill>
                      <a:schemeClr val="tx1"/>
                    </a:solidFill>
                    <a:latin typeface="Verdana" panose="020B0604030504040204" pitchFamily="34" charset="0"/>
                  </a:defRPr>
                </a:lvl9pPr>
              </a:lstStyle>
              <a:p>
                <a:pPr eaLnBrk="1" hangingPunct="1">
                  <a:defRPr/>
                </a:pPr>
                <a:endParaRPr lang="en-GB" altLang="de-DE" b="0">
                  <a:solidFill>
                    <a:srgbClr val="000000"/>
                  </a:solidFill>
                  <a:latin typeface="Arial" panose="020B0604020202020204" pitchFamily="34" charset="0"/>
                </a:endParaRPr>
              </a:p>
            </p:txBody>
          </p:sp>
          <p:sp>
            <p:nvSpPr>
              <p:cNvPr id="49" name="T2">
                <a:extLst>
                  <a:ext uri="{FF2B5EF4-FFF2-40B4-BE49-F238E27FC236}">
                    <a16:creationId xmlns:a16="http://schemas.microsoft.com/office/drawing/2014/main" id="{CB9A1820-006B-566D-E3F0-846453F5B3B0}"/>
                  </a:ext>
                </a:extLst>
              </p:cNvPr>
              <p:cNvSpPr>
                <a:spLocks/>
              </p:cNvSpPr>
              <p:nvPr userDrawn="1"/>
            </p:nvSpPr>
            <p:spPr bwMode="auto">
              <a:xfrm>
                <a:off x="1011758" y="168151"/>
                <a:ext cx="176213" cy="258763"/>
              </a:xfrm>
              <a:custGeom>
                <a:avLst/>
                <a:gdLst>
                  <a:gd name="T0" fmla="*/ 98916612 w 222"/>
                  <a:gd name="T1" fmla="*/ 206025508 h 325"/>
                  <a:gd name="T2" fmla="*/ 98916612 w 222"/>
                  <a:gd name="T3" fmla="*/ 49446026 h 325"/>
                  <a:gd name="T4" fmla="*/ 139869466 w 222"/>
                  <a:gd name="T5" fmla="*/ 49446026 h 325"/>
                  <a:gd name="T6" fmla="*/ 139869466 w 222"/>
                  <a:gd name="T7" fmla="*/ 0 h 325"/>
                  <a:gd name="T8" fmla="*/ 0 w 222"/>
                  <a:gd name="T9" fmla="*/ 0 h 325"/>
                  <a:gd name="T10" fmla="*/ 0 w 222"/>
                  <a:gd name="T11" fmla="*/ 49446026 h 325"/>
                  <a:gd name="T12" fmla="*/ 41583093 w 222"/>
                  <a:gd name="T13" fmla="*/ 49446026 h 325"/>
                  <a:gd name="T14" fmla="*/ 41583093 w 222"/>
                  <a:gd name="T15" fmla="*/ 206025508 h 325"/>
                  <a:gd name="T16" fmla="*/ 41583093 w 222"/>
                  <a:gd name="T17" fmla="*/ 206025508 h 325"/>
                  <a:gd name="T18" fmla="*/ 98916612 w 222"/>
                  <a:gd name="T19" fmla="*/ 206025508 h 3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22" h="325">
                    <a:moveTo>
                      <a:pt x="157" y="325"/>
                    </a:moveTo>
                    <a:lnTo>
                      <a:pt x="157" y="78"/>
                    </a:lnTo>
                    <a:lnTo>
                      <a:pt x="222" y="78"/>
                    </a:lnTo>
                    <a:lnTo>
                      <a:pt x="222" y="0"/>
                    </a:lnTo>
                    <a:lnTo>
                      <a:pt x="0" y="0"/>
                    </a:lnTo>
                    <a:lnTo>
                      <a:pt x="0" y="78"/>
                    </a:lnTo>
                    <a:lnTo>
                      <a:pt x="66" y="78"/>
                    </a:lnTo>
                    <a:lnTo>
                      <a:pt x="66" y="325"/>
                    </a:lnTo>
                    <a:lnTo>
                      <a:pt x="157" y="3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0" name="T1">
                <a:extLst>
                  <a:ext uri="{FF2B5EF4-FFF2-40B4-BE49-F238E27FC236}">
                    <a16:creationId xmlns:a16="http://schemas.microsoft.com/office/drawing/2014/main" id="{831AA7F3-1862-5BAC-F27C-B2C2276A54FF}"/>
                  </a:ext>
                </a:extLst>
              </p:cNvPr>
              <p:cNvSpPr>
                <a:spLocks/>
              </p:cNvSpPr>
              <p:nvPr userDrawn="1"/>
            </p:nvSpPr>
            <p:spPr bwMode="auto">
              <a:xfrm>
                <a:off x="799033" y="168151"/>
                <a:ext cx="193675" cy="258763"/>
              </a:xfrm>
              <a:custGeom>
                <a:avLst/>
                <a:gdLst>
                  <a:gd name="T0" fmla="*/ 55443438 w 244"/>
                  <a:gd name="T1" fmla="*/ 49446026 h 325"/>
                  <a:gd name="T2" fmla="*/ 55443438 w 244"/>
                  <a:gd name="T3" fmla="*/ 206025508 h 325"/>
                  <a:gd name="T4" fmla="*/ 112776794 w 244"/>
                  <a:gd name="T5" fmla="*/ 206025508 h 325"/>
                  <a:gd name="T6" fmla="*/ 112776794 w 244"/>
                  <a:gd name="T7" fmla="*/ 49446026 h 325"/>
                  <a:gd name="T8" fmla="*/ 153729531 w 244"/>
                  <a:gd name="T9" fmla="*/ 49446026 h 325"/>
                  <a:gd name="T10" fmla="*/ 153729531 w 244"/>
                  <a:gd name="T11" fmla="*/ 0 h 325"/>
                  <a:gd name="T12" fmla="*/ 15751175 w 244"/>
                  <a:gd name="T13" fmla="*/ 0 h 325"/>
                  <a:gd name="T14" fmla="*/ 0 w 244"/>
                  <a:gd name="T15" fmla="*/ 49446026 h 325"/>
                  <a:gd name="T16" fmla="*/ 55443438 w 244"/>
                  <a:gd name="T17" fmla="*/ 49446026 h 3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44" h="325">
                    <a:moveTo>
                      <a:pt x="88" y="78"/>
                    </a:moveTo>
                    <a:lnTo>
                      <a:pt x="88" y="325"/>
                    </a:lnTo>
                    <a:lnTo>
                      <a:pt x="179" y="325"/>
                    </a:lnTo>
                    <a:lnTo>
                      <a:pt x="179" y="78"/>
                    </a:lnTo>
                    <a:lnTo>
                      <a:pt x="244" y="78"/>
                    </a:lnTo>
                    <a:lnTo>
                      <a:pt x="244" y="0"/>
                    </a:lnTo>
                    <a:lnTo>
                      <a:pt x="25" y="0"/>
                    </a:lnTo>
                    <a:lnTo>
                      <a:pt x="0" y="78"/>
                    </a:lnTo>
                    <a:lnTo>
                      <a:pt x="88"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1" name="V">
                <a:extLst>
                  <a:ext uri="{FF2B5EF4-FFF2-40B4-BE49-F238E27FC236}">
                    <a16:creationId xmlns:a16="http://schemas.microsoft.com/office/drawing/2014/main" id="{830434C9-011B-CEDF-B77D-6D66286B427C}"/>
                  </a:ext>
                </a:extLst>
              </p:cNvPr>
              <p:cNvSpPr>
                <a:spLocks/>
              </p:cNvSpPr>
              <p:nvPr userDrawn="1"/>
            </p:nvSpPr>
            <p:spPr bwMode="auto">
              <a:xfrm>
                <a:off x="567258" y="168151"/>
                <a:ext cx="230188" cy="258763"/>
              </a:xfrm>
              <a:custGeom>
                <a:avLst/>
                <a:gdLst>
                  <a:gd name="T0" fmla="*/ 116731600 w 289"/>
                  <a:gd name="T1" fmla="*/ 206025508 h 325"/>
                  <a:gd name="T2" fmla="*/ 183344344 w 289"/>
                  <a:gd name="T3" fmla="*/ 0 h 325"/>
                  <a:gd name="T4" fmla="*/ 124978544 w 289"/>
                  <a:gd name="T5" fmla="*/ 0 h 325"/>
                  <a:gd name="T6" fmla="*/ 90720356 w 289"/>
                  <a:gd name="T7" fmla="*/ 105865119 h 325"/>
                  <a:gd name="T8" fmla="*/ 85645069 w 289"/>
                  <a:gd name="T9" fmla="*/ 121079587 h 325"/>
                  <a:gd name="T10" fmla="*/ 85645069 w 289"/>
                  <a:gd name="T11" fmla="*/ 121079587 h 325"/>
                  <a:gd name="T12" fmla="*/ 85645069 w 289"/>
                  <a:gd name="T13" fmla="*/ 121079587 h 325"/>
                  <a:gd name="T14" fmla="*/ 85645069 w 289"/>
                  <a:gd name="T15" fmla="*/ 121079587 h 325"/>
                  <a:gd name="T16" fmla="*/ 85645069 w 289"/>
                  <a:gd name="T17" fmla="*/ 121079587 h 325"/>
                  <a:gd name="T18" fmla="*/ 85645069 w 289"/>
                  <a:gd name="T19" fmla="*/ 121079587 h 325"/>
                  <a:gd name="T20" fmla="*/ 85645069 w 289"/>
                  <a:gd name="T21" fmla="*/ 121079587 h 325"/>
                  <a:gd name="T22" fmla="*/ 81204592 w 289"/>
                  <a:gd name="T23" fmla="*/ 105865119 h 325"/>
                  <a:gd name="T24" fmla="*/ 57730991 w 289"/>
                  <a:gd name="T25" fmla="*/ 38035772 h 325"/>
                  <a:gd name="T26" fmla="*/ 0 w 289"/>
                  <a:gd name="T27" fmla="*/ 38035772 h 325"/>
                  <a:gd name="T28" fmla="*/ 57096978 w 289"/>
                  <a:gd name="T29" fmla="*/ 206025508 h 325"/>
                  <a:gd name="T30" fmla="*/ 116731600 w 289"/>
                  <a:gd name="T31" fmla="*/ 206025508 h 32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89" h="325">
                    <a:moveTo>
                      <a:pt x="184" y="325"/>
                    </a:moveTo>
                    <a:lnTo>
                      <a:pt x="289" y="0"/>
                    </a:lnTo>
                    <a:lnTo>
                      <a:pt x="197" y="0"/>
                    </a:lnTo>
                    <a:lnTo>
                      <a:pt x="143" y="167"/>
                    </a:lnTo>
                    <a:lnTo>
                      <a:pt x="135" y="191"/>
                    </a:lnTo>
                    <a:lnTo>
                      <a:pt x="128" y="167"/>
                    </a:lnTo>
                    <a:lnTo>
                      <a:pt x="91" y="60"/>
                    </a:lnTo>
                    <a:lnTo>
                      <a:pt x="0" y="60"/>
                    </a:lnTo>
                    <a:lnTo>
                      <a:pt x="90" y="325"/>
                    </a:lnTo>
                    <a:lnTo>
                      <a:pt x="184" y="3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grpSp>
          <p:nvGrpSpPr>
            <p:cNvPr id="5" name="_VTT_logo_102019_02_white_on_black" hidden="1">
              <a:extLst>
                <a:ext uri="{FF2B5EF4-FFF2-40B4-BE49-F238E27FC236}">
                  <a16:creationId xmlns:a16="http://schemas.microsoft.com/office/drawing/2014/main" id="{721B5A6A-BCAC-2D47-1077-BD55399B5EAF}"/>
                </a:ext>
              </a:extLst>
            </p:cNvPr>
            <p:cNvGrpSpPr>
              <a:grpSpLocks/>
            </p:cNvGrpSpPr>
            <p:nvPr userDrawn="1"/>
          </p:nvGrpSpPr>
          <p:grpSpPr bwMode="auto">
            <a:xfrm>
              <a:off x="7909204" y="1770762"/>
              <a:ext cx="971550" cy="655638"/>
              <a:chOff x="379933" y="-15999"/>
              <a:chExt cx="971550" cy="655638"/>
            </a:xfrm>
          </p:grpSpPr>
          <p:sp>
            <p:nvSpPr>
              <p:cNvPr id="44" name="Box">
                <a:extLst>
                  <a:ext uri="{FF2B5EF4-FFF2-40B4-BE49-F238E27FC236}">
                    <a16:creationId xmlns:a16="http://schemas.microsoft.com/office/drawing/2014/main" id="{4D91218E-DDFA-407B-1F0B-118C56B949E6}"/>
                  </a:ext>
                </a:extLst>
              </p:cNvPr>
              <p:cNvSpPr>
                <a:spLocks noChangeArrowheads="1"/>
              </p:cNvSpPr>
              <p:nvPr userDrawn="1"/>
            </p:nvSpPr>
            <p:spPr bwMode="auto">
              <a:xfrm>
                <a:off x="379933" y="-15999"/>
                <a:ext cx="971550" cy="655638"/>
              </a:xfrm>
              <a:prstGeom prst="rect">
                <a:avLst/>
              </a:prstGeom>
              <a:solidFill>
                <a:srgbClr val="000000"/>
              </a:solidFill>
              <a:ln>
                <a:noFill/>
              </a:ln>
            </p:spPr>
            <p:txBody>
              <a:bodyPr/>
              <a:lstStyle>
                <a:lvl1pPr defTabSz="455613">
                  <a:defRPr b="1">
                    <a:solidFill>
                      <a:schemeClr val="tx1"/>
                    </a:solidFill>
                    <a:latin typeface="Verdana" panose="020B0604030504040204" pitchFamily="34" charset="0"/>
                  </a:defRPr>
                </a:lvl1pPr>
                <a:lvl2pPr marL="742950" indent="-285750" defTabSz="455613">
                  <a:defRPr b="1">
                    <a:solidFill>
                      <a:schemeClr val="tx1"/>
                    </a:solidFill>
                    <a:latin typeface="Verdana" panose="020B0604030504040204" pitchFamily="34" charset="0"/>
                  </a:defRPr>
                </a:lvl2pPr>
                <a:lvl3pPr marL="1143000" indent="-228600" defTabSz="455613">
                  <a:defRPr b="1">
                    <a:solidFill>
                      <a:schemeClr val="tx1"/>
                    </a:solidFill>
                    <a:latin typeface="Verdana" panose="020B0604030504040204" pitchFamily="34" charset="0"/>
                  </a:defRPr>
                </a:lvl3pPr>
                <a:lvl4pPr marL="1600200" indent="-228600" defTabSz="455613">
                  <a:defRPr b="1">
                    <a:solidFill>
                      <a:schemeClr val="tx1"/>
                    </a:solidFill>
                    <a:latin typeface="Verdana" panose="020B0604030504040204" pitchFamily="34" charset="0"/>
                  </a:defRPr>
                </a:lvl4pPr>
                <a:lvl5pPr marL="2057400" indent="-228600" defTabSz="455613">
                  <a:defRPr b="1">
                    <a:solidFill>
                      <a:schemeClr val="tx1"/>
                    </a:solidFill>
                    <a:latin typeface="Verdana" panose="020B0604030504040204" pitchFamily="34" charset="0"/>
                  </a:defRPr>
                </a:lvl5pPr>
                <a:lvl6pPr marL="2514600" indent="-228600" defTabSz="455613" eaLnBrk="0" fontAlgn="base" hangingPunct="0">
                  <a:spcBef>
                    <a:spcPct val="0"/>
                  </a:spcBef>
                  <a:spcAft>
                    <a:spcPct val="0"/>
                  </a:spcAft>
                  <a:defRPr b="1">
                    <a:solidFill>
                      <a:schemeClr val="tx1"/>
                    </a:solidFill>
                    <a:latin typeface="Verdana" panose="020B0604030504040204" pitchFamily="34" charset="0"/>
                  </a:defRPr>
                </a:lvl6pPr>
                <a:lvl7pPr marL="2971800" indent="-228600" defTabSz="455613" eaLnBrk="0" fontAlgn="base" hangingPunct="0">
                  <a:spcBef>
                    <a:spcPct val="0"/>
                  </a:spcBef>
                  <a:spcAft>
                    <a:spcPct val="0"/>
                  </a:spcAft>
                  <a:defRPr b="1">
                    <a:solidFill>
                      <a:schemeClr val="tx1"/>
                    </a:solidFill>
                    <a:latin typeface="Verdana" panose="020B0604030504040204" pitchFamily="34" charset="0"/>
                  </a:defRPr>
                </a:lvl7pPr>
                <a:lvl8pPr marL="3429000" indent="-228600" defTabSz="455613" eaLnBrk="0" fontAlgn="base" hangingPunct="0">
                  <a:spcBef>
                    <a:spcPct val="0"/>
                  </a:spcBef>
                  <a:spcAft>
                    <a:spcPct val="0"/>
                  </a:spcAft>
                  <a:defRPr b="1">
                    <a:solidFill>
                      <a:schemeClr val="tx1"/>
                    </a:solidFill>
                    <a:latin typeface="Verdana" panose="020B0604030504040204" pitchFamily="34" charset="0"/>
                  </a:defRPr>
                </a:lvl8pPr>
                <a:lvl9pPr marL="3886200" indent="-228600" defTabSz="455613" eaLnBrk="0" fontAlgn="base" hangingPunct="0">
                  <a:spcBef>
                    <a:spcPct val="0"/>
                  </a:spcBef>
                  <a:spcAft>
                    <a:spcPct val="0"/>
                  </a:spcAft>
                  <a:defRPr b="1">
                    <a:solidFill>
                      <a:schemeClr val="tx1"/>
                    </a:solidFill>
                    <a:latin typeface="Verdana" panose="020B0604030504040204" pitchFamily="34" charset="0"/>
                  </a:defRPr>
                </a:lvl9pPr>
              </a:lstStyle>
              <a:p>
                <a:pPr eaLnBrk="1" hangingPunct="1">
                  <a:defRPr/>
                </a:pPr>
                <a:endParaRPr lang="en-GB" altLang="de-DE" b="0">
                  <a:solidFill>
                    <a:srgbClr val="000000"/>
                  </a:solidFill>
                  <a:latin typeface="Arial" panose="020B0604020202020204" pitchFamily="34" charset="0"/>
                </a:endParaRPr>
              </a:p>
            </p:txBody>
          </p:sp>
          <p:sp>
            <p:nvSpPr>
              <p:cNvPr id="45" name="T2">
                <a:extLst>
                  <a:ext uri="{FF2B5EF4-FFF2-40B4-BE49-F238E27FC236}">
                    <a16:creationId xmlns:a16="http://schemas.microsoft.com/office/drawing/2014/main" id="{C4A544D4-F163-8A98-3F69-0D067F49FB2C}"/>
                  </a:ext>
                </a:extLst>
              </p:cNvPr>
              <p:cNvSpPr>
                <a:spLocks/>
              </p:cNvSpPr>
              <p:nvPr userDrawn="1"/>
            </p:nvSpPr>
            <p:spPr bwMode="auto">
              <a:xfrm>
                <a:off x="1011758" y="168151"/>
                <a:ext cx="176213" cy="258763"/>
              </a:xfrm>
              <a:custGeom>
                <a:avLst/>
                <a:gdLst>
                  <a:gd name="T0" fmla="*/ 98916612 w 222"/>
                  <a:gd name="T1" fmla="*/ 206025508 h 325"/>
                  <a:gd name="T2" fmla="*/ 98916612 w 222"/>
                  <a:gd name="T3" fmla="*/ 49446026 h 325"/>
                  <a:gd name="T4" fmla="*/ 139869466 w 222"/>
                  <a:gd name="T5" fmla="*/ 49446026 h 325"/>
                  <a:gd name="T6" fmla="*/ 139869466 w 222"/>
                  <a:gd name="T7" fmla="*/ 0 h 325"/>
                  <a:gd name="T8" fmla="*/ 0 w 222"/>
                  <a:gd name="T9" fmla="*/ 0 h 325"/>
                  <a:gd name="T10" fmla="*/ 0 w 222"/>
                  <a:gd name="T11" fmla="*/ 49446026 h 325"/>
                  <a:gd name="T12" fmla="*/ 41583093 w 222"/>
                  <a:gd name="T13" fmla="*/ 49446026 h 325"/>
                  <a:gd name="T14" fmla="*/ 41583093 w 222"/>
                  <a:gd name="T15" fmla="*/ 206025508 h 325"/>
                  <a:gd name="T16" fmla="*/ 41583093 w 222"/>
                  <a:gd name="T17" fmla="*/ 206025508 h 325"/>
                  <a:gd name="T18" fmla="*/ 98916612 w 222"/>
                  <a:gd name="T19" fmla="*/ 206025508 h 3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22" h="325">
                    <a:moveTo>
                      <a:pt x="157" y="325"/>
                    </a:moveTo>
                    <a:lnTo>
                      <a:pt x="157" y="78"/>
                    </a:lnTo>
                    <a:lnTo>
                      <a:pt x="222" y="78"/>
                    </a:lnTo>
                    <a:lnTo>
                      <a:pt x="222" y="0"/>
                    </a:lnTo>
                    <a:lnTo>
                      <a:pt x="0" y="0"/>
                    </a:lnTo>
                    <a:lnTo>
                      <a:pt x="0" y="78"/>
                    </a:lnTo>
                    <a:lnTo>
                      <a:pt x="66" y="78"/>
                    </a:lnTo>
                    <a:lnTo>
                      <a:pt x="66" y="325"/>
                    </a:lnTo>
                    <a:lnTo>
                      <a:pt x="157" y="3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46" name="T1">
                <a:extLst>
                  <a:ext uri="{FF2B5EF4-FFF2-40B4-BE49-F238E27FC236}">
                    <a16:creationId xmlns:a16="http://schemas.microsoft.com/office/drawing/2014/main" id="{6FFF0E23-4800-59A2-86E3-DECE26C5CC07}"/>
                  </a:ext>
                </a:extLst>
              </p:cNvPr>
              <p:cNvSpPr>
                <a:spLocks/>
              </p:cNvSpPr>
              <p:nvPr userDrawn="1"/>
            </p:nvSpPr>
            <p:spPr bwMode="auto">
              <a:xfrm>
                <a:off x="799033" y="168151"/>
                <a:ext cx="193675" cy="258763"/>
              </a:xfrm>
              <a:custGeom>
                <a:avLst/>
                <a:gdLst>
                  <a:gd name="T0" fmla="*/ 55443438 w 244"/>
                  <a:gd name="T1" fmla="*/ 49446026 h 325"/>
                  <a:gd name="T2" fmla="*/ 55443438 w 244"/>
                  <a:gd name="T3" fmla="*/ 206025508 h 325"/>
                  <a:gd name="T4" fmla="*/ 112776794 w 244"/>
                  <a:gd name="T5" fmla="*/ 206025508 h 325"/>
                  <a:gd name="T6" fmla="*/ 112776794 w 244"/>
                  <a:gd name="T7" fmla="*/ 49446026 h 325"/>
                  <a:gd name="T8" fmla="*/ 153729531 w 244"/>
                  <a:gd name="T9" fmla="*/ 49446026 h 325"/>
                  <a:gd name="T10" fmla="*/ 153729531 w 244"/>
                  <a:gd name="T11" fmla="*/ 0 h 325"/>
                  <a:gd name="T12" fmla="*/ 15751175 w 244"/>
                  <a:gd name="T13" fmla="*/ 0 h 325"/>
                  <a:gd name="T14" fmla="*/ 0 w 244"/>
                  <a:gd name="T15" fmla="*/ 49446026 h 325"/>
                  <a:gd name="T16" fmla="*/ 55443438 w 244"/>
                  <a:gd name="T17" fmla="*/ 49446026 h 3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44" h="325">
                    <a:moveTo>
                      <a:pt x="88" y="78"/>
                    </a:moveTo>
                    <a:lnTo>
                      <a:pt x="88" y="325"/>
                    </a:lnTo>
                    <a:lnTo>
                      <a:pt x="179" y="325"/>
                    </a:lnTo>
                    <a:lnTo>
                      <a:pt x="179" y="78"/>
                    </a:lnTo>
                    <a:lnTo>
                      <a:pt x="244" y="78"/>
                    </a:lnTo>
                    <a:lnTo>
                      <a:pt x="244" y="0"/>
                    </a:lnTo>
                    <a:lnTo>
                      <a:pt x="25" y="0"/>
                    </a:lnTo>
                    <a:lnTo>
                      <a:pt x="0" y="78"/>
                    </a:lnTo>
                    <a:lnTo>
                      <a:pt x="88"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47" name="V">
                <a:extLst>
                  <a:ext uri="{FF2B5EF4-FFF2-40B4-BE49-F238E27FC236}">
                    <a16:creationId xmlns:a16="http://schemas.microsoft.com/office/drawing/2014/main" id="{41ABDDE8-A617-0438-6B41-C38911BC3BE1}"/>
                  </a:ext>
                </a:extLst>
              </p:cNvPr>
              <p:cNvSpPr>
                <a:spLocks/>
              </p:cNvSpPr>
              <p:nvPr userDrawn="1"/>
            </p:nvSpPr>
            <p:spPr bwMode="auto">
              <a:xfrm>
                <a:off x="567258" y="168151"/>
                <a:ext cx="230188" cy="258763"/>
              </a:xfrm>
              <a:custGeom>
                <a:avLst/>
                <a:gdLst>
                  <a:gd name="T0" fmla="*/ 116731600 w 289"/>
                  <a:gd name="T1" fmla="*/ 206025508 h 325"/>
                  <a:gd name="T2" fmla="*/ 183344344 w 289"/>
                  <a:gd name="T3" fmla="*/ 0 h 325"/>
                  <a:gd name="T4" fmla="*/ 124978544 w 289"/>
                  <a:gd name="T5" fmla="*/ 0 h 325"/>
                  <a:gd name="T6" fmla="*/ 90720356 w 289"/>
                  <a:gd name="T7" fmla="*/ 105865119 h 325"/>
                  <a:gd name="T8" fmla="*/ 85645069 w 289"/>
                  <a:gd name="T9" fmla="*/ 121079587 h 325"/>
                  <a:gd name="T10" fmla="*/ 85645069 w 289"/>
                  <a:gd name="T11" fmla="*/ 121079587 h 325"/>
                  <a:gd name="T12" fmla="*/ 85645069 w 289"/>
                  <a:gd name="T13" fmla="*/ 121079587 h 325"/>
                  <a:gd name="T14" fmla="*/ 85645069 w 289"/>
                  <a:gd name="T15" fmla="*/ 121079587 h 325"/>
                  <a:gd name="T16" fmla="*/ 85645069 w 289"/>
                  <a:gd name="T17" fmla="*/ 121079587 h 325"/>
                  <a:gd name="T18" fmla="*/ 85645069 w 289"/>
                  <a:gd name="T19" fmla="*/ 121079587 h 325"/>
                  <a:gd name="T20" fmla="*/ 85645069 w 289"/>
                  <a:gd name="T21" fmla="*/ 121079587 h 325"/>
                  <a:gd name="T22" fmla="*/ 81204592 w 289"/>
                  <a:gd name="T23" fmla="*/ 105865119 h 325"/>
                  <a:gd name="T24" fmla="*/ 57730991 w 289"/>
                  <a:gd name="T25" fmla="*/ 38035772 h 325"/>
                  <a:gd name="T26" fmla="*/ 0 w 289"/>
                  <a:gd name="T27" fmla="*/ 38035772 h 325"/>
                  <a:gd name="T28" fmla="*/ 57096978 w 289"/>
                  <a:gd name="T29" fmla="*/ 206025508 h 325"/>
                  <a:gd name="T30" fmla="*/ 116731600 w 289"/>
                  <a:gd name="T31" fmla="*/ 206025508 h 32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89" h="325">
                    <a:moveTo>
                      <a:pt x="184" y="325"/>
                    </a:moveTo>
                    <a:lnTo>
                      <a:pt x="289" y="0"/>
                    </a:lnTo>
                    <a:lnTo>
                      <a:pt x="197" y="0"/>
                    </a:lnTo>
                    <a:lnTo>
                      <a:pt x="143" y="167"/>
                    </a:lnTo>
                    <a:lnTo>
                      <a:pt x="135" y="191"/>
                    </a:lnTo>
                    <a:lnTo>
                      <a:pt x="128" y="167"/>
                    </a:lnTo>
                    <a:lnTo>
                      <a:pt x="91" y="60"/>
                    </a:lnTo>
                    <a:lnTo>
                      <a:pt x="0" y="60"/>
                    </a:lnTo>
                    <a:lnTo>
                      <a:pt x="90" y="325"/>
                    </a:lnTo>
                    <a:lnTo>
                      <a:pt x="184" y="3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grpSp>
          <p:nvGrpSpPr>
            <p:cNvPr id="6" name="_VTT_logo_102019_03_white_on_blue" hidden="1">
              <a:extLst>
                <a:ext uri="{FF2B5EF4-FFF2-40B4-BE49-F238E27FC236}">
                  <a16:creationId xmlns:a16="http://schemas.microsoft.com/office/drawing/2014/main" id="{40968E3F-1DDA-F19F-382B-47DE7ED06E5D}"/>
                </a:ext>
              </a:extLst>
            </p:cNvPr>
            <p:cNvGrpSpPr>
              <a:grpSpLocks/>
            </p:cNvGrpSpPr>
            <p:nvPr userDrawn="1"/>
          </p:nvGrpSpPr>
          <p:grpSpPr bwMode="auto">
            <a:xfrm>
              <a:off x="7909204" y="1770762"/>
              <a:ext cx="971550" cy="655638"/>
              <a:chOff x="379933" y="-15999"/>
              <a:chExt cx="971550" cy="655638"/>
            </a:xfrm>
          </p:grpSpPr>
          <p:sp>
            <p:nvSpPr>
              <p:cNvPr id="40" name="Box">
                <a:extLst>
                  <a:ext uri="{FF2B5EF4-FFF2-40B4-BE49-F238E27FC236}">
                    <a16:creationId xmlns:a16="http://schemas.microsoft.com/office/drawing/2014/main" id="{4A8E43B1-4A3D-C233-C660-BCCF285CF01F}"/>
                  </a:ext>
                </a:extLst>
              </p:cNvPr>
              <p:cNvSpPr>
                <a:spLocks noChangeArrowheads="1"/>
              </p:cNvSpPr>
              <p:nvPr userDrawn="1"/>
            </p:nvSpPr>
            <p:spPr bwMode="auto">
              <a:xfrm>
                <a:off x="379933" y="-15999"/>
                <a:ext cx="971550" cy="655638"/>
              </a:xfrm>
              <a:prstGeom prst="rect">
                <a:avLst/>
              </a:prstGeom>
              <a:solidFill>
                <a:srgbClr val="005794"/>
              </a:solidFill>
              <a:ln>
                <a:noFill/>
              </a:ln>
            </p:spPr>
            <p:txBody>
              <a:bodyPr/>
              <a:lstStyle>
                <a:lvl1pPr defTabSz="455613">
                  <a:defRPr b="1">
                    <a:solidFill>
                      <a:schemeClr val="tx1"/>
                    </a:solidFill>
                    <a:latin typeface="Verdana" panose="020B0604030504040204" pitchFamily="34" charset="0"/>
                  </a:defRPr>
                </a:lvl1pPr>
                <a:lvl2pPr marL="742950" indent="-285750" defTabSz="455613">
                  <a:defRPr b="1">
                    <a:solidFill>
                      <a:schemeClr val="tx1"/>
                    </a:solidFill>
                    <a:latin typeface="Verdana" panose="020B0604030504040204" pitchFamily="34" charset="0"/>
                  </a:defRPr>
                </a:lvl2pPr>
                <a:lvl3pPr marL="1143000" indent="-228600" defTabSz="455613">
                  <a:defRPr b="1">
                    <a:solidFill>
                      <a:schemeClr val="tx1"/>
                    </a:solidFill>
                    <a:latin typeface="Verdana" panose="020B0604030504040204" pitchFamily="34" charset="0"/>
                  </a:defRPr>
                </a:lvl3pPr>
                <a:lvl4pPr marL="1600200" indent="-228600" defTabSz="455613">
                  <a:defRPr b="1">
                    <a:solidFill>
                      <a:schemeClr val="tx1"/>
                    </a:solidFill>
                    <a:latin typeface="Verdana" panose="020B0604030504040204" pitchFamily="34" charset="0"/>
                  </a:defRPr>
                </a:lvl4pPr>
                <a:lvl5pPr marL="2057400" indent="-228600" defTabSz="455613">
                  <a:defRPr b="1">
                    <a:solidFill>
                      <a:schemeClr val="tx1"/>
                    </a:solidFill>
                    <a:latin typeface="Verdana" panose="020B0604030504040204" pitchFamily="34" charset="0"/>
                  </a:defRPr>
                </a:lvl5pPr>
                <a:lvl6pPr marL="2514600" indent="-228600" defTabSz="455613" eaLnBrk="0" fontAlgn="base" hangingPunct="0">
                  <a:spcBef>
                    <a:spcPct val="0"/>
                  </a:spcBef>
                  <a:spcAft>
                    <a:spcPct val="0"/>
                  </a:spcAft>
                  <a:defRPr b="1">
                    <a:solidFill>
                      <a:schemeClr val="tx1"/>
                    </a:solidFill>
                    <a:latin typeface="Verdana" panose="020B0604030504040204" pitchFamily="34" charset="0"/>
                  </a:defRPr>
                </a:lvl6pPr>
                <a:lvl7pPr marL="2971800" indent="-228600" defTabSz="455613" eaLnBrk="0" fontAlgn="base" hangingPunct="0">
                  <a:spcBef>
                    <a:spcPct val="0"/>
                  </a:spcBef>
                  <a:spcAft>
                    <a:spcPct val="0"/>
                  </a:spcAft>
                  <a:defRPr b="1">
                    <a:solidFill>
                      <a:schemeClr val="tx1"/>
                    </a:solidFill>
                    <a:latin typeface="Verdana" panose="020B0604030504040204" pitchFamily="34" charset="0"/>
                  </a:defRPr>
                </a:lvl7pPr>
                <a:lvl8pPr marL="3429000" indent="-228600" defTabSz="455613" eaLnBrk="0" fontAlgn="base" hangingPunct="0">
                  <a:spcBef>
                    <a:spcPct val="0"/>
                  </a:spcBef>
                  <a:spcAft>
                    <a:spcPct val="0"/>
                  </a:spcAft>
                  <a:defRPr b="1">
                    <a:solidFill>
                      <a:schemeClr val="tx1"/>
                    </a:solidFill>
                    <a:latin typeface="Verdana" panose="020B0604030504040204" pitchFamily="34" charset="0"/>
                  </a:defRPr>
                </a:lvl8pPr>
                <a:lvl9pPr marL="3886200" indent="-228600" defTabSz="455613" eaLnBrk="0" fontAlgn="base" hangingPunct="0">
                  <a:spcBef>
                    <a:spcPct val="0"/>
                  </a:spcBef>
                  <a:spcAft>
                    <a:spcPct val="0"/>
                  </a:spcAft>
                  <a:defRPr b="1">
                    <a:solidFill>
                      <a:schemeClr val="tx1"/>
                    </a:solidFill>
                    <a:latin typeface="Verdana" panose="020B0604030504040204" pitchFamily="34" charset="0"/>
                  </a:defRPr>
                </a:lvl9pPr>
              </a:lstStyle>
              <a:p>
                <a:pPr eaLnBrk="1" hangingPunct="1">
                  <a:defRPr/>
                </a:pPr>
                <a:endParaRPr lang="en-GB" altLang="de-DE" b="0">
                  <a:solidFill>
                    <a:srgbClr val="000000"/>
                  </a:solidFill>
                  <a:latin typeface="Arial" panose="020B0604020202020204" pitchFamily="34" charset="0"/>
                </a:endParaRPr>
              </a:p>
            </p:txBody>
          </p:sp>
          <p:sp>
            <p:nvSpPr>
              <p:cNvPr id="41" name="T2">
                <a:extLst>
                  <a:ext uri="{FF2B5EF4-FFF2-40B4-BE49-F238E27FC236}">
                    <a16:creationId xmlns:a16="http://schemas.microsoft.com/office/drawing/2014/main" id="{2275F415-37FD-9D9E-05D1-25449294A8D4}"/>
                  </a:ext>
                </a:extLst>
              </p:cNvPr>
              <p:cNvSpPr>
                <a:spLocks/>
              </p:cNvSpPr>
              <p:nvPr userDrawn="1"/>
            </p:nvSpPr>
            <p:spPr bwMode="auto">
              <a:xfrm>
                <a:off x="1011758" y="168151"/>
                <a:ext cx="176213" cy="258763"/>
              </a:xfrm>
              <a:custGeom>
                <a:avLst/>
                <a:gdLst>
                  <a:gd name="T0" fmla="*/ 98916612 w 222"/>
                  <a:gd name="T1" fmla="*/ 206025508 h 325"/>
                  <a:gd name="T2" fmla="*/ 98916612 w 222"/>
                  <a:gd name="T3" fmla="*/ 49446026 h 325"/>
                  <a:gd name="T4" fmla="*/ 139869466 w 222"/>
                  <a:gd name="T5" fmla="*/ 49446026 h 325"/>
                  <a:gd name="T6" fmla="*/ 139869466 w 222"/>
                  <a:gd name="T7" fmla="*/ 0 h 325"/>
                  <a:gd name="T8" fmla="*/ 0 w 222"/>
                  <a:gd name="T9" fmla="*/ 0 h 325"/>
                  <a:gd name="T10" fmla="*/ 0 w 222"/>
                  <a:gd name="T11" fmla="*/ 49446026 h 325"/>
                  <a:gd name="T12" fmla="*/ 41583093 w 222"/>
                  <a:gd name="T13" fmla="*/ 49446026 h 325"/>
                  <a:gd name="T14" fmla="*/ 41583093 w 222"/>
                  <a:gd name="T15" fmla="*/ 206025508 h 325"/>
                  <a:gd name="T16" fmla="*/ 41583093 w 222"/>
                  <a:gd name="T17" fmla="*/ 206025508 h 325"/>
                  <a:gd name="T18" fmla="*/ 98916612 w 222"/>
                  <a:gd name="T19" fmla="*/ 206025508 h 3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22" h="325">
                    <a:moveTo>
                      <a:pt x="157" y="325"/>
                    </a:moveTo>
                    <a:lnTo>
                      <a:pt x="157" y="78"/>
                    </a:lnTo>
                    <a:lnTo>
                      <a:pt x="222" y="78"/>
                    </a:lnTo>
                    <a:lnTo>
                      <a:pt x="222" y="0"/>
                    </a:lnTo>
                    <a:lnTo>
                      <a:pt x="0" y="0"/>
                    </a:lnTo>
                    <a:lnTo>
                      <a:pt x="0" y="78"/>
                    </a:lnTo>
                    <a:lnTo>
                      <a:pt x="66" y="78"/>
                    </a:lnTo>
                    <a:lnTo>
                      <a:pt x="66" y="325"/>
                    </a:lnTo>
                    <a:lnTo>
                      <a:pt x="157" y="3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42" name="T1">
                <a:extLst>
                  <a:ext uri="{FF2B5EF4-FFF2-40B4-BE49-F238E27FC236}">
                    <a16:creationId xmlns:a16="http://schemas.microsoft.com/office/drawing/2014/main" id="{CCCC5821-D416-6953-EA4C-0A5ED83C4E4B}"/>
                  </a:ext>
                </a:extLst>
              </p:cNvPr>
              <p:cNvSpPr>
                <a:spLocks/>
              </p:cNvSpPr>
              <p:nvPr userDrawn="1"/>
            </p:nvSpPr>
            <p:spPr bwMode="auto">
              <a:xfrm>
                <a:off x="799033" y="168151"/>
                <a:ext cx="193675" cy="258763"/>
              </a:xfrm>
              <a:custGeom>
                <a:avLst/>
                <a:gdLst>
                  <a:gd name="T0" fmla="*/ 55443438 w 244"/>
                  <a:gd name="T1" fmla="*/ 49446026 h 325"/>
                  <a:gd name="T2" fmla="*/ 55443438 w 244"/>
                  <a:gd name="T3" fmla="*/ 206025508 h 325"/>
                  <a:gd name="T4" fmla="*/ 112776794 w 244"/>
                  <a:gd name="T5" fmla="*/ 206025508 h 325"/>
                  <a:gd name="T6" fmla="*/ 112776794 w 244"/>
                  <a:gd name="T7" fmla="*/ 49446026 h 325"/>
                  <a:gd name="T8" fmla="*/ 153729531 w 244"/>
                  <a:gd name="T9" fmla="*/ 49446026 h 325"/>
                  <a:gd name="T10" fmla="*/ 153729531 w 244"/>
                  <a:gd name="T11" fmla="*/ 0 h 325"/>
                  <a:gd name="T12" fmla="*/ 15751175 w 244"/>
                  <a:gd name="T13" fmla="*/ 0 h 325"/>
                  <a:gd name="T14" fmla="*/ 0 w 244"/>
                  <a:gd name="T15" fmla="*/ 49446026 h 325"/>
                  <a:gd name="T16" fmla="*/ 55443438 w 244"/>
                  <a:gd name="T17" fmla="*/ 49446026 h 3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44" h="325">
                    <a:moveTo>
                      <a:pt x="88" y="78"/>
                    </a:moveTo>
                    <a:lnTo>
                      <a:pt x="88" y="325"/>
                    </a:lnTo>
                    <a:lnTo>
                      <a:pt x="179" y="325"/>
                    </a:lnTo>
                    <a:lnTo>
                      <a:pt x="179" y="78"/>
                    </a:lnTo>
                    <a:lnTo>
                      <a:pt x="244" y="78"/>
                    </a:lnTo>
                    <a:lnTo>
                      <a:pt x="244" y="0"/>
                    </a:lnTo>
                    <a:lnTo>
                      <a:pt x="25" y="0"/>
                    </a:lnTo>
                    <a:lnTo>
                      <a:pt x="0" y="78"/>
                    </a:lnTo>
                    <a:lnTo>
                      <a:pt x="88"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43" name="V">
                <a:extLst>
                  <a:ext uri="{FF2B5EF4-FFF2-40B4-BE49-F238E27FC236}">
                    <a16:creationId xmlns:a16="http://schemas.microsoft.com/office/drawing/2014/main" id="{E6D886AC-3969-3179-155E-702E0C89EC68}"/>
                  </a:ext>
                </a:extLst>
              </p:cNvPr>
              <p:cNvSpPr>
                <a:spLocks/>
              </p:cNvSpPr>
              <p:nvPr userDrawn="1"/>
            </p:nvSpPr>
            <p:spPr bwMode="auto">
              <a:xfrm>
                <a:off x="567258" y="168151"/>
                <a:ext cx="230188" cy="258763"/>
              </a:xfrm>
              <a:custGeom>
                <a:avLst/>
                <a:gdLst>
                  <a:gd name="T0" fmla="*/ 116731600 w 289"/>
                  <a:gd name="T1" fmla="*/ 206025508 h 325"/>
                  <a:gd name="T2" fmla="*/ 183344344 w 289"/>
                  <a:gd name="T3" fmla="*/ 0 h 325"/>
                  <a:gd name="T4" fmla="*/ 124978544 w 289"/>
                  <a:gd name="T5" fmla="*/ 0 h 325"/>
                  <a:gd name="T6" fmla="*/ 90720356 w 289"/>
                  <a:gd name="T7" fmla="*/ 105865119 h 325"/>
                  <a:gd name="T8" fmla="*/ 85645069 w 289"/>
                  <a:gd name="T9" fmla="*/ 121079587 h 325"/>
                  <a:gd name="T10" fmla="*/ 85645069 w 289"/>
                  <a:gd name="T11" fmla="*/ 121079587 h 325"/>
                  <a:gd name="T12" fmla="*/ 85645069 w 289"/>
                  <a:gd name="T13" fmla="*/ 121079587 h 325"/>
                  <a:gd name="T14" fmla="*/ 85645069 w 289"/>
                  <a:gd name="T15" fmla="*/ 121079587 h 325"/>
                  <a:gd name="T16" fmla="*/ 85645069 w 289"/>
                  <a:gd name="T17" fmla="*/ 121079587 h 325"/>
                  <a:gd name="T18" fmla="*/ 85645069 w 289"/>
                  <a:gd name="T19" fmla="*/ 121079587 h 325"/>
                  <a:gd name="T20" fmla="*/ 85645069 w 289"/>
                  <a:gd name="T21" fmla="*/ 121079587 h 325"/>
                  <a:gd name="T22" fmla="*/ 81204592 w 289"/>
                  <a:gd name="T23" fmla="*/ 105865119 h 325"/>
                  <a:gd name="T24" fmla="*/ 57730991 w 289"/>
                  <a:gd name="T25" fmla="*/ 38035772 h 325"/>
                  <a:gd name="T26" fmla="*/ 0 w 289"/>
                  <a:gd name="T27" fmla="*/ 38035772 h 325"/>
                  <a:gd name="T28" fmla="*/ 57096978 w 289"/>
                  <a:gd name="T29" fmla="*/ 206025508 h 325"/>
                  <a:gd name="T30" fmla="*/ 116731600 w 289"/>
                  <a:gd name="T31" fmla="*/ 206025508 h 32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89" h="325">
                    <a:moveTo>
                      <a:pt x="184" y="325"/>
                    </a:moveTo>
                    <a:lnTo>
                      <a:pt x="289" y="0"/>
                    </a:lnTo>
                    <a:lnTo>
                      <a:pt x="197" y="0"/>
                    </a:lnTo>
                    <a:lnTo>
                      <a:pt x="143" y="167"/>
                    </a:lnTo>
                    <a:lnTo>
                      <a:pt x="135" y="191"/>
                    </a:lnTo>
                    <a:lnTo>
                      <a:pt x="128" y="167"/>
                    </a:lnTo>
                    <a:lnTo>
                      <a:pt x="91" y="60"/>
                    </a:lnTo>
                    <a:lnTo>
                      <a:pt x="0" y="60"/>
                    </a:lnTo>
                    <a:lnTo>
                      <a:pt x="90" y="325"/>
                    </a:lnTo>
                    <a:lnTo>
                      <a:pt x="184" y="3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grpSp>
          <p:nvGrpSpPr>
            <p:cNvPr id="10" name="_VTT_logo_102019_04_white_on_dark_grey" hidden="1">
              <a:extLst>
                <a:ext uri="{FF2B5EF4-FFF2-40B4-BE49-F238E27FC236}">
                  <a16:creationId xmlns:a16="http://schemas.microsoft.com/office/drawing/2014/main" id="{B1FF8352-3420-C209-14DC-1A68B4D62881}"/>
                </a:ext>
              </a:extLst>
            </p:cNvPr>
            <p:cNvGrpSpPr>
              <a:grpSpLocks/>
            </p:cNvGrpSpPr>
            <p:nvPr userDrawn="1"/>
          </p:nvGrpSpPr>
          <p:grpSpPr bwMode="auto">
            <a:xfrm>
              <a:off x="7909204" y="1770762"/>
              <a:ext cx="971550" cy="655638"/>
              <a:chOff x="379933" y="-15999"/>
              <a:chExt cx="971550" cy="655638"/>
            </a:xfrm>
          </p:grpSpPr>
          <p:sp>
            <p:nvSpPr>
              <p:cNvPr id="36" name="Box">
                <a:extLst>
                  <a:ext uri="{FF2B5EF4-FFF2-40B4-BE49-F238E27FC236}">
                    <a16:creationId xmlns:a16="http://schemas.microsoft.com/office/drawing/2014/main" id="{39C3442A-40C7-76AD-F5D8-6AD1DB593729}"/>
                  </a:ext>
                </a:extLst>
              </p:cNvPr>
              <p:cNvSpPr>
                <a:spLocks noChangeArrowheads="1"/>
              </p:cNvSpPr>
              <p:nvPr userDrawn="1"/>
            </p:nvSpPr>
            <p:spPr bwMode="auto">
              <a:xfrm>
                <a:off x="379933" y="-15999"/>
                <a:ext cx="971550" cy="655638"/>
              </a:xfrm>
              <a:prstGeom prst="rect">
                <a:avLst/>
              </a:prstGeom>
              <a:solidFill>
                <a:srgbClr val="AFAFAF"/>
              </a:solidFill>
              <a:ln>
                <a:noFill/>
              </a:ln>
            </p:spPr>
            <p:txBody>
              <a:bodyPr/>
              <a:lstStyle>
                <a:lvl1pPr defTabSz="455613">
                  <a:defRPr b="1">
                    <a:solidFill>
                      <a:schemeClr val="tx1"/>
                    </a:solidFill>
                    <a:latin typeface="Verdana" panose="020B0604030504040204" pitchFamily="34" charset="0"/>
                  </a:defRPr>
                </a:lvl1pPr>
                <a:lvl2pPr marL="742950" indent="-285750" defTabSz="455613">
                  <a:defRPr b="1">
                    <a:solidFill>
                      <a:schemeClr val="tx1"/>
                    </a:solidFill>
                    <a:latin typeface="Verdana" panose="020B0604030504040204" pitchFamily="34" charset="0"/>
                  </a:defRPr>
                </a:lvl2pPr>
                <a:lvl3pPr marL="1143000" indent="-228600" defTabSz="455613">
                  <a:defRPr b="1">
                    <a:solidFill>
                      <a:schemeClr val="tx1"/>
                    </a:solidFill>
                    <a:latin typeface="Verdana" panose="020B0604030504040204" pitchFamily="34" charset="0"/>
                  </a:defRPr>
                </a:lvl3pPr>
                <a:lvl4pPr marL="1600200" indent="-228600" defTabSz="455613">
                  <a:defRPr b="1">
                    <a:solidFill>
                      <a:schemeClr val="tx1"/>
                    </a:solidFill>
                    <a:latin typeface="Verdana" panose="020B0604030504040204" pitchFamily="34" charset="0"/>
                  </a:defRPr>
                </a:lvl4pPr>
                <a:lvl5pPr marL="2057400" indent="-228600" defTabSz="455613">
                  <a:defRPr b="1">
                    <a:solidFill>
                      <a:schemeClr val="tx1"/>
                    </a:solidFill>
                    <a:latin typeface="Verdana" panose="020B0604030504040204" pitchFamily="34" charset="0"/>
                  </a:defRPr>
                </a:lvl5pPr>
                <a:lvl6pPr marL="2514600" indent="-228600" defTabSz="455613" eaLnBrk="0" fontAlgn="base" hangingPunct="0">
                  <a:spcBef>
                    <a:spcPct val="0"/>
                  </a:spcBef>
                  <a:spcAft>
                    <a:spcPct val="0"/>
                  </a:spcAft>
                  <a:defRPr b="1">
                    <a:solidFill>
                      <a:schemeClr val="tx1"/>
                    </a:solidFill>
                    <a:latin typeface="Verdana" panose="020B0604030504040204" pitchFamily="34" charset="0"/>
                  </a:defRPr>
                </a:lvl6pPr>
                <a:lvl7pPr marL="2971800" indent="-228600" defTabSz="455613" eaLnBrk="0" fontAlgn="base" hangingPunct="0">
                  <a:spcBef>
                    <a:spcPct val="0"/>
                  </a:spcBef>
                  <a:spcAft>
                    <a:spcPct val="0"/>
                  </a:spcAft>
                  <a:defRPr b="1">
                    <a:solidFill>
                      <a:schemeClr val="tx1"/>
                    </a:solidFill>
                    <a:latin typeface="Verdana" panose="020B0604030504040204" pitchFamily="34" charset="0"/>
                  </a:defRPr>
                </a:lvl7pPr>
                <a:lvl8pPr marL="3429000" indent="-228600" defTabSz="455613" eaLnBrk="0" fontAlgn="base" hangingPunct="0">
                  <a:spcBef>
                    <a:spcPct val="0"/>
                  </a:spcBef>
                  <a:spcAft>
                    <a:spcPct val="0"/>
                  </a:spcAft>
                  <a:defRPr b="1">
                    <a:solidFill>
                      <a:schemeClr val="tx1"/>
                    </a:solidFill>
                    <a:latin typeface="Verdana" panose="020B0604030504040204" pitchFamily="34" charset="0"/>
                  </a:defRPr>
                </a:lvl8pPr>
                <a:lvl9pPr marL="3886200" indent="-228600" defTabSz="455613" eaLnBrk="0" fontAlgn="base" hangingPunct="0">
                  <a:spcBef>
                    <a:spcPct val="0"/>
                  </a:spcBef>
                  <a:spcAft>
                    <a:spcPct val="0"/>
                  </a:spcAft>
                  <a:defRPr b="1">
                    <a:solidFill>
                      <a:schemeClr val="tx1"/>
                    </a:solidFill>
                    <a:latin typeface="Verdana" panose="020B0604030504040204" pitchFamily="34" charset="0"/>
                  </a:defRPr>
                </a:lvl9pPr>
              </a:lstStyle>
              <a:p>
                <a:pPr eaLnBrk="1" hangingPunct="1">
                  <a:defRPr/>
                </a:pPr>
                <a:endParaRPr lang="en-GB" altLang="de-DE" b="0">
                  <a:solidFill>
                    <a:srgbClr val="000000"/>
                  </a:solidFill>
                  <a:latin typeface="Arial" panose="020B0604020202020204" pitchFamily="34" charset="0"/>
                </a:endParaRPr>
              </a:p>
            </p:txBody>
          </p:sp>
          <p:sp>
            <p:nvSpPr>
              <p:cNvPr id="37" name="T2">
                <a:extLst>
                  <a:ext uri="{FF2B5EF4-FFF2-40B4-BE49-F238E27FC236}">
                    <a16:creationId xmlns:a16="http://schemas.microsoft.com/office/drawing/2014/main" id="{16407753-78FB-1D5D-BD17-CA96A39BF227}"/>
                  </a:ext>
                </a:extLst>
              </p:cNvPr>
              <p:cNvSpPr>
                <a:spLocks/>
              </p:cNvSpPr>
              <p:nvPr userDrawn="1"/>
            </p:nvSpPr>
            <p:spPr bwMode="auto">
              <a:xfrm>
                <a:off x="1011758" y="168151"/>
                <a:ext cx="176213" cy="258763"/>
              </a:xfrm>
              <a:custGeom>
                <a:avLst/>
                <a:gdLst>
                  <a:gd name="T0" fmla="*/ 98916612 w 222"/>
                  <a:gd name="T1" fmla="*/ 206025508 h 325"/>
                  <a:gd name="T2" fmla="*/ 98916612 w 222"/>
                  <a:gd name="T3" fmla="*/ 49446026 h 325"/>
                  <a:gd name="T4" fmla="*/ 139869466 w 222"/>
                  <a:gd name="T5" fmla="*/ 49446026 h 325"/>
                  <a:gd name="T6" fmla="*/ 139869466 w 222"/>
                  <a:gd name="T7" fmla="*/ 0 h 325"/>
                  <a:gd name="T8" fmla="*/ 0 w 222"/>
                  <a:gd name="T9" fmla="*/ 0 h 325"/>
                  <a:gd name="T10" fmla="*/ 0 w 222"/>
                  <a:gd name="T11" fmla="*/ 49446026 h 325"/>
                  <a:gd name="T12" fmla="*/ 41583093 w 222"/>
                  <a:gd name="T13" fmla="*/ 49446026 h 325"/>
                  <a:gd name="T14" fmla="*/ 41583093 w 222"/>
                  <a:gd name="T15" fmla="*/ 206025508 h 325"/>
                  <a:gd name="T16" fmla="*/ 41583093 w 222"/>
                  <a:gd name="T17" fmla="*/ 206025508 h 325"/>
                  <a:gd name="T18" fmla="*/ 98916612 w 222"/>
                  <a:gd name="T19" fmla="*/ 206025508 h 3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22" h="325">
                    <a:moveTo>
                      <a:pt x="157" y="325"/>
                    </a:moveTo>
                    <a:lnTo>
                      <a:pt x="157" y="78"/>
                    </a:lnTo>
                    <a:lnTo>
                      <a:pt x="222" y="78"/>
                    </a:lnTo>
                    <a:lnTo>
                      <a:pt x="222" y="0"/>
                    </a:lnTo>
                    <a:lnTo>
                      <a:pt x="0" y="0"/>
                    </a:lnTo>
                    <a:lnTo>
                      <a:pt x="0" y="78"/>
                    </a:lnTo>
                    <a:lnTo>
                      <a:pt x="66" y="78"/>
                    </a:lnTo>
                    <a:lnTo>
                      <a:pt x="66" y="325"/>
                    </a:lnTo>
                    <a:lnTo>
                      <a:pt x="157" y="3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38" name="T1">
                <a:extLst>
                  <a:ext uri="{FF2B5EF4-FFF2-40B4-BE49-F238E27FC236}">
                    <a16:creationId xmlns:a16="http://schemas.microsoft.com/office/drawing/2014/main" id="{691EA8EF-272F-C520-3901-087E365237BB}"/>
                  </a:ext>
                </a:extLst>
              </p:cNvPr>
              <p:cNvSpPr>
                <a:spLocks/>
              </p:cNvSpPr>
              <p:nvPr userDrawn="1"/>
            </p:nvSpPr>
            <p:spPr bwMode="auto">
              <a:xfrm>
                <a:off x="799033" y="168151"/>
                <a:ext cx="193675" cy="258763"/>
              </a:xfrm>
              <a:custGeom>
                <a:avLst/>
                <a:gdLst>
                  <a:gd name="T0" fmla="*/ 55443438 w 244"/>
                  <a:gd name="T1" fmla="*/ 49446026 h 325"/>
                  <a:gd name="T2" fmla="*/ 55443438 w 244"/>
                  <a:gd name="T3" fmla="*/ 206025508 h 325"/>
                  <a:gd name="T4" fmla="*/ 112776794 w 244"/>
                  <a:gd name="T5" fmla="*/ 206025508 h 325"/>
                  <a:gd name="T6" fmla="*/ 112776794 w 244"/>
                  <a:gd name="T7" fmla="*/ 49446026 h 325"/>
                  <a:gd name="T8" fmla="*/ 153729531 w 244"/>
                  <a:gd name="T9" fmla="*/ 49446026 h 325"/>
                  <a:gd name="T10" fmla="*/ 153729531 w 244"/>
                  <a:gd name="T11" fmla="*/ 0 h 325"/>
                  <a:gd name="T12" fmla="*/ 15751175 w 244"/>
                  <a:gd name="T13" fmla="*/ 0 h 325"/>
                  <a:gd name="T14" fmla="*/ 0 w 244"/>
                  <a:gd name="T15" fmla="*/ 49446026 h 325"/>
                  <a:gd name="T16" fmla="*/ 55443438 w 244"/>
                  <a:gd name="T17" fmla="*/ 49446026 h 3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44" h="325">
                    <a:moveTo>
                      <a:pt x="88" y="78"/>
                    </a:moveTo>
                    <a:lnTo>
                      <a:pt x="88" y="325"/>
                    </a:lnTo>
                    <a:lnTo>
                      <a:pt x="179" y="325"/>
                    </a:lnTo>
                    <a:lnTo>
                      <a:pt x="179" y="78"/>
                    </a:lnTo>
                    <a:lnTo>
                      <a:pt x="244" y="78"/>
                    </a:lnTo>
                    <a:lnTo>
                      <a:pt x="244" y="0"/>
                    </a:lnTo>
                    <a:lnTo>
                      <a:pt x="25" y="0"/>
                    </a:lnTo>
                    <a:lnTo>
                      <a:pt x="0" y="78"/>
                    </a:lnTo>
                    <a:lnTo>
                      <a:pt x="88"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39" name="V">
                <a:extLst>
                  <a:ext uri="{FF2B5EF4-FFF2-40B4-BE49-F238E27FC236}">
                    <a16:creationId xmlns:a16="http://schemas.microsoft.com/office/drawing/2014/main" id="{70C64825-2419-5696-D97E-53664EC67C96}"/>
                  </a:ext>
                </a:extLst>
              </p:cNvPr>
              <p:cNvSpPr>
                <a:spLocks/>
              </p:cNvSpPr>
              <p:nvPr userDrawn="1"/>
            </p:nvSpPr>
            <p:spPr bwMode="auto">
              <a:xfrm>
                <a:off x="567258" y="168151"/>
                <a:ext cx="230188" cy="258763"/>
              </a:xfrm>
              <a:custGeom>
                <a:avLst/>
                <a:gdLst>
                  <a:gd name="T0" fmla="*/ 116731600 w 289"/>
                  <a:gd name="T1" fmla="*/ 206025508 h 325"/>
                  <a:gd name="T2" fmla="*/ 183344344 w 289"/>
                  <a:gd name="T3" fmla="*/ 0 h 325"/>
                  <a:gd name="T4" fmla="*/ 124978544 w 289"/>
                  <a:gd name="T5" fmla="*/ 0 h 325"/>
                  <a:gd name="T6" fmla="*/ 90720356 w 289"/>
                  <a:gd name="T7" fmla="*/ 105865119 h 325"/>
                  <a:gd name="T8" fmla="*/ 85645069 w 289"/>
                  <a:gd name="T9" fmla="*/ 121079587 h 325"/>
                  <a:gd name="T10" fmla="*/ 85645069 w 289"/>
                  <a:gd name="T11" fmla="*/ 121079587 h 325"/>
                  <a:gd name="T12" fmla="*/ 85645069 w 289"/>
                  <a:gd name="T13" fmla="*/ 121079587 h 325"/>
                  <a:gd name="T14" fmla="*/ 85645069 w 289"/>
                  <a:gd name="T15" fmla="*/ 121079587 h 325"/>
                  <a:gd name="T16" fmla="*/ 85645069 w 289"/>
                  <a:gd name="T17" fmla="*/ 121079587 h 325"/>
                  <a:gd name="T18" fmla="*/ 85645069 w 289"/>
                  <a:gd name="T19" fmla="*/ 121079587 h 325"/>
                  <a:gd name="T20" fmla="*/ 85645069 w 289"/>
                  <a:gd name="T21" fmla="*/ 121079587 h 325"/>
                  <a:gd name="T22" fmla="*/ 81204592 w 289"/>
                  <a:gd name="T23" fmla="*/ 105865119 h 325"/>
                  <a:gd name="T24" fmla="*/ 57730991 w 289"/>
                  <a:gd name="T25" fmla="*/ 38035772 h 325"/>
                  <a:gd name="T26" fmla="*/ 0 w 289"/>
                  <a:gd name="T27" fmla="*/ 38035772 h 325"/>
                  <a:gd name="T28" fmla="*/ 57096978 w 289"/>
                  <a:gd name="T29" fmla="*/ 206025508 h 325"/>
                  <a:gd name="T30" fmla="*/ 116731600 w 289"/>
                  <a:gd name="T31" fmla="*/ 206025508 h 32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89" h="325">
                    <a:moveTo>
                      <a:pt x="184" y="325"/>
                    </a:moveTo>
                    <a:lnTo>
                      <a:pt x="289" y="0"/>
                    </a:lnTo>
                    <a:lnTo>
                      <a:pt x="197" y="0"/>
                    </a:lnTo>
                    <a:lnTo>
                      <a:pt x="143" y="167"/>
                    </a:lnTo>
                    <a:lnTo>
                      <a:pt x="135" y="191"/>
                    </a:lnTo>
                    <a:lnTo>
                      <a:pt x="128" y="167"/>
                    </a:lnTo>
                    <a:lnTo>
                      <a:pt x="91" y="60"/>
                    </a:lnTo>
                    <a:lnTo>
                      <a:pt x="0" y="60"/>
                    </a:lnTo>
                    <a:lnTo>
                      <a:pt x="90" y="325"/>
                    </a:lnTo>
                    <a:lnTo>
                      <a:pt x="184" y="3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grpSp>
          <p:nvGrpSpPr>
            <p:cNvPr id="11" name="_VTT_logo_102019_05_dark_grey_on_white" hidden="1">
              <a:extLst>
                <a:ext uri="{FF2B5EF4-FFF2-40B4-BE49-F238E27FC236}">
                  <a16:creationId xmlns:a16="http://schemas.microsoft.com/office/drawing/2014/main" id="{C6CAC24E-EB52-0E64-DBDA-932A1ED8999C}"/>
                </a:ext>
              </a:extLst>
            </p:cNvPr>
            <p:cNvGrpSpPr>
              <a:grpSpLocks/>
            </p:cNvGrpSpPr>
            <p:nvPr userDrawn="1"/>
          </p:nvGrpSpPr>
          <p:grpSpPr bwMode="auto">
            <a:xfrm>
              <a:off x="7909204" y="1770762"/>
              <a:ext cx="971550" cy="655638"/>
              <a:chOff x="379933" y="-15999"/>
              <a:chExt cx="971550" cy="655638"/>
            </a:xfrm>
          </p:grpSpPr>
          <p:sp>
            <p:nvSpPr>
              <p:cNvPr id="32" name="Box">
                <a:extLst>
                  <a:ext uri="{FF2B5EF4-FFF2-40B4-BE49-F238E27FC236}">
                    <a16:creationId xmlns:a16="http://schemas.microsoft.com/office/drawing/2014/main" id="{F3C48A53-53BE-66E9-072A-33C7E5C0D3D6}"/>
                  </a:ext>
                </a:extLst>
              </p:cNvPr>
              <p:cNvSpPr>
                <a:spLocks noChangeArrowheads="1"/>
              </p:cNvSpPr>
              <p:nvPr userDrawn="1"/>
            </p:nvSpPr>
            <p:spPr bwMode="auto">
              <a:xfrm>
                <a:off x="379933" y="-15999"/>
                <a:ext cx="971550" cy="655638"/>
              </a:xfrm>
              <a:prstGeom prst="rect">
                <a:avLst/>
              </a:prstGeom>
              <a:solidFill>
                <a:srgbClr val="FFFFFF"/>
              </a:solidFill>
              <a:ln>
                <a:noFill/>
              </a:ln>
            </p:spPr>
            <p:txBody>
              <a:bodyPr/>
              <a:lstStyle>
                <a:lvl1pPr defTabSz="455613">
                  <a:defRPr b="1">
                    <a:solidFill>
                      <a:schemeClr val="tx1"/>
                    </a:solidFill>
                    <a:latin typeface="Verdana" panose="020B0604030504040204" pitchFamily="34" charset="0"/>
                  </a:defRPr>
                </a:lvl1pPr>
                <a:lvl2pPr marL="742950" indent="-285750" defTabSz="455613">
                  <a:defRPr b="1">
                    <a:solidFill>
                      <a:schemeClr val="tx1"/>
                    </a:solidFill>
                    <a:latin typeface="Verdana" panose="020B0604030504040204" pitchFamily="34" charset="0"/>
                  </a:defRPr>
                </a:lvl2pPr>
                <a:lvl3pPr marL="1143000" indent="-228600" defTabSz="455613">
                  <a:defRPr b="1">
                    <a:solidFill>
                      <a:schemeClr val="tx1"/>
                    </a:solidFill>
                    <a:latin typeface="Verdana" panose="020B0604030504040204" pitchFamily="34" charset="0"/>
                  </a:defRPr>
                </a:lvl3pPr>
                <a:lvl4pPr marL="1600200" indent="-228600" defTabSz="455613">
                  <a:defRPr b="1">
                    <a:solidFill>
                      <a:schemeClr val="tx1"/>
                    </a:solidFill>
                    <a:latin typeface="Verdana" panose="020B0604030504040204" pitchFamily="34" charset="0"/>
                  </a:defRPr>
                </a:lvl4pPr>
                <a:lvl5pPr marL="2057400" indent="-228600" defTabSz="455613">
                  <a:defRPr b="1">
                    <a:solidFill>
                      <a:schemeClr val="tx1"/>
                    </a:solidFill>
                    <a:latin typeface="Verdana" panose="020B0604030504040204" pitchFamily="34" charset="0"/>
                  </a:defRPr>
                </a:lvl5pPr>
                <a:lvl6pPr marL="2514600" indent="-228600" defTabSz="455613" eaLnBrk="0" fontAlgn="base" hangingPunct="0">
                  <a:spcBef>
                    <a:spcPct val="0"/>
                  </a:spcBef>
                  <a:spcAft>
                    <a:spcPct val="0"/>
                  </a:spcAft>
                  <a:defRPr b="1">
                    <a:solidFill>
                      <a:schemeClr val="tx1"/>
                    </a:solidFill>
                    <a:latin typeface="Verdana" panose="020B0604030504040204" pitchFamily="34" charset="0"/>
                  </a:defRPr>
                </a:lvl6pPr>
                <a:lvl7pPr marL="2971800" indent="-228600" defTabSz="455613" eaLnBrk="0" fontAlgn="base" hangingPunct="0">
                  <a:spcBef>
                    <a:spcPct val="0"/>
                  </a:spcBef>
                  <a:spcAft>
                    <a:spcPct val="0"/>
                  </a:spcAft>
                  <a:defRPr b="1">
                    <a:solidFill>
                      <a:schemeClr val="tx1"/>
                    </a:solidFill>
                    <a:latin typeface="Verdana" panose="020B0604030504040204" pitchFamily="34" charset="0"/>
                  </a:defRPr>
                </a:lvl7pPr>
                <a:lvl8pPr marL="3429000" indent="-228600" defTabSz="455613" eaLnBrk="0" fontAlgn="base" hangingPunct="0">
                  <a:spcBef>
                    <a:spcPct val="0"/>
                  </a:spcBef>
                  <a:spcAft>
                    <a:spcPct val="0"/>
                  </a:spcAft>
                  <a:defRPr b="1">
                    <a:solidFill>
                      <a:schemeClr val="tx1"/>
                    </a:solidFill>
                    <a:latin typeface="Verdana" panose="020B0604030504040204" pitchFamily="34" charset="0"/>
                  </a:defRPr>
                </a:lvl8pPr>
                <a:lvl9pPr marL="3886200" indent="-228600" defTabSz="455613" eaLnBrk="0" fontAlgn="base" hangingPunct="0">
                  <a:spcBef>
                    <a:spcPct val="0"/>
                  </a:spcBef>
                  <a:spcAft>
                    <a:spcPct val="0"/>
                  </a:spcAft>
                  <a:defRPr b="1">
                    <a:solidFill>
                      <a:schemeClr val="tx1"/>
                    </a:solidFill>
                    <a:latin typeface="Verdana" panose="020B0604030504040204" pitchFamily="34" charset="0"/>
                  </a:defRPr>
                </a:lvl9pPr>
              </a:lstStyle>
              <a:p>
                <a:pPr eaLnBrk="1" hangingPunct="1">
                  <a:defRPr/>
                </a:pPr>
                <a:endParaRPr lang="en-GB" altLang="de-DE" b="0">
                  <a:solidFill>
                    <a:srgbClr val="000000"/>
                  </a:solidFill>
                  <a:latin typeface="Arial" panose="020B0604020202020204" pitchFamily="34" charset="0"/>
                </a:endParaRPr>
              </a:p>
            </p:txBody>
          </p:sp>
          <p:sp>
            <p:nvSpPr>
              <p:cNvPr id="33" name="T2">
                <a:extLst>
                  <a:ext uri="{FF2B5EF4-FFF2-40B4-BE49-F238E27FC236}">
                    <a16:creationId xmlns:a16="http://schemas.microsoft.com/office/drawing/2014/main" id="{6A213A73-E3BE-A894-D78A-26A60AC1E84F}"/>
                  </a:ext>
                </a:extLst>
              </p:cNvPr>
              <p:cNvSpPr>
                <a:spLocks/>
              </p:cNvSpPr>
              <p:nvPr userDrawn="1"/>
            </p:nvSpPr>
            <p:spPr bwMode="auto">
              <a:xfrm>
                <a:off x="1011758" y="168151"/>
                <a:ext cx="176213" cy="258763"/>
              </a:xfrm>
              <a:custGeom>
                <a:avLst/>
                <a:gdLst>
                  <a:gd name="T0" fmla="*/ 98916612 w 222"/>
                  <a:gd name="T1" fmla="*/ 206025508 h 325"/>
                  <a:gd name="T2" fmla="*/ 98916612 w 222"/>
                  <a:gd name="T3" fmla="*/ 49446026 h 325"/>
                  <a:gd name="T4" fmla="*/ 139869466 w 222"/>
                  <a:gd name="T5" fmla="*/ 49446026 h 325"/>
                  <a:gd name="T6" fmla="*/ 139869466 w 222"/>
                  <a:gd name="T7" fmla="*/ 0 h 325"/>
                  <a:gd name="T8" fmla="*/ 0 w 222"/>
                  <a:gd name="T9" fmla="*/ 0 h 325"/>
                  <a:gd name="T10" fmla="*/ 0 w 222"/>
                  <a:gd name="T11" fmla="*/ 49446026 h 325"/>
                  <a:gd name="T12" fmla="*/ 41583093 w 222"/>
                  <a:gd name="T13" fmla="*/ 49446026 h 325"/>
                  <a:gd name="T14" fmla="*/ 41583093 w 222"/>
                  <a:gd name="T15" fmla="*/ 206025508 h 325"/>
                  <a:gd name="T16" fmla="*/ 41583093 w 222"/>
                  <a:gd name="T17" fmla="*/ 206025508 h 325"/>
                  <a:gd name="T18" fmla="*/ 98916612 w 222"/>
                  <a:gd name="T19" fmla="*/ 206025508 h 3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22" h="325">
                    <a:moveTo>
                      <a:pt x="157" y="325"/>
                    </a:moveTo>
                    <a:lnTo>
                      <a:pt x="157" y="78"/>
                    </a:lnTo>
                    <a:lnTo>
                      <a:pt x="222" y="78"/>
                    </a:lnTo>
                    <a:lnTo>
                      <a:pt x="222" y="0"/>
                    </a:lnTo>
                    <a:lnTo>
                      <a:pt x="0" y="0"/>
                    </a:lnTo>
                    <a:lnTo>
                      <a:pt x="0" y="78"/>
                    </a:lnTo>
                    <a:lnTo>
                      <a:pt x="66" y="78"/>
                    </a:lnTo>
                    <a:lnTo>
                      <a:pt x="66" y="325"/>
                    </a:lnTo>
                    <a:lnTo>
                      <a:pt x="157" y="325"/>
                    </a:lnTo>
                    <a:close/>
                  </a:path>
                </a:pathLst>
              </a:custGeom>
              <a:solidFill>
                <a:srgbClr val="AFAFA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34" name="T1">
                <a:extLst>
                  <a:ext uri="{FF2B5EF4-FFF2-40B4-BE49-F238E27FC236}">
                    <a16:creationId xmlns:a16="http://schemas.microsoft.com/office/drawing/2014/main" id="{2F0B951A-66C0-2F0E-0AA8-5A9F140CF8B7}"/>
                  </a:ext>
                </a:extLst>
              </p:cNvPr>
              <p:cNvSpPr>
                <a:spLocks/>
              </p:cNvSpPr>
              <p:nvPr userDrawn="1"/>
            </p:nvSpPr>
            <p:spPr bwMode="auto">
              <a:xfrm>
                <a:off x="799033" y="168151"/>
                <a:ext cx="193675" cy="258763"/>
              </a:xfrm>
              <a:custGeom>
                <a:avLst/>
                <a:gdLst>
                  <a:gd name="T0" fmla="*/ 55443438 w 244"/>
                  <a:gd name="T1" fmla="*/ 49446026 h 325"/>
                  <a:gd name="T2" fmla="*/ 55443438 w 244"/>
                  <a:gd name="T3" fmla="*/ 206025508 h 325"/>
                  <a:gd name="T4" fmla="*/ 112776794 w 244"/>
                  <a:gd name="T5" fmla="*/ 206025508 h 325"/>
                  <a:gd name="T6" fmla="*/ 112776794 w 244"/>
                  <a:gd name="T7" fmla="*/ 49446026 h 325"/>
                  <a:gd name="T8" fmla="*/ 153729531 w 244"/>
                  <a:gd name="T9" fmla="*/ 49446026 h 325"/>
                  <a:gd name="T10" fmla="*/ 153729531 w 244"/>
                  <a:gd name="T11" fmla="*/ 0 h 325"/>
                  <a:gd name="T12" fmla="*/ 15751175 w 244"/>
                  <a:gd name="T13" fmla="*/ 0 h 325"/>
                  <a:gd name="T14" fmla="*/ 0 w 244"/>
                  <a:gd name="T15" fmla="*/ 49446026 h 325"/>
                  <a:gd name="T16" fmla="*/ 55443438 w 244"/>
                  <a:gd name="T17" fmla="*/ 49446026 h 3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44" h="325">
                    <a:moveTo>
                      <a:pt x="88" y="78"/>
                    </a:moveTo>
                    <a:lnTo>
                      <a:pt x="88" y="325"/>
                    </a:lnTo>
                    <a:lnTo>
                      <a:pt x="179" y="325"/>
                    </a:lnTo>
                    <a:lnTo>
                      <a:pt x="179" y="78"/>
                    </a:lnTo>
                    <a:lnTo>
                      <a:pt x="244" y="78"/>
                    </a:lnTo>
                    <a:lnTo>
                      <a:pt x="244" y="0"/>
                    </a:lnTo>
                    <a:lnTo>
                      <a:pt x="25" y="0"/>
                    </a:lnTo>
                    <a:lnTo>
                      <a:pt x="0" y="78"/>
                    </a:lnTo>
                    <a:lnTo>
                      <a:pt x="88" y="78"/>
                    </a:lnTo>
                    <a:close/>
                  </a:path>
                </a:pathLst>
              </a:custGeom>
              <a:solidFill>
                <a:srgbClr val="AFAFA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35" name="V">
                <a:extLst>
                  <a:ext uri="{FF2B5EF4-FFF2-40B4-BE49-F238E27FC236}">
                    <a16:creationId xmlns:a16="http://schemas.microsoft.com/office/drawing/2014/main" id="{F68DC6E2-CB76-3E92-B15E-7AF480ABDB00}"/>
                  </a:ext>
                </a:extLst>
              </p:cNvPr>
              <p:cNvSpPr>
                <a:spLocks/>
              </p:cNvSpPr>
              <p:nvPr userDrawn="1"/>
            </p:nvSpPr>
            <p:spPr bwMode="auto">
              <a:xfrm>
                <a:off x="567258" y="168151"/>
                <a:ext cx="230188" cy="258763"/>
              </a:xfrm>
              <a:custGeom>
                <a:avLst/>
                <a:gdLst>
                  <a:gd name="T0" fmla="*/ 116731600 w 289"/>
                  <a:gd name="T1" fmla="*/ 206025508 h 325"/>
                  <a:gd name="T2" fmla="*/ 183344344 w 289"/>
                  <a:gd name="T3" fmla="*/ 0 h 325"/>
                  <a:gd name="T4" fmla="*/ 124978544 w 289"/>
                  <a:gd name="T5" fmla="*/ 0 h 325"/>
                  <a:gd name="T6" fmla="*/ 90720356 w 289"/>
                  <a:gd name="T7" fmla="*/ 105865119 h 325"/>
                  <a:gd name="T8" fmla="*/ 85645069 w 289"/>
                  <a:gd name="T9" fmla="*/ 121079587 h 325"/>
                  <a:gd name="T10" fmla="*/ 85645069 w 289"/>
                  <a:gd name="T11" fmla="*/ 121079587 h 325"/>
                  <a:gd name="T12" fmla="*/ 85645069 w 289"/>
                  <a:gd name="T13" fmla="*/ 121079587 h 325"/>
                  <a:gd name="T14" fmla="*/ 85645069 w 289"/>
                  <a:gd name="T15" fmla="*/ 121079587 h 325"/>
                  <a:gd name="T16" fmla="*/ 85645069 w 289"/>
                  <a:gd name="T17" fmla="*/ 121079587 h 325"/>
                  <a:gd name="T18" fmla="*/ 85645069 w 289"/>
                  <a:gd name="T19" fmla="*/ 121079587 h 325"/>
                  <a:gd name="T20" fmla="*/ 85645069 w 289"/>
                  <a:gd name="T21" fmla="*/ 121079587 h 325"/>
                  <a:gd name="T22" fmla="*/ 81204592 w 289"/>
                  <a:gd name="T23" fmla="*/ 105865119 h 325"/>
                  <a:gd name="T24" fmla="*/ 57730991 w 289"/>
                  <a:gd name="T25" fmla="*/ 38035772 h 325"/>
                  <a:gd name="T26" fmla="*/ 0 w 289"/>
                  <a:gd name="T27" fmla="*/ 38035772 h 325"/>
                  <a:gd name="T28" fmla="*/ 57096978 w 289"/>
                  <a:gd name="T29" fmla="*/ 206025508 h 325"/>
                  <a:gd name="T30" fmla="*/ 116731600 w 289"/>
                  <a:gd name="T31" fmla="*/ 206025508 h 32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89" h="325">
                    <a:moveTo>
                      <a:pt x="184" y="325"/>
                    </a:moveTo>
                    <a:lnTo>
                      <a:pt x="289" y="0"/>
                    </a:lnTo>
                    <a:lnTo>
                      <a:pt x="197" y="0"/>
                    </a:lnTo>
                    <a:lnTo>
                      <a:pt x="143" y="167"/>
                    </a:lnTo>
                    <a:lnTo>
                      <a:pt x="135" y="191"/>
                    </a:lnTo>
                    <a:lnTo>
                      <a:pt x="128" y="167"/>
                    </a:lnTo>
                    <a:lnTo>
                      <a:pt x="91" y="60"/>
                    </a:lnTo>
                    <a:lnTo>
                      <a:pt x="0" y="60"/>
                    </a:lnTo>
                    <a:lnTo>
                      <a:pt x="90" y="325"/>
                    </a:lnTo>
                    <a:lnTo>
                      <a:pt x="184" y="325"/>
                    </a:lnTo>
                    <a:close/>
                  </a:path>
                </a:pathLst>
              </a:custGeom>
              <a:solidFill>
                <a:srgbClr val="AFAFA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grpSp>
          <p:nvGrpSpPr>
            <p:cNvPr id="12" name="_VTT_logo_102019_06_orange_blue_on_white" hidden="1">
              <a:extLst>
                <a:ext uri="{FF2B5EF4-FFF2-40B4-BE49-F238E27FC236}">
                  <a16:creationId xmlns:a16="http://schemas.microsoft.com/office/drawing/2014/main" id="{48454087-DFF6-05C6-3692-968936899275}"/>
                </a:ext>
              </a:extLst>
            </p:cNvPr>
            <p:cNvGrpSpPr>
              <a:grpSpLocks/>
            </p:cNvGrpSpPr>
            <p:nvPr userDrawn="1"/>
          </p:nvGrpSpPr>
          <p:grpSpPr bwMode="auto">
            <a:xfrm>
              <a:off x="7909204" y="1770762"/>
              <a:ext cx="971550" cy="655638"/>
              <a:chOff x="379933" y="-15999"/>
              <a:chExt cx="971550" cy="655638"/>
            </a:xfrm>
          </p:grpSpPr>
          <p:sp>
            <p:nvSpPr>
              <p:cNvPr id="28" name="Box">
                <a:extLst>
                  <a:ext uri="{FF2B5EF4-FFF2-40B4-BE49-F238E27FC236}">
                    <a16:creationId xmlns:a16="http://schemas.microsoft.com/office/drawing/2014/main" id="{39C52C50-E8EA-60CB-2A84-DC5985A08177}"/>
                  </a:ext>
                </a:extLst>
              </p:cNvPr>
              <p:cNvSpPr>
                <a:spLocks noChangeArrowheads="1"/>
              </p:cNvSpPr>
              <p:nvPr userDrawn="1"/>
            </p:nvSpPr>
            <p:spPr bwMode="auto">
              <a:xfrm>
                <a:off x="379933" y="-15999"/>
                <a:ext cx="971550" cy="655638"/>
              </a:xfrm>
              <a:prstGeom prst="rect">
                <a:avLst/>
              </a:prstGeom>
              <a:solidFill>
                <a:srgbClr val="FFFFFF"/>
              </a:solidFill>
              <a:ln>
                <a:noFill/>
              </a:ln>
            </p:spPr>
            <p:txBody>
              <a:bodyPr/>
              <a:lstStyle>
                <a:lvl1pPr defTabSz="455613">
                  <a:defRPr b="1">
                    <a:solidFill>
                      <a:schemeClr val="tx1"/>
                    </a:solidFill>
                    <a:latin typeface="Verdana" panose="020B0604030504040204" pitchFamily="34" charset="0"/>
                  </a:defRPr>
                </a:lvl1pPr>
                <a:lvl2pPr marL="742950" indent="-285750" defTabSz="455613">
                  <a:defRPr b="1">
                    <a:solidFill>
                      <a:schemeClr val="tx1"/>
                    </a:solidFill>
                    <a:latin typeface="Verdana" panose="020B0604030504040204" pitchFamily="34" charset="0"/>
                  </a:defRPr>
                </a:lvl2pPr>
                <a:lvl3pPr marL="1143000" indent="-228600" defTabSz="455613">
                  <a:defRPr b="1">
                    <a:solidFill>
                      <a:schemeClr val="tx1"/>
                    </a:solidFill>
                    <a:latin typeface="Verdana" panose="020B0604030504040204" pitchFamily="34" charset="0"/>
                  </a:defRPr>
                </a:lvl3pPr>
                <a:lvl4pPr marL="1600200" indent="-228600" defTabSz="455613">
                  <a:defRPr b="1">
                    <a:solidFill>
                      <a:schemeClr val="tx1"/>
                    </a:solidFill>
                    <a:latin typeface="Verdana" panose="020B0604030504040204" pitchFamily="34" charset="0"/>
                  </a:defRPr>
                </a:lvl4pPr>
                <a:lvl5pPr marL="2057400" indent="-228600" defTabSz="455613">
                  <a:defRPr b="1">
                    <a:solidFill>
                      <a:schemeClr val="tx1"/>
                    </a:solidFill>
                    <a:latin typeface="Verdana" panose="020B0604030504040204" pitchFamily="34" charset="0"/>
                  </a:defRPr>
                </a:lvl5pPr>
                <a:lvl6pPr marL="2514600" indent="-228600" defTabSz="455613" eaLnBrk="0" fontAlgn="base" hangingPunct="0">
                  <a:spcBef>
                    <a:spcPct val="0"/>
                  </a:spcBef>
                  <a:spcAft>
                    <a:spcPct val="0"/>
                  </a:spcAft>
                  <a:defRPr b="1">
                    <a:solidFill>
                      <a:schemeClr val="tx1"/>
                    </a:solidFill>
                    <a:latin typeface="Verdana" panose="020B0604030504040204" pitchFamily="34" charset="0"/>
                  </a:defRPr>
                </a:lvl6pPr>
                <a:lvl7pPr marL="2971800" indent="-228600" defTabSz="455613" eaLnBrk="0" fontAlgn="base" hangingPunct="0">
                  <a:spcBef>
                    <a:spcPct val="0"/>
                  </a:spcBef>
                  <a:spcAft>
                    <a:spcPct val="0"/>
                  </a:spcAft>
                  <a:defRPr b="1">
                    <a:solidFill>
                      <a:schemeClr val="tx1"/>
                    </a:solidFill>
                    <a:latin typeface="Verdana" panose="020B0604030504040204" pitchFamily="34" charset="0"/>
                  </a:defRPr>
                </a:lvl7pPr>
                <a:lvl8pPr marL="3429000" indent="-228600" defTabSz="455613" eaLnBrk="0" fontAlgn="base" hangingPunct="0">
                  <a:spcBef>
                    <a:spcPct val="0"/>
                  </a:spcBef>
                  <a:spcAft>
                    <a:spcPct val="0"/>
                  </a:spcAft>
                  <a:defRPr b="1">
                    <a:solidFill>
                      <a:schemeClr val="tx1"/>
                    </a:solidFill>
                    <a:latin typeface="Verdana" panose="020B0604030504040204" pitchFamily="34" charset="0"/>
                  </a:defRPr>
                </a:lvl8pPr>
                <a:lvl9pPr marL="3886200" indent="-228600" defTabSz="455613" eaLnBrk="0" fontAlgn="base" hangingPunct="0">
                  <a:spcBef>
                    <a:spcPct val="0"/>
                  </a:spcBef>
                  <a:spcAft>
                    <a:spcPct val="0"/>
                  </a:spcAft>
                  <a:defRPr b="1">
                    <a:solidFill>
                      <a:schemeClr val="tx1"/>
                    </a:solidFill>
                    <a:latin typeface="Verdana" panose="020B0604030504040204" pitchFamily="34" charset="0"/>
                  </a:defRPr>
                </a:lvl9pPr>
              </a:lstStyle>
              <a:p>
                <a:pPr eaLnBrk="1" hangingPunct="1">
                  <a:defRPr/>
                </a:pPr>
                <a:endParaRPr lang="en-GB" altLang="de-DE" b="0">
                  <a:solidFill>
                    <a:srgbClr val="000000"/>
                  </a:solidFill>
                  <a:latin typeface="Arial" panose="020B0604020202020204" pitchFamily="34" charset="0"/>
                </a:endParaRPr>
              </a:p>
            </p:txBody>
          </p:sp>
          <p:sp>
            <p:nvSpPr>
              <p:cNvPr id="29" name="T2">
                <a:extLst>
                  <a:ext uri="{FF2B5EF4-FFF2-40B4-BE49-F238E27FC236}">
                    <a16:creationId xmlns:a16="http://schemas.microsoft.com/office/drawing/2014/main" id="{84B26049-BD4A-8C76-D73D-FCC2D37DA3D9}"/>
                  </a:ext>
                </a:extLst>
              </p:cNvPr>
              <p:cNvSpPr>
                <a:spLocks/>
              </p:cNvSpPr>
              <p:nvPr userDrawn="1"/>
            </p:nvSpPr>
            <p:spPr bwMode="auto">
              <a:xfrm>
                <a:off x="1011758" y="168151"/>
                <a:ext cx="176213" cy="258763"/>
              </a:xfrm>
              <a:custGeom>
                <a:avLst/>
                <a:gdLst>
                  <a:gd name="T0" fmla="*/ 98916612 w 222"/>
                  <a:gd name="T1" fmla="*/ 206025508 h 325"/>
                  <a:gd name="T2" fmla="*/ 98916612 w 222"/>
                  <a:gd name="T3" fmla="*/ 49446026 h 325"/>
                  <a:gd name="T4" fmla="*/ 139869466 w 222"/>
                  <a:gd name="T5" fmla="*/ 49446026 h 325"/>
                  <a:gd name="T6" fmla="*/ 139869466 w 222"/>
                  <a:gd name="T7" fmla="*/ 0 h 325"/>
                  <a:gd name="T8" fmla="*/ 0 w 222"/>
                  <a:gd name="T9" fmla="*/ 0 h 325"/>
                  <a:gd name="T10" fmla="*/ 0 w 222"/>
                  <a:gd name="T11" fmla="*/ 49446026 h 325"/>
                  <a:gd name="T12" fmla="*/ 41583093 w 222"/>
                  <a:gd name="T13" fmla="*/ 49446026 h 325"/>
                  <a:gd name="T14" fmla="*/ 41583093 w 222"/>
                  <a:gd name="T15" fmla="*/ 206025508 h 325"/>
                  <a:gd name="T16" fmla="*/ 41583093 w 222"/>
                  <a:gd name="T17" fmla="*/ 206025508 h 325"/>
                  <a:gd name="T18" fmla="*/ 98916612 w 222"/>
                  <a:gd name="T19" fmla="*/ 206025508 h 3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22" h="325">
                    <a:moveTo>
                      <a:pt x="157" y="325"/>
                    </a:moveTo>
                    <a:lnTo>
                      <a:pt x="157" y="78"/>
                    </a:lnTo>
                    <a:lnTo>
                      <a:pt x="222" y="78"/>
                    </a:lnTo>
                    <a:lnTo>
                      <a:pt x="222" y="0"/>
                    </a:lnTo>
                    <a:lnTo>
                      <a:pt x="0" y="0"/>
                    </a:lnTo>
                    <a:lnTo>
                      <a:pt x="0" y="78"/>
                    </a:lnTo>
                    <a:lnTo>
                      <a:pt x="66" y="78"/>
                    </a:lnTo>
                    <a:lnTo>
                      <a:pt x="66" y="325"/>
                    </a:lnTo>
                    <a:lnTo>
                      <a:pt x="157" y="325"/>
                    </a:lnTo>
                    <a:close/>
                  </a:path>
                </a:pathLst>
              </a:custGeom>
              <a:solidFill>
                <a:srgbClr val="00579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30" name="T1">
                <a:extLst>
                  <a:ext uri="{FF2B5EF4-FFF2-40B4-BE49-F238E27FC236}">
                    <a16:creationId xmlns:a16="http://schemas.microsoft.com/office/drawing/2014/main" id="{CF40DC8C-6D26-E293-9EA9-BCF4FC7D8337}"/>
                  </a:ext>
                </a:extLst>
              </p:cNvPr>
              <p:cNvSpPr>
                <a:spLocks/>
              </p:cNvSpPr>
              <p:nvPr userDrawn="1"/>
            </p:nvSpPr>
            <p:spPr bwMode="auto">
              <a:xfrm>
                <a:off x="799033" y="168151"/>
                <a:ext cx="193675" cy="258763"/>
              </a:xfrm>
              <a:custGeom>
                <a:avLst/>
                <a:gdLst>
                  <a:gd name="T0" fmla="*/ 55443438 w 244"/>
                  <a:gd name="T1" fmla="*/ 49446026 h 325"/>
                  <a:gd name="T2" fmla="*/ 55443438 w 244"/>
                  <a:gd name="T3" fmla="*/ 206025508 h 325"/>
                  <a:gd name="T4" fmla="*/ 112776794 w 244"/>
                  <a:gd name="T5" fmla="*/ 206025508 h 325"/>
                  <a:gd name="T6" fmla="*/ 112776794 w 244"/>
                  <a:gd name="T7" fmla="*/ 49446026 h 325"/>
                  <a:gd name="T8" fmla="*/ 153729531 w 244"/>
                  <a:gd name="T9" fmla="*/ 49446026 h 325"/>
                  <a:gd name="T10" fmla="*/ 153729531 w 244"/>
                  <a:gd name="T11" fmla="*/ 0 h 325"/>
                  <a:gd name="T12" fmla="*/ 15751175 w 244"/>
                  <a:gd name="T13" fmla="*/ 0 h 325"/>
                  <a:gd name="T14" fmla="*/ 0 w 244"/>
                  <a:gd name="T15" fmla="*/ 49446026 h 325"/>
                  <a:gd name="T16" fmla="*/ 55443438 w 244"/>
                  <a:gd name="T17" fmla="*/ 49446026 h 3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44" h="325">
                    <a:moveTo>
                      <a:pt x="88" y="78"/>
                    </a:moveTo>
                    <a:lnTo>
                      <a:pt x="88" y="325"/>
                    </a:lnTo>
                    <a:lnTo>
                      <a:pt x="179" y="325"/>
                    </a:lnTo>
                    <a:lnTo>
                      <a:pt x="179" y="78"/>
                    </a:lnTo>
                    <a:lnTo>
                      <a:pt x="244" y="78"/>
                    </a:lnTo>
                    <a:lnTo>
                      <a:pt x="244" y="0"/>
                    </a:lnTo>
                    <a:lnTo>
                      <a:pt x="25" y="0"/>
                    </a:lnTo>
                    <a:lnTo>
                      <a:pt x="0" y="78"/>
                    </a:lnTo>
                    <a:lnTo>
                      <a:pt x="88" y="78"/>
                    </a:lnTo>
                    <a:close/>
                  </a:path>
                </a:pathLst>
              </a:custGeom>
              <a:solidFill>
                <a:srgbClr val="00579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31" name="V">
                <a:extLst>
                  <a:ext uri="{FF2B5EF4-FFF2-40B4-BE49-F238E27FC236}">
                    <a16:creationId xmlns:a16="http://schemas.microsoft.com/office/drawing/2014/main" id="{9D75B3E7-D348-0076-2470-66DE69AA1D34}"/>
                  </a:ext>
                </a:extLst>
              </p:cNvPr>
              <p:cNvSpPr>
                <a:spLocks/>
              </p:cNvSpPr>
              <p:nvPr userDrawn="1"/>
            </p:nvSpPr>
            <p:spPr bwMode="auto">
              <a:xfrm>
                <a:off x="567258" y="168151"/>
                <a:ext cx="230188" cy="258763"/>
              </a:xfrm>
              <a:custGeom>
                <a:avLst/>
                <a:gdLst>
                  <a:gd name="T0" fmla="*/ 116731600 w 289"/>
                  <a:gd name="T1" fmla="*/ 206025508 h 325"/>
                  <a:gd name="T2" fmla="*/ 183344344 w 289"/>
                  <a:gd name="T3" fmla="*/ 0 h 325"/>
                  <a:gd name="T4" fmla="*/ 124978544 w 289"/>
                  <a:gd name="T5" fmla="*/ 0 h 325"/>
                  <a:gd name="T6" fmla="*/ 90720356 w 289"/>
                  <a:gd name="T7" fmla="*/ 105865119 h 325"/>
                  <a:gd name="T8" fmla="*/ 85645069 w 289"/>
                  <a:gd name="T9" fmla="*/ 121079587 h 325"/>
                  <a:gd name="T10" fmla="*/ 85645069 w 289"/>
                  <a:gd name="T11" fmla="*/ 121079587 h 325"/>
                  <a:gd name="T12" fmla="*/ 85645069 w 289"/>
                  <a:gd name="T13" fmla="*/ 121079587 h 325"/>
                  <a:gd name="T14" fmla="*/ 85645069 w 289"/>
                  <a:gd name="T15" fmla="*/ 121079587 h 325"/>
                  <a:gd name="T16" fmla="*/ 85645069 w 289"/>
                  <a:gd name="T17" fmla="*/ 121079587 h 325"/>
                  <a:gd name="T18" fmla="*/ 85645069 w 289"/>
                  <a:gd name="T19" fmla="*/ 121079587 h 325"/>
                  <a:gd name="T20" fmla="*/ 85645069 w 289"/>
                  <a:gd name="T21" fmla="*/ 121079587 h 325"/>
                  <a:gd name="T22" fmla="*/ 81204592 w 289"/>
                  <a:gd name="T23" fmla="*/ 105865119 h 325"/>
                  <a:gd name="T24" fmla="*/ 57730991 w 289"/>
                  <a:gd name="T25" fmla="*/ 38035772 h 325"/>
                  <a:gd name="T26" fmla="*/ 0 w 289"/>
                  <a:gd name="T27" fmla="*/ 38035772 h 325"/>
                  <a:gd name="T28" fmla="*/ 57096978 w 289"/>
                  <a:gd name="T29" fmla="*/ 206025508 h 325"/>
                  <a:gd name="T30" fmla="*/ 116731600 w 289"/>
                  <a:gd name="T31" fmla="*/ 206025508 h 32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89" h="325">
                    <a:moveTo>
                      <a:pt x="184" y="325"/>
                    </a:moveTo>
                    <a:lnTo>
                      <a:pt x="289" y="0"/>
                    </a:lnTo>
                    <a:lnTo>
                      <a:pt x="197" y="0"/>
                    </a:lnTo>
                    <a:lnTo>
                      <a:pt x="143" y="167"/>
                    </a:lnTo>
                    <a:lnTo>
                      <a:pt x="135" y="191"/>
                    </a:lnTo>
                    <a:lnTo>
                      <a:pt x="128" y="167"/>
                    </a:lnTo>
                    <a:lnTo>
                      <a:pt x="91" y="60"/>
                    </a:lnTo>
                    <a:lnTo>
                      <a:pt x="0" y="60"/>
                    </a:lnTo>
                    <a:lnTo>
                      <a:pt x="90" y="325"/>
                    </a:lnTo>
                    <a:lnTo>
                      <a:pt x="184" y="325"/>
                    </a:lnTo>
                    <a:close/>
                  </a:path>
                </a:pathLst>
              </a:custGeom>
              <a:solidFill>
                <a:srgbClr val="F06E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grpSp>
          <p:nvGrpSpPr>
            <p:cNvPr id="13" name="_VTT_logo_102019_07_blue_on_white" hidden="1">
              <a:extLst>
                <a:ext uri="{FF2B5EF4-FFF2-40B4-BE49-F238E27FC236}">
                  <a16:creationId xmlns:a16="http://schemas.microsoft.com/office/drawing/2014/main" id="{61B0AE8B-9229-DC6C-A655-3AD5CEF0AFB1}"/>
                </a:ext>
              </a:extLst>
            </p:cNvPr>
            <p:cNvGrpSpPr>
              <a:grpSpLocks/>
            </p:cNvGrpSpPr>
            <p:nvPr userDrawn="1"/>
          </p:nvGrpSpPr>
          <p:grpSpPr bwMode="auto">
            <a:xfrm>
              <a:off x="7909204" y="1770762"/>
              <a:ext cx="971550" cy="655638"/>
              <a:chOff x="379933" y="-15999"/>
              <a:chExt cx="971550" cy="655638"/>
            </a:xfrm>
          </p:grpSpPr>
          <p:sp>
            <p:nvSpPr>
              <p:cNvPr id="24" name="Box">
                <a:extLst>
                  <a:ext uri="{FF2B5EF4-FFF2-40B4-BE49-F238E27FC236}">
                    <a16:creationId xmlns:a16="http://schemas.microsoft.com/office/drawing/2014/main" id="{C2C067B2-4B86-7394-2D5C-D22CDC43B580}"/>
                  </a:ext>
                </a:extLst>
              </p:cNvPr>
              <p:cNvSpPr>
                <a:spLocks noChangeArrowheads="1"/>
              </p:cNvSpPr>
              <p:nvPr userDrawn="1"/>
            </p:nvSpPr>
            <p:spPr bwMode="auto">
              <a:xfrm>
                <a:off x="379933" y="-15999"/>
                <a:ext cx="971550" cy="655638"/>
              </a:xfrm>
              <a:prstGeom prst="rect">
                <a:avLst/>
              </a:prstGeom>
              <a:solidFill>
                <a:srgbClr val="FFFFFF"/>
              </a:solidFill>
              <a:ln>
                <a:noFill/>
              </a:ln>
            </p:spPr>
            <p:txBody>
              <a:bodyPr/>
              <a:lstStyle>
                <a:lvl1pPr defTabSz="455613">
                  <a:defRPr b="1">
                    <a:solidFill>
                      <a:schemeClr val="tx1"/>
                    </a:solidFill>
                    <a:latin typeface="Verdana" panose="020B0604030504040204" pitchFamily="34" charset="0"/>
                  </a:defRPr>
                </a:lvl1pPr>
                <a:lvl2pPr marL="742950" indent="-285750" defTabSz="455613">
                  <a:defRPr b="1">
                    <a:solidFill>
                      <a:schemeClr val="tx1"/>
                    </a:solidFill>
                    <a:latin typeface="Verdana" panose="020B0604030504040204" pitchFamily="34" charset="0"/>
                  </a:defRPr>
                </a:lvl2pPr>
                <a:lvl3pPr marL="1143000" indent="-228600" defTabSz="455613">
                  <a:defRPr b="1">
                    <a:solidFill>
                      <a:schemeClr val="tx1"/>
                    </a:solidFill>
                    <a:latin typeface="Verdana" panose="020B0604030504040204" pitchFamily="34" charset="0"/>
                  </a:defRPr>
                </a:lvl3pPr>
                <a:lvl4pPr marL="1600200" indent="-228600" defTabSz="455613">
                  <a:defRPr b="1">
                    <a:solidFill>
                      <a:schemeClr val="tx1"/>
                    </a:solidFill>
                    <a:latin typeface="Verdana" panose="020B0604030504040204" pitchFamily="34" charset="0"/>
                  </a:defRPr>
                </a:lvl4pPr>
                <a:lvl5pPr marL="2057400" indent="-228600" defTabSz="455613">
                  <a:defRPr b="1">
                    <a:solidFill>
                      <a:schemeClr val="tx1"/>
                    </a:solidFill>
                    <a:latin typeface="Verdana" panose="020B0604030504040204" pitchFamily="34" charset="0"/>
                  </a:defRPr>
                </a:lvl5pPr>
                <a:lvl6pPr marL="2514600" indent="-228600" defTabSz="455613" eaLnBrk="0" fontAlgn="base" hangingPunct="0">
                  <a:spcBef>
                    <a:spcPct val="0"/>
                  </a:spcBef>
                  <a:spcAft>
                    <a:spcPct val="0"/>
                  </a:spcAft>
                  <a:defRPr b="1">
                    <a:solidFill>
                      <a:schemeClr val="tx1"/>
                    </a:solidFill>
                    <a:latin typeface="Verdana" panose="020B0604030504040204" pitchFamily="34" charset="0"/>
                  </a:defRPr>
                </a:lvl6pPr>
                <a:lvl7pPr marL="2971800" indent="-228600" defTabSz="455613" eaLnBrk="0" fontAlgn="base" hangingPunct="0">
                  <a:spcBef>
                    <a:spcPct val="0"/>
                  </a:spcBef>
                  <a:spcAft>
                    <a:spcPct val="0"/>
                  </a:spcAft>
                  <a:defRPr b="1">
                    <a:solidFill>
                      <a:schemeClr val="tx1"/>
                    </a:solidFill>
                    <a:latin typeface="Verdana" panose="020B0604030504040204" pitchFamily="34" charset="0"/>
                  </a:defRPr>
                </a:lvl7pPr>
                <a:lvl8pPr marL="3429000" indent="-228600" defTabSz="455613" eaLnBrk="0" fontAlgn="base" hangingPunct="0">
                  <a:spcBef>
                    <a:spcPct val="0"/>
                  </a:spcBef>
                  <a:spcAft>
                    <a:spcPct val="0"/>
                  </a:spcAft>
                  <a:defRPr b="1">
                    <a:solidFill>
                      <a:schemeClr val="tx1"/>
                    </a:solidFill>
                    <a:latin typeface="Verdana" panose="020B0604030504040204" pitchFamily="34" charset="0"/>
                  </a:defRPr>
                </a:lvl8pPr>
                <a:lvl9pPr marL="3886200" indent="-228600" defTabSz="455613" eaLnBrk="0" fontAlgn="base" hangingPunct="0">
                  <a:spcBef>
                    <a:spcPct val="0"/>
                  </a:spcBef>
                  <a:spcAft>
                    <a:spcPct val="0"/>
                  </a:spcAft>
                  <a:defRPr b="1">
                    <a:solidFill>
                      <a:schemeClr val="tx1"/>
                    </a:solidFill>
                    <a:latin typeface="Verdana" panose="020B0604030504040204" pitchFamily="34" charset="0"/>
                  </a:defRPr>
                </a:lvl9pPr>
              </a:lstStyle>
              <a:p>
                <a:pPr eaLnBrk="1" hangingPunct="1">
                  <a:defRPr/>
                </a:pPr>
                <a:endParaRPr lang="en-GB" altLang="de-DE" b="0">
                  <a:solidFill>
                    <a:srgbClr val="000000"/>
                  </a:solidFill>
                  <a:latin typeface="Arial" panose="020B0604020202020204" pitchFamily="34" charset="0"/>
                </a:endParaRPr>
              </a:p>
            </p:txBody>
          </p:sp>
          <p:sp>
            <p:nvSpPr>
              <p:cNvPr id="25" name="T2">
                <a:extLst>
                  <a:ext uri="{FF2B5EF4-FFF2-40B4-BE49-F238E27FC236}">
                    <a16:creationId xmlns:a16="http://schemas.microsoft.com/office/drawing/2014/main" id="{F1832D6E-D75E-2E31-FAAA-8C1985CA8976}"/>
                  </a:ext>
                </a:extLst>
              </p:cNvPr>
              <p:cNvSpPr>
                <a:spLocks/>
              </p:cNvSpPr>
              <p:nvPr userDrawn="1"/>
            </p:nvSpPr>
            <p:spPr bwMode="auto">
              <a:xfrm>
                <a:off x="1011758" y="168151"/>
                <a:ext cx="176213" cy="258763"/>
              </a:xfrm>
              <a:custGeom>
                <a:avLst/>
                <a:gdLst>
                  <a:gd name="T0" fmla="*/ 98916612 w 222"/>
                  <a:gd name="T1" fmla="*/ 206025508 h 325"/>
                  <a:gd name="T2" fmla="*/ 98916612 w 222"/>
                  <a:gd name="T3" fmla="*/ 49446026 h 325"/>
                  <a:gd name="T4" fmla="*/ 139869466 w 222"/>
                  <a:gd name="T5" fmla="*/ 49446026 h 325"/>
                  <a:gd name="T6" fmla="*/ 139869466 w 222"/>
                  <a:gd name="T7" fmla="*/ 0 h 325"/>
                  <a:gd name="T8" fmla="*/ 0 w 222"/>
                  <a:gd name="T9" fmla="*/ 0 h 325"/>
                  <a:gd name="T10" fmla="*/ 0 w 222"/>
                  <a:gd name="T11" fmla="*/ 49446026 h 325"/>
                  <a:gd name="T12" fmla="*/ 41583093 w 222"/>
                  <a:gd name="T13" fmla="*/ 49446026 h 325"/>
                  <a:gd name="T14" fmla="*/ 41583093 w 222"/>
                  <a:gd name="T15" fmla="*/ 206025508 h 325"/>
                  <a:gd name="T16" fmla="*/ 41583093 w 222"/>
                  <a:gd name="T17" fmla="*/ 206025508 h 325"/>
                  <a:gd name="T18" fmla="*/ 98916612 w 222"/>
                  <a:gd name="T19" fmla="*/ 206025508 h 3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22" h="325">
                    <a:moveTo>
                      <a:pt x="157" y="325"/>
                    </a:moveTo>
                    <a:lnTo>
                      <a:pt x="157" y="78"/>
                    </a:lnTo>
                    <a:lnTo>
                      <a:pt x="222" y="78"/>
                    </a:lnTo>
                    <a:lnTo>
                      <a:pt x="222" y="0"/>
                    </a:lnTo>
                    <a:lnTo>
                      <a:pt x="0" y="0"/>
                    </a:lnTo>
                    <a:lnTo>
                      <a:pt x="0" y="78"/>
                    </a:lnTo>
                    <a:lnTo>
                      <a:pt x="66" y="78"/>
                    </a:lnTo>
                    <a:lnTo>
                      <a:pt x="66" y="325"/>
                    </a:lnTo>
                    <a:lnTo>
                      <a:pt x="157" y="325"/>
                    </a:lnTo>
                    <a:close/>
                  </a:path>
                </a:pathLst>
              </a:custGeom>
              <a:solidFill>
                <a:srgbClr val="00579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 name="T1">
                <a:extLst>
                  <a:ext uri="{FF2B5EF4-FFF2-40B4-BE49-F238E27FC236}">
                    <a16:creationId xmlns:a16="http://schemas.microsoft.com/office/drawing/2014/main" id="{4877F4D5-356F-1A05-5301-00EEF0479C1A}"/>
                  </a:ext>
                </a:extLst>
              </p:cNvPr>
              <p:cNvSpPr>
                <a:spLocks/>
              </p:cNvSpPr>
              <p:nvPr userDrawn="1"/>
            </p:nvSpPr>
            <p:spPr bwMode="auto">
              <a:xfrm>
                <a:off x="799033" y="168151"/>
                <a:ext cx="193675" cy="258763"/>
              </a:xfrm>
              <a:custGeom>
                <a:avLst/>
                <a:gdLst>
                  <a:gd name="T0" fmla="*/ 55443438 w 244"/>
                  <a:gd name="T1" fmla="*/ 49446026 h 325"/>
                  <a:gd name="T2" fmla="*/ 55443438 w 244"/>
                  <a:gd name="T3" fmla="*/ 206025508 h 325"/>
                  <a:gd name="T4" fmla="*/ 112776794 w 244"/>
                  <a:gd name="T5" fmla="*/ 206025508 h 325"/>
                  <a:gd name="T6" fmla="*/ 112776794 w 244"/>
                  <a:gd name="T7" fmla="*/ 49446026 h 325"/>
                  <a:gd name="T8" fmla="*/ 153729531 w 244"/>
                  <a:gd name="T9" fmla="*/ 49446026 h 325"/>
                  <a:gd name="T10" fmla="*/ 153729531 w 244"/>
                  <a:gd name="T11" fmla="*/ 0 h 325"/>
                  <a:gd name="T12" fmla="*/ 15751175 w 244"/>
                  <a:gd name="T13" fmla="*/ 0 h 325"/>
                  <a:gd name="T14" fmla="*/ 0 w 244"/>
                  <a:gd name="T15" fmla="*/ 49446026 h 325"/>
                  <a:gd name="T16" fmla="*/ 55443438 w 244"/>
                  <a:gd name="T17" fmla="*/ 49446026 h 3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44" h="325">
                    <a:moveTo>
                      <a:pt x="88" y="78"/>
                    </a:moveTo>
                    <a:lnTo>
                      <a:pt x="88" y="325"/>
                    </a:lnTo>
                    <a:lnTo>
                      <a:pt x="179" y="325"/>
                    </a:lnTo>
                    <a:lnTo>
                      <a:pt x="179" y="78"/>
                    </a:lnTo>
                    <a:lnTo>
                      <a:pt x="244" y="78"/>
                    </a:lnTo>
                    <a:lnTo>
                      <a:pt x="244" y="0"/>
                    </a:lnTo>
                    <a:lnTo>
                      <a:pt x="25" y="0"/>
                    </a:lnTo>
                    <a:lnTo>
                      <a:pt x="0" y="78"/>
                    </a:lnTo>
                    <a:lnTo>
                      <a:pt x="88" y="78"/>
                    </a:lnTo>
                    <a:close/>
                  </a:path>
                </a:pathLst>
              </a:custGeom>
              <a:solidFill>
                <a:srgbClr val="00579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7" name="V">
                <a:extLst>
                  <a:ext uri="{FF2B5EF4-FFF2-40B4-BE49-F238E27FC236}">
                    <a16:creationId xmlns:a16="http://schemas.microsoft.com/office/drawing/2014/main" id="{B88C3C50-C15D-D947-0657-8C902CD1D4E3}"/>
                  </a:ext>
                </a:extLst>
              </p:cNvPr>
              <p:cNvSpPr>
                <a:spLocks/>
              </p:cNvSpPr>
              <p:nvPr userDrawn="1"/>
            </p:nvSpPr>
            <p:spPr bwMode="auto">
              <a:xfrm>
                <a:off x="567258" y="168151"/>
                <a:ext cx="230188" cy="258763"/>
              </a:xfrm>
              <a:custGeom>
                <a:avLst/>
                <a:gdLst>
                  <a:gd name="T0" fmla="*/ 116731600 w 289"/>
                  <a:gd name="T1" fmla="*/ 206025508 h 325"/>
                  <a:gd name="T2" fmla="*/ 183344344 w 289"/>
                  <a:gd name="T3" fmla="*/ 0 h 325"/>
                  <a:gd name="T4" fmla="*/ 124978544 w 289"/>
                  <a:gd name="T5" fmla="*/ 0 h 325"/>
                  <a:gd name="T6" fmla="*/ 90720356 w 289"/>
                  <a:gd name="T7" fmla="*/ 105865119 h 325"/>
                  <a:gd name="T8" fmla="*/ 85645069 w 289"/>
                  <a:gd name="T9" fmla="*/ 121079587 h 325"/>
                  <a:gd name="T10" fmla="*/ 85645069 w 289"/>
                  <a:gd name="T11" fmla="*/ 121079587 h 325"/>
                  <a:gd name="T12" fmla="*/ 85645069 w 289"/>
                  <a:gd name="T13" fmla="*/ 121079587 h 325"/>
                  <a:gd name="T14" fmla="*/ 85645069 w 289"/>
                  <a:gd name="T15" fmla="*/ 121079587 h 325"/>
                  <a:gd name="T16" fmla="*/ 85645069 w 289"/>
                  <a:gd name="T17" fmla="*/ 121079587 h 325"/>
                  <a:gd name="T18" fmla="*/ 85645069 w 289"/>
                  <a:gd name="T19" fmla="*/ 121079587 h 325"/>
                  <a:gd name="T20" fmla="*/ 85645069 w 289"/>
                  <a:gd name="T21" fmla="*/ 121079587 h 325"/>
                  <a:gd name="T22" fmla="*/ 81204592 w 289"/>
                  <a:gd name="T23" fmla="*/ 105865119 h 325"/>
                  <a:gd name="T24" fmla="*/ 57730991 w 289"/>
                  <a:gd name="T25" fmla="*/ 38035772 h 325"/>
                  <a:gd name="T26" fmla="*/ 0 w 289"/>
                  <a:gd name="T27" fmla="*/ 38035772 h 325"/>
                  <a:gd name="T28" fmla="*/ 57096978 w 289"/>
                  <a:gd name="T29" fmla="*/ 206025508 h 325"/>
                  <a:gd name="T30" fmla="*/ 116731600 w 289"/>
                  <a:gd name="T31" fmla="*/ 206025508 h 32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89" h="325">
                    <a:moveTo>
                      <a:pt x="184" y="325"/>
                    </a:moveTo>
                    <a:lnTo>
                      <a:pt x="289" y="0"/>
                    </a:lnTo>
                    <a:lnTo>
                      <a:pt x="197" y="0"/>
                    </a:lnTo>
                    <a:lnTo>
                      <a:pt x="143" y="167"/>
                    </a:lnTo>
                    <a:lnTo>
                      <a:pt x="135" y="191"/>
                    </a:lnTo>
                    <a:lnTo>
                      <a:pt x="128" y="167"/>
                    </a:lnTo>
                    <a:lnTo>
                      <a:pt x="91" y="60"/>
                    </a:lnTo>
                    <a:lnTo>
                      <a:pt x="0" y="60"/>
                    </a:lnTo>
                    <a:lnTo>
                      <a:pt x="90" y="325"/>
                    </a:lnTo>
                    <a:lnTo>
                      <a:pt x="184" y="325"/>
                    </a:lnTo>
                    <a:close/>
                  </a:path>
                </a:pathLst>
              </a:custGeom>
              <a:solidFill>
                <a:srgbClr val="00579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grpSp>
          <p:nvGrpSpPr>
            <p:cNvPr id="14" name="_VTT_logo_102019_08_black_on_white" hidden="1">
              <a:extLst>
                <a:ext uri="{FF2B5EF4-FFF2-40B4-BE49-F238E27FC236}">
                  <a16:creationId xmlns:a16="http://schemas.microsoft.com/office/drawing/2014/main" id="{7521A50B-6047-0FDB-346C-749F9C30F831}"/>
                </a:ext>
              </a:extLst>
            </p:cNvPr>
            <p:cNvGrpSpPr>
              <a:grpSpLocks/>
            </p:cNvGrpSpPr>
            <p:nvPr userDrawn="1"/>
          </p:nvGrpSpPr>
          <p:grpSpPr bwMode="auto">
            <a:xfrm>
              <a:off x="7909204" y="1770762"/>
              <a:ext cx="971550" cy="655638"/>
              <a:chOff x="379933" y="-15999"/>
              <a:chExt cx="971550" cy="655638"/>
            </a:xfrm>
          </p:grpSpPr>
          <p:sp>
            <p:nvSpPr>
              <p:cNvPr id="20" name="Box">
                <a:extLst>
                  <a:ext uri="{FF2B5EF4-FFF2-40B4-BE49-F238E27FC236}">
                    <a16:creationId xmlns:a16="http://schemas.microsoft.com/office/drawing/2014/main" id="{BC6F6DF7-B84A-14A9-373C-D94FCA95075F}"/>
                  </a:ext>
                </a:extLst>
              </p:cNvPr>
              <p:cNvSpPr>
                <a:spLocks noChangeArrowheads="1"/>
              </p:cNvSpPr>
              <p:nvPr userDrawn="1"/>
            </p:nvSpPr>
            <p:spPr bwMode="auto">
              <a:xfrm>
                <a:off x="379933" y="-15999"/>
                <a:ext cx="971550" cy="655638"/>
              </a:xfrm>
              <a:prstGeom prst="rect">
                <a:avLst/>
              </a:prstGeom>
              <a:solidFill>
                <a:srgbClr val="FFFFFF"/>
              </a:solidFill>
              <a:ln>
                <a:noFill/>
              </a:ln>
            </p:spPr>
            <p:txBody>
              <a:bodyPr/>
              <a:lstStyle>
                <a:lvl1pPr defTabSz="455613">
                  <a:defRPr b="1">
                    <a:solidFill>
                      <a:schemeClr val="tx1"/>
                    </a:solidFill>
                    <a:latin typeface="Verdana" panose="020B0604030504040204" pitchFamily="34" charset="0"/>
                  </a:defRPr>
                </a:lvl1pPr>
                <a:lvl2pPr marL="742950" indent="-285750" defTabSz="455613">
                  <a:defRPr b="1">
                    <a:solidFill>
                      <a:schemeClr val="tx1"/>
                    </a:solidFill>
                    <a:latin typeface="Verdana" panose="020B0604030504040204" pitchFamily="34" charset="0"/>
                  </a:defRPr>
                </a:lvl2pPr>
                <a:lvl3pPr marL="1143000" indent="-228600" defTabSz="455613">
                  <a:defRPr b="1">
                    <a:solidFill>
                      <a:schemeClr val="tx1"/>
                    </a:solidFill>
                    <a:latin typeface="Verdana" panose="020B0604030504040204" pitchFamily="34" charset="0"/>
                  </a:defRPr>
                </a:lvl3pPr>
                <a:lvl4pPr marL="1600200" indent="-228600" defTabSz="455613">
                  <a:defRPr b="1">
                    <a:solidFill>
                      <a:schemeClr val="tx1"/>
                    </a:solidFill>
                    <a:latin typeface="Verdana" panose="020B0604030504040204" pitchFamily="34" charset="0"/>
                  </a:defRPr>
                </a:lvl4pPr>
                <a:lvl5pPr marL="2057400" indent="-228600" defTabSz="455613">
                  <a:defRPr b="1">
                    <a:solidFill>
                      <a:schemeClr val="tx1"/>
                    </a:solidFill>
                    <a:latin typeface="Verdana" panose="020B0604030504040204" pitchFamily="34" charset="0"/>
                  </a:defRPr>
                </a:lvl5pPr>
                <a:lvl6pPr marL="2514600" indent="-228600" defTabSz="455613" eaLnBrk="0" fontAlgn="base" hangingPunct="0">
                  <a:spcBef>
                    <a:spcPct val="0"/>
                  </a:spcBef>
                  <a:spcAft>
                    <a:spcPct val="0"/>
                  </a:spcAft>
                  <a:defRPr b="1">
                    <a:solidFill>
                      <a:schemeClr val="tx1"/>
                    </a:solidFill>
                    <a:latin typeface="Verdana" panose="020B0604030504040204" pitchFamily="34" charset="0"/>
                  </a:defRPr>
                </a:lvl6pPr>
                <a:lvl7pPr marL="2971800" indent="-228600" defTabSz="455613" eaLnBrk="0" fontAlgn="base" hangingPunct="0">
                  <a:spcBef>
                    <a:spcPct val="0"/>
                  </a:spcBef>
                  <a:spcAft>
                    <a:spcPct val="0"/>
                  </a:spcAft>
                  <a:defRPr b="1">
                    <a:solidFill>
                      <a:schemeClr val="tx1"/>
                    </a:solidFill>
                    <a:latin typeface="Verdana" panose="020B0604030504040204" pitchFamily="34" charset="0"/>
                  </a:defRPr>
                </a:lvl7pPr>
                <a:lvl8pPr marL="3429000" indent="-228600" defTabSz="455613" eaLnBrk="0" fontAlgn="base" hangingPunct="0">
                  <a:spcBef>
                    <a:spcPct val="0"/>
                  </a:spcBef>
                  <a:spcAft>
                    <a:spcPct val="0"/>
                  </a:spcAft>
                  <a:defRPr b="1">
                    <a:solidFill>
                      <a:schemeClr val="tx1"/>
                    </a:solidFill>
                    <a:latin typeface="Verdana" panose="020B0604030504040204" pitchFamily="34" charset="0"/>
                  </a:defRPr>
                </a:lvl8pPr>
                <a:lvl9pPr marL="3886200" indent="-228600" defTabSz="455613" eaLnBrk="0" fontAlgn="base" hangingPunct="0">
                  <a:spcBef>
                    <a:spcPct val="0"/>
                  </a:spcBef>
                  <a:spcAft>
                    <a:spcPct val="0"/>
                  </a:spcAft>
                  <a:defRPr b="1">
                    <a:solidFill>
                      <a:schemeClr val="tx1"/>
                    </a:solidFill>
                    <a:latin typeface="Verdana" panose="020B0604030504040204" pitchFamily="34" charset="0"/>
                  </a:defRPr>
                </a:lvl9pPr>
              </a:lstStyle>
              <a:p>
                <a:pPr eaLnBrk="1" hangingPunct="1">
                  <a:defRPr/>
                </a:pPr>
                <a:endParaRPr lang="en-GB" altLang="de-DE" b="0">
                  <a:solidFill>
                    <a:srgbClr val="000000"/>
                  </a:solidFill>
                  <a:latin typeface="Arial" panose="020B0604020202020204" pitchFamily="34" charset="0"/>
                </a:endParaRPr>
              </a:p>
            </p:txBody>
          </p:sp>
          <p:sp>
            <p:nvSpPr>
              <p:cNvPr id="21" name="T2">
                <a:extLst>
                  <a:ext uri="{FF2B5EF4-FFF2-40B4-BE49-F238E27FC236}">
                    <a16:creationId xmlns:a16="http://schemas.microsoft.com/office/drawing/2014/main" id="{EE2A6470-B39F-7F7C-B737-DDEE15A4EAAA}"/>
                  </a:ext>
                </a:extLst>
              </p:cNvPr>
              <p:cNvSpPr>
                <a:spLocks/>
              </p:cNvSpPr>
              <p:nvPr userDrawn="1"/>
            </p:nvSpPr>
            <p:spPr bwMode="auto">
              <a:xfrm>
                <a:off x="1011758" y="168151"/>
                <a:ext cx="176213" cy="258763"/>
              </a:xfrm>
              <a:custGeom>
                <a:avLst/>
                <a:gdLst>
                  <a:gd name="T0" fmla="*/ 98916612 w 222"/>
                  <a:gd name="T1" fmla="*/ 206025508 h 325"/>
                  <a:gd name="T2" fmla="*/ 98916612 w 222"/>
                  <a:gd name="T3" fmla="*/ 49446026 h 325"/>
                  <a:gd name="T4" fmla="*/ 139869466 w 222"/>
                  <a:gd name="T5" fmla="*/ 49446026 h 325"/>
                  <a:gd name="T6" fmla="*/ 139869466 w 222"/>
                  <a:gd name="T7" fmla="*/ 0 h 325"/>
                  <a:gd name="T8" fmla="*/ 0 w 222"/>
                  <a:gd name="T9" fmla="*/ 0 h 325"/>
                  <a:gd name="T10" fmla="*/ 0 w 222"/>
                  <a:gd name="T11" fmla="*/ 49446026 h 325"/>
                  <a:gd name="T12" fmla="*/ 41583093 w 222"/>
                  <a:gd name="T13" fmla="*/ 49446026 h 325"/>
                  <a:gd name="T14" fmla="*/ 41583093 w 222"/>
                  <a:gd name="T15" fmla="*/ 206025508 h 325"/>
                  <a:gd name="T16" fmla="*/ 41583093 w 222"/>
                  <a:gd name="T17" fmla="*/ 206025508 h 325"/>
                  <a:gd name="T18" fmla="*/ 98916612 w 222"/>
                  <a:gd name="T19" fmla="*/ 206025508 h 3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22" h="325">
                    <a:moveTo>
                      <a:pt x="157" y="325"/>
                    </a:moveTo>
                    <a:lnTo>
                      <a:pt x="157" y="78"/>
                    </a:lnTo>
                    <a:lnTo>
                      <a:pt x="222" y="78"/>
                    </a:lnTo>
                    <a:lnTo>
                      <a:pt x="222" y="0"/>
                    </a:lnTo>
                    <a:lnTo>
                      <a:pt x="0" y="0"/>
                    </a:lnTo>
                    <a:lnTo>
                      <a:pt x="0" y="78"/>
                    </a:lnTo>
                    <a:lnTo>
                      <a:pt x="66" y="78"/>
                    </a:lnTo>
                    <a:lnTo>
                      <a:pt x="66" y="325"/>
                    </a:lnTo>
                    <a:lnTo>
                      <a:pt x="157" y="32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 name="T1">
                <a:extLst>
                  <a:ext uri="{FF2B5EF4-FFF2-40B4-BE49-F238E27FC236}">
                    <a16:creationId xmlns:a16="http://schemas.microsoft.com/office/drawing/2014/main" id="{414894ED-9970-E3D7-C06E-38D69026DA9C}"/>
                  </a:ext>
                </a:extLst>
              </p:cNvPr>
              <p:cNvSpPr>
                <a:spLocks/>
              </p:cNvSpPr>
              <p:nvPr userDrawn="1"/>
            </p:nvSpPr>
            <p:spPr bwMode="auto">
              <a:xfrm>
                <a:off x="799033" y="168151"/>
                <a:ext cx="193675" cy="258763"/>
              </a:xfrm>
              <a:custGeom>
                <a:avLst/>
                <a:gdLst>
                  <a:gd name="T0" fmla="*/ 55443438 w 244"/>
                  <a:gd name="T1" fmla="*/ 49446026 h 325"/>
                  <a:gd name="T2" fmla="*/ 55443438 w 244"/>
                  <a:gd name="T3" fmla="*/ 206025508 h 325"/>
                  <a:gd name="T4" fmla="*/ 112776794 w 244"/>
                  <a:gd name="T5" fmla="*/ 206025508 h 325"/>
                  <a:gd name="T6" fmla="*/ 112776794 w 244"/>
                  <a:gd name="T7" fmla="*/ 49446026 h 325"/>
                  <a:gd name="T8" fmla="*/ 153729531 w 244"/>
                  <a:gd name="T9" fmla="*/ 49446026 h 325"/>
                  <a:gd name="T10" fmla="*/ 153729531 w 244"/>
                  <a:gd name="T11" fmla="*/ 0 h 325"/>
                  <a:gd name="T12" fmla="*/ 15751175 w 244"/>
                  <a:gd name="T13" fmla="*/ 0 h 325"/>
                  <a:gd name="T14" fmla="*/ 0 w 244"/>
                  <a:gd name="T15" fmla="*/ 49446026 h 325"/>
                  <a:gd name="T16" fmla="*/ 55443438 w 244"/>
                  <a:gd name="T17" fmla="*/ 49446026 h 3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44" h="325">
                    <a:moveTo>
                      <a:pt x="88" y="78"/>
                    </a:moveTo>
                    <a:lnTo>
                      <a:pt x="88" y="325"/>
                    </a:lnTo>
                    <a:lnTo>
                      <a:pt x="179" y="325"/>
                    </a:lnTo>
                    <a:lnTo>
                      <a:pt x="179" y="78"/>
                    </a:lnTo>
                    <a:lnTo>
                      <a:pt x="244" y="78"/>
                    </a:lnTo>
                    <a:lnTo>
                      <a:pt x="244" y="0"/>
                    </a:lnTo>
                    <a:lnTo>
                      <a:pt x="25" y="0"/>
                    </a:lnTo>
                    <a:lnTo>
                      <a:pt x="0" y="78"/>
                    </a:lnTo>
                    <a:lnTo>
                      <a:pt x="88" y="7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3" name="V">
                <a:extLst>
                  <a:ext uri="{FF2B5EF4-FFF2-40B4-BE49-F238E27FC236}">
                    <a16:creationId xmlns:a16="http://schemas.microsoft.com/office/drawing/2014/main" id="{F538BF16-D70A-B1EA-9CA6-2689CE531622}"/>
                  </a:ext>
                </a:extLst>
              </p:cNvPr>
              <p:cNvSpPr>
                <a:spLocks/>
              </p:cNvSpPr>
              <p:nvPr userDrawn="1"/>
            </p:nvSpPr>
            <p:spPr bwMode="auto">
              <a:xfrm>
                <a:off x="567258" y="168151"/>
                <a:ext cx="230188" cy="258763"/>
              </a:xfrm>
              <a:custGeom>
                <a:avLst/>
                <a:gdLst>
                  <a:gd name="T0" fmla="*/ 116731600 w 289"/>
                  <a:gd name="T1" fmla="*/ 206025508 h 325"/>
                  <a:gd name="T2" fmla="*/ 183344344 w 289"/>
                  <a:gd name="T3" fmla="*/ 0 h 325"/>
                  <a:gd name="T4" fmla="*/ 124978544 w 289"/>
                  <a:gd name="T5" fmla="*/ 0 h 325"/>
                  <a:gd name="T6" fmla="*/ 90720356 w 289"/>
                  <a:gd name="T7" fmla="*/ 105865119 h 325"/>
                  <a:gd name="T8" fmla="*/ 85645069 w 289"/>
                  <a:gd name="T9" fmla="*/ 121079587 h 325"/>
                  <a:gd name="T10" fmla="*/ 85645069 w 289"/>
                  <a:gd name="T11" fmla="*/ 121079587 h 325"/>
                  <a:gd name="T12" fmla="*/ 85645069 w 289"/>
                  <a:gd name="T13" fmla="*/ 121079587 h 325"/>
                  <a:gd name="T14" fmla="*/ 85645069 w 289"/>
                  <a:gd name="T15" fmla="*/ 121079587 h 325"/>
                  <a:gd name="T16" fmla="*/ 85645069 w 289"/>
                  <a:gd name="T17" fmla="*/ 121079587 h 325"/>
                  <a:gd name="T18" fmla="*/ 85645069 w 289"/>
                  <a:gd name="T19" fmla="*/ 121079587 h 325"/>
                  <a:gd name="T20" fmla="*/ 85645069 w 289"/>
                  <a:gd name="T21" fmla="*/ 121079587 h 325"/>
                  <a:gd name="T22" fmla="*/ 81204592 w 289"/>
                  <a:gd name="T23" fmla="*/ 105865119 h 325"/>
                  <a:gd name="T24" fmla="*/ 57730991 w 289"/>
                  <a:gd name="T25" fmla="*/ 38035772 h 325"/>
                  <a:gd name="T26" fmla="*/ 0 w 289"/>
                  <a:gd name="T27" fmla="*/ 38035772 h 325"/>
                  <a:gd name="T28" fmla="*/ 57096978 w 289"/>
                  <a:gd name="T29" fmla="*/ 206025508 h 325"/>
                  <a:gd name="T30" fmla="*/ 116731600 w 289"/>
                  <a:gd name="T31" fmla="*/ 206025508 h 32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89" h="325">
                    <a:moveTo>
                      <a:pt x="184" y="325"/>
                    </a:moveTo>
                    <a:lnTo>
                      <a:pt x="289" y="0"/>
                    </a:lnTo>
                    <a:lnTo>
                      <a:pt x="197" y="0"/>
                    </a:lnTo>
                    <a:lnTo>
                      <a:pt x="143" y="167"/>
                    </a:lnTo>
                    <a:lnTo>
                      <a:pt x="135" y="191"/>
                    </a:lnTo>
                    <a:lnTo>
                      <a:pt x="128" y="167"/>
                    </a:lnTo>
                    <a:lnTo>
                      <a:pt x="91" y="60"/>
                    </a:lnTo>
                    <a:lnTo>
                      <a:pt x="0" y="60"/>
                    </a:lnTo>
                    <a:lnTo>
                      <a:pt x="90" y="325"/>
                    </a:lnTo>
                    <a:lnTo>
                      <a:pt x="184" y="32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grpSp>
          <p:nvGrpSpPr>
            <p:cNvPr id="15" name="_VTT_logo_102019_09_orange_on_white" hidden="1">
              <a:extLst>
                <a:ext uri="{FF2B5EF4-FFF2-40B4-BE49-F238E27FC236}">
                  <a16:creationId xmlns:a16="http://schemas.microsoft.com/office/drawing/2014/main" id="{C1E0655F-6457-54D1-4CC7-2039002D5E45}"/>
                </a:ext>
              </a:extLst>
            </p:cNvPr>
            <p:cNvGrpSpPr>
              <a:grpSpLocks/>
            </p:cNvGrpSpPr>
            <p:nvPr userDrawn="1"/>
          </p:nvGrpSpPr>
          <p:grpSpPr bwMode="auto">
            <a:xfrm>
              <a:off x="7909204" y="1770762"/>
              <a:ext cx="971550" cy="655638"/>
              <a:chOff x="379933" y="-15999"/>
              <a:chExt cx="971550" cy="655638"/>
            </a:xfrm>
          </p:grpSpPr>
          <p:sp>
            <p:nvSpPr>
              <p:cNvPr id="16" name="Box">
                <a:extLst>
                  <a:ext uri="{FF2B5EF4-FFF2-40B4-BE49-F238E27FC236}">
                    <a16:creationId xmlns:a16="http://schemas.microsoft.com/office/drawing/2014/main" id="{268411C1-9CCF-A6B8-DCA7-CF0E03578BF1}"/>
                  </a:ext>
                </a:extLst>
              </p:cNvPr>
              <p:cNvSpPr>
                <a:spLocks noChangeArrowheads="1"/>
              </p:cNvSpPr>
              <p:nvPr userDrawn="1"/>
            </p:nvSpPr>
            <p:spPr bwMode="auto">
              <a:xfrm>
                <a:off x="379933" y="-15999"/>
                <a:ext cx="971550" cy="655638"/>
              </a:xfrm>
              <a:prstGeom prst="rect">
                <a:avLst/>
              </a:prstGeom>
              <a:solidFill>
                <a:srgbClr val="FFFFFF"/>
              </a:solidFill>
              <a:ln>
                <a:noFill/>
              </a:ln>
            </p:spPr>
            <p:txBody>
              <a:bodyPr/>
              <a:lstStyle>
                <a:lvl1pPr defTabSz="455613">
                  <a:defRPr b="1">
                    <a:solidFill>
                      <a:schemeClr val="tx1"/>
                    </a:solidFill>
                    <a:latin typeface="Verdana" panose="020B0604030504040204" pitchFamily="34" charset="0"/>
                  </a:defRPr>
                </a:lvl1pPr>
                <a:lvl2pPr marL="742950" indent="-285750" defTabSz="455613">
                  <a:defRPr b="1">
                    <a:solidFill>
                      <a:schemeClr val="tx1"/>
                    </a:solidFill>
                    <a:latin typeface="Verdana" panose="020B0604030504040204" pitchFamily="34" charset="0"/>
                  </a:defRPr>
                </a:lvl2pPr>
                <a:lvl3pPr marL="1143000" indent="-228600" defTabSz="455613">
                  <a:defRPr b="1">
                    <a:solidFill>
                      <a:schemeClr val="tx1"/>
                    </a:solidFill>
                    <a:latin typeface="Verdana" panose="020B0604030504040204" pitchFamily="34" charset="0"/>
                  </a:defRPr>
                </a:lvl3pPr>
                <a:lvl4pPr marL="1600200" indent="-228600" defTabSz="455613">
                  <a:defRPr b="1">
                    <a:solidFill>
                      <a:schemeClr val="tx1"/>
                    </a:solidFill>
                    <a:latin typeface="Verdana" panose="020B0604030504040204" pitchFamily="34" charset="0"/>
                  </a:defRPr>
                </a:lvl4pPr>
                <a:lvl5pPr marL="2057400" indent="-228600" defTabSz="455613">
                  <a:defRPr b="1">
                    <a:solidFill>
                      <a:schemeClr val="tx1"/>
                    </a:solidFill>
                    <a:latin typeface="Verdana" panose="020B0604030504040204" pitchFamily="34" charset="0"/>
                  </a:defRPr>
                </a:lvl5pPr>
                <a:lvl6pPr marL="2514600" indent="-228600" defTabSz="455613" eaLnBrk="0" fontAlgn="base" hangingPunct="0">
                  <a:spcBef>
                    <a:spcPct val="0"/>
                  </a:spcBef>
                  <a:spcAft>
                    <a:spcPct val="0"/>
                  </a:spcAft>
                  <a:defRPr b="1">
                    <a:solidFill>
                      <a:schemeClr val="tx1"/>
                    </a:solidFill>
                    <a:latin typeface="Verdana" panose="020B0604030504040204" pitchFamily="34" charset="0"/>
                  </a:defRPr>
                </a:lvl6pPr>
                <a:lvl7pPr marL="2971800" indent="-228600" defTabSz="455613" eaLnBrk="0" fontAlgn="base" hangingPunct="0">
                  <a:spcBef>
                    <a:spcPct val="0"/>
                  </a:spcBef>
                  <a:spcAft>
                    <a:spcPct val="0"/>
                  </a:spcAft>
                  <a:defRPr b="1">
                    <a:solidFill>
                      <a:schemeClr val="tx1"/>
                    </a:solidFill>
                    <a:latin typeface="Verdana" panose="020B0604030504040204" pitchFamily="34" charset="0"/>
                  </a:defRPr>
                </a:lvl7pPr>
                <a:lvl8pPr marL="3429000" indent="-228600" defTabSz="455613" eaLnBrk="0" fontAlgn="base" hangingPunct="0">
                  <a:spcBef>
                    <a:spcPct val="0"/>
                  </a:spcBef>
                  <a:spcAft>
                    <a:spcPct val="0"/>
                  </a:spcAft>
                  <a:defRPr b="1">
                    <a:solidFill>
                      <a:schemeClr val="tx1"/>
                    </a:solidFill>
                    <a:latin typeface="Verdana" panose="020B0604030504040204" pitchFamily="34" charset="0"/>
                  </a:defRPr>
                </a:lvl8pPr>
                <a:lvl9pPr marL="3886200" indent="-228600" defTabSz="455613" eaLnBrk="0" fontAlgn="base" hangingPunct="0">
                  <a:spcBef>
                    <a:spcPct val="0"/>
                  </a:spcBef>
                  <a:spcAft>
                    <a:spcPct val="0"/>
                  </a:spcAft>
                  <a:defRPr b="1">
                    <a:solidFill>
                      <a:schemeClr val="tx1"/>
                    </a:solidFill>
                    <a:latin typeface="Verdana" panose="020B0604030504040204" pitchFamily="34" charset="0"/>
                  </a:defRPr>
                </a:lvl9pPr>
              </a:lstStyle>
              <a:p>
                <a:pPr eaLnBrk="1" hangingPunct="1">
                  <a:defRPr/>
                </a:pPr>
                <a:endParaRPr lang="en-GB" altLang="de-DE" b="0">
                  <a:solidFill>
                    <a:srgbClr val="000000"/>
                  </a:solidFill>
                  <a:latin typeface="Arial" panose="020B0604020202020204" pitchFamily="34" charset="0"/>
                </a:endParaRPr>
              </a:p>
            </p:txBody>
          </p:sp>
          <p:sp>
            <p:nvSpPr>
              <p:cNvPr id="17" name="T2">
                <a:extLst>
                  <a:ext uri="{FF2B5EF4-FFF2-40B4-BE49-F238E27FC236}">
                    <a16:creationId xmlns:a16="http://schemas.microsoft.com/office/drawing/2014/main" id="{9DC539E6-F549-28EC-F379-7F000CA4679B}"/>
                  </a:ext>
                </a:extLst>
              </p:cNvPr>
              <p:cNvSpPr>
                <a:spLocks/>
              </p:cNvSpPr>
              <p:nvPr userDrawn="1"/>
            </p:nvSpPr>
            <p:spPr bwMode="auto">
              <a:xfrm>
                <a:off x="1011758" y="168151"/>
                <a:ext cx="176213" cy="258763"/>
              </a:xfrm>
              <a:custGeom>
                <a:avLst/>
                <a:gdLst>
                  <a:gd name="T0" fmla="*/ 98916612 w 222"/>
                  <a:gd name="T1" fmla="*/ 206025508 h 325"/>
                  <a:gd name="T2" fmla="*/ 98916612 w 222"/>
                  <a:gd name="T3" fmla="*/ 49446026 h 325"/>
                  <a:gd name="T4" fmla="*/ 139869466 w 222"/>
                  <a:gd name="T5" fmla="*/ 49446026 h 325"/>
                  <a:gd name="T6" fmla="*/ 139869466 w 222"/>
                  <a:gd name="T7" fmla="*/ 0 h 325"/>
                  <a:gd name="T8" fmla="*/ 0 w 222"/>
                  <a:gd name="T9" fmla="*/ 0 h 325"/>
                  <a:gd name="T10" fmla="*/ 0 w 222"/>
                  <a:gd name="T11" fmla="*/ 49446026 h 325"/>
                  <a:gd name="T12" fmla="*/ 41583093 w 222"/>
                  <a:gd name="T13" fmla="*/ 49446026 h 325"/>
                  <a:gd name="T14" fmla="*/ 41583093 w 222"/>
                  <a:gd name="T15" fmla="*/ 206025508 h 325"/>
                  <a:gd name="T16" fmla="*/ 41583093 w 222"/>
                  <a:gd name="T17" fmla="*/ 206025508 h 325"/>
                  <a:gd name="T18" fmla="*/ 98916612 w 222"/>
                  <a:gd name="T19" fmla="*/ 206025508 h 3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22" h="325">
                    <a:moveTo>
                      <a:pt x="157" y="325"/>
                    </a:moveTo>
                    <a:lnTo>
                      <a:pt x="157" y="78"/>
                    </a:lnTo>
                    <a:lnTo>
                      <a:pt x="222" y="78"/>
                    </a:lnTo>
                    <a:lnTo>
                      <a:pt x="222" y="0"/>
                    </a:lnTo>
                    <a:lnTo>
                      <a:pt x="0" y="0"/>
                    </a:lnTo>
                    <a:lnTo>
                      <a:pt x="0" y="78"/>
                    </a:lnTo>
                    <a:lnTo>
                      <a:pt x="66" y="78"/>
                    </a:lnTo>
                    <a:lnTo>
                      <a:pt x="66" y="325"/>
                    </a:lnTo>
                    <a:lnTo>
                      <a:pt x="157" y="325"/>
                    </a:lnTo>
                    <a:close/>
                  </a:path>
                </a:pathLst>
              </a:custGeom>
              <a:solidFill>
                <a:srgbClr val="F06E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 name="T1">
                <a:extLst>
                  <a:ext uri="{FF2B5EF4-FFF2-40B4-BE49-F238E27FC236}">
                    <a16:creationId xmlns:a16="http://schemas.microsoft.com/office/drawing/2014/main" id="{07DC5355-57E2-AEB4-E48C-945B4E41FE55}"/>
                  </a:ext>
                </a:extLst>
              </p:cNvPr>
              <p:cNvSpPr>
                <a:spLocks/>
              </p:cNvSpPr>
              <p:nvPr userDrawn="1"/>
            </p:nvSpPr>
            <p:spPr bwMode="auto">
              <a:xfrm>
                <a:off x="799033" y="168151"/>
                <a:ext cx="193675" cy="258763"/>
              </a:xfrm>
              <a:custGeom>
                <a:avLst/>
                <a:gdLst>
                  <a:gd name="T0" fmla="*/ 55443438 w 244"/>
                  <a:gd name="T1" fmla="*/ 49446026 h 325"/>
                  <a:gd name="T2" fmla="*/ 55443438 w 244"/>
                  <a:gd name="T3" fmla="*/ 206025508 h 325"/>
                  <a:gd name="T4" fmla="*/ 112776794 w 244"/>
                  <a:gd name="T5" fmla="*/ 206025508 h 325"/>
                  <a:gd name="T6" fmla="*/ 112776794 w 244"/>
                  <a:gd name="T7" fmla="*/ 49446026 h 325"/>
                  <a:gd name="T8" fmla="*/ 153729531 w 244"/>
                  <a:gd name="T9" fmla="*/ 49446026 h 325"/>
                  <a:gd name="T10" fmla="*/ 153729531 w 244"/>
                  <a:gd name="T11" fmla="*/ 0 h 325"/>
                  <a:gd name="T12" fmla="*/ 15751175 w 244"/>
                  <a:gd name="T13" fmla="*/ 0 h 325"/>
                  <a:gd name="T14" fmla="*/ 0 w 244"/>
                  <a:gd name="T15" fmla="*/ 49446026 h 325"/>
                  <a:gd name="T16" fmla="*/ 55443438 w 244"/>
                  <a:gd name="T17" fmla="*/ 49446026 h 3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44" h="325">
                    <a:moveTo>
                      <a:pt x="88" y="78"/>
                    </a:moveTo>
                    <a:lnTo>
                      <a:pt x="88" y="325"/>
                    </a:lnTo>
                    <a:lnTo>
                      <a:pt x="179" y="325"/>
                    </a:lnTo>
                    <a:lnTo>
                      <a:pt x="179" y="78"/>
                    </a:lnTo>
                    <a:lnTo>
                      <a:pt x="244" y="78"/>
                    </a:lnTo>
                    <a:lnTo>
                      <a:pt x="244" y="0"/>
                    </a:lnTo>
                    <a:lnTo>
                      <a:pt x="25" y="0"/>
                    </a:lnTo>
                    <a:lnTo>
                      <a:pt x="0" y="78"/>
                    </a:lnTo>
                    <a:lnTo>
                      <a:pt x="88" y="78"/>
                    </a:lnTo>
                    <a:close/>
                  </a:path>
                </a:pathLst>
              </a:custGeom>
              <a:solidFill>
                <a:srgbClr val="F06E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 name="V">
                <a:extLst>
                  <a:ext uri="{FF2B5EF4-FFF2-40B4-BE49-F238E27FC236}">
                    <a16:creationId xmlns:a16="http://schemas.microsoft.com/office/drawing/2014/main" id="{12DDBB93-2CC6-463F-CE01-0067F906CF1B}"/>
                  </a:ext>
                </a:extLst>
              </p:cNvPr>
              <p:cNvSpPr>
                <a:spLocks/>
              </p:cNvSpPr>
              <p:nvPr userDrawn="1"/>
            </p:nvSpPr>
            <p:spPr bwMode="auto">
              <a:xfrm>
                <a:off x="567258" y="168151"/>
                <a:ext cx="230188" cy="258763"/>
              </a:xfrm>
              <a:custGeom>
                <a:avLst/>
                <a:gdLst>
                  <a:gd name="T0" fmla="*/ 116731600 w 289"/>
                  <a:gd name="T1" fmla="*/ 206025508 h 325"/>
                  <a:gd name="T2" fmla="*/ 183344344 w 289"/>
                  <a:gd name="T3" fmla="*/ 0 h 325"/>
                  <a:gd name="T4" fmla="*/ 124978544 w 289"/>
                  <a:gd name="T5" fmla="*/ 0 h 325"/>
                  <a:gd name="T6" fmla="*/ 90720356 w 289"/>
                  <a:gd name="T7" fmla="*/ 105865119 h 325"/>
                  <a:gd name="T8" fmla="*/ 85645069 w 289"/>
                  <a:gd name="T9" fmla="*/ 121079587 h 325"/>
                  <a:gd name="T10" fmla="*/ 85645069 w 289"/>
                  <a:gd name="T11" fmla="*/ 121079587 h 325"/>
                  <a:gd name="T12" fmla="*/ 85645069 w 289"/>
                  <a:gd name="T13" fmla="*/ 121079587 h 325"/>
                  <a:gd name="T14" fmla="*/ 85645069 w 289"/>
                  <a:gd name="T15" fmla="*/ 121079587 h 325"/>
                  <a:gd name="T16" fmla="*/ 85645069 w 289"/>
                  <a:gd name="T17" fmla="*/ 121079587 h 325"/>
                  <a:gd name="T18" fmla="*/ 85645069 w 289"/>
                  <a:gd name="T19" fmla="*/ 121079587 h 325"/>
                  <a:gd name="T20" fmla="*/ 85645069 w 289"/>
                  <a:gd name="T21" fmla="*/ 121079587 h 325"/>
                  <a:gd name="T22" fmla="*/ 81204592 w 289"/>
                  <a:gd name="T23" fmla="*/ 105865119 h 325"/>
                  <a:gd name="T24" fmla="*/ 57730991 w 289"/>
                  <a:gd name="T25" fmla="*/ 38035772 h 325"/>
                  <a:gd name="T26" fmla="*/ 0 w 289"/>
                  <a:gd name="T27" fmla="*/ 38035772 h 325"/>
                  <a:gd name="T28" fmla="*/ 57096978 w 289"/>
                  <a:gd name="T29" fmla="*/ 206025508 h 325"/>
                  <a:gd name="T30" fmla="*/ 116731600 w 289"/>
                  <a:gd name="T31" fmla="*/ 206025508 h 32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89" h="325">
                    <a:moveTo>
                      <a:pt x="184" y="325"/>
                    </a:moveTo>
                    <a:lnTo>
                      <a:pt x="289" y="0"/>
                    </a:lnTo>
                    <a:lnTo>
                      <a:pt x="197" y="0"/>
                    </a:lnTo>
                    <a:lnTo>
                      <a:pt x="143" y="167"/>
                    </a:lnTo>
                    <a:lnTo>
                      <a:pt x="135" y="191"/>
                    </a:lnTo>
                    <a:lnTo>
                      <a:pt x="128" y="167"/>
                    </a:lnTo>
                    <a:lnTo>
                      <a:pt x="91" y="60"/>
                    </a:lnTo>
                    <a:lnTo>
                      <a:pt x="0" y="60"/>
                    </a:lnTo>
                    <a:lnTo>
                      <a:pt x="90" y="325"/>
                    </a:lnTo>
                    <a:lnTo>
                      <a:pt x="184" y="325"/>
                    </a:lnTo>
                    <a:close/>
                  </a:path>
                </a:pathLst>
              </a:custGeom>
              <a:solidFill>
                <a:srgbClr val="F06E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grpSp>
      <p:sp>
        <p:nvSpPr>
          <p:cNvPr id="2" name="Title 1"/>
          <p:cNvSpPr>
            <a:spLocks noGrp="1"/>
          </p:cNvSpPr>
          <p:nvPr>
            <p:ph type="title"/>
          </p:nvPr>
        </p:nvSpPr>
        <p:spPr>
          <a:xfrm>
            <a:off x="959999" y="782400"/>
            <a:ext cx="9264000" cy="993600"/>
          </a:xfrm>
        </p:spPr>
        <p:txBody>
          <a:bodyPr/>
          <a:lstStyle/>
          <a:p>
            <a:r>
              <a:rPr lang="en-GB" noProof="0"/>
              <a:t>Click to edit Master title style</a:t>
            </a:r>
          </a:p>
        </p:txBody>
      </p:sp>
      <p:sp>
        <p:nvSpPr>
          <p:cNvPr id="8" name="Content Placeholder 7"/>
          <p:cNvSpPr>
            <a:spLocks noGrp="1"/>
          </p:cNvSpPr>
          <p:nvPr>
            <p:ph sz="quarter" idx="13"/>
          </p:nvPr>
        </p:nvSpPr>
        <p:spPr>
          <a:xfrm>
            <a:off x="958849" y="2097601"/>
            <a:ext cx="3024000" cy="4056401"/>
          </a:xfrm>
        </p:spPr>
        <p:txBody>
          <a:body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GB" noProof="0" dirty="0"/>
          </a:p>
        </p:txBody>
      </p:sp>
      <p:sp>
        <p:nvSpPr>
          <p:cNvPr id="7" name="Content Placeholder 7"/>
          <p:cNvSpPr>
            <a:spLocks noGrp="1"/>
          </p:cNvSpPr>
          <p:nvPr>
            <p:ph sz="quarter" idx="14"/>
          </p:nvPr>
        </p:nvSpPr>
        <p:spPr>
          <a:xfrm>
            <a:off x="4079175" y="2097601"/>
            <a:ext cx="3024000" cy="4056401"/>
          </a:xfrm>
        </p:spPr>
        <p:txBody>
          <a:body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GB" noProof="0"/>
          </a:p>
        </p:txBody>
      </p:sp>
      <p:sp>
        <p:nvSpPr>
          <p:cNvPr id="9" name="Content Placeholder 7"/>
          <p:cNvSpPr>
            <a:spLocks noGrp="1"/>
          </p:cNvSpPr>
          <p:nvPr>
            <p:ph sz="quarter" idx="15"/>
          </p:nvPr>
        </p:nvSpPr>
        <p:spPr>
          <a:xfrm>
            <a:off x="7199500" y="2097600"/>
            <a:ext cx="3024000" cy="4056403"/>
          </a:xfrm>
        </p:spPr>
        <p:txBody>
          <a:body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GB" noProof="0"/>
          </a:p>
        </p:txBody>
      </p:sp>
      <p:sp>
        <p:nvSpPr>
          <p:cNvPr id="52" name="Date Placeholder 2">
            <a:extLst>
              <a:ext uri="{FF2B5EF4-FFF2-40B4-BE49-F238E27FC236}">
                <a16:creationId xmlns:a16="http://schemas.microsoft.com/office/drawing/2014/main" id="{0C11C85A-43EC-397A-6538-96D4D2F5C6B0}"/>
              </a:ext>
            </a:extLst>
          </p:cNvPr>
          <p:cNvSpPr>
            <a:spLocks noGrp="1"/>
          </p:cNvSpPr>
          <p:nvPr>
            <p:ph type="dt" sz="half" idx="16"/>
          </p:nvPr>
        </p:nvSpPr>
        <p:spPr/>
        <p:txBody>
          <a:bodyPr/>
          <a:lstStyle>
            <a:lvl1pPr>
              <a:defRPr/>
            </a:lvl1pPr>
          </a:lstStyle>
          <a:p>
            <a:pPr>
              <a:defRPr/>
            </a:pPr>
            <a:fld id="{57CE30A0-765F-46F1-AC7B-BB98F6557247}" type="datetime1">
              <a:rPr lang="en-GB"/>
              <a:pPr>
                <a:defRPr/>
              </a:pPr>
              <a:t>28/01/2024</a:t>
            </a:fld>
            <a:endParaRPr lang="en-GB" dirty="0"/>
          </a:p>
        </p:txBody>
      </p:sp>
      <p:sp>
        <p:nvSpPr>
          <p:cNvPr id="53" name="Footer Placeholder 3">
            <a:extLst>
              <a:ext uri="{FF2B5EF4-FFF2-40B4-BE49-F238E27FC236}">
                <a16:creationId xmlns:a16="http://schemas.microsoft.com/office/drawing/2014/main" id="{32DD3359-BDA1-9245-D8F4-CE121F114A01}"/>
              </a:ext>
            </a:extLst>
          </p:cNvPr>
          <p:cNvSpPr>
            <a:spLocks noGrp="1"/>
          </p:cNvSpPr>
          <p:nvPr>
            <p:ph type="ftr" sz="quarter" idx="17"/>
          </p:nvPr>
        </p:nvSpPr>
        <p:spPr/>
        <p:txBody>
          <a:bodyPr/>
          <a:lstStyle>
            <a:lvl1pPr>
              <a:defRPr/>
            </a:lvl1pPr>
          </a:lstStyle>
          <a:p>
            <a:pPr>
              <a:defRPr/>
            </a:pPr>
            <a:r>
              <a:rPr lang="en-GB"/>
              <a:t>VTT – beyond the obvious</a:t>
            </a:r>
            <a:endParaRPr lang="en-GB" dirty="0"/>
          </a:p>
        </p:txBody>
      </p:sp>
      <p:sp>
        <p:nvSpPr>
          <p:cNvPr id="54" name="Slide Number Placeholder 4">
            <a:extLst>
              <a:ext uri="{FF2B5EF4-FFF2-40B4-BE49-F238E27FC236}">
                <a16:creationId xmlns:a16="http://schemas.microsoft.com/office/drawing/2014/main" id="{BE74C1F6-6F90-17E7-59D7-8B753E316413}"/>
              </a:ext>
            </a:extLst>
          </p:cNvPr>
          <p:cNvSpPr>
            <a:spLocks noGrp="1"/>
          </p:cNvSpPr>
          <p:nvPr>
            <p:ph type="sldNum" sz="quarter" idx="18"/>
          </p:nvPr>
        </p:nvSpPr>
        <p:spPr/>
        <p:txBody>
          <a:bodyPr/>
          <a:lstStyle>
            <a:lvl1pPr>
              <a:defRPr/>
            </a:lvl1pPr>
          </a:lstStyle>
          <a:p>
            <a:pPr>
              <a:defRPr/>
            </a:pPr>
            <a:fld id="{32DEA69C-96B9-4A0A-897F-E6366D7B3D42}" type="slidenum">
              <a:rPr lang="en-GB"/>
              <a:pPr>
                <a:defRPr/>
              </a:pPr>
              <a:t>‹Nr.›</a:t>
            </a:fld>
            <a:endParaRPr lang="en-GB" dirty="0"/>
          </a:p>
        </p:txBody>
      </p:sp>
    </p:spTree>
    <p:extLst>
      <p:ext uri="{BB962C8B-B14F-4D97-AF65-F5344CB8AC3E}">
        <p14:creationId xmlns:p14="http://schemas.microsoft.com/office/powerpoint/2010/main" val="1787207924"/>
      </p:ext>
    </p:extLst>
  </p:cSld>
  <p:clrMapOvr>
    <a:masterClrMapping/>
  </p:clrMapOvr>
  <p:transition spd="med">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VTT 2020 Content slide 05">
    <p:spTree>
      <p:nvGrpSpPr>
        <p:cNvPr id="1" name=""/>
        <p:cNvGrpSpPr/>
        <p:nvPr/>
      </p:nvGrpSpPr>
      <p:grpSpPr>
        <a:xfrm>
          <a:off x="0" y="0"/>
          <a:ext cx="0" cy="0"/>
          <a:chOff x="0" y="0"/>
          <a:chExt cx="0" cy="0"/>
        </a:xfrm>
      </p:grpSpPr>
      <p:grpSp>
        <p:nvGrpSpPr>
          <p:cNvPr id="3" name="VTT_LogoStack_v3_16092019 pienempi koko">
            <a:extLst>
              <a:ext uri="{FF2B5EF4-FFF2-40B4-BE49-F238E27FC236}">
                <a16:creationId xmlns:a16="http://schemas.microsoft.com/office/drawing/2014/main" id="{510F67CB-1620-D96C-D1F3-5C0D0EDF96EF}"/>
              </a:ext>
            </a:extLst>
          </p:cNvPr>
          <p:cNvGrpSpPr>
            <a:grpSpLocks/>
          </p:cNvGrpSpPr>
          <p:nvPr userDrawn="1"/>
        </p:nvGrpSpPr>
        <p:grpSpPr bwMode="auto">
          <a:xfrm>
            <a:off x="10725150" y="0"/>
            <a:ext cx="1158875" cy="782638"/>
            <a:chOff x="7909204" y="1770762"/>
            <a:chExt cx="971550" cy="655638"/>
          </a:xfrm>
        </p:grpSpPr>
        <p:grpSp>
          <p:nvGrpSpPr>
            <p:cNvPr id="4" name="_VTT_logo_102019_01_white_on_orange">
              <a:extLst>
                <a:ext uri="{FF2B5EF4-FFF2-40B4-BE49-F238E27FC236}">
                  <a16:creationId xmlns:a16="http://schemas.microsoft.com/office/drawing/2014/main" id="{46DC24C6-F451-B87E-700D-EC8278E660E7}"/>
                </a:ext>
              </a:extLst>
            </p:cNvPr>
            <p:cNvGrpSpPr>
              <a:grpSpLocks/>
            </p:cNvGrpSpPr>
            <p:nvPr userDrawn="1"/>
          </p:nvGrpSpPr>
          <p:grpSpPr bwMode="auto">
            <a:xfrm>
              <a:off x="7909204" y="1770762"/>
              <a:ext cx="971550" cy="655638"/>
              <a:chOff x="379933" y="-15999"/>
              <a:chExt cx="971550" cy="655638"/>
            </a:xfrm>
          </p:grpSpPr>
          <p:sp>
            <p:nvSpPr>
              <p:cNvPr id="45" name="Box">
                <a:extLst>
                  <a:ext uri="{FF2B5EF4-FFF2-40B4-BE49-F238E27FC236}">
                    <a16:creationId xmlns:a16="http://schemas.microsoft.com/office/drawing/2014/main" id="{E1538298-D14E-4CC7-5086-C3205317F40F}"/>
                  </a:ext>
                </a:extLst>
              </p:cNvPr>
              <p:cNvSpPr>
                <a:spLocks noChangeArrowheads="1"/>
              </p:cNvSpPr>
              <p:nvPr userDrawn="1"/>
            </p:nvSpPr>
            <p:spPr bwMode="auto">
              <a:xfrm>
                <a:off x="379933" y="-15999"/>
                <a:ext cx="971550" cy="655638"/>
              </a:xfrm>
              <a:prstGeom prst="rect">
                <a:avLst/>
              </a:prstGeom>
              <a:solidFill>
                <a:srgbClr val="F06E00"/>
              </a:solidFill>
              <a:ln>
                <a:noFill/>
              </a:ln>
            </p:spPr>
            <p:txBody>
              <a:bodyPr/>
              <a:lstStyle>
                <a:lvl1pPr defTabSz="455613">
                  <a:defRPr b="1">
                    <a:solidFill>
                      <a:schemeClr val="tx1"/>
                    </a:solidFill>
                    <a:latin typeface="Verdana" panose="020B0604030504040204" pitchFamily="34" charset="0"/>
                  </a:defRPr>
                </a:lvl1pPr>
                <a:lvl2pPr marL="742950" indent="-285750" defTabSz="455613">
                  <a:defRPr b="1">
                    <a:solidFill>
                      <a:schemeClr val="tx1"/>
                    </a:solidFill>
                    <a:latin typeface="Verdana" panose="020B0604030504040204" pitchFamily="34" charset="0"/>
                  </a:defRPr>
                </a:lvl2pPr>
                <a:lvl3pPr marL="1143000" indent="-228600" defTabSz="455613">
                  <a:defRPr b="1">
                    <a:solidFill>
                      <a:schemeClr val="tx1"/>
                    </a:solidFill>
                    <a:latin typeface="Verdana" panose="020B0604030504040204" pitchFamily="34" charset="0"/>
                  </a:defRPr>
                </a:lvl3pPr>
                <a:lvl4pPr marL="1600200" indent="-228600" defTabSz="455613">
                  <a:defRPr b="1">
                    <a:solidFill>
                      <a:schemeClr val="tx1"/>
                    </a:solidFill>
                    <a:latin typeface="Verdana" panose="020B0604030504040204" pitchFamily="34" charset="0"/>
                  </a:defRPr>
                </a:lvl4pPr>
                <a:lvl5pPr marL="2057400" indent="-228600" defTabSz="455613">
                  <a:defRPr b="1">
                    <a:solidFill>
                      <a:schemeClr val="tx1"/>
                    </a:solidFill>
                    <a:latin typeface="Verdana" panose="020B0604030504040204" pitchFamily="34" charset="0"/>
                  </a:defRPr>
                </a:lvl5pPr>
                <a:lvl6pPr marL="2514600" indent="-228600" defTabSz="455613" eaLnBrk="0" fontAlgn="base" hangingPunct="0">
                  <a:spcBef>
                    <a:spcPct val="0"/>
                  </a:spcBef>
                  <a:spcAft>
                    <a:spcPct val="0"/>
                  </a:spcAft>
                  <a:defRPr b="1">
                    <a:solidFill>
                      <a:schemeClr val="tx1"/>
                    </a:solidFill>
                    <a:latin typeface="Verdana" panose="020B0604030504040204" pitchFamily="34" charset="0"/>
                  </a:defRPr>
                </a:lvl6pPr>
                <a:lvl7pPr marL="2971800" indent="-228600" defTabSz="455613" eaLnBrk="0" fontAlgn="base" hangingPunct="0">
                  <a:spcBef>
                    <a:spcPct val="0"/>
                  </a:spcBef>
                  <a:spcAft>
                    <a:spcPct val="0"/>
                  </a:spcAft>
                  <a:defRPr b="1">
                    <a:solidFill>
                      <a:schemeClr val="tx1"/>
                    </a:solidFill>
                    <a:latin typeface="Verdana" panose="020B0604030504040204" pitchFamily="34" charset="0"/>
                  </a:defRPr>
                </a:lvl7pPr>
                <a:lvl8pPr marL="3429000" indent="-228600" defTabSz="455613" eaLnBrk="0" fontAlgn="base" hangingPunct="0">
                  <a:spcBef>
                    <a:spcPct val="0"/>
                  </a:spcBef>
                  <a:spcAft>
                    <a:spcPct val="0"/>
                  </a:spcAft>
                  <a:defRPr b="1">
                    <a:solidFill>
                      <a:schemeClr val="tx1"/>
                    </a:solidFill>
                    <a:latin typeface="Verdana" panose="020B0604030504040204" pitchFamily="34" charset="0"/>
                  </a:defRPr>
                </a:lvl8pPr>
                <a:lvl9pPr marL="3886200" indent="-228600" defTabSz="455613" eaLnBrk="0" fontAlgn="base" hangingPunct="0">
                  <a:spcBef>
                    <a:spcPct val="0"/>
                  </a:spcBef>
                  <a:spcAft>
                    <a:spcPct val="0"/>
                  </a:spcAft>
                  <a:defRPr b="1">
                    <a:solidFill>
                      <a:schemeClr val="tx1"/>
                    </a:solidFill>
                    <a:latin typeface="Verdana" panose="020B0604030504040204" pitchFamily="34" charset="0"/>
                  </a:defRPr>
                </a:lvl9pPr>
              </a:lstStyle>
              <a:p>
                <a:pPr eaLnBrk="1" hangingPunct="1">
                  <a:defRPr/>
                </a:pPr>
                <a:endParaRPr lang="en-GB" altLang="de-DE" b="0">
                  <a:solidFill>
                    <a:srgbClr val="000000"/>
                  </a:solidFill>
                  <a:latin typeface="Arial" panose="020B0604020202020204" pitchFamily="34" charset="0"/>
                </a:endParaRPr>
              </a:p>
            </p:txBody>
          </p:sp>
          <p:sp>
            <p:nvSpPr>
              <p:cNvPr id="46" name="T2">
                <a:extLst>
                  <a:ext uri="{FF2B5EF4-FFF2-40B4-BE49-F238E27FC236}">
                    <a16:creationId xmlns:a16="http://schemas.microsoft.com/office/drawing/2014/main" id="{509EB254-889A-18AA-1731-A70971834643}"/>
                  </a:ext>
                </a:extLst>
              </p:cNvPr>
              <p:cNvSpPr>
                <a:spLocks/>
              </p:cNvSpPr>
              <p:nvPr userDrawn="1"/>
            </p:nvSpPr>
            <p:spPr bwMode="auto">
              <a:xfrm>
                <a:off x="1011758" y="168151"/>
                <a:ext cx="176213" cy="258763"/>
              </a:xfrm>
              <a:custGeom>
                <a:avLst/>
                <a:gdLst>
                  <a:gd name="T0" fmla="*/ 98916612 w 222"/>
                  <a:gd name="T1" fmla="*/ 206025508 h 325"/>
                  <a:gd name="T2" fmla="*/ 98916612 w 222"/>
                  <a:gd name="T3" fmla="*/ 49446026 h 325"/>
                  <a:gd name="T4" fmla="*/ 139869466 w 222"/>
                  <a:gd name="T5" fmla="*/ 49446026 h 325"/>
                  <a:gd name="T6" fmla="*/ 139869466 w 222"/>
                  <a:gd name="T7" fmla="*/ 0 h 325"/>
                  <a:gd name="T8" fmla="*/ 0 w 222"/>
                  <a:gd name="T9" fmla="*/ 0 h 325"/>
                  <a:gd name="T10" fmla="*/ 0 w 222"/>
                  <a:gd name="T11" fmla="*/ 49446026 h 325"/>
                  <a:gd name="T12" fmla="*/ 41583093 w 222"/>
                  <a:gd name="T13" fmla="*/ 49446026 h 325"/>
                  <a:gd name="T14" fmla="*/ 41583093 w 222"/>
                  <a:gd name="T15" fmla="*/ 206025508 h 325"/>
                  <a:gd name="T16" fmla="*/ 41583093 w 222"/>
                  <a:gd name="T17" fmla="*/ 206025508 h 325"/>
                  <a:gd name="T18" fmla="*/ 98916612 w 222"/>
                  <a:gd name="T19" fmla="*/ 206025508 h 3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22" h="325">
                    <a:moveTo>
                      <a:pt x="157" y="325"/>
                    </a:moveTo>
                    <a:lnTo>
                      <a:pt x="157" y="78"/>
                    </a:lnTo>
                    <a:lnTo>
                      <a:pt x="222" y="78"/>
                    </a:lnTo>
                    <a:lnTo>
                      <a:pt x="222" y="0"/>
                    </a:lnTo>
                    <a:lnTo>
                      <a:pt x="0" y="0"/>
                    </a:lnTo>
                    <a:lnTo>
                      <a:pt x="0" y="78"/>
                    </a:lnTo>
                    <a:lnTo>
                      <a:pt x="66" y="78"/>
                    </a:lnTo>
                    <a:lnTo>
                      <a:pt x="66" y="325"/>
                    </a:lnTo>
                    <a:lnTo>
                      <a:pt x="157" y="3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47" name="T1">
                <a:extLst>
                  <a:ext uri="{FF2B5EF4-FFF2-40B4-BE49-F238E27FC236}">
                    <a16:creationId xmlns:a16="http://schemas.microsoft.com/office/drawing/2014/main" id="{524F2941-C486-2C85-A0C4-23B1B8F71C0F}"/>
                  </a:ext>
                </a:extLst>
              </p:cNvPr>
              <p:cNvSpPr>
                <a:spLocks/>
              </p:cNvSpPr>
              <p:nvPr userDrawn="1"/>
            </p:nvSpPr>
            <p:spPr bwMode="auto">
              <a:xfrm>
                <a:off x="799033" y="168151"/>
                <a:ext cx="193675" cy="258763"/>
              </a:xfrm>
              <a:custGeom>
                <a:avLst/>
                <a:gdLst>
                  <a:gd name="T0" fmla="*/ 55443438 w 244"/>
                  <a:gd name="T1" fmla="*/ 49446026 h 325"/>
                  <a:gd name="T2" fmla="*/ 55443438 w 244"/>
                  <a:gd name="T3" fmla="*/ 206025508 h 325"/>
                  <a:gd name="T4" fmla="*/ 112776794 w 244"/>
                  <a:gd name="T5" fmla="*/ 206025508 h 325"/>
                  <a:gd name="T6" fmla="*/ 112776794 w 244"/>
                  <a:gd name="T7" fmla="*/ 49446026 h 325"/>
                  <a:gd name="T8" fmla="*/ 153729531 w 244"/>
                  <a:gd name="T9" fmla="*/ 49446026 h 325"/>
                  <a:gd name="T10" fmla="*/ 153729531 w 244"/>
                  <a:gd name="T11" fmla="*/ 0 h 325"/>
                  <a:gd name="T12" fmla="*/ 15751175 w 244"/>
                  <a:gd name="T13" fmla="*/ 0 h 325"/>
                  <a:gd name="T14" fmla="*/ 0 w 244"/>
                  <a:gd name="T15" fmla="*/ 49446026 h 325"/>
                  <a:gd name="T16" fmla="*/ 55443438 w 244"/>
                  <a:gd name="T17" fmla="*/ 49446026 h 3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44" h="325">
                    <a:moveTo>
                      <a:pt x="88" y="78"/>
                    </a:moveTo>
                    <a:lnTo>
                      <a:pt x="88" y="325"/>
                    </a:lnTo>
                    <a:lnTo>
                      <a:pt x="179" y="325"/>
                    </a:lnTo>
                    <a:lnTo>
                      <a:pt x="179" y="78"/>
                    </a:lnTo>
                    <a:lnTo>
                      <a:pt x="244" y="78"/>
                    </a:lnTo>
                    <a:lnTo>
                      <a:pt x="244" y="0"/>
                    </a:lnTo>
                    <a:lnTo>
                      <a:pt x="25" y="0"/>
                    </a:lnTo>
                    <a:lnTo>
                      <a:pt x="0" y="78"/>
                    </a:lnTo>
                    <a:lnTo>
                      <a:pt x="88"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48" name="V">
                <a:extLst>
                  <a:ext uri="{FF2B5EF4-FFF2-40B4-BE49-F238E27FC236}">
                    <a16:creationId xmlns:a16="http://schemas.microsoft.com/office/drawing/2014/main" id="{F79FF1B6-0C99-4DF0-4B3D-855C1D0955CB}"/>
                  </a:ext>
                </a:extLst>
              </p:cNvPr>
              <p:cNvSpPr>
                <a:spLocks/>
              </p:cNvSpPr>
              <p:nvPr userDrawn="1"/>
            </p:nvSpPr>
            <p:spPr bwMode="auto">
              <a:xfrm>
                <a:off x="567258" y="168151"/>
                <a:ext cx="230188" cy="258763"/>
              </a:xfrm>
              <a:custGeom>
                <a:avLst/>
                <a:gdLst>
                  <a:gd name="T0" fmla="*/ 116731600 w 289"/>
                  <a:gd name="T1" fmla="*/ 206025508 h 325"/>
                  <a:gd name="T2" fmla="*/ 183344344 w 289"/>
                  <a:gd name="T3" fmla="*/ 0 h 325"/>
                  <a:gd name="T4" fmla="*/ 124978544 w 289"/>
                  <a:gd name="T5" fmla="*/ 0 h 325"/>
                  <a:gd name="T6" fmla="*/ 90720356 w 289"/>
                  <a:gd name="T7" fmla="*/ 105865119 h 325"/>
                  <a:gd name="T8" fmla="*/ 85645069 w 289"/>
                  <a:gd name="T9" fmla="*/ 121079587 h 325"/>
                  <a:gd name="T10" fmla="*/ 85645069 w 289"/>
                  <a:gd name="T11" fmla="*/ 121079587 h 325"/>
                  <a:gd name="T12" fmla="*/ 85645069 w 289"/>
                  <a:gd name="T13" fmla="*/ 121079587 h 325"/>
                  <a:gd name="T14" fmla="*/ 85645069 w 289"/>
                  <a:gd name="T15" fmla="*/ 121079587 h 325"/>
                  <a:gd name="T16" fmla="*/ 85645069 w 289"/>
                  <a:gd name="T17" fmla="*/ 121079587 h 325"/>
                  <a:gd name="T18" fmla="*/ 85645069 w 289"/>
                  <a:gd name="T19" fmla="*/ 121079587 h 325"/>
                  <a:gd name="T20" fmla="*/ 85645069 w 289"/>
                  <a:gd name="T21" fmla="*/ 121079587 h 325"/>
                  <a:gd name="T22" fmla="*/ 81204592 w 289"/>
                  <a:gd name="T23" fmla="*/ 105865119 h 325"/>
                  <a:gd name="T24" fmla="*/ 57730991 w 289"/>
                  <a:gd name="T25" fmla="*/ 38035772 h 325"/>
                  <a:gd name="T26" fmla="*/ 0 w 289"/>
                  <a:gd name="T27" fmla="*/ 38035772 h 325"/>
                  <a:gd name="T28" fmla="*/ 57096978 w 289"/>
                  <a:gd name="T29" fmla="*/ 206025508 h 325"/>
                  <a:gd name="T30" fmla="*/ 116731600 w 289"/>
                  <a:gd name="T31" fmla="*/ 206025508 h 32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89" h="325">
                    <a:moveTo>
                      <a:pt x="184" y="325"/>
                    </a:moveTo>
                    <a:lnTo>
                      <a:pt x="289" y="0"/>
                    </a:lnTo>
                    <a:lnTo>
                      <a:pt x="197" y="0"/>
                    </a:lnTo>
                    <a:lnTo>
                      <a:pt x="143" y="167"/>
                    </a:lnTo>
                    <a:lnTo>
                      <a:pt x="135" y="191"/>
                    </a:lnTo>
                    <a:lnTo>
                      <a:pt x="128" y="167"/>
                    </a:lnTo>
                    <a:lnTo>
                      <a:pt x="91" y="60"/>
                    </a:lnTo>
                    <a:lnTo>
                      <a:pt x="0" y="60"/>
                    </a:lnTo>
                    <a:lnTo>
                      <a:pt x="90" y="325"/>
                    </a:lnTo>
                    <a:lnTo>
                      <a:pt x="184" y="3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grpSp>
          <p:nvGrpSpPr>
            <p:cNvPr id="5" name="_VTT_logo_102019_02_white_on_black" hidden="1">
              <a:extLst>
                <a:ext uri="{FF2B5EF4-FFF2-40B4-BE49-F238E27FC236}">
                  <a16:creationId xmlns:a16="http://schemas.microsoft.com/office/drawing/2014/main" id="{711AFF5F-76F9-FCCD-D554-B7A692CFB494}"/>
                </a:ext>
              </a:extLst>
            </p:cNvPr>
            <p:cNvGrpSpPr>
              <a:grpSpLocks/>
            </p:cNvGrpSpPr>
            <p:nvPr userDrawn="1"/>
          </p:nvGrpSpPr>
          <p:grpSpPr bwMode="auto">
            <a:xfrm>
              <a:off x="7909204" y="1770762"/>
              <a:ext cx="971550" cy="655638"/>
              <a:chOff x="379933" y="-15999"/>
              <a:chExt cx="971550" cy="655638"/>
            </a:xfrm>
          </p:grpSpPr>
          <p:sp>
            <p:nvSpPr>
              <p:cNvPr id="41" name="Box">
                <a:extLst>
                  <a:ext uri="{FF2B5EF4-FFF2-40B4-BE49-F238E27FC236}">
                    <a16:creationId xmlns:a16="http://schemas.microsoft.com/office/drawing/2014/main" id="{6A4B4457-E7B6-D68C-9E2E-ED2AE67ABB93}"/>
                  </a:ext>
                </a:extLst>
              </p:cNvPr>
              <p:cNvSpPr>
                <a:spLocks noChangeArrowheads="1"/>
              </p:cNvSpPr>
              <p:nvPr userDrawn="1"/>
            </p:nvSpPr>
            <p:spPr bwMode="auto">
              <a:xfrm>
                <a:off x="379933" y="-15999"/>
                <a:ext cx="971550" cy="655638"/>
              </a:xfrm>
              <a:prstGeom prst="rect">
                <a:avLst/>
              </a:prstGeom>
              <a:solidFill>
                <a:srgbClr val="000000"/>
              </a:solidFill>
              <a:ln>
                <a:noFill/>
              </a:ln>
            </p:spPr>
            <p:txBody>
              <a:bodyPr/>
              <a:lstStyle>
                <a:lvl1pPr defTabSz="455613">
                  <a:defRPr b="1">
                    <a:solidFill>
                      <a:schemeClr val="tx1"/>
                    </a:solidFill>
                    <a:latin typeface="Verdana" panose="020B0604030504040204" pitchFamily="34" charset="0"/>
                  </a:defRPr>
                </a:lvl1pPr>
                <a:lvl2pPr marL="742950" indent="-285750" defTabSz="455613">
                  <a:defRPr b="1">
                    <a:solidFill>
                      <a:schemeClr val="tx1"/>
                    </a:solidFill>
                    <a:latin typeface="Verdana" panose="020B0604030504040204" pitchFamily="34" charset="0"/>
                  </a:defRPr>
                </a:lvl2pPr>
                <a:lvl3pPr marL="1143000" indent="-228600" defTabSz="455613">
                  <a:defRPr b="1">
                    <a:solidFill>
                      <a:schemeClr val="tx1"/>
                    </a:solidFill>
                    <a:latin typeface="Verdana" panose="020B0604030504040204" pitchFamily="34" charset="0"/>
                  </a:defRPr>
                </a:lvl3pPr>
                <a:lvl4pPr marL="1600200" indent="-228600" defTabSz="455613">
                  <a:defRPr b="1">
                    <a:solidFill>
                      <a:schemeClr val="tx1"/>
                    </a:solidFill>
                    <a:latin typeface="Verdana" panose="020B0604030504040204" pitchFamily="34" charset="0"/>
                  </a:defRPr>
                </a:lvl4pPr>
                <a:lvl5pPr marL="2057400" indent="-228600" defTabSz="455613">
                  <a:defRPr b="1">
                    <a:solidFill>
                      <a:schemeClr val="tx1"/>
                    </a:solidFill>
                    <a:latin typeface="Verdana" panose="020B0604030504040204" pitchFamily="34" charset="0"/>
                  </a:defRPr>
                </a:lvl5pPr>
                <a:lvl6pPr marL="2514600" indent="-228600" defTabSz="455613" eaLnBrk="0" fontAlgn="base" hangingPunct="0">
                  <a:spcBef>
                    <a:spcPct val="0"/>
                  </a:spcBef>
                  <a:spcAft>
                    <a:spcPct val="0"/>
                  </a:spcAft>
                  <a:defRPr b="1">
                    <a:solidFill>
                      <a:schemeClr val="tx1"/>
                    </a:solidFill>
                    <a:latin typeface="Verdana" panose="020B0604030504040204" pitchFamily="34" charset="0"/>
                  </a:defRPr>
                </a:lvl6pPr>
                <a:lvl7pPr marL="2971800" indent="-228600" defTabSz="455613" eaLnBrk="0" fontAlgn="base" hangingPunct="0">
                  <a:spcBef>
                    <a:spcPct val="0"/>
                  </a:spcBef>
                  <a:spcAft>
                    <a:spcPct val="0"/>
                  </a:spcAft>
                  <a:defRPr b="1">
                    <a:solidFill>
                      <a:schemeClr val="tx1"/>
                    </a:solidFill>
                    <a:latin typeface="Verdana" panose="020B0604030504040204" pitchFamily="34" charset="0"/>
                  </a:defRPr>
                </a:lvl7pPr>
                <a:lvl8pPr marL="3429000" indent="-228600" defTabSz="455613" eaLnBrk="0" fontAlgn="base" hangingPunct="0">
                  <a:spcBef>
                    <a:spcPct val="0"/>
                  </a:spcBef>
                  <a:spcAft>
                    <a:spcPct val="0"/>
                  </a:spcAft>
                  <a:defRPr b="1">
                    <a:solidFill>
                      <a:schemeClr val="tx1"/>
                    </a:solidFill>
                    <a:latin typeface="Verdana" panose="020B0604030504040204" pitchFamily="34" charset="0"/>
                  </a:defRPr>
                </a:lvl8pPr>
                <a:lvl9pPr marL="3886200" indent="-228600" defTabSz="455613" eaLnBrk="0" fontAlgn="base" hangingPunct="0">
                  <a:spcBef>
                    <a:spcPct val="0"/>
                  </a:spcBef>
                  <a:spcAft>
                    <a:spcPct val="0"/>
                  </a:spcAft>
                  <a:defRPr b="1">
                    <a:solidFill>
                      <a:schemeClr val="tx1"/>
                    </a:solidFill>
                    <a:latin typeface="Verdana" panose="020B0604030504040204" pitchFamily="34" charset="0"/>
                  </a:defRPr>
                </a:lvl9pPr>
              </a:lstStyle>
              <a:p>
                <a:pPr eaLnBrk="1" hangingPunct="1">
                  <a:defRPr/>
                </a:pPr>
                <a:endParaRPr lang="en-GB" altLang="de-DE" b="0">
                  <a:solidFill>
                    <a:srgbClr val="000000"/>
                  </a:solidFill>
                  <a:latin typeface="Arial" panose="020B0604020202020204" pitchFamily="34" charset="0"/>
                </a:endParaRPr>
              </a:p>
            </p:txBody>
          </p:sp>
          <p:sp>
            <p:nvSpPr>
              <p:cNvPr id="42" name="T2">
                <a:extLst>
                  <a:ext uri="{FF2B5EF4-FFF2-40B4-BE49-F238E27FC236}">
                    <a16:creationId xmlns:a16="http://schemas.microsoft.com/office/drawing/2014/main" id="{9F836785-021A-7D86-B399-2404C5C24D74}"/>
                  </a:ext>
                </a:extLst>
              </p:cNvPr>
              <p:cNvSpPr>
                <a:spLocks/>
              </p:cNvSpPr>
              <p:nvPr userDrawn="1"/>
            </p:nvSpPr>
            <p:spPr bwMode="auto">
              <a:xfrm>
                <a:off x="1011758" y="168151"/>
                <a:ext cx="176213" cy="258763"/>
              </a:xfrm>
              <a:custGeom>
                <a:avLst/>
                <a:gdLst>
                  <a:gd name="T0" fmla="*/ 98916612 w 222"/>
                  <a:gd name="T1" fmla="*/ 206025508 h 325"/>
                  <a:gd name="T2" fmla="*/ 98916612 w 222"/>
                  <a:gd name="T3" fmla="*/ 49446026 h 325"/>
                  <a:gd name="T4" fmla="*/ 139869466 w 222"/>
                  <a:gd name="T5" fmla="*/ 49446026 h 325"/>
                  <a:gd name="T6" fmla="*/ 139869466 w 222"/>
                  <a:gd name="T7" fmla="*/ 0 h 325"/>
                  <a:gd name="T8" fmla="*/ 0 w 222"/>
                  <a:gd name="T9" fmla="*/ 0 h 325"/>
                  <a:gd name="T10" fmla="*/ 0 w 222"/>
                  <a:gd name="T11" fmla="*/ 49446026 h 325"/>
                  <a:gd name="T12" fmla="*/ 41583093 w 222"/>
                  <a:gd name="T13" fmla="*/ 49446026 h 325"/>
                  <a:gd name="T14" fmla="*/ 41583093 w 222"/>
                  <a:gd name="T15" fmla="*/ 206025508 h 325"/>
                  <a:gd name="T16" fmla="*/ 41583093 w 222"/>
                  <a:gd name="T17" fmla="*/ 206025508 h 325"/>
                  <a:gd name="T18" fmla="*/ 98916612 w 222"/>
                  <a:gd name="T19" fmla="*/ 206025508 h 3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22" h="325">
                    <a:moveTo>
                      <a:pt x="157" y="325"/>
                    </a:moveTo>
                    <a:lnTo>
                      <a:pt x="157" y="78"/>
                    </a:lnTo>
                    <a:lnTo>
                      <a:pt x="222" y="78"/>
                    </a:lnTo>
                    <a:lnTo>
                      <a:pt x="222" y="0"/>
                    </a:lnTo>
                    <a:lnTo>
                      <a:pt x="0" y="0"/>
                    </a:lnTo>
                    <a:lnTo>
                      <a:pt x="0" y="78"/>
                    </a:lnTo>
                    <a:lnTo>
                      <a:pt x="66" y="78"/>
                    </a:lnTo>
                    <a:lnTo>
                      <a:pt x="66" y="325"/>
                    </a:lnTo>
                    <a:lnTo>
                      <a:pt x="157" y="3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43" name="T1">
                <a:extLst>
                  <a:ext uri="{FF2B5EF4-FFF2-40B4-BE49-F238E27FC236}">
                    <a16:creationId xmlns:a16="http://schemas.microsoft.com/office/drawing/2014/main" id="{1827BE75-C880-8B4F-EBCE-6CCA644CECCF}"/>
                  </a:ext>
                </a:extLst>
              </p:cNvPr>
              <p:cNvSpPr>
                <a:spLocks/>
              </p:cNvSpPr>
              <p:nvPr userDrawn="1"/>
            </p:nvSpPr>
            <p:spPr bwMode="auto">
              <a:xfrm>
                <a:off x="799033" y="168151"/>
                <a:ext cx="193675" cy="258763"/>
              </a:xfrm>
              <a:custGeom>
                <a:avLst/>
                <a:gdLst>
                  <a:gd name="T0" fmla="*/ 55443438 w 244"/>
                  <a:gd name="T1" fmla="*/ 49446026 h 325"/>
                  <a:gd name="T2" fmla="*/ 55443438 w 244"/>
                  <a:gd name="T3" fmla="*/ 206025508 h 325"/>
                  <a:gd name="T4" fmla="*/ 112776794 w 244"/>
                  <a:gd name="T5" fmla="*/ 206025508 h 325"/>
                  <a:gd name="T6" fmla="*/ 112776794 w 244"/>
                  <a:gd name="T7" fmla="*/ 49446026 h 325"/>
                  <a:gd name="T8" fmla="*/ 153729531 w 244"/>
                  <a:gd name="T9" fmla="*/ 49446026 h 325"/>
                  <a:gd name="T10" fmla="*/ 153729531 w 244"/>
                  <a:gd name="T11" fmla="*/ 0 h 325"/>
                  <a:gd name="T12" fmla="*/ 15751175 w 244"/>
                  <a:gd name="T13" fmla="*/ 0 h 325"/>
                  <a:gd name="T14" fmla="*/ 0 w 244"/>
                  <a:gd name="T15" fmla="*/ 49446026 h 325"/>
                  <a:gd name="T16" fmla="*/ 55443438 w 244"/>
                  <a:gd name="T17" fmla="*/ 49446026 h 3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44" h="325">
                    <a:moveTo>
                      <a:pt x="88" y="78"/>
                    </a:moveTo>
                    <a:lnTo>
                      <a:pt x="88" y="325"/>
                    </a:lnTo>
                    <a:lnTo>
                      <a:pt x="179" y="325"/>
                    </a:lnTo>
                    <a:lnTo>
                      <a:pt x="179" y="78"/>
                    </a:lnTo>
                    <a:lnTo>
                      <a:pt x="244" y="78"/>
                    </a:lnTo>
                    <a:lnTo>
                      <a:pt x="244" y="0"/>
                    </a:lnTo>
                    <a:lnTo>
                      <a:pt x="25" y="0"/>
                    </a:lnTo>
                    <a:lnTo>
                      <a:pt x="0" y="78"/>
                    </a:lnTo>
                    <a:lnTo>
                      <a:pt x="88"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44" name="V">
                <a:extLst>
                  <a:ext uri="{FF2B5EF4-FFF2-40B4-BE49-F238E27FC236}">
                    <a16:creationId xmlns:a16="http://schemas.microsoft.com/office/drawing/2014/main" id="{ED5062F8-2551-1C52-5268-D08CE989F193}"/>
                  </a:ext>
                </a:extLst>
              </p:cNvPr>
              <p:cNvSpPr>
                <a:spLocks/>
              </p:cNvSpPr>
              <p:nvPr userDrawn="1"/>
            </p:nvSpPr>
            <p:spPr bwMode="auto">
              <a:xfrm>
                <a:off x="567258" y="168151"/>
                <a:ext cx="230188" cy="258763"/>
              </a:xfrm>
              <a:custGeom>
                <a:avLst/>
                <a:gdLst>
                  <a:gd name="T0" fmla="*/ 116731600 w 289"/>
                  <a:gd name="T1" fmla="*/ 206025508 h 325"/>
                  <a:gd name="T2" fmla="*/ 183344344 w 289"/>
                  <a:gd name="T3" fmla="*/ 0 h 325"/>
                  <a:gd name="T4" fmla="*/ 124978544 w 289"/>
                  <a:gd name="T5" fmla="*/ 0 h 325"/>
                  <a:gd name="T6" fmla="*/ 90720356 w 289"/>
                  <a:gd name="T7" fmla="*/ 105865119 h 325"/>
                  <a:gd name="T8" fmla="*/ 85645069 w 289"/>
                  <a:gd name="T9" fmla="*/ 121079587 h 325"/>
                  <a:gd name="T10" fmla="*/ 85645069 w 289"/>
                  <a:gd name="T11" fmla="*/ 121079587 h 325"/>
                  <a:gd name="T12" fmla="*/ 85645069 w 289"/>
                  <a:gd name="T13" fmla="*/ 121079587 h 325"/>
                  <a:gd name="T14" fmla="*/ 85645069 w 289"/>
                  <a:gd name="T15" fmla="*/ 121079587 h 325"/>
                  <a:gd name="T16" fmla="*/ 85645069 w 289"/>
                  <a:gd name="T17" fmla="*/ 121079587 h 325"/>
                  <a:gd name="T18" fmla="*/ 85645069 w 289"/>
                  <a:gd name="T19" fmla="*/ 121079587 h 325"/>
                  <a:gd name="T20" fmla="*/ 85645069 w 289"/>
                  <a:gd name="T21" fmla="*/ 121079587 h 325"/>
                  <a:gd name="T22" fmla="*/ 81204592 w 289"/>
                  <a:gd name="T23" fmla="*/ 105865119 h 325"/>
                  <a:gd name="T24" fmla="*/ 57730991 w 289"/>
                  <a:gd name="T25" fmla="*/ 38035772 h 325"/>
                  <a:gd name="T26" fmla="*/ 0 w 289"/>
                  <a:gd name="T27" fmla="*/ 38035772 h 325"/>
                  <a:gd name="T28" fmla="*/ 57096978 w 289"/>
                  <a:gd name="T29" fmla="*/ 206025508 h 325"/>
                  <a:gd name="T30" fmla="*/ 116731600 w 289"/>
                  <a:gd name="T31" fmla="*/ 206025508 h 32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89" h="325">
                    <a:moveTo>
                      <a:pt x="184" y="325"/>
                    </a:moveTo>
                    <a:lnTo>
                      <a:pt x="289" y="0"/>
                    </a:lnTo>
                    <a:lnTo>
                      <a:pt x="197" y="0"/>
                    </a:lnTo>
                    <a:lnTo>
                      <a:pt x="143" y="167"/>
                    </a:lnTo>
                    <a:lnTo>
                      <a:pt x="135" y="191"/>
                    </a:lnTo>
                    <a:lnTo>
                      <a:pt x="128" y="167"/>
                    </a:lnTo>
                    <a:lnTo>
                      <a:pt x="91" y="60"/>
                    </a:lnTo>
                    <a:lnTo>
                      <a:pt x="0" y="60"/>
                    </a:lnTo>
                    <a:lnTo>
                      <a:pt x="90" y="325"/>
                    </a:lnTo>
                    <a:lnTo>
                      <a:pt x="184" y="3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grpSp>
          <p:nvGrpSpPr>
            <p:cNvPr id="6" name="_VTT_logo_102019_03_white_on_blue" hidden="1">
              <a:extLst>
                <a:ext uri="{FF2B5EF4-FFF2-40B4-BE49-F238E27FC236}">
                  <a16:creationId xmlns:a16="http://schemas.microsoft.com/office/drawing/2014/main" id="{092E5864-F5E0-FDA0-1445-08C8F15D0E5C}"/>
                </a:ext>
              </a:extLst>
            </p:cNvPr>
            <p:cNvGrpSpPr>
              <a:grpSpLocks/>
            </p:cNvGrpSpPr>
            <p:nvPr userDrawn="1"/>
          </p:nvGrpSpPr>
          <p:grpSpPr bwMode="auto">
            <a:xfrm>
              <a:off x="7909204" y="1770762"/>
              <a:ext cx="971550" cy="655638"/>
              <a:chOff x="379933" y="-15999"/>
              <a:chExt cx="971550" cy="655638"/>
            </a:xfrm>
          </p:grpSpPr>
          <p:sp>
            <p:nvSpPr>
              <p:cNvPr id="37" name="Box">
                <a:extLst>
                  <a:ext uri="{FF2B5EF4-FFF2-40B4-BE49-F238E27FC236}">
                    <a16:creationId xmlns:a16="http://schemas.microsoft.com/office/drawing/2014/main" id="{F7228F68-851C-3821-EE05-CE3D094E10AC}"/>
                  </a:ext>
                </a:extLst>
              </p:cNvPr>
              <p:cNvSpPr>
                <a:spLocks noChangeArrowheads="1"/>
              </p:cNvSpPr>
              <p:nvPr userDrawn="1"/>
            </p:nvSpPr>
            <p:spPr bwMode="auto">
              <a:xfrm>
                <a:off x="379933" y="-15999"/>
                <a:ext cx="971550" cy="655638"/>
              </a:xfrm>
              <a:prstGeom prst="rect">
                <a:avLst/>
              </a:prstGeom>
              <a:solidFill>
                <a:srgbClr val="005794"/>
              </a:solidFill>
              <a:ln>
                <a:noFill/>
              </a:ln>
            </p:spPr>
            <p:txBody>
              <a:bodyPr/>
              <a:lstStyle>
                <a:lvl1pPr defTabSz="455613">
                  <a:defRPr b="1">
                    <a:solidFill>
                      <a:schemeClr val="tx1"/>
                    </a:solidFill>
                    <a:latin typeface="Verdana" panose="020B0604030504040204" pitchFamily="34" charset="0"/>
                  </a:defRPr>
                </a:lvl1pPr>
                <a:lvl2pPr marL="742950" indent="-285750" defTabSz="455613">
                  <a:defRPr b="1">
                    <a:solidFill>
                      <a:schemeClr val="tx1"/>
                    </a:solidFill>
                    <a:latin typeface="Verdana" panose="020B0604030504040204" pitchFamily="34" charset="0"/>
                  </a:defRPr>
                </a:lvl2pPr>
                <a:lvl3pPr marL="1143000" indent="-228600" defTabSz="455613">
                  <a:defRPr b="1">
                    <a:solidFill>
                      <a:schemeClr val="tx1"/>
                    </a:solidFill>
                    <a:latin typeface="Verdana" panose="020B0604030504040204" pitchFamily="34" charset="0"/>
                  </a:defRPr>
                </a:lvl3pPr>
                <a:lvl4pPr marL="1600200" indent="-228600" defTabSz="455613">
                  <a:defRPr b="1">
                    <a:solidFill>
                      <a:schemeClr val="tx1"/>
                    </a:solidFill>
                    <a:latin typeface="Verdana" panose="020B0604030504040204" pitchFamily="34" charset="0"/>
                  </a:defRPr>
                </a:lvl4pPr>
                <a:lvl5pPr marL="2057400" indent="-228600" defTabSz="455613">
                  <a:defRPr b="1">
                    <a:solidFill>
                      <a:schemeClr val="tx1"/>
                    </a:solidFill>
                    <a:latin typeface="Verdana" panose="020B0604030504040204" pitchFamily="34" charset="0"/>
                  </a:defRPr>
                </a:lvl5pPr>
                <a:lvl6pPr marL="2514600" indent="-228600" defTabSz="455613" eaLnBrk="0" fontAlgn="base" hangingPunct="0">
                  <a:spcBef>
                    <a:spcPct val="0"/>
                  </a:spcBef>
                  <a:spcAft>
                    <a:spcPct val="0"/>
                  </a:spcAft>
                  <a:defRPr b="1">
                    <a:solidFill>
                      <a:schemeClr val="tx1"/>
                    </a:solidFill>
                    <a:latin typeface="Verdana" panose="020B0604030504040204" pitchFamily="34" charset="0"/>
                  </a:defRPr>
                </a:lvl6pPr>
                <a:lvl7pPr marL="2971800" indent="-228600" defTabSz="455613" eaLnBrk="0" fontAlgn="base" hangingPunct="0">
                  <a:spcBef>
                    <a:spcPct val="0"/>
                  </a:spcBef>
                  <a:spcAft>
                    <a:spcPct val="0"/>
                  </a:spcAft>
                  <a:defRPr b="1">
                    <a:solidFill>
                      <a:schemeClr val="tx1"/>
                    </a:solidFill>
                    <a:latin typeface="Verdana" panose="020B0604030504040204" pitchFamily="34" charset="0"/>
                  </a:defRPr>
                </a:lvl7pPr>
                <a:lvl8pPr marL="3429000" indent="-228600" defTabSz="455613" eaLnBrk="0" fontAlgn="base" hangingPunct="0">
                  <a:spcBef>
                    <a:spcPct val="0"/>
                  </a:spcBef>
                  <a:spcAft>
                    <a:spcPct val="0"/>
                  </a:spcAft>
                  <a:defRPr b="1">
                    <a:solidFill>
                      <a:schemeClr val="tx1"/>
                    </a:solidFill>
                    <a:latin typeface="Verdana" panose="020B0604030504040204" pitchFamily="34" charset="0"/>
                  </a:defRPr>
                </a:lvl8pPr>
                <a:lvl9pPr marL="3886200" indent="-228600" defTabSz="455613" eaLnBrk="0" fontAlgn="base" hangingPunct="0">
                  <a:spcBef>
                    <a:spcPct val="0"/>
                  </a:spcBef>
                  <a:spcAft>
                    <a:spcPct val="0"/>
                  </a:spcAft>
                  <a:defRPr b="1">
                    <a:solidFill>
                      <a:schemeClr val="tx1"/>
                    </a:solidFill>
                    <a:latin typeface="Verdana" panose="020B0604030504040204" pitchFamily="34" charset="0"/>
                  </a:defRPr>
                </a:lvl9pPr>
              </a:lstStyle>
              <a:p>
                <a:pPr eaLnBrk="1" hangingPunct="1">
                  <a:defRPr/>
                </a:pPr>
                <a:endParaRPr lang="en-GB" altLang="de-DE" b="0">
                  <a:solidFill>
                    <a:srgbClr val="000000"/>
                  </a:solidFill>
                  <a:latin typeface="Arial" panose="020B0604020202020204" pitchFamily="34" charset="0"/>
                </a:endParaRPr>
              </a:p>
            </p:txBody>
          </p:sp>
          <p:sp>
            <p:nvSpPr>
              <p:cNvPr id="38" name="T2">
                <a:extLst>
                  <a:ext uri="{FF2B5EF4-FFF2-40B4-BE49-F238E27FC236}">
                    <a16:creationId xmlns:a16="http://schemas.microsoft.com/office/drawing/2014/main" id="{4962CBEF-597D-DA71-9ACB-7472295F0D0E}"/>
                  </a:ext>
                </a:extLst>
              </p:cNvPr>
              <p:cNvSpPr>
                <a:spLocks/>
              </p:cNvSpPr>
              <p:nvPr userDrawn="1"/>
            </p:nvSpPr>
            <p:spPr bwMode="auto">
              <a:xfrm>
                <a:off x="1011758" y="168151"/>
                <a:ext cx="176213" cy="258763"/>
              </a:xfrm>
              <a:custGeom>
                <a:avLst/>
                <a:gdLst>
                  <a:gd name="T0" fmla="*/ 98916612 w 222"/>
                  <a:gd name="T1" fmla="*/ 206025508 h 325"/>
                  <a:gd name="T2" fmla="*/ 98916612 w 222"/>
                  <a:gd name="T3" fmla="*/ 49446026 h 325"/>
                  <a:gd name="T4" fmla="*/ 139869466 w 222"/>
                  <a:gd name="T5" fmla="*/ 49446026 h 325"/>
                  <a:gd name="T6" fmla="*/ 139869466 w 222"/>
                  <a:gd name="T7" fmla="*/ 0 h 325"/>
                  <a:gd name="T8" fmla="*/ 0 w 222"/>
                  <a:gd name="T9" fmla="*/ 0 h 325"/>
                  <a:gd name="T10" fmla="*/ 0 w 222"/>
                  <a:gd name="T11" fmla="*/ 49446026 h 325"/>
                  <a:gd name="T12" fmla="*/ 41583093 w 222"/>
                  <a:gd name="T13" fmla="*/ 49446026 h 325"/>
                  <a:gd name="T14" fmla="*/ 41583093 w 222"/>
                  <a:gd name="T15" fmla="*/ 206025508 h 325"/>
                  <a:gd name="T16" fmla="*/ 41583093 w 222"/>
                  <a:gd name="T17" fmla="*/ 206025508 h 325"/>
                  <a:gd name="T18" fmla="*/ 98916612 w 222"/>
                  <a:gd name="T19" fmla="*/ 206025508 h 3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22" h="325">
                    <a:moveTo>
                      <a:pt x="157" y="325"/>
                    </a:moveTo>
                    <a:lnTo>
                      <a:pt x="157" y="78"/>
                    </a:lnTo>
                    <a:lnTo>
                      <a:pt x="222" y="78"/>
                    </a:lnTo>
                    <a:lnTo>
                      <a:pt x="222" y="0"/>
                    </a:lnTo>
                    <a:lnTo>
                      <a:pt x="0" y="0"/>
                    </a:lnTo>
                    <a:lnTo>
                      <a:pt x="0" y="78"/>
                    </a:lnTo>
                    <a:lnTo>
                      <a:pt x="66" y="78"/>
                    </a:lnTo>
                    <a:lnTo>
                      <a:pt x="66" y="325"/>
                    </a:lnTo>
                    <a:lnTo>
                      <a:pt x="157" y="3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39" name="T1">
                <a:extLst>
                  <a:ext uri="{FF2B5EF4-FFF2-40B4-BE49-F238E27FC236}">
                    <a16:creationId xmlns:a16="http://schemas.microsoft.com/office/drawing/2014/main" id="{37E83561-9D80-C758-4860-D0A0A647A2AE}"/>
                  </a:ext>
                </a:extLst>
              </p:cNvPr>
              <p:cNvSpPr>
                <a:spLocks/>
              </p:cNvSpPr>
              <p:nvPr userDrawn="1"/>
            </p:nvSpPr>
            <p:spPr bwMode="auto">
              <a:xfrm>
                <a:off x="799033" y="168151"/>
                <a:ext cx="193675" cy="258763"/>
              </a:xfrm>
              <a:custGeom>
                <a:avLst/>
                <a:gdLst>
                  <a:gd name="T0" fmla="*/ 55443438 w 244"/>
                  <a:gd name="T1" fmla="*/ 49446026 h 325"/>
                  <a:gd name="T2" fmla="*/ 55443438 w 244"/>
                  <a:gd name="T3" fmla="*/ 206025508 h 325"/>
                  <a:gd name="T4" fmla="*/ 112776794 w 244"/>
                  <a:gd name="T5" fmla="*/ 206025508 h 325"/>
                  <a:gd name="T6" fmla="*/ 112776794 w 244"/>
                  <a:gd name="T7" fmla="*/ 49446026 h 325"/>
                  <a:gd name="T8" fmla="*/ 153729531 w 244"/>
                  <a:gd name="T9" fmla="*/ 49446026 h 325"/>
                  <a:gd name="T10" fmla="*/ 153729531 w 244"/>
                  <a:gd name="T11" fmla="*/ 0 h 325"/>
                  <a:gd name="T12" fmla="*/ 15751175 w 244"/>
                  <a:gd name="T13" fmla="*/ 0 h 325"/>
                  <a:gd name="T14" fmla="*/ 0 w 244"/>
                  <a:gd name="T15" fmla="*/ 49446026 h 325"/>
                  <a:gd name="T16" fmla="*/ 55443438 w 244"/>
                  <a:gd name="T17" fmla="*/ 49446026 h 3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44" h="325">
                    <a:moveTo>
                      <a:pt x="88" y="78"/>
                    </a:moveTo>
                    <a:lnTo>
                      <a:pt x="88" y="325"/>
                    </a:lnTo>
                    <a:lnTo>
                      <a:pt x="179" y="325"/>
                    </a:lnTo>
                    <a:lnTo>
                      <a:pt x="179" y="78"/>
                    </a:lnTo>
                    <a:lnTo>
                      <a:pt x="244" y="78"/>
                    </a:lnTo>
                    <a:lnTo>
                      <a:pt x="244" y="0"/>
                    </a:lnTo>
                    <a:lnTo>
                      <a:pt x="25" y="0"/>
                    </a:lnTo>
                    <a:lnTo>
                      <a:pt x="0" y="78"/>
                    </a:lnTo>
                    <a:lnTo>
                      <a:pt x="88"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40" name="V">
                <a:extLst>
                  <a:ext uri="{FF2B5EF4-FFF2-40B4-BE49-F238E27FC236}">
                    <a16:creationId xmlns:a16="http://schemas.microsoft.com/office/drawing/2014/main" id="{DC155164-BEDF-AC73-41DC-A5A675FA9B07}"/>
                  </a:ext>
                </a:extLst>
              </p:cNvPr>
              <p:cNvSpPr>
                <a:spLocks/>
              </p:cNvSpPr>
              <p:nvPr userDrawn="1"/>
            </p:nvSpPr>
            <p:spPr bwMode="auto">
              <a:xfrm>
                <a:off x="567258" y="168151"/>
                <a:ext cx="230188" cy="258763"/>
              </a:xfrm>
              <a:custGeom>
                <a:avLst/>
                <a:gdLst>
                  <a:gd name="T0" fmla="*/ 116731600 w 289"/>
                  <a:gd name="T1" fmla="*/ 206025508 h 325"/>
                  <a:gd name="T2" fmla="*/ 183344344 w 289"/>
                  <a:gd name="T3" fmla="*/ 0 h 325"/>
                  <a:gd name="T4" fmla="*/ 124978544 w 289"/>
                  <a:gd name="T5" fmla="*/ 0 h 325"/>
                  <a:gd name="T6" fmla="*/ 90720356 w 289"/>
                  <a:gd name="T7" fmla="*/ 105865119 h 325"/>
                  <a:gd name="T8" fmla="*/ 85645069 w 289"/>
                  <a:gd name="T9" fmla="*/ 121079587 h 325"/>
                  <a:gd name="T10" fmla="*/ 85645069 w 289"/>
                  <a:gd name="T11" fmla="*/ 121079587 h 325"/>
                  <a:gd name="T12" fmla="*/ 85645069 w 289"/>
                  <a:gd name="T13" fmla="*/ 121079587 h 325"/>
                  <a:gd name="T14" fmla="*/ 85645069 w 289"/>
                  <a:gd name="T15" fmla="*/ 121079587 h 325"/>
                  <a:gd name="T16" fmla="*/ 85645069 w 289"/>
                  <a:gd name="T17" fmla="*/ 121079587 h 325"/>
                  <a:gd name="T18" fmla="*/ 85645069 w 289"/>
                  <a:gd name="T19" fmla="*/ 121079587 h 325"/>
                  <a:gd name="T20" fmla="*/ 85645069 w 289"/>
                  <a:gd name="T21" fmla="*/ 121079587 h 325"/>
                  <a:gd name="T22" fmla="*/ 81204592 w 289"/>
                  <a:gd name="T23" fmla="*/ 105865119 h 325"/>
                  <a:gd name="T24" fmla="*/ 57730991 w 289"/>
                  <a:gd name="T25" fmla="*/ 38035772 h 325"/>
                  <a:gd name="T26" fmla="*/ 0 w 289"/>
                  <a:gd name="T27" fmla="*/ 38035772 h 325"/>
                  <a:gd name="T28" fmla="*/ 57096978 w 289"/>
                  <a:gd name="T29" fmla="*/ 206025508 h 325"/>
                  <a:gd name="T30" fmla="*/ 116731600 w 289"/>
                  <a:gd name="T31" fmla="*/ 206025508 h 32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89" h="325">
                    <a:moveTo>
                      <a:pt x="184" y="325"/>
                    </a:moveTo>
                    <a:lnTo>
                      <a:pt x="289" y="0"/>
                    </a:lnTo>
                    <a:lnTo>
                      <a:pt x="197" y="0"/>
                    </a:lnTo>
                    <a:lnTo>
                      <a:pt x="143" y="167"/>
                    </a:lnTo>
                    <a:lnTo>
                      <a:pt x="135" y="191"/>
                    </a:lnTo>
                    <a:lnTo>
                      <a:pt x="128" y="167"/>
                    </a:lnTo>
                    <a:lnTo>
                      <a:pt x="91" y="60"/>
                    </a:lnTo>
                    <a:lnTo>
                      <a:pt x="0" y="60"/>
                    </a:lnTo>
                    <a:lnTo>
                      <a:pt x="90" y="325"/>
                    </a:lnTo>
                    <a:lnTo>
                      <a:pt x="184" y="3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grpSp>
          <p:nvGrpSpPr>
            <p:cNvPr id="7" name="_VTT_logo_102019_04_white_on_dark_grey" hidden="1">
              <a:extLst>
                <a:ext uri="{FF2B5EF4-FFF2-40B4-BE49-F238E27FC236}">
                  <a16:creationId xmlns:a16="http://schemas.microsoft.com/office/drawing/2014/main" id="{A14E1A7B-8B03-C34E-435F-BD7CD0B50F1D}"/>
                </a:ext>
              </a:extLst>
            </p:cNvPr>
            <p:cNvGrpSpPr>
              <a:grpSpLocks/>
            </p:cNvGrpSpPr>
            <p:nvPr userDrawn="1"/>
          </p:nvGrpSpPr>
          <p:grpSpPr bwMode="auto">
            <a:xfrm>
              <a:off x="7909204" y="1770762"/>
              <a:ext cx="971550" cy="655638"/>
              <a:chOff x="379933" y="-15999"/>
              <a:chExt cx="971550" cy="655638"/>
            </a:xfrm>
          </p:grpSpPr>
          <p:sp>
            <p:nvSpPr>
              <p:cNvPr id="33" name="Box">
                <a:extLst>
                  <a:ext uri="{FF2B5EF4-FFF2-40B4-BE49-F238E27FC236}">
                    <a16:creationId xmlns:a16="http://schemas.microsoft.com/office/drawing/2014/main" id="{A96E0EFA-BADB-76C1-3442-14D64EF3DF38}"/>
                  </a:ext>
                </a:extLst>
              </p:cNvPr>
              <p:cNvSpPr>
                <a:spLocks noChangeArrowheads="1"/>
              </p:cNvSpPr>
              <p:nvPr userDrawn="1"/>
            </p:nvSpPr>
            <p:spPr bwMode="auto">
              <a:xfrm>
                <a:off x="379933" y="-15999"/>
                <a:ext cx="971550" cy="655638"/>
              </a:xfrm>
              <a:prstGeom prst="rect">
                <a:avLst/>
              </a:prstGeom>
              <a:solidFill>
                <a:srgbClr val="AFAFAF"/>
              </a:solidFill>
              <a:ln>
                <a:noFill/>
              </a:ln>
            </p:spPr>
            <p:txBody>
              <a:bodyPr/>
              <a:lstStyle>
                <a:lvl1pPr defTabSz="455613">
                  <a:defRPr b="1">
                    <a:solidFill>
                      <a:schemeClr val="tx1"/>
                    </a:solidFill>
                    <a:latin typeface="Verdana" panose="020B0604030504040204" pitchFamily="34" charset="0"/>
                  </a:defRPr>
                </a:lvl1pPr>
                <a:lvl2pPr marL="742950" indent="-285750" defTabSz="455613">
                  <a:defRPr b="1">
                    <a:solidFill>
                      <a:schemeClr val="tx1"/>
                    </a:solidFill>
                    <a:latin typeface="Verdana" panose="020B0604030504040204" pitchFamily="34" charset="0"/>
                  </a:defRPr>
                </a:lvl2pPr>
                <a:lvl3pPr marL="1143000" indent="-228600" defTabSz="455613">
                  <a:defRPr b="1">
                    <a:solidFill>
                      <a:schemeClr val="tx1"/>
                    </a:solidFill>
                    <a:latin typeface="Verdana" panose="020B0604030504040204" pitchFamily="34" charset="0"/>
                  </a:defRPr>
                </a:lvl3pPr>
                <a:lvl4pPr marL="1600200" indent="-228600" defTabSz="455613">
                  <a:defRPr b="1">
                    <a:solidFill>
                      <a:schemeClr val="tx1"/>
                    </a:solidFill>
                    <a:latin typeface="Verdana" panose="020B0604030504040204" pitchFamily="34" charset="0"/>
                  </a:defRPr>
                </a:lvl4pPr>
                <a:lvl5pPr marL="2057400" indent="-228600" defTabSz="455613">
                  <a:defRPr b="1">
                    <a:solidFill>
                      <a:schemeClr val="tx1"/>
                    </a:solidFill>
                    <a:latin typeface="Verdana" panose="020B0604030504040204" pitchFamily="34" charset="0"/>
                  </a:defRPr>
                </a:lvl5pPr>
                <a:lvl6pPr marL="2514600" indent="-228600" defTabSz="455613" eaLnBrk="0" fontAlgn="base" hangingPunct="0">
                  <a:spcBef>
                    <a:spcPct val="0"/>
                  </a:spcBef>
                  <a:spcAft>
                    <a:spcPct val="0"/>
                  </a:spcAft>
                  <a:defRPr b="1">
                    <a:solidFill>
                      <a:schemeClr val="tx1"/>
                    </a:solidFill>
                    <a:latin typeface="Verdana" panose="020B0604030504040204" pitchFamily="34" charset="0"/>
                  </a:defRPr>
                </a:lvl6pPr>
                <a:lvl7pPr marL="2971800" indent="-228600" defTabSz="455613" eaLnBrk="0" fontAlgn="base" hangingPunct="0">
                  <a:spcBef>
                    <a:spcPct val="0"/>
                  </a:spcBef>
                  <a:spcAft>
                    <a:spcPct val="0"/>
                  </a:spcAft>
                  <a:defRPr b="1">
                    <a:solidFill>
                      <a:schemeClr val="tx1"/>
                    </a:solidFill>
                    <a:latin typeface="Verdana" panose="020B0604030504040204" pitchFamily="34" charset="0"/>
                  </a:defRPr>
                </a:lvl7pPr>
                <a:lvl8pPr marL="3429000" indent="-228600" defTabSz="455613" eaLnBrk="0" fontAlgn="base" hangingPunct="0">
                  <a:spcBef>
                    <a:spcPct val="0"/>
                  </a:spcBef>
                  <a:spcAft>
                    <a:spcPct val="0"/>
                  </a:spcAft>
                  <a:defRPr b="1">
                    <a:solidFill>
                      <a:schemeClr val="tx1"/>
                    </a:solidFill>
                    <a:latin typeface="Verdana" panose="020B0604030504040204" pitchFamily="34" charset="0"/>
                  </a:defRPr>
                </a:lvl8pPr>
                <a:lvl9pPr marL="3886200" indent="-228600" defTabSz="455613" eaLnBrk="0" fontAlgn="base" hangingPunct="0">
                  <a:spcBef>
                    <a:spcPct val="0"/>
                  </a:spcBef>
                  <a:spcAft>
                    <a:spcPct val="0"/>
                  </a:spcAft>
                  <a:defRPr b="1">
                    <a:solidFill>
                      <a:schemeClr val="tx1"/>
                    </a:solidFill>
                    <a:latin typeface="Verdana" panose="020B0604030504040204" pitchFamily="34" charset="0"/>
                  </a:defRPr>
                </a:lvl9pPr>
              </a:lstStyle>
              <a:p>
                <a:pPr eaLnBrk="1" hangingPunct="1">
                  <a:defRPr/>
                </a:pPr>
                <a:endParaRPr lang="en-GB" altLang="de-DE" b="0">
                  <a:solidFill>
                    <a:srgbClr val="000000"/>
                  </a:solidFill>
                  <a:latin typeface="Arial" panose="020B0604020202020204" pitchFamily="34" charset="0"/>
                </a:endParaRPr>
              </a:p>
            </p:txBody>
          </p:sp>
          <p:sp>
            <p:nvSpPr>
              <p:cNvPr id="34" name="T2">
                <a:extLst>
                  <a:ext uri="{FF2B5EF4-FFF2-40B4-BE49-F238E27FC236}">
                    <a16:creationId xmlns:a16="http://schemas.microsoft.com/office/drawing/2014/main" id="{60442764-7670-A65B-44A0-871363C30E62}"/>
                  </a:ext>
                </a:extLst>
              </p:cNvPr>
              <p:cNvSpPr>
                <a:spLocks/>
              </p:cNvSpPr>
              <p:nvPr userDrawn="1"/>
            </p:nvSpPr>
            <p:spPr bwMode="auto">
              <a:xfrm>
                <a:off x="1011758" y="168151"/>
                <a:ext cx="176213" cy="258763"/>
              </a:xfrm>
              <a:custGeom>
                <a:avLst/>
                <a:gdLst>
                  <a:gd name="T0" fmla="*/ 98916612 w 222"/>
                  <a:gd name="T1" fmla="*/ 206025508 h 325"/>
                  <a:gd name="T2" fmla="*/ 98916612 w 222"/>
                  <a:gd name="T3" fmla="*/ 49446026 h 325"/>
                  <a:gd name="T4" fmla="*/ 139869466 w 222"/>
                  <a:gd name="T5" fmla="*/ 49446026 h 325"/>
                  <a:gd name="T6" fmla="*/ 139869466 w 222"/>
                  <a:gd name="T7" fmla="*/ 0 h 325"/>
                  <a:gd name="T8" fmla="*/ 0 w 222"/>
                  <a:gd name="T9" fmla="*/ 0 h 325"/>
                  <a:gd name="T10" fmla="*/ 0 w 222"/>
                  <a:gd name="T11" fmla="*/ 49446026 h 325"/>
                  <a:gd name="T12" fmla="*/ 41583093 w 222"/>
                  <a:gd name="T13" fmla="*/ 49446026 h 325"/>
                  <a:gd name="T14" fmla="*/ 41583093 w 222"/>
                  <a:gd name="T15" fmla="*/ 206025508 h 325"/>
                  <a:gd name="T16" fmla="*/ 41583093 w 222"/>
                  <a:gd name="T17" fmla="*/ 206025508 h 325"/>
                  <a:gd name="T18" fmla="*/ 98916612 w 222"/>
                  <a:gd name="T19" fmla="*/ 206025508 h 3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22" h="325">
                    <a:moveTo>
                      <a:pt x="157" y="325"/>
                    </a:moveTo>
                    <a:lnTo>
                      <a:pt x="157" y="78"/>
                    </a:lnTo>
                    <a:lnTo>
                      <a:pt x="222" y="78"/>
                    </a:lnTo>
                    <a:lnTo>
                      <a:pt x="222" y="0"/>
                    </a:lnTo>
                    <a:lnTo>
                      <a:pt x="0" y="0"/>
                    </a:lnTo>
                    <a:lnTo>
                      <a:pt x="0" y="78"/>
                    </a:lnTo>
                    <a:lnTo>
                      <a:pt x="66" y="78"/>
                    </a:lnTo>
                    <a:lnTo>
                      <a:pt x="66" y="325"/>
                    </a:lnTo>
                    <a:lnTo>
                      <a:pt x="157" y="3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35" name="T1">
                <a:extLst>
                  <a:ext uri="{FF2B5EF4-FFF2-40B4-BE49-F238E27FC236}">
                    <a16:creationId xmlns:a16="http://schemas.microsoft.com/office/drawing/2014/main" id="{FABC930E-46A9-5B4A-48DE-A14DCE5D2744}"/>
                  </a:ext>
                </a:extLst>
              </p:cNvPr>
              <p:cNvSpPr>
                <a:spLocks/>
              </p:cNvSpPr>
              <p:nvPr userDrawn="1"/>
            </p:nvSpPr>
            <p:spPr bwMode="auto">
              <a:xfrm>
                <a:off x="799033" y="168151"/>
                <a:ext cx="193675" cy="258763"/>
              </a:xfrm>
              <a:custGeom>
                <a:avLst/>
                <a:gdLst>
                  <a:gd name="T0" fmla="*/ 55443438 w 244"/>
                  <a:gd name="T1" fmla="*/ 49446026 h 325"/>
                  <a:gd name="T2" fmla="*/ 55443438 w 244"/>
                  <a:gd name="T3" fmla="*/ 206025508 h 325"/>
                  <a:gd name="T4" fmla="*/ 112776794 w 244"/>
                  <a:gd name="T5" fmla="*/ 206025508 h 325"/>
                  <a:gd name="T6" fmla="*/ 112776794 w 244"/>
                  <a:gd name="T7" fmla="*/ 49446026 h 325"/>
                  <a:gd name="T8" fmla="*/ 153729531 w 244"/>
                  <a:gd name="T9" fmla="*/ 49446026 h 325"/>
                  <a:gd name="T10" fmla="*/ 153729531 w 244"/>
                  <a:gd name="T11" fmla="*/ 0 h 325"/>
                  <a:gd name="T12" fmla="*/ 15751175 w 244"/>
                  <a:gd name="T13" fmla="*/ 0 h 325"/>
                  <a:gd name="T14" fmla="*/ 0 w 244"/>
                  <a:gd name="T15" fmla="*/ 49446026 h 325"/>
                  <a:gd name="T16" fmla="*/ 55443438 w 244"/>
                  <a:gd name="T17" fmla="*/ 49446026 h 3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44" h="325">
                    <a:moveTo>
                      <a:pt x="88" y="78"/>
                    </a:moveTo>
                    <a:lnTo>
                      <a:pt x="88" y="325"/>
                    </a:lnTo>
                    <a:lnTo>
                      <a:pt x="179" y="325"/>
                    </a:lnTo>
                    <a:lnTo>
                      <a:pt x="179" y="78"/>
                    </a:lnTo>
                    <a:lnTo>
                      <a:pt x="244" y="78"/>
                    </a:lnTo>
                    <a:lnTo>
                      <a:pt x="244" y="0"/>
                    </a:lnTo>
                    <a:lnTo>
                      <a:pt x="25" y="0"/>
                    </a:lnTo>
                    <a:lnTo>
                      <a:pt x="0" y="78"/>
                    </a:lnTo>
                    <a:lnTo>
                      <a:pt x="88"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36" name="V">
                <a:extLst>
                  <a:ext uri="{FF2B5EF4-FFF2-40B4-BE49-F238E27FC236}">
                    <a16:creationId xmlns:a16="http://schemas.microsoft.com/office/drawing/2014/main" id="{78F307D8-BBF9-873D-1004-CD8DD20B8D2B}"/>
                  </a:ext>
                </a:extLst>
              </p:cNvPr>
              <p:cNvSpPr>
                <a:spLocks/>
              </p:cNvSpPr>
              <p:nvPr userDrawn="1"/>
            </p:nvSpPr>
            <p:spPr bwMode="auto">
              <a:xfrm>
                <a:off x="567258" y="168151"/>
                <a:ext cx="230188" cy="258763"/>
              </a:xfrm>
              <a:custGeom>
                <a:avLst/>
                <a:gdLst>
                  <a:gd name="T0" fmla="*/ 116731600 w 289"/>
                  <a:gd name="T1" fmla="*/ 206025508 h 325"/>
                  <a:gd name="T2" fmla="*/ 183344344 w 289"/>
                  <a:gd name="T3" fmla="*/ 0 h 325"/>
                  <a:gd name="T4" fmla="*/ 124978544 w 289"/>
                  <a:gd name="T5" fmla="*/ 0 h 325"/>
                  <a:gd name="T6" fmla="*/ 90720356 w 289"/>
                  <a:gd name="T7" fmla="*/ 105865119 h 325"/>
                  <a:gd name="T8" fmla="*/ 85645069 w 289"/>
                  <a:gd name="T9" fmla="*/ 121079587 h 325"/>
                  <a:gd name="T10" fmla="*/ 85645069 w 289"/>
                  <a:gd name="T11" fmla="*/ 121079587 h 325"/>
                  <a:gd name="T12" fmla="*/ 85645069 w 289"/>
                  <a:gd name="T13" fmla="*/ 121079587 h 325"/>
                  <a:gd name="T14" fmla="*/ 85645069 w 289"/>
                  <a:gd name="T15" fmla="*/ 121079587 h 325"/>
                  <a:gd name="T16" fmla="*/ 85645069 w 289"/>
                  <a:gd name="T17" fmla="*/ 121079587 h 325"/>
                  <a:gd name="T18" fmla="*/ 85645069 w 289"/>
                  <a:gd name="T19" fmla="*/ 121079587 h 325"/>
                  <a:gd name="T20" fmla="*/ 85645069 w 289"/>
                  <a:gd name="T21" fmla="*/ 121079587 h 325"/>
                  <a:gd name="T22" fmla="*/ 81204592 w 289"/>
                  <a:gd name="T23" fmla="*/ 105865119 h 325"/>
                  <a:gd name="T24" fmla="*/ 57730991 w 289"/>
                  <a:gd name="T25" fmla="*/ 38035772 h 325"/>
                  <a:gd name="T26" fmla="*/ 0 w 289"/>
                  <a:gd name="T27" fmla="*/ 38035772 h 325"/>
                  <a:gd name="T28" fmla="*/ 57096978 w 289"/>
                  <a:gd name="T29" fmla="*/ 206025508 h 325"/>
                  <a:gd name="T30" fmla="*/ 116731600 w 289"/>
                  <a:gd name="T31" fmla="*/ 206025508 h 32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89" h="325">
                    <a:moveTo>
                      <a:pt x="184" y="325"/>
                    </a:moveTo>
                    <a:lnTo>
                      <a:pt x="289" y="0"/>
                    </a:lnTo>
                    <a:lnTo>
                      <a:pt x="197" y="0"/>
                    </a:lnTo>
                    <a:lnTo>
                      <a:pt x="143" y="167"/>
                    </a:lnTo>
                    <a:lnTo>
                      <a:pt x="135" y="191"/>
                    </a:lnTo>
                    <a:lnTo>
                      <a:pt x="128" y="167"/>
                    </a:lnTo>
                    <a:lnTo>
                      <a:pt x="91" y="60"/>
                    </a:lnTo>
                    <a:lnTo>
                      <a:pt x="0" y="60"/>
                    </a:lnTo>
                    <a:lnTo>
                      <a:pt x="90" y="325"/>
                    </a:lnTo>
                    <a:lnTo>
                      <a:pt x="184" y="3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grpSp>
          <p:nvGrpSpPr>
            <p:cNvPr id="8" name="_VTT_logo_102019_05_dark_grey_on_white" hidden="1">
              <a:extLst>
                <a:ext uri="{FF2B5EF4-FFF2-40B4-BE49-F238E27FC236}">
                  <a16:creationId xmlns:a16="http://schemas.microsoft.com/office/drawing/2014/main" id="{6B831CA9-69EA-10B2-EC5F-95B23169895B}"/>
                </a:ext>
              </a:extLst>
            </p:cNvPr>
            <p:cNvGrpSpPr>
              <a:grpSpLocks/>
            </p:cNvGrpSpPr>
            <p:nvPr userDrawn="1"/>
          </p:nvGrpSpPr>
          <p:grpSpPr bwMode="auto">
            <a:xfrm>
              <a:off x="7909204" y="1770762"/>
              <a:ext cx="971550" cy="655638"/>
              <a:chOff x="379933" y="-15999"/>
              <a:chExt cx="971550" cy="655638"/>
            </a:xfrm>
          </p:grpSpPr>
          <p:sp>
            <p:nvSpPr>
              <p:cNvPr id="29" name="Box">
                <a:extLst>
                  <a:ext uri="{FF2B5EF4-FFF2-40B4-BE49-F238E27FC236}">
                    <a16:creationId xmlns:a16="http://schemas.microsoft.com/office/drawing/2014/main" id="{F8184AD2-5503-8E7B-ED9F-8323C214FD60}"/>
                  </a:ext>
                </a:extLst>
              </p:cNvPr>
              <p:cNvSpPr>
                <a:spLocks noChangeArrowheads="1"/>
              </p:cNvSpPr>
              <p:nvPr userDrawn="1"/>
            </p:nvSpPr>
            <p:spPr bwMode="auto">
              <a:xfrm>
                <a:off x="379933" y="-15999"/>
                <a:ext cx="971550" cy="655638"/>
              </a:xfrm>
              <a:prstGeom prst="rect">
                <a:avLst/>
              </a:prstGeom>
              <a:solidFill>
                <a:srgbClr val="FFFFFF"/>
              </a:solidFill>
              <a:ln>
                <a:noFill/>
              </a:ln>
            </p:spPr>
            <p:txBody>
              <a:bodyPr/>
              <a:lstStyle>
                <a:lvl1pPr defTabSz="455613">
                  <a:defRPr b="1">
                    <a:solidFill>
                      <a:schemeClr val="tx1"/>
                    </a:solidFill>
                    <a:latin typeface="Verdana" panose="020B0604030504040204" pitchFamily="34" charset="0"/>
                  </a:defRPr>
                </a:lvl1pPr>
                <a:lvl2pPr marL="742950" indent="-285750" defTabSz="455613">
                  <a:defRPr b="1">
                    <a:solidFill>
                      <a:schemeClr val="tx1"/>
                    </a:solidFill>
                    <a:latin typeface="Verdana" panose="020B0604030504040204" pitchFamily="34" charset="0"/>
                  </a:defRPr>
                </a:lvl2pPr>
                <a:lvl3pPr marL="1143000" indent="-228600" defTabSz="455613">
                  <a:defRPr b="1">
                    <a:solidFill>
                      <a:schemeClr val="tx1"/>
                    </a:solidFill>
                    <a:latin typeface="Verdana" panose="020B0604030504040204" pitchFamily="34" charset="0"/>
                  </a:defRPr>
                </a:lvl3pPr>
                <a:lvl4pPr marL="1600200" indent="-228600" defTabSz="455613">
                  <a:defRPr b="1">
                    <a:solidFill>
                      <a:schemeClr val="tx1"/>
                    </a:solidFill>
                    <a:latin typeface="Verdana" panose="020B0604030504040204" pitchFamily="34" charset="0"/>
                  </a:defRPr>
                </a:lvl4pPr>
                <a:lvl5pPr marL="2057400" indent="-228600" defTabSz="455613">
                  <a:defRPr b="1">
                    <a:solidFill>
                      <a:schemeClr val="tx1"/>
                    </a:solidFill>
                    <a:latin typeface="Verdana" panose="020B0604030504040204" pitchFamily="34" charset="0"/>
                  </a:defRPr>
                </a:lvl5pPr>
                <a:lvl6pPr marL="2514600" indent="-228600" defTabSz="455613" eaLnBrk="0" fontAlgn="base" hangingPunct="0">
                  <a:spcBef>
                    <a:spcPct val="0"/>
                  </a:spcBef>
                  <a:spcAft>
                    <a:spcPct val="0"/>
                  </a:spcAft>
                  <a:defRPr b="1">
                    <a:solidFill>
                      <a:schemeClr val="tx1"/>
                    </a:solidFill>
                    <a:latin typeface="Verdana" panose="020B0604030504040204" pitchFamily="34" charset="0"/>
                  </a:defRPr>
                </a:lvl6pPr>
                <a:lvl7pPr marL="2971800" indent="-228600" defTabSz="455613" eaLnBrk="0" fontAlgn="base" hangingPunct="0">
                  <a:spcBef>
                    <a:spcPct val="0"/>
                  </a:spcBef>
                  <a:spcAft>
                    <a:spcPct val="0"/>
                  </a:spcAft>
                  <a:defRPr b="1">
                    <a:solidFill>
                      <a:schemeClr val="tx1"/>
                    </a:solidFill>
                    <a:latin typeface="Verdana" panose="020B0604030504040204" pitchFamily="34" charset="0"/>
                  </a:defRPr>
                </a:lvl7pPr>
                <a:lvl8pPr marL="3429000" indent="-228600" defTabSz="455613" eaLnBrk="0" fontAlgn="base" hangingPunct="0">
                  <a:spcBef>
                    <a:spcPct val="0"/>
                  </a:spcBef>
                  <a:spcAft>
                    <a:spcPct val="0"/>
                  </a:spcAft>
                  <a:defRPr b="1">
                    <a:solidFill>
                      <a:schemeClr val="tx1"/>
                    </a:solidFill>
                    <a:latin typeface="Verdana" panose="020B0604030504040204" pitchFamily="34" charset="0"/>
                  </a:defRPr>
                </a:lvl8pPr>
                <a:lvl9pPr marL="3886200" indent="-228600" defTabSz="455613" eaLnBrk="0" fontAlgn="base" hangingPunct="0">
                  <a:spcBef>
                    <a:spcPct val="0"/>
                  </a:spcBef>
                  <a:spcAft>
                    <a:spcPct val="0"/>
                  </a:spcAft>
                  <a:defRPr b="1">
                    <a:solidFill>
                      <a:schemeClr val="tx1"/>
                    </a:solidFill>
                    <a:latin typeface="Verdana" panose="020B0604030504040204" pitchFamily="34" charset="0"/>
                  </a:defRPr>
                </a:lvl9pPr>
              </a:lstStyle>
              <a:p>
                <a:pPr eaLnBrk="1" hangingPunct="1">
                  <a:defRPr/>
                </a:pPr>
                <a:endParaRPr lang="en-GB" altLang="de-DE" b="0">
                  <a:solidFill>
                    <a:srgbClr val="000000"/>
                  </a:solidFill>
                  <a:latin typeface="Arial" panose="020B0604020202020204" pitchFamily="34" charset="0"/>
                </a:endParaRPr>
              </a:p>
            </p:txBody>
          </p:sp>
          <p:sp>
            <p:nvSpPr>
              <p:cNvPr id="30" name="T2">
                <a:extLst>
                  <a:ext uri="{FF2B5EF4-FFF2-40B4-BE49-F238E27FC236}">
                    <a16:creationId xmlns:a16="http://schemas.microsoft.com/office/drawing/2014/main" id="{19C487D9-216C-1DF1-FFC2-1FB18C2513BD}"/>
                  </a:ext>
                </a:extLst>
              </p:cNvPr>
              <p:cNvSpPr>
                <a:spLocks/>
              </p:cNvSpPr>
              <p:nvPr userDrawn="1"/>
            </p:nvSpPr>
            <p:spPr bwMode="auto">
              <a:xfrm>
                <a:off x="1011758" y="168151"/>
                <a:ext cx="176213" cy="258763"/>
              </a:xfrm>
              <a:custGeom>
                <a:avLst/>
                <a:gdLst>
                  <a:gd name="T0" fmla="*/ 98916612 w 222"/>
                  <a:gd name="T1" fmla="*/ 206025508 h 325"/>
                  <a:gd name="T2" fmla="*/ 98916612 w 222"/>
                  <a:gd name="T3" fmla="*/ 49446026 h 325"/>
                  <a:gd name="T4" fmla="*/ 139869466 w 222"/>
                  <a:gd name="T5" fmla="*/ 49446026 h 325"/>
                  <a:gd name="T6" fmla="*/ 139869466 w 222"/>
                  <a:gd name="T7" fmla="*/ 0 h 325"/>
                  <a:gd name="T8" fmla="*/ 0 w 222"/>
                  <a:gd name="T9" fmla="*/ 0 h 325"/>
                  <a:gd name="T10" fmla="*/ 0 w 222"/>
                  <a:gd name="T11" fmla="*/ 49446026 h 325"/>
                  <a:gd name="T12" fmla="*/ 41583093 w 222"/>
                  <a:gd name="T13" fmla="*/ 49446026 h 325"/>
                  <a:gd name="T14" fmla="*/ 41583093 w 222"/>
                  <a:gd name="T15" fmla="*/ 206025508 h 325"/>
                  <a:gd name="T16" fmla="*/ 41583093 w 222"/>
                  <a:gd name="T17" fmla="*/ 206025508 h 325"/>
                  <a:gd name="T18" fmla="*/ 98916612 w 222"/>
                  <a:gd name="T19" fmla="*/ 206025508 h 3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22" h="325">
                    <a:moveTo>
                      <a:pt x="157" y="325"/>
                    </a:moveTo>
                    <a:lnTo>
                      <a:pt x="157" y="78"/>
                    </a:lnTo>
                    <a:lnTo>
                      <a:pt x="222" y="78"/>
                    </a:lnTo>
                    <a:lnTo>
                      <a:pt x="222" y="0"/>
                    </a:lnTo>
                    <a:lnTo>
                      <a:pt x="0" y="0"/>
                    </a:lnTo>
                    <a:lnTo>
                      <a:pt x="0" y="78"/>
                    </a:lnTo>
                    <a:lnTo>
                      <a:pt x="66" y="78"/>
                    </a:lnTo>
                    <a:lnTo>
                      <a:pt x="66" y="325"/>
                    </a:lnTo>
                    <a:lnTo>
                      <a:pt x="157" y="325"/>
                    </a:lnTo>
                    <a:close/>
                  </a:path>
                </a:pathLst>
              </a:custGeom>
              <a:solidFill>
                <a:srgbClr val="AFAFA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31" name="T1">
                <a:extLst>
                  <a:ext uri="{FF2B5EF4-FFF2-40B4-BE49-F238E27FC236}">
                    <a16:creationId xmlns:a16="http://schemas.microsoft.com/office/drawing/2014/main" id="{80B7DB5F-8A33-EE53-9BF0-FF4D4C3CA726}"/>
                  </a:ext>
                </a:extLst>
              </p:cNvPr>
              <p:cNvSpPr>
                <a:spLocks/>
              </p:cNvSpPr>
              <p:nvPr userDrawn="1"/>
            </p:nvSpPr>
            <p:spPr bwMode="auto">
              <a:xfrm>
                <a:off x="799033" y="168151"/>
                <a:ext cx="193675" cy="258763"/>
              </a:xfrm>
              <a:custGeom>
                <a:avLst/>
                <a:gdLst>
                  <a:gd name="T0" fmla="*/ 55443438 w 244"/>
                  <a:gd name="T1" fmla="*/ 49446026 h 325"/>
                  <a:gd name="T2" fmla="*/ 55443438 w 244"/>
                  <a:gd name="T3" fmla="*/ 206025508 h 325"/>
                  <a:gd name="T4" fmla="*/ 112776794 w 244"/>
                  <a:gd name="T5" fmla="*/ 206025508 h 325"/>
                  <a:gd name="T6" fmla="*/ 112776794 w 244"/>
                  <a:gd name="T7" fmla="*/ 49446026 h 325"/>
                  <a:gd name="T8" fmla="*/ 153729531 w 244"/>
                  <a:gd name="T9" fmla="*/ 49446026 h 325"/>
                  <a:gd name="T10" fmla="*/ 153729531 w 244"/>
                  <a:gd name="T11" fmla="*/ 0 h 325"/>
                  <a:gd name="T12" fmla="*/ 15751175 w 244"/>
                  <a:gd name="T13" fmla="*/ 0 h 325"/>
                  <a:gd name="T14" fmla="*/ 0 w 244"/>
                  <a:gd name="T15" fmla="*/ 49446026 h 325"/>
                  <a:gd name="T16" fmla="*/ 55443438 w 244"/>
                  <a:gd name="T17" fmla="*/ 49446026 h 3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44" h="325">
                    <a:moveTo>
                      <a:pt x="88" y="78"/>
                    </a:moveTo>
                    <a:lnTo>
                      <a:pt x="88" y="325"/>
                    </a:lnTo>
                    <a:lnTo>
                      <a:pt x="179" y="325"/>
                    </a:lnTo>
                    <a:lnTo>
                      <a:pt x="179" y="78"/>
                    </a:lnTo>
                    <a:lnTo>
                      <a:pt x="244" y="78"/>
                    </a:lnTo>
                    <a:lnTo>
                      <a:pt x="244" y="0"/>
                    </a:lnTo>
                    <a:lnTo>
                      <a:pt x="25" y="0"/>
                    </a:lnTo>
                    <a:lnTo>
                      <a:pt x="0" y="78"/>
                    </a:lnTo>
                    <a:lnTo>
                      <a:pt x="88" y="78"/>
                    </a:lnTo>
                    <a:close/>
                  </a:path>
                </a:pathLst>
              </a:custGeom>
              <a:solidFill>
                <a:srgbClr val="AFAFA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32" name="V">
                <a:extLst>
                  <a:ext uri="{FF2B5EF4-FFF2-40B4-BE49-F238E27FC236}">
                    <a16:creationId xmlns:a16="http://schemas.microsoft.com/office/drawing/2014/main" id="{56532856-7CB9-EE8E-0EC0-B35A7AE269D8}"/>
                  </a:ext>
                </a:extLst>
              </p:cNvPr>
              <p:cNvSpPr>
                <a:spLocks/>
              </p:cNvSpPr>
              <p:nvPr userDrawn="1"/>
            </p:nvSpPr>
            <p:spPr bwMode="auto">
              <a:xfrm>
                <a:off x="567258" y="168151"/>
                <a:ext cx="230188" cy="258763"/>
              </a:xfrm>
              <a:custGeom>
                <a:avLst/>
                <a:gdLst>
                  <a:gd name="T0" fmla="*/ 116731600 w 289"/>
                  <a:gd name="T1" fmla="*/ 206025508 h 325"/>
                  <a:gd name="T2" fmla="*/ 183344344 w 289"/>
                  <a:gd name="T3" fmla="*/ 0 h 325"/>
                  <a:gd name="T4" fmla="*/ 124978544 w 289"/>
                  <a:gd name="T5" fmla="*/ 0 h 325"/>
                  <a:gd name="T6" fmla="*/ 90720356 w 289"/>
                  <a:gd name="T7" fmla="*/ 105865119 h 325"/>
                  <a:gd name="T8" fmla="*/ 85645069 w 289"/>
                  <a:gd name="T9" fmla="*/ 121079587 h 325"/>
                  <a:gd name="T10" fmla="*/ 85645069 w 289"/>
                  <a:gd name="T11" fmla="*/ 121079587 h 325"/>
                  <a:gd name="T12" fmla="*/ 85645069 w 289"/>
                  <a:gd name="T13" fmla="*/ 121079587 h 325"/>
                  <a:gd name="T14" fmla="*/ 85645069 w 289"/>
                  <a:gd name="T15" fmla="*/ 121079587 h 325"/>
                  <a:gd name="T16" fmla="*/ 85645069 w 289"/>
                  <a:gd name="T17" fmla="*/ 121079587 h 325"/>
                  <a:gd name="T18" fmla="*/ 85645069 w 289"/>
                  <a:gd name="T19" fmla="*/ 121079587 h 325"/>
                  <a:gd name="T20" fmla="*/ 85645069 w 289"/>
                  <a:gd name="T21" fmla="*/ 121079587 h 325"/>
                  <a:gd name="T22" fmla="*/ 81204592 w 289"/>
                  <a:gd name="T23" fmla="*/ 105865119 h 325"/>
                  <a:gd name="T24" fmla="*/ 57730991 w 289"/>
                  <a:gd name="T25" fmla="*/ 38035772 h 325"/>
                  <a:gd name="T26" fmla="*/ 0 w 289"/>
                  <a:gd name="T27" fmla="*/ 38035772 h 325"/>
                  <a:gd name="T28" fmla="*/ 57096978 w 289"/>
                  <a:gd name="T29" fmla="*/ 206025508 h 325"/>
                  <a:gd name="T30" fmla="*/ 116731600 w 289"/>
                  <a:gd name="T31" fmla="*/ 206025508 h 32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89" h="325">
                    <a:moveTo>
                      <a:pt x="184" y="325"/>
                    </a:moveTo>
                    <a:lnTo>
                      <a:pt x="289" y="0"/>
                    </a:lnTo>
                    <a:lnTo>
                      <a:pt x="197" y="0"/>
                    </a:lnTo>
                    <a:lnTo>
                      <a:pt x="143" y="167"/>
                    </a:lnTo>
                    <a:lnTo>
                      <a:pt x="135" y="191"/>
                    </a:lnTo>
                    <a:lnTo>
                      <a:pt x="128" y="167"/>
                    </a:lnTo>
                    <a:lnTo>
                      <a:pt x="91" y="60"/>
                    </a:lnTo>
                    <a:lnTo>
                      <a:pt x="0" y="60"/>
                    </a:lnTo>
                    <a:lnTo>
                      <a:pt x="90" y="325"/>
                    </a:lnTo>
                    <a:lnTo>
                      <a:pt x="184" y="325"/>
                    </a:lnTo>
                    <a:close/>
                  </a:path>
                </a:pathLst>
              </a:custGeom>
              <a:solidFill>
                <a:srgbClr val="AFAFA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grpSp>
          <p:nvGrpSpPr>
            <p:cNvPr id="9" name="_VTT_logo_102019_06_orange_blue_on_white" hidden="1">
              <a:extLst>
                <a:ext uri="{FF2B5EF4-FFF2-40B4-BE49-F238E27FC236}">
                  <a16:creationId xmlns:a16="http://schemas.microsoft.com/office/drawing/2014/main" id="{D1DD4E5F-C8F5-BC14-7CF0-0D1885B775D3}"/>
                </a:ext>
              </a:extLst>
            </p:cNvPr>
            <p:cNvGrpSpPr>
              <a:grpSpLocks/>
            </p:cNvGrpSpPr>
            <p:nvPr userDrawn="1"/>
          </p:nvGrpSpPr>
          <p:grpSpPr bwMode="auto">
            <a:xfrm>
              <a:off x="7909204" y="1770762"/>
              <a:ext cx="971550" cy="655638"/>
              <a:chOff x="379933" y="-15999"/>
              <a:chExt cx="971550" cy="655638"/>
            </a:xfrm>
          </p:grpSpPr>
          <p:sp>
            <p:nvSpPr>
              <p:cNvPr id="25" name="Box">
                <a:extLst>
                  <a:ext uri="{FF2B5EF4-FFF2-40B4-BE49-F238E27FC236}">
                    <a16:creationId xmlns:a16="http://schemas.microsoft.com/office/drawing/2014/main" id="{7E24C1ED-2B2D-F7D9-BA10-ABD862012174}"/>
                  </a:ext>
                </a:extLst>
              </p:cNvPr>
              <p:cNvSpPr>
                <a:spLocks noChangeArrowheads="1"/>
              </p:cNvSpPr>
              <p:nvPr userDrawn="1"/>
            </p:nvSpPr>
            <p:spPr bwMode="auto">
              <a:xfrm>
                <a:off x="379933" y="-15999"/>
                <a:ext cx="971550" cy="655638"/>
              </a:xfrm>
              <a:prstGeom prst="rect">
                <a:avLst/>
              </a:prstGeom>
              <a:solidFill>
                <a:srgbClr val="FFFFFF"/>
              </a:solidFill>
              <a:ln>
                <a:noFill/>
              </a:ln>
            </p:spPr>
            <p:txBody>
              <a:bodyPr/>
              <a:lstStyle>
                <a:lvl1pPr defTabSz="455613">
                  <a:defRPr b="1">
                    <a:solidFill>
                      <a:schemeClr val="tx1"/>
                    </a:solidFill>
                    <a:latin typeface="Verdana" panose="020B0604030504040204" pitchFamily="34" charset="0"/>
                  </a:defRPr>
                </a:lvl1pPr>
                <a:lvl2pPr marL="742950" indent="-285750" defTabSz="455613">
                  <a:defRPr b="1">
                    <a:solidFill>
                      <a:schemeClr val="tx1"/>
                    </a:solidFill>
                    <a:latin typeface="Verdana" panose="020B0604030504040204" pitchFamily="34" charset="0"/>
                  </a:defRPr>
                </a:lvl2pPr>
                <a:lvl3pPr marL="1143000" indent="-228600" defTabSz="455613">
                  <a:defRPr b="1">
                    <a:solidFill>
                      <a:schemeClr val="tx1"/>
                    </a:solidFill>
                    <a:latin typeface="Verdana" panose="020B0604030504040204" pitchFamily="34" charset="0"/>
                  </a:defRPr>
                </a:lvl3pPr>
                <a:lvl4pPr marL="1600200" indent="-228600" defTabSz="455613">
                  <a:defRPr b="1">
                    <a:solidFill>
                      <a:schemeClr val="tx1"/>
                    </a:solidFill>
                    <a:latin typeface="Verdana" panose="020B0604030504040204" pitchFamily="34" charset="0"/>
                  </a:defRPr>
                </a:lvl4pPr>
                <a:lvl5pPr marL="2057400" indent="-228600" defTabSz="455613">
                  <a:defRPr b="1">
                    <a:solidFill>
                      <a:schemeClr val="tx1"/>
                    </a:solidFill>
                    <a:latin typeface="Verdana" panose="020B0604030504040204" pitchFamily="34" charset="0"/>
                  </a:defRPr>
                </a:lvl5pPr>
                <a:lvl6pPr marL="2514600" indent="-228600" defTabSz="455613" eaLnBrk="0" fontAlgn="base" hangingPunct="0">
                  <a:spcBef>
                    <a:spcPct val="0"/>
                  </a:spcBef>
                  <a:spcAft>
                    <a:spcPct val="0"/>
                  </a:spcAft>
                  <a:defRPr b="1">
                    <a:solidFill>
                      <a:schemeClr val="tx1"/>
                    </a:solidFill>
                    <a:latin typeface="Verdana" panose="020B0604030504040204" pitchFamily="34" charset="0"/>
                  </a:defRPr>
                </a:lvl6pPr>
                <a:lvl7pPr marL="2971800" indent="-228600" defTabSz="455613" eaLnBrk="0" fontAlgn="base" hangingPunct="0">
                  <a:spcBef>
                    <a:spcPct val="0"/>
                  </a:spcBef>
                  <a:spcAft>
                    <a:spcPct val="0"/>
                  </a:spcAft>
                  <a:defRPr b="1">
                    <a:solidFill>
                      <a:schemeClr val="tx1"/>
                    </a:solidFill>
                    <a:latin typeface="Verdana" panose="020B0604030504040204" pitchFamily="34" charset="0"/>
                  </a:defRPr>
                </a:lvl7pPr>
                <a:lvl8pPr marL="3429000" indent="-228600" defTabSz="455613" eaLnBrk="0" fontAlgn="base" hangingPunct="0">
                  <a:spcBef>
                    <a:spcPct val="0"/>
                  </a:spcBef>
                  <a:spcAft>
                    <a:spcPct val="0"/>
                  </a:spcAft>
                  <a:defRPr b="1">
                    <a:solidFill>
                      <a:schemeClr val="tx1"/>
                    </a:solidFill>
                    <a:latin typeface="Verdana" panose="020B0604030504040204" pitchFamily="34" charset="0"/>
                  </a:defRPr>
                </a:lvl8pPr>
                <a:lvl9pPr marL="3886200" indent="-228600" defTabSz="455613" eaLnBrk="0" fontAlgn="base" hangingPunct="0">
                  <a:spcBef>
                    <a:spcPct val="0"/>
                  </a:spcBef>
                  <a:spcAft>
                    <a:spcPct val="0"/>
                  </a:spcAft>
                  <a:defRPr b="1">
                    <a:solidFill>
                      <a:schemeClr val="tx1"/>
                    </a:solidFill>
                    <a:latin typeface="Verdana" panose="020B0604030504040204" pitchFamily="34" charset="0"/>
                  </a:defRPr>
                </a:lvl9pPr>
              </a:lstStyle>
              <a:p>
                <a:pPr eaLnBrk="1" hangingPunct="1">
                  <a:defRPr/>
                </a:pPr>
                <a:endParaRPr lang="en-GB" altLang="de-DE" b="0">
                  <a:solidFill>
                    <a:srgbClr val="000000"/>
                  </a:solidFill>
                  <a:latin typeface="Arial" panose="020B0604020202020204" pitchFamily="34" charset="0"/>
                </a:endParaRPr>
              </a:p>
            </p:txBody>
          </p:sp>
          <p:sp>
            <p:nvSpPr>
              <p:cNvPr id="26" name="T2">
                <a:extLst>
                  <a:ext uri="{FF2B5EF4-FFF2-40B4-BE49-F238E27FC236}">
                    <a16:creationId xmlns:a16="http://schemas.microsoft.com/office/drawing/2014/main" id="{05251424-5573-9AF1-ED70-25987CA71718}"/>
                  </a:ext>
                </a:extLst>
              </p:cNvPr>
              <p:cNvSpPr>
                <a:spLocks/>
              </p:cNvSpPr>
              <p:nvPr userDrawn="1"/>
            </p:nvSpPr>
            <p:spPr bwMode="auto">
              <a:xfrm>
                <a:off x="1011758" y="168151"/>
                <a:ext cx="176213" cy="258763"/>
              </a:xfrm>
              <a:custGeom>
                <a:avLst/>
                <a:gdLst>
                  <a:gd name="T0" fmla="*/ 98916612 w 222"/>
                  <a:gd name="T1" fmla="*/ 206025508 h 325"/>
                  <a:gd name="T2" fmla="*/ 98916612 w 222"/>
                  <a:gd name="T3" fmla="*/ 49446026 h 325"/>
                  <a:gd name="T4" fmla="*/ 139869466 w 222"/>
                  <a:gd name="T5" fmla="*/ 49446026 h 325"/>
                  <a:gd name="T6" fmla="*/ 139869466 w 222"/>
                  <a:gd name="T7" fmla="*/ 0 h 325"/>
                  <a:gd name="T8" fmla="*/ 0 w 222"/>
                  <a:gd name="T9" fmla="*/ 0 h 325"/>
                  <a:gd name="T10" fmla="*/ 0 w 222"/>
                  <a:gd name="T11" fmla="*/ 49446026 h 325"/>
                  <a:gd name="T12" fmla="*/ 41583093 w 222"/>
                  <a:gd name="T13" fmla="*/ 49446026 h 325"/>
                  <a:gd name="T14" fmla="*/ 41583093 w 222"/>
                  <a:gd name="T15" fmla="*/ 206025508 h 325"/>
                  <a:gd name="T16" fmla="*/ 41583093 w 222"/>
                  <a:gd name="T17" fmla="*/ 206025508 h 325"/>
                  <a:gd name="T18" fmla="*/ 98916612 w 222"/>
                  <a:gd name="T19" fmla="*/ 206025508 h 3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22" h="325">
                    <a:moveTo>
                      <a:pt x="157" y="325"/>
                    </a:moveTo>
                    <a:lnTo>
                      <a:pt x="157" y="78"/>
                    </a:lnTo>
                    <a:lnTo>
                      <a:pt x="222" y="78"/>
                    </a:lnTo>
                    <a:lnTo>
                      <a:pt x="222" y="0"/>
                    </a:lnTo>
                    <a:lnTo>
                      <a:pt x="0" y="0"/>
                    </a:lnTo>
                    <a:lnTo>
                      <a:pt x="0" y="78"/>
                    </a:lnTo>
                    <a:lnTo>
                      <a:pt x="66" y="78"/>
                    </a:lnTo>
                    <a:lnTo>
                      <a:pt x="66" y="325"/>
                    </a:lnTo>
                    <a:lnTo>
                      <a:pt x="157" y="325"/>
                    </a:lnTo>
                    <a:close/>
                  </a:path>
                </a:pathLst>
              </a:custGeom>
              <a:solidFill>
                <a:srgbClr val="00579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7" name="T1">
                <a:extLst>
                  <a:ext uri="{FF2B5EF4-FFF2-40B4-BE49-F238E27FC236}">
                    <a16:creationId xmlns:a16="http://schemas.microsoft.com/office/drawing/2014/main" id="{650213BE-39C3-0DC8-D3DA-FAABE49C4114}"/>
                  </a:ext>
                </a:extLst>
              </p:cNvPr>
              <p:cNvSpPr>
                <a:spLocks/>
              </p:cNvSpPr>
              <p:nvPr userDrawn="1"/>
            </p:nvSpPr>
            <p:spPr bwMode="auto">
              <a:xfrm>
                <a:off x="799033" y="168151"/>
                <a:ext cx="193675" cy="258763"/>
              </a:xfrm>
              <a:custGeom>
                <a:avLst/>
                <a:gdLst>
                  <a:gd name="T0" fmla="*/ 55443438 w 244"/>
                  <a:gd name="T1" fmla="*/ 49446026 h 325"/>
                  <a:gd name="T2" fmla="*/ 55443438 w 244"/>
                  <a:gd name="T3" fmla="*/ 206025508 h 325"/>
                  <a:gd name="T4" fmla="*/ 112776794 w 244"/>
                  <a:gd name="T5" fmla="*/ 206025508 h 325"/>
                  <a:gd name="T6" fmla="*/ 112776794 w 244"/>
                  <a:gd name="T7" fmla="*/ 49446026 h 325"/>
                  <a:gd name="T8" fmla="*/ 153729531 w 244"/>
                  <a:gd name="T9" fmla="*/ 49446026 h 325"/>
                  <a:gd name="T10" fmla="*/ 153729531 w 244"/>
                  <a:gd name="T11" fmla="*/ 0 h 325"/>
                  <a:gd name="T12" fmla="*/ 15751175 w 244"/>
                  <a:gd name="T13" fmla="*/ 0 h 325"/>
                  <a:gd name="T14" fmla="*/ 0 w 244"/>
                  <a:gd name="T15" fmla="*/ 49446026 h 325"/>
                  <a:gd name="T16" fmla="*/ 55443438 w 244"/>
                  <a:gd name="T17" fmla="*/ 49446026 h 3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44" h="325">
                    <a:moveTo>
                      <a:pt x="88" y="78"/>
                    </a:moveTo>
                    <a:lnTo>
                      <a:pt x="88" y="325"/>
                    </a:lnTo>
                    <a:lnTo>
                      <a:pt x="179" y="325"/>
                    </a:lnTo>
                    <a:lnTo>
                      <a:pt x="179" y="78"/>
                    </a:lnTo>
                    <a:lnTo>
                      <a:pt x="244" y="78"/>
                    </a:lnTo>
                    <a:lnTo>
                      <a:pt x="244" y="0"/>
                    </a:lnTo>
                    <a:lnTo>
                      <a:pt x="25" y="0"/>
                    </a:lnTo>
                    <a:lnTo>
                      <a:pt x="0" y="78"/>
                    </a:lnTo>
                    <a:lnTo>
                      <a:pt x="88" y="78"/>
                    </a:lnTo>
                    <a:close/>
                  </a:path>
                </a:pathLst>
              </a:custGeom>
              <a:solidFill>
                <a:srgbClr val="00579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8" name="V">
                <a:extLst>
                  <a:ext uri="{FF2B5EF4-FFF2-40B4-BE49-F238E27FC236}">
                    <a16:creationId xmlns:a16="http://schemas.microsoft.com/office/drawing/2014/main" id="{D33D64FE-DA0E-D723-9B2C-90C5EB80B60D}"/>
                  </a:ext>
                </a:extLst>
              </p:cNvPr>
              <p:cNvSpPr>
                <a:spLocks/>
              </p:cNvSpPr>
              <p:nvPr userDrawn="1"/>
            </p:nvSpPr>
            <p:spPr bwMode="auto">
              <a:xfrm>
                <a:off x="567258" y="168151"/>
                <a:ext cx="230188" cy="258763"/>
              </a:xfrm>
              <a:custGeom>
                <a:avLst/>
                <a:gdLst>
                  <a:gd name="T0" fmla="*/ 116731600 w 289"/>
                  <a:gd name="T1" fmla="*/ 206025508 h 325"/>
                  <a:gd name="T2" fmla="*/ 183344344 w 289"/>
                  <a:gd name="T3" fmla="*/ 0 h 325"/>
                  <a:gd name="T4" fmla="*/ 124978544 w 289"/>
                  <a:gd name="T5" fmla="*/ 0 h 325"/>
                  <a:gd name="T6" fmla="*/ 90720356 w 289"/>
                  <a:gd name="T7" fmla="*/ 105865119 h 325"/>
                  <a:gd name="T8" fmla="*/ 85645069 w 289"/>
                  <a:gd name="T9" fmla="*/ 121079587 h 325"/>
                  <a:gd name="T10" fmla="*/ 85645069 w 289"/>
                  <a:gd name="T11" fmla="*/ 121079587 h 325"/>
                  <a:gd name="T12" fmla="*/ 85645069 w 289"/>
                  <a:gd name="T13" fmla="*/ 121079587 h 325"/>
                  <a:gd name="T14" fmla="*/ 85645069 w 289"/>
                  <a:gd name="T15" fmla="*/ 121079587 h 325"/>
                  <a:gd name="T16" fmla="*/ 85645069 w 289"/>
                  <a:gd name="T17" fmla="*/ 121079587 h 325"/>
                  <a:gd name="T18" fmla="*/ 85645069 w 289"/>
                  <a:gd name="T19" fmla="*/ 121079587 h 325"/>
                  <a:gd name="T20" fmla="*/ 85645069 w 289"/>
                  <a:gd name="T21" fmla="*/ 121079587 h 325"/>
                  <a:gd name="T22" fmla="*/ 81204592 w 289"/>
                  <a:gd name="T23" fmla="*/ 105865119 h 325"/>
                  <a:gd name="T24" fmla="*/ 57730991 w 289"/>
                  <a:gd name="T25" fmla="*/ 38035772 h 325"/>
                  <a:gd name="T26" fmla="*/ 0 w 289"/>
                  <a:gd name="T27" fmla="*/ 38035772 h 325"/>
                  <a:gd name="T28" fmla="*/ 57096978 w 289"/>
                  <a:gd name="T29" fmla="*/ 206025508 h 325"/>
                  <a:gd name="T30" fmla="*/ 116731600 w 289"/>
                  <a:gd name="T31" fmla="*/ 206025508 h 32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89" h="325">
                    <a:moveTo>
                      <a:pt x="184" y="325"/>
                    </a:moveTo>
                    <a:lnTo>
                      <a:pt x="289" y="0"/>
                    </a:lnTo>
                    <a:lnTo>
                      <a:pt x="197" y="0"/>
                    </a:lnTo>
                    <a:lnTo>
                      <a:pt x="143" y="167"/>
                    </a:lnTo>
                    <a:lnTo>
                      <a:pt x="135" y="191"/>
                    </a:lnTo>
                    <a:lnTo>
                      <a:pt x="128" y="167"/>
                    </a:lnTo>
                    <a:lnTo>
                      <a:pt x="91" y="60"/>
                    </a:lnTo>
                    <a:lnTo>
                      <a:pt x="0" y="60"/>
                    </a:lnTo>
                    <a:lnTo>
                      <a:pt x="90" y="325"/>
                    </a:lnTo>
                    <a:lnTo>
                      <a:pt x="184" y="325"/>
                    </a:lnTo>
                    <a:close/>
                  </a:path>
                </a:pathLst>
              </a:custGeom>
              <a:solidFill>
                <a:srgbClr val="F06E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grpSp>
          <p:nvGrpSpPr>
            <p:cNvPr id="10" name="_VTT_logo_102019_07_blue_on_white" hidden="1">
              <a:extLst>
                <a:ext uri="{FF2B5EF4-FFF2-40B4-BE49-F238E27FC236}">
                  <a16:creationId xmlns:a16="http://schemas.microsoft.com/office/drawing/2014/main" id="{1D80F237-E898-70E5-DCFE-C609901CB256}"/>
                </a:ext>
              </a:extLst>
            </p:cNvPr>
            <p:cNvGrpSpPr>
              <a:grpSpLocks/>
            </p:cNvGrpSpPr>
            <p:nvPr userDrawn="1"/>
          </p:nvGrpSpPr>
          <p:grpSpPr bwMode="auto">
            <a:xfrm>
              <a:off x="7909204" y="1770762"/>
              <a:ext cx="971550" cy="655638"/>
              <a:chOff x="379933" y="-15999"/>
              <a:chExt cx="971550" cy="655638"/>
            </a:xfrm>
          </p:grpSpPr>
          <p:sp>
            <p:nvSpPr>
              <p:cNvPr id="21" name="Box">
                <a:extLst>
                  <a:ext uri="{FF2B5EF4-FFF2-40B4-BE49-F238E27FC236}">
                    <a16:creationId xmlns:a16="http://schemas.microsoft.com/office/drawing/2014/main" id="{6E77436A-6C9B-BD45-BAB9-6FD56146876F}"/>
                  </a:ext>
                </a:extLst>
              </p:cNvPr>
              <p:cNvSpPr>
                <a:spLocks noChangeArrowheads="1"/>
              </p:cNvSpPr>
              <p:nvPr userDrawn="1"/>
            </p:nvSpPr>
            <p:spPr bwMode="auto">
              <a:xfrm>
                <a:off x="379933" y="-15999"/>
                <a:ext cx="971550" cy="655638"/>
              </a:xfrm>
              <a:prstGeom prst="rect">
                <a:avLst/>
              </a:prstGeom>
              <a:solidFill>
                <a:srgbClr val="FFFFFF"/>
              </a:solidFill>
              <a:ln>
                <a:noFill/>
              </a:ln>
            </p:spPr>
            <p:txBody>
              <a:bodyPr/>
              <a:lstStyle>
                <a:lvl1pPr defTabSz="455613">
                  <a:defRPr b="1">
                    <a:solidFill>
                      <a:schemeClr val="tx1"/>
                    </a:solidFill>
                    <a:latin typeface="Verdana" panose="020B0604030504040204" pitchFamily="34" charset="0"/>
                  </a:defRPr>
                </a:lvl1pPr>
                <a:lvl2pPr marL="742950" indent="-285750" defTabSz="455613">
                  <a:defRPr b="1">
                    <a:solidFill>
                      <a:schemeClr val="tx1"/>
                    </a:solidFill>
                    <a:latin typeface="Verdana" panose="020B0604030504040204" pitchFamily="34" charset="0"/>
                  </a:defRPr>
                </a:lvl2pPr>
                <a:lvl3pPr marL="1143000" indent="-228600" defTabSz="455613">
                  <a:defRPr b="1">
                    <a:solidFill>
                      <a:schemeClr val="tx1"/>
                    </a:solidFill>
                    <a:latin typeface="Verdana" panose="020B0604030504040204" pitchFamily="34" charset="0"/>
                  </a:defRPr>
                </a:lvl3pPr>
                <a:lvl4pPr marL="1600200" indent="-228600" defTabSz="455613">
                  <a:defRPr b="1">
                    <a:solidFill>
                      <a:schemeClr val="tx1"/>
                    </a:solidFill>
                    <a:latin typeface="Verdana" panose="020B0604030504040204" pitchFamily="34" charset="0"/>
                  </a:defRPr>
                </a:lvl4pPr>
                <a:lvl5pPr marL="2057400" indent="-228600" defTabSz="455613">
                  <a:defRPr b="1">
                    <a:solidFill>
                      <a:schemeClr val="tx1"/>
                    </a:solidFill>
                    <a:latin typeface="Verdana" panose="020B0604030504040204" pitchFamily="34" charset="0"/>
                  </a:defRPr>
                </a:lvl5pPr>
                <a:lvl6pPr marL="2514600" indent="-228600" defTabSz="455613" eaLnBrk="0" fontAlgn="base" hangingPunct="0">
                  <a:spcBef>
                    <a:spcPct val="0"/>
                  </a:spcBef>
                  <a:spcAft>
                    <a:spcPct val="0"/>
                  </a:spcAft>
                  <a:defRPr b="1">
                    <a:solidFill>
                      <a:schemeClr val="tx1"/>
                    </a:solidFill>
                    <a:latin typeface="Verdana" panose="020B0604030504040204" pitchFamily="34" charset="0"/>
                  </a:defRPr>
                </a:lvl6pPr>
                <a:lvl7pPr marL="2971800" indent="-228600" defTabSz="455613" eaLnBrk="0" fontAlgn="base" hangingPunct="0">
                  <a:spcBef>
                    <a:spcPct val="0"/>
                  </a:spcBef>
                  <a:spcAft>
                    <a:spcPct val="0"/>
                  </a:spcAft>
                  <a:defRPr b="1">
                    <a:solidFill>
                      <a:schemeClr val="tx1"/>
                    </a:solidFill>
                    <a:latin typeface="Verdana" panose="020B0604030504040204" pitchFamily="34" charset="0"/>
                  </a:defRPr>
                </a:lvl7pPr>
                <a:lvl8pPr marL="3429000" indent="-228600" defTabSz="455613" eaLnBrk="0" fontAlgn="base" hangingPunct="0">
                  <a:spcBef>
                    <a:spcPct val="0"/>
                  </a:spcBef>
                  <a:spcAft>
                    <a:spcPct val="0"/>
                  </a:spcAft>
                  <a:defRPr b="1">
                    <a:solidFill>
                      <a:schemeClr val="tx1"/>
                    </a:solidFill>
                    <a:latin typeface="Verdana" panose="020B0604030504040204" pitchFamily="34" charset="0"/>
                  </a:defRPr>
                </a:lvl8pPr>
                <a:lvl9pPr marL="3886200" indent="-228600" defTabSz="455613" eaLnBrk="0" fontAlgn="base" hangingPunct="0">
                  <a:spcBef>
                    <a:spcPct val="0"/>
                  </a:spcBef>
                  <a:spcAft>
                    <a:spcPct val="0"/>
                  </a:spcAft>
                  <a:defRPr b="1">
                    <a:solidFill>
                      <a:schemeClr val="tx1"/>
                    </a:solidFill>
                    <a:latin typeface="Verdana" panose="020B0604030504040204" pitchFamily="34" charset="0"/>
                  </a:defRPr>
                </a:lvl9pPr>
              </a:lstStyle>
              <a:p>
                <a:pPr eaLnBrk="1" hangingPunct="1">
                  <a:defRPr/>
                </a:pPr>
                <a:endParaRPr lang="en-GB" altLang="de-DE" b="0">
                  <a:solidFill>
                    <a:srgbClr val="000000"/>
                  </a:solidFill>
                  <a:latin typeface="Arial" panose="020B0604020202020204" pitchFamily="34" charset="0"/>
                </a:endParaRPr>
              </a:p>
            </p:txBody>
          </p:sp>
          <p:sp>
            <p:nvSpPr>
              <p:cNvPr id="22" name="T2">
                <a:extLst>
                  <a:ext uri="{FF2B5EF4-FFF2-40B4-BE49-F238E27FC236}">
                    <a16:creationId xmlns:a16="http://schemas.microsoft.com/office/drawing/2014/main" id="{93B9E76F-6A10-0182-FADF-8CB9971C3845}"/>
                  </a:ext>
                </a:extLst>
              </p:cNvPr>
              <p:cNvSpPr>
                <a:spLocks/>
              </p:cNvSpPr>
              <p:nvPr userDrawn="1"/>
            </p:nvSpPr>
            <p:spPr bwMode="auto">
              <a:xfrm>
                <a:off x="1011758" y="168151"/>
                <a:ext cx="176213" cy="258763"/>
              </a:xfrm>
              <a:custGeom>
                <a:avLst/>
                <a:gdLst>
                  <a:gd name="T0" fmla="*/ 98916612 w 222"/>
                  <a:gd name="T1" fmla="*/ 206025508 h 325"/>
                  <a:gd name="T2" fmla="*/ 98916612 w 222"/>
                  <a:gd name="T3" fmla="*/ 49446026 h 325"/>
                  <a:gd name="T4" fmla="*/ 139869466 w 222"/>
                  <a:gd name="T5" fmla="*/ 49446026 h 325"/>
                  <a:gd name="T6" fmla="*/ 139869466 w 222"/>
                  <a:gd name="T7" fmla="*/ 0 h 325"/>
                  <a:gd name="T8" fmla="*/ 0 w 222"/>
                  <a:gd name="T9" fmla="*/ 0 h 325"/>
                  <a:gd name="T10" fmla="*/ 0 w 222"/>
                  <a:gd name="T11" fmla="*/ 49446026 h 325"/>
                  <a:gd name="T12" fmla="*/ 41583093 w 222"/>
                  <a:gd name="T13" fmla="*/ 49446026 h 325"/>
                  <a:gd name="T14" fmla="*/ 41583093 w 222"/>
                  <a:gd name="T15" fmla="*/ 206025508 h 325"/>
                  <a:gd name="T16" fmla="*/ 41583093 w 222"/>
                  <a:gd name="T17" fmla="*/ 206025508 h 325"/>
                  <a:gd name="T18" fmla="*/ 98916612 w 222"/>
                  <a:gd name="T19" fmla="*/ 206025508 h 3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22" h="325">
                    <a:moveTo>
                      <a:pt x="157" y="325"/>
                    </a:moveTo>
                    <a:lnTo>
                      <a:pt x="157" y="78"/>
                    </a:lnTo>
                    <a:lnTo>
                      <a:pt x="222" y="78"/>
                    </a:lnTo>
                    <a:lnTo>
                      <a:pt x="222" y="0"/>
                    </a:lnTo>
                    <a:lnTo>
                      <a:pt x="0" y="0"/>
                    </a:lnTo>
                    <a:lnTo>
                      <a:pt x="0" y="78"/>
                    </a:lnTo>
                    <a:lnTo>
                      <a:pt x="66" y="78"/>
                    </a:lnTo>
                    <a:lnTo>
                      <a:pt x="66" y="325"/>
                    </a:lnTo>
                    <a:lnTo>
                      <a:pt x="157" y="325"/>
                    </a:lnTo>
                    <a:close/>
                  </a:path>
                </a:pathLst>
              </a:custGeom>
              <a:solidFill>
                <a:srgbClr val="00579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3" name="T1">
                <a:extLst>
                  <a:ext uri="{FF2B5EF4-FFF2-40B4-BE49-F238E27FC236}">
                    <a16:creationId xmlns:a16="http://schemas.microsoft.com/office/drawing/2014/main" id="{468C80FB-E7E9-10DD-51AF-4C2CDF5425EF}"/>
                  </a:ext>
                </a:extLst>
              </p:cNvPr>
              <p:cNvSpPr>
                <a:spLocks/>
              </p:cNvSpPr>
              <p:nvPr userDrawn="1"/>
            </p:nvSpPr>
            <p:spPr bwMode="auto">
              <a:xfrm>
                <a:off x="799033" y="168151"/>
                <a:ext cx="193675" cy="258763"/>
              </a:xfrm>
              <a:custGeom>
                <a:avLst/>
                <a:gdLst>
                  <a:gd name="T0" fmla="*/ 55443438 w 244"/>
                  <a:gd name="T1" fmla="*/ 49446026 h 325"/>
                  <a:gd name="T2" fmla="*/ 55443438 w 244"/>
                  <a:gd name="T3" fmla="*/ 206025508 h 325"/>
                  <a:gd name="T4" fmla="*/ 112776794 w 244"/>
                  <a:gd name="T5" fmla="*/ 206025508 h 325"/>
                  <a:gd name="T6" fmla="*/ 112776794 w 244"/>
                  <a:gd name="T7" fmla="*/ 49446026 h 325"/>
                  <a:gd name="T8" fmla="*/ 153729531 w 244"/>
                  <a:gd name="T9" fmla="*/ 49446026 h 325"/>
                  <a:gd name="T10" fmla="*/ 153729531 w 244"/>
                  <a:gd name="T11" fmla="*/ 0 h 325"/>
                  <a:gd name="T12" fmla="*/ 15751175 w 244"/>
                  <a:gd name="T13" fmla="*/ 0 h 325"/>
                  <a:gd name="T14" fmla="*/ 0 w 244"/>
                  <a:gd name="T15" fmla="*/ 49446026 h 325"/>
                  <a:gd name="T16" fmla="*/ 55443438 w 244"/>
                  <a:gd name="T17" fmla="*/ 49446026 h 3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44" h="325">
                    <a:moveTo>
                      <a:pt x="88" y="78"/>
                    </a:moveTo>
                    <a:lnTo>
                      <a:pt x="88" y="325"/>
                    </a:lnTo>
                    <a:lnTo>
                      <a:pt x="179" y="325"/>
                    </a:lnTo>
                    <a:lnTo>
                      <a:pt x="179" y="78"/>
                    </a:lnTo>
                    <a:lnTo>
                      <a:pt x="244" y="78"/>
                    </a:lnTo>
                    <a:lnTo>
                      <a:pt x="244" y="0"/>
                    </a:lnTo>
                    <a:lnTo>
                      <a:pt x="25" y="0"/>
                    </a:lnTo>
                    <a:lnTo>
                      <a:pt x="0" y="78"/>
                    </a:lnTo>
                    <a:lnTo>
                      <a:pt x="88" y="78"/>
                    </a:lnTo>
                    <a:close/>
                  </a:path>
                </a:pathLst>
              </a:custGeom>
              <a:solidFill>
                <a:srgbClr val="00579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 name="V">
                <a:extLst>
                  <a:ext uri="{FF2B5EF4-FFF2-40B4-BE49-F238E27FC236}">
                    <a16:creationId xmlns:a16="http://schemas.microsoft.com/office/drawing/2014/main" id="{C516F394-5E05-C136-F11E-DC030051D481}"/>
                  </a:ext>
                </a:extLst>
              </p:cNvPr>
              <p:cNvSpPr>
                <a:spLocks/>
              </p:cNvSpPr>
              <p:nvPr userDrawn="1"/>
            </p:nvSpPr>
            <p:spPr bwMode="auto">
              <a:xfrm>
                <a:off x="567258" y="168151"/>
                <a:ext cx="230188" cy="258763"/>
              </a:xfrm>
              <a:custGeom>
                <a:avLst/>
                <a:gdLst>
                  <a:gd name="T0" fmla="*/ 116731600 w 289"/>
                  <a:gd name="T1" fmla="*/ 206025508 h 325"/>
                  <a:gd name="T2" fmla="*/ 183344344 w 289"/>
                  <a:gd name="T3" fmla="*/ 0 h 325"/>
                  <a:gd name="T4" fmla="*/ 124978544 w 289"/>
                  <a:gd name="T5" fmla="*/ 0 h 325"/>
                  <a:gd name="T6" fmla="*/ 90720356 w 289"/>
                  <a:gd name="T7" fmla="*/ 105865119 h 325"/>
                  <a:gd name="T8" fmla="*/ 85645069 w 289"/>
                  <a:gd name="T9" fmla="*/ 121079587 h 325"/>
                  <a:gd name="T10" fmla="*/ 85645069 w 289"/>
                  <a:gd name="T11" fmla="*/ 121079587 h 325"/>
                  <a:gd name="T12" fmla="*/ 85645069 w 289"/>
                  <a:gd name="T13" fmla="*/ 121079587 h 325"/>
                  <a:gd name="T14" fmla="*/ 85645069 w 289"/>
                  <a:gd name="T15" fmla="*/ 121079587 h 325"/>
                  <a:gd name="T16" fmla="*/ 85645069 w 289"/>
                  <a:gd name="T17" fmla="*/ 121079587 h 325"/>
                  <a:gd name="T18" fmla="*/ 85645069 w 289"/>
                  <a:gd name="T19" fmla="*/ 121079587 h 325"/>
                  <a:gd name="T20" fmla="*/ 85645069 w 289"/>
                  <a:gd name="T21" fmla="*/ 121079587 h 325"/>
                  <a:gd name="T22" fmla="*/ 81204592 w 289"/>
                  <a:gd name="T23" fmla="*/ 105865119 h 325"/>
                  <a:gd name="T24" fmla="*/ 57730991 w 289"/>
                  <a:gd name="T25" fmla="*/ 38035772 h 325"/>
                  <a:gd name="T26" fmla="*/ 0 w 289"/>
                  <a:gd name="T27" fmla="*/ 38035772 h 325"/>
                  <a:gd name="T28" fmla="*/ 57096978 w 289"/>
                  <a:gd name="T29" fmla="*/ 206025508 h 325"/>
                  <a:gd name="T30" fmla="*/ 116731600 w 289"/>
                  <a:gd name="T31" fmla="*/ 206025508 h 32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89" h="325">
                    <a:moveTo>
                      <a:pt x="184" y="325"/>
                    </a:moveTo>
                    <a:lnTo>
                      <a:pt x="289" y="0"/>
                    </a:lnTo>
                    <a:lnTo>
                      <a:pt x="197" y="0"/>
                    </a:lnTo>
                    <a:lnTo>
                      <a:pt x="143" y="167"/>
                    </a:lnTo>
                    <a:lnTo>
                      <a:pt x="135" y="191"/>
                    </a:lnTo>
                    <a:lnTo>
                      <a:pt x="128" y="167"/>
                    </a:lnTo>
                    <a:lnTo>
                      <a:pt x="91" y="60"/>
                    </a:lnTo>
                    <a:lnTo>
                      <a:pt x="0" y="60"/>
                    </a:lnTo>
                    <a:lnTo>
                      <a:pt x="90" y="325"/>
                    </a:lnTo>
                    <a:lnTo>
                      <a:pt x="184" y="325"/>
                    </a:lnTo>
                    <a:close/>
                  </a:path>
                </a:pathLst>
              </a:custGeom>
              <a:solidFill>
                <a:srgbClr val="00579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grpSp>
          <p:nvGrpSpPr>
            <p:cNvPr id="11" name="_VTT_logo_102019_08_black_on_white" hidden="1">
              <a:extLst>
                <a:ext uri="{FF2B5EF4-FFF2-40B4-BE49-F238E27FC236}">
                  <a16:creationId xmlns:a16="http://schemas.microsoft.com/office/drawing/2014/main" id="{2C50F7A7-61A8-A961-C871-0EF3B987E5B3}"/>
                </a:ext>
              </a:extLst>
            </p:cNvPr>
            <p:cNvGrpSpPr>
              <a:grpSpLocks/>
            </p:cNvGrpSpPr>
            <p:nvPr userDrawn="1"/>
          </p:nvGrpSpPr>
          <p:grpSpPr bwMode="auto">
            <a:xfrm>
              <a:off x="7909204" y="1770762"/>
              <a:ext cx="971550" cy="655638"/>
              <a:chOff x="379933" y="-15999"/>
              <a:chExt cx="971550" cy="655638"/>
            </a:xfrm>
          </p:grpSpPr>
          <p:sp>
            <p:nvSpPr>
              <p:cNvPr id="17" name="Box">
                <a:extLst>
                  <a:ext uri="{FF2B5EF4-FFF2-40B4-BE49-F238E27FC236}">
                    <a16:creationId xmlns:a16="http://schemas.microsoft.com/office/drawing/2014/main" id="{7446FBAA-56DA-D3AC-415E-96D7B7B6E107}"/>
                  </a:ext>
                </a:extLst>
              </p:cNvPr>
              <p:cNvSpPr>
                <a:spLocks noChangeArrowheads="1"/>
              </p:cNvSpPr>
              <p:nvPr userDrawn="1"/>
            </p:nvSpPr>
            <p:spPr bwMode="auto">
              <a:xfrm>
                <a:off x="379933" y="-15999"/>
                <a:ext cx="971550" cy="655638"/>
              </a:xfrm>
              <a:prstGeom prst="rect">
                <a:avLst/>
              </a:prstGeom>
              <a:solidFill>
                <a:srgbClr val="FFFFFF"/>
              </a:solidFill>
              <a:ln>
                <a:noFill/>
              </a:ln>
            </p:spPr>
            <p:txBody>
              <a:bodyPr/>
              <a:lstStyle>
                <a:lvl1pPr defTabSz="455613">
                  <a:defRPr b="1">
                    <a:solidFill>
                      <a:schemeClr val="tx1"/>
                    </a:solidFill>
                    <a:latin typeface="Verdana" panose="020B0604030504040204" pitchFamily="34" charset="0"/>
                  </a:defRPr>
                </a:lvl1pPr>
                <a:lvl2pPr marL="742950" indent="-285750" defTabSz="455613">
                  <a:defRPr b="1">
                    <a:solidFill>
                      <a:schemeClr val="tx1"/>
                    </a:solidFill>
                    <a:latin typeface="Verdana" panose="020B0604030504040204" pitchFamily="34" charset="0"/>
                  </a:defRPr>
                </a:lvl2pPr>
                <a:lvl3pPr marL="1143000" indent="-228600" defTabSz="455613">
                  <a:defRPr b="1">
                    <a:solidFill>
                      <a:schemeClr val="tx1"/>
                    </a:solidFill>
                    <a:latin typeface="Verdana" panose="020B0604030504040204" pitchFamily="34" charset="0"/>
                  </a:defRPr>
                </a:lvl3pPr>
                <a:lvl4pPr marL="1600200" indent="-228600" defTabSz="455613">
                  <a:defRPr b="1">
                    <a:solidFill>
                      <a:schemeClr val="tx1"/>
                    </a:solidFill>
                    <a:latin typeface="Verdana" panose="020B0604030504040204" pitchFamily="34" charset="0"/>
                  </a:defRPr>
                </a:lvl4pPr>
                <a:lvl5pPr marL="2057400" indent="-228600" defTabSz="455613">
                  <a:defRPr b="1">
                    <a:solidFill>
                      <a:schemeClr val="tx1"/>
                    </a:solidFill>
                    <a:latin typeface="Verdana" panose="020B0604030504040204" pitchFamily="34" charset="0"/>
                  </a:defRPr>
                </a:lvl5pPr>
                <a:lvl6pPr marL="2514600" indent="-228600" defTabSz="455613" eaLnBrk="0" fontAlgn="base" hangingPunct="0">
                  <a:spcBef>
                    <a:spcPct val="0"/>
                  </a:spcBef>
                  <a:spcAft>
                    <a:spcPct val="0"/>
                  </a:spcAft>
                  <a:defRPr b="1">
                    <a:solidFill>
                      <a:schemeClr val="tx1"/>
                    </a:solidFill>
                    <a:latin typeface="Verdana" panose="020B0604030504040204" pitchFamily="34" charset="0"/>
                  </a:defRPr>
                </a:lvl6pPr>
                <a:lvl7pPr marL="2971800" indent="-228600" defTabSz="455613" eaLnBrk="0" fontAlgn="base" hangingPunct="0">
                  <a:spcBef>
                    <a:spcPct val="0"/>
                  </a:spcBef>
                  <a:spcAft>
                    <a:spcPct val="0"/>
                  </a:spcAft>
                  <a:defRPr b="1">
                    <a:solidFill>
                      <a:schemeClr val="tx1"/>
                    </a:solidFill>
                    <a:latin typeface="Verdana" panose="020B0604030504040204" pitchFamily="34" charset="0"/>
                  </a:defRPr>
                </a:lvl7pPr>
                <a:lvl8pPr marL="3429000" indent="-228600" defTabSz="455613" eaLnBrk="0" fontAlgn="base" hangingPunct="0">
                  <a:spcBef>
                    <a:spcPct val="0"/>
                  </a:spcBef>
                  <a:spcAft>
                    <a:spcPct val="0"/>
                  </a:spcAft>
                  <a:defRPr b="1">
                    <a:solidFill>
                      <a:schemeClr val="tx1"/>
                    </a:solidFill>
                    <a:latin typeface="Verdana" panose="020B0604030504040204" pitchFamily="34" charset="0"/>
                  </a:defRPr>
                </a:lvl8pPr>
                <a:lvl9pPr marL="3886200" indent="-228600" defTabSz="455613" eaLnBrk="0" fontAlgn="base" hangingPunct="0">
                  <a:spcBef>
                    <a:spcPct val="0"/>
                  </a:spcBef>
                  <a:spcAft>
                    <a:spcPct val="0"/>
                  </a:spcAft>
                  <a:defRPr b="1">
                    <a:solidFill>
                      <a:schemeClr val="tx1"/>
                    </a:solidFill>
                    <a:latin typeface="Verdana" panose="020B0604030504040204" pitchFamily="34" charset="0"/>
                  </a:defRPr>
                </a:lvl9pPr>
              </a:lstStyle>
              <a:p>
                <a:pPr eaLnBrk="1" hangingPunct="1">
                  <a:defRPr/>
                </a:pPr>
                <a:endParaRPr lang="en-GB" altLang="de-DE" b="0">
                  <a:solidFill>
                    <a:srgbClr val="000000"/>
                  </a:solidFill>
                  <a:latin typeface="Arial" panose="020B0604020202020204" pitchFamily="34" charset="0"/>
                </a:endParaRPr>
              </a:p>
            </p:txBody>
          </p:sp>
          <p:sp>
            <p:nvSpPr>
              <p:cNvPr id="18" name="T2">
                <a:extLst>
                  <a:ext uri="{FF2B5EF4-FFF2-40B4-BE49-F238E27FC236}">
                    <a16:creationId xmlns:a16="http://schemas.microsoft.com/office/drawing/2014/main" id="{B4408ACE-D80A-D187-ECB3-F6E1EB603B18}"/>
                  </a:ext>
                </a:extLst>
              </p:cNvPr>
              <p:cNvSpPr>
                <a:spLocks/>
              </p:cNvSpPr>
              <p:nvPr userDrawn="1"/>
            </p:nvSpPr>
            <p:spPr bwMode="auto">
              <a:xfrm>
                <a:off x="1011758" y="168151"/>
                <a:ext cx="176213" cy="258763"/>
              </a:xfrm>
              <a:custGeom>
                <a:avLst/>
                <a:gdLst>
                  <a:gd name="T0" fmla="*/ 98916612 w 222"/>
                  <a:gd name="T1" fmla="*/ 206025508 h 325"/>
                  <a:gd name="T2" fmla="*/ 98916612 w 222"/>
                  <a:gd name="T3" fmla="*/ 49446026 h 325"/>
                  <a:gd name="T4" fmla="*/ 139869466 w 222"/>
                  <a:gd name="T5" fmla="*/ 49446026 h 325"/>
                  <a:gd name="T6" fmla="*/ 139869466 w 222"/>
                  <a:gd name="T7" fmla="*/ 0 h 325"/>
                  <a:gd name="T8" fmla="*/ 0 w 222"/>
                  <a:gd name="T9" fmla="*/ 0 h 325"/>
                  <a:gd name="T10" fmla="*/ 0 w 222"/>
                  <a:gd name="T11" fmla="*/ 49446026 h 325"/>
                  <a:gd name="T12" fmla="*/ 41583093 w 222"/>
                  <a:gd name="T13" fmla="*/ 49446026 h 325"/>
                  <a:gd name="T14" fmla="*/ 41583093 w 222"/>
                  <a:gd name="T15" fmla="*/ 206025508 h 325"/>
                  <a:gd name="T16" fmla="*/ 41583093 w 222"/>
                  <a:gd name="T17" fmla="*/ 206025508 h 325"/>
                  <a:gd name="T18" fmla="*/ 98916612 w 222"/>
                  <a:gd name="T19" fmla="*/ 206025508 h 3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22" h="325">
                    <a:moveTo>
                      <a:pt x="157" y="325"/>
                    </a:moveTo>
                    <a:lnTo>
                      <a:pt x="157" y="78"/>
                    </a:lnTo>
                    <a:lnTo>
                      <a:pt x="222" y="78"/>
                    </a:lnTo>
                    <a:lnTo>
                      <a:pt x="222" y="0"/>
                    </a:lnTo>
                    <a:lnTo>
                      <a:pt x="0" y="0"/>
                    </a:lnTo>
                    <a:lnTo>
                      <a:pt x="0" y="78"/>
                    </a:lnTo>
                    <a:lnTo>
                      <a:pt x="66" y="78"/>
                    </a:lnTo>
                    <a:lnTo>
                      <a:pt x="66" y="325"/>
                    </a:lnTo>
                    <a:lnTo>
                      <a:pt x="157" y="32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 name="T1">
                <a:extLst>
                  <a:ext uri="{FF2B5EF4-FFF2-40B4-BE49-F238E27FC236}">
                    <a16:creationId xmlns:a16="http://schemas.microsoft.com/office/drawing/2014/main" id="{DAAA5CF2-2F4E-3354-CBFB-4B109E3B6A72}"/>
                  </a:ext>
                </a:extLst>
              </p:cNvPr>
              <p:cNvSpPr>
                <a:spLocks/>
              </p:cNvSpPr>
              <p:nvPr userDrawn="1"/>
            </p:nvSpPr>
            <p:spPr bwMode="auto">
              <a:xfrm>
                <a:off x="799033" y="168151"/>
                <a:ext cx="193675" cy="258763"/>
              </a:xfrm>
              <a:custGeom>
                <a:avLst/>
                <a:gdLst>
                  <a:gd name="T0" fmla="*/ 55443438 w 244"/>
                  <a:gd name="T1" fmla="*/ 49446026 h 325"/>
                  <a:gd name="T2" fmla="*/ 55443438 w 244"/>
                  <a:gd name="T3" fmla="*/ 206025508 h 325"/>
                  <a:gd name="T4" fmla="*/ 112776794 w 244"/>
                  <a:gd name="T5" fmla="*/ 206025508 h 325"/>
                  <a:gd name="T6" fmla="*/ 112776794 w 244"/>
                  <a:gd name="T7" fmla="*/ 49446026 h 325"/>
                  <a:gd name="T8" fmla="*/ 153729531 w 244"/>
                  <a:gd name="T9" fmla="*/ 49446026 h 325"/>
                  <a:gd name="T10" fmla="*/ 153729531 w 244"/>
                  <a:gd name="T11" fmla="*/ 0 h 325"/>
                  <a:gd name="T12" fmla="*/ 15751175 w 244"/>
                  <a:gd name="T13" fmla="*/ 0 h 325"/>
                  <a:gd name="T14" fmla="*/ 0 w 244"/>
                  <a:gd name="T15" fmla="*/ 49446026 h 325"/>
                  <a:gd name="T16" fmla="*/ 55443438 w 244"/>
                  <a:gd name="T17" fmla="*/ 49446026 h 3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44" h="325">
                    <a:moveTo>
                      <a:pt x="88" y="78"/>
                    </a:moveTo>
                    <a:lnTo>
                      <a:pt x="88" y="325"/>
                    </a:lnTo>
                    <a:lnTo>
                      <a:pt x="179" y="325"/>
                    </a:lnTo>
                    <a:lnTo>
                      <a:pt x="179" y="78"/>
                    </a:lnTo>
                    <a:lnTo>
                      <a:pt x="244" y="78"/>
                    </a:lnTo>
                    <a:lnTo>
                      <a:pt x="244" y="0"/>
                    </a:lnTo>
                    <a:lnTo>
                      <a:pt x="25" y="0"/>
                    </a:lnTo>
                    <a:lnTo>
                      <a:pt x="0" y="78"/>
                    </a:lnTo>
                    <a:lnTo>
                      <a:pt x="88" y="7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 name="V">
                <a:extLst>
                  <a:ext uri="{FF2B5EF4-FFF2-40B4-BE49-F238E27FC236}">
                    <a16:creationId xmlns:a16="http://schemas.microsoft.com/office/drawing/2014/main" id="{CC07FFBA-0BEA-0897-EFCF-D9E958D3CD6F}"/>
                  </a:ext>
                </a:extLst>
              </p:cNvPr>
              <p:cNvSpPr>
                <a:spLocks/>
              </p:cNvSpPr>
              <p:nvPr userDrawn="1"/>
            </p:nvSpPr>
            <p:spPr bwMode="auto">
              <a:xfrm>
                <a:off x="567258" y="168151"/>
                <a:ext cx="230188" cy="258763"/>
              </a:xfrm>
              <a:custGeom>
                <a:avLst/>
                <a:gdLst>
                  <a:gd name="T0" fmla="*/ 116731600 w 289"/>
                  <a:gd name="T1" fmla="*/ 206025508 h 325"/>
                  <a:gd name="T2" fmla="*/ 183344344 w 289"/>
                  <a:gd name="T3" fmla="*/ 0 h 325"/>
                  <a:gd name="T4" fmla="*/ 124978544 w 289"/>
                  <a:gd name="T5" fmla="*/ 0 h 325"/>
                  <a:gd name="T6" fmla="*/ 90720356 w 289"/>
                  <a:gd name="T7" fmla="*/ 105865119 h 325"/>
                  <a:gd name="T8" fmla="*/ 85645069 w 289"/>
                  <a:gd name="T9" fmla="*/ 121079587 h 325"/>
                  <a:gd name="T10" fmla="*/ 85645069 w 289"/>
                  <a:gd name="T11" fmla="*/ 121079587 h 325"/>
                  <a:gd name="T12" fmla="*/ 85645069 w 289"/>
                  <a:gd name="T13" fmla="*/ 121079587 h 325"/>
                  <a:gd name="T14" fmla="*/ 85645069 w 289"/>
                  <a:gd name="T15" fmla="*/ 121079587 h 325"/>
                  <a:gd name="T16" fmla="*/ 85645069 w 289"/>
                  <a:gd name="T17" fmla="*/ 121079587 h 325"/>
                  <a:gd name="T18" fmla="*/ 85645069 w 289"/>
                  <a:gd name="T19" fmla="*/ 121079587 h 325"/>
                  <a:gd name="T20" fmla="*/ 85645069 w 289"/>
                  <a:gd name="T21" fmla="*/ 121079587 h 325"/>
                  <a:gd name="T22" fmla="*/ 81204592 w 289"/>
                  <a:gd name="T23" fmla="*/ 105865119 h 325"/>
                  <a:gd name="T24" fmla="*/ 57730991 w 289"/>
                  <a:gd name="T25" fmla="*/ 38035772 h 325"/>
                  <a:gd name="T26" fmla="*/ 0 w 289"/>
                  <a:gd name="T27" fmla="*/ 38035772 h 325"/>
                  <a:gd name="T28" fmla="*/ 57096978 w 289"/>
                  <a:gd name="T29" fmla="*/ 206025508 h 325"/>
                  <a:gd name="T30" fmla="*/ 116731600 w 289"/>
                  <a:gd name="T31" fmla="*/ 206025508 h 32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89" h="325">
                    <a:moveTo>
                      <a:pt x="184" y="325"/>
                    </a:moveTo>
                    <a:lnTo>
                      <a:pt x="289" y="0"/>
                    </a:lnTo>
                    <a:lnTo>
                      <a:pt x="197" y="0"/>
                    </a:lnTo>
                    <a:lnTo>
                      <a:pt x="143" y="167"/>
                    </a:lnTo>
                    <a:lnTo>
                      <a:pt x="135" y="191"/>
                    </a:lnTo>
                    <a:lnTo>
                      <a:pt x="128" y="167"/>
                    </a:lnTo>
                    <a:lnTo>
                      <a:pt x="91" y="60"/>
                    </a:lnTo>
                    <a:lnTo>
                      <a:pt x="0" y="60"/>
                    </a:lnTo>
                    <a:lnTo>
                      <a:pt x="90" y="325"/>
                    </a:lnTo>
                    <a:lnTo>
                      <a:pt x="184" y="32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grpSp>
          <p:nvGrpSpPr>
            <p:cNvPr id="12" name="_VTT_logo_102019_09_orange_on_white" hidden="1">
              <a:extLst>
                <a:ext uri="{FF2B5EF4-FFF2-40B4-BE49-F238E27FC236}">
                  <a16:creationId xmlns:a16="http://schemas.microsoft.com/office/drawing/2014/main" id="{B9749C46-ADB3-5842-1B32-EDE937A9E4DA}"/>
                </a:ext>
              </a:extLst>
            </p:cNvPr>
            <p:cNvGrpSpPr>
              <a:grpSpLocks/>
            </p:cNvGrpSpPr>
            <p:nvPr userDrawn="1"/>
          </p:nvGrpSpPr>
          <p:grpSpPr bwMode="auto">
            <a:xfrm>
              <a:off x="7909204" y="1770762"/>
              <a:ext cx="971550" cy="655638"/>
              <a:chOff x="379933" y="-15999"/>
              <a:chExt cx="971550" cy="655638"/>
            </a:xfrm>
          </p:grpSpPr>
          <p:sp>
            <p:nvSpPr>
              <p:cNvPr id="13" name="Box">
                <a:extLst>
                  <a:ext uri="{FF2B5EF4-FFF2-40B4-BE49-F238E27FC236}">
                    <a16:creationId xmlns:a16="http://schemas.microsoft.com/office/drawing/2014/main" id="{0141AF6F-B5C1-DE91-9263-BD7CF94C593C}"/>
                  </a:ext>
                </a:extLst>
              </p:cNvPr>
              <p:cNvSpPr>
                <a:spLocks noChangeArrowheads="1"/>
              </p:cNvSpPr>
              <p:nvPr userDrawn="1"/>
            </p:nvSpPr>
            <p:spPr bwMode="auto">
              <a:xfrm>
                <a:off x="379933" y="-15999"/>
                <a:ext cx="971550" cy="655638"/>
              </a:xfrm>
              <a:prstGeom prst="rect">
                <a:avLst/>
              </a:prstGeom>
              <a:solidFill>
                <a:srgbClr val="FFFFFF"/>
              </a:solidFill>
              <a:ln>
                <a:noFill/>
              </a:ln>
            </p:spPr>
            <p:txBody>
              <a:bodyPr/>
              <a:lstStyle>
                <a:lvl1pPr defTabSz="455613">
                  <a:defRPr b="1">
                    <a:solidFill>
                      <a:schemeClr val="tx1"/>
                    </a:solidFill>
                    <a:latin typeface="Verdana" panose="020B0604030504040204" pitchFamily="34" charset="0"/>
                  </a:defRPr>
                </a:lvl1pPr>
                <a:lvl2pPr marL="742950" indent="-285750" defTabSz="455613">
                  <a:defRPr b="1">
                    <a:solidFill>
                      <a:schemeClr val="tx1"/>
                    </a:solidFill>
                    <a:latin typeface="Verdana" panose="020B0604030504040204" pitchFamily="34" charset="0"/>
                  </a:defRPr>
                </a:lvl2pPr>
                <a:lvl3pPr marL="1143000" indent="-228600" defTabSz="455613">
                  <a:defRPr b="1">
                    <a:solidFill>
                      <a:schemeClr val="tx1"/>
                    </a:solidFill>
                    <a:latin typeface="Verdana" panose="020B0604030504040204" pitchFamily="34" charset="0"/>
                  </a:defRPr>
                </a:lvl3pPr>
                <a:lvl4pPr marL="1600200" indent="-228600" defTabSz="455613">
                  <a:defRPr b="1">
                    <a:solidFill>
                      <a:schemeClr val="tx1"/>
                    </a:solidFill>
                    <a:latin typeface="Verdana" panose="020B0604030504040204" pitchFamily="34" charset="0"/>
                  </a:defRPr>
                </a:lvl4pPr>
                <a:lvl5pPr marL="2057400" indent="-228600" defTabSz="455613">
                  <a:defRPr b="1">
                    <a:solidFill>
                      <a:schemeClr val="tx1"/>
                    </a:solidFill>
                    <a:latin typeface="Verdana" panose="020B0604030504040204" pitchFamily="34" charset="0"/>
                  </a:defRPr>
                </a:lvl5pPr>
                <a:lvl6pPr marL="2514600" indent="-228600" defTabSz="455613" eaLnBrk="0" fontAlgn="base" hangingPunct="0">
                  <a:spcBef>
                    <a:spcPct val="0"/>
                  </a:spcBef>
                  <a:spcAft>
                    <a:spcPct val="0"/>
                  </a:spcAft>
                  <a:defRPr b="1">
                    <a:solidFill>
                      <a:schemeClr val="tx1"/>
                    </a:solidFill>
                    <a:latin typeface="Verdana" panose="020B0604030504040204" pitchFamily="34" charset="0"/>
                  </a:defRPr>
                </a:lvl6pPr>
                <a:lvl7pPr marL="2971800" indent="-228600" defTabSz="455613" eaLnBrk="0" fontAlgn="base" hangingPunct="0">
                  <a:spcBef>
                    <a:spcPct val="0"/>
                  </a:spcBef>
                  <a:spcAft>
                    <a:spcPct val="0"/>
                  </a:spcAft>
                  <a:defRPr b="1">
                    <a:solidFill>
                      <a:schemeClr val="tx1"/>
                    </a:solidFill>
                    <a:latin typeface="Verdana" panose="020B0604030504040204" pitchFamily="34" charset="0"/>
                  </a:defRPr>
                </a:lvl7pPr>
                <a:lvl8pPr marL="3429000" indent="-228600" defTabSz="455613" eaLnBrk="0" fontAlgn="base" hangingPunct="0">
                  <a:spcBef>
                    <a:spcPct val="0"/>
                  </a:spcBef>
                  <a:spcAft>
                    <a:spcPct val="0"/>
                  </a:spcAft>
                  <a:defRPr b="1">
                    <a:solidFill>
                      <a:schemeClr val="tx1"/>
                    </a:solidFill>
                    <a:latin typeface="Verdana" panose="020B0604030504040204" pitchFamily="34" charset="0"/>
                  </a:defRPr>
                </a:lvl8pPr>
                <a:lvl9pPr marL="3886200" indent="-228600" defTabSz="455613" eaLnBrk="0" fontAlgn="base" hangingPunct="0">
                  <a:spcBef>
                    <a:spcPct val="0"/>
                  </a:spcBef>
                  <a:spcAft>
                    <a:spcPct val="0"/>
                  </a:spcAft>
                  <a:defRPr b="1">
                    <a:solidFill>
                      <a:schemeClr val="tx1"/>
                    </a:solidFill>
                    <a:latin typeface="Verdana" panose="020B0604030504040204" pitchFamily="34" charset="0"/>
                  </a:defRPr>
                </a:lvl9pPr>
              </a:lstStyle>
              <a:p>
                <a:pPr eaLnBrk="1" hangingPunct="1">
                  <a:defRPr/>
                </a:pPr>
                <a:endParaRPr lang="en-GB" altLang="de-DE" b="0">
                  <a:solidFill>
                    <a:srgbClr val="000000"/>
                  </a:solidFill>
                  <a:latin typeface="Arial" panose="020B0604020202020204" pitchFamily="34" charset="0"/>
                </a:endParaRPr>
              </a:p>
            </p:txBody>
          </p:sp>
          <p:sp>
            <p:nvSpPr>
              <p:cNvPr id="14" name="T2">
                <a:extLst>
                  <a:ext uri="{FF2B5EF4-FFF2-40B4-BE49-F238E27FC236}">
                    <a16:creationId xmlns:a16="http://schemas.microsoft.com/office/drawing/2014/main" id="{7DE347AE-BF33-ED20-D127-8AAC9C6DE7CD}"/>
                  </a:ext>
                </a:extLst>
              </p:cNvPr>
              <p:cNvSpPr>
                <a:spLocks/>
              </p:cNvSpPr>
              <p:nvPr userDrawn="1"/>
            </p:nvSpPr>
            <p:spPr bwMode="auto">
              <a:xfrm>
                <a:off x="1011758" y="168151"/>
                <a:ext cx="176213" cy="258763"/>
              </a:xfrm>
              <a:custGeom>
                <a:avLst/>
                <a:gdLst>
                  <a:gd name="T0" fmla="*/ 98916612 w 222"/>
                  <a:gd name="T1" fmla="*/ 206025508 h 325"/>
                  <a:gd name="T2" fmla="*/ 98916612 w 222"/>
                  <a:gd name="T3" fmla="*/ 49446026 h 325"/>
                  <a:gd name="T4" fmla="*/ 139869466 w 222"/>
                  <a:gd name="T5" fmla="*/ 49446026 h 325"/>
                  <a:gd name="T6" fmla="*/ 139869466 w 222"/>
                  <a:gd name="T7" fmla="*/ 0 h 325"/>
                  <a:gd name="T8" fmla="*/ 0 w 222"/>
                  <a:gd name="T9" fmla="*/ 0 h 325"/>
                  <a:gd name="T10" fmla="*/ 0 w 222"/>
                  <a:gd name="T11" fmla="*/ 49446026 h 325"/>
                  <a:gd name="T12" fmla="*/ 41583093 w 222"/>
                  <a:gd name="T13" fmla="*/ 49446026 h 325"/>
                  <a:gd name="T14" fmla="*/ 41583093 w 222"/>
                  <a:gd name="T15" fmla="*/ 206025508 h 325"/>
                  <a:gd name="T16" fmla="*/ 41583093 w 222"/>
                  <a:gd name="T17" fmla="*/ 206025508 h 325"/>
                  <a:gd name="T18" fmla="*/ 98916612 w 222"/>
                  <a:gd name="T19" fmla="*/ 206025508 h 3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22" h="325">
                    <a:moveTo>
                      <a:pt x="157" y="325"/>
                    </a:moveTo>
                    <a:lnTo>
                      <a:pt x="157" y="78"/>
                    </a:lnTo>
                    <a:lnTo>
                      <a:pt x="222" y="78"/>
                    </a:lnTo>
                    <a:lnTo>
                      <a:pt x="222" y="0"/>
                    </a:lnTo>
                    <a:lnTo>
                      <a:pt x="0" y="0"/>
                    </a:lnTo>
                    <a:lnTo>
                      <a:pt x="0" y="78"/>
                    </a:lnTo>
                    <a:lnTo>
                      <a:pt x="66" y="78"/>
                    </a:lnTo>
                    <a:lnTo>
                      <a:pt x="66" y="325"/>
                    </a:lnTo>
                    <a:lnTo>
                      <a:pt x="157" y="325"/>
                    </a:lnTo>
                    <a:close/>
                  </a:path>
                </a:pathLst>
              </a:custGeom>
              <a:solidFill>
                <a:srgbClr val="F06E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5" name="T1">
                <a:extLst>
                  <a:ext uri="{FF2B5EF4-FFF2-40B4-BE49-F238E27FC236}">
                    <a16:creationId xmlns:a16="http://schemas.microsoft.com/office/drawing/2014/main" id="{6CC88471-ADFB-0236-7D68-A75049252FA2}"/>
                  </a:ext>
                </a:extLst>
              </p:cNvPr>
              <p:cNvSpPr>
                <a:spLocks/>
              </p:cNvSpPr>
              <p:nvPr userDrawn="1"/>
            </p:nvSpPr>
            <p:spPr bwMode="auto">
              <a:xfrm>
                <a:off x="799033" y="168151"/>
                <a:ext cx="193675" cy="258763"/>
              </a:xfrm>
              <a:custGeom>
                <a:avLst/>
                <a:gdLst>
                  <a:gd name="T0" fmla="*/ 55443438 w 244"/>
                  <a:gd name="T1" fmla="*/ 49446026 h 325"/>
                  <a:gd name="T2" fmla="*/ 55443438 w 244"/>
                  <a:gd name="T3" fmla="*/ 206025508 h 325"/>
                  <a:gd name="T4" fmla="*/ 112776794 w 244"/>
                  <a:gd name="T5" fmla="*/ 206025508 h 325"/>
                  <a:gd name="T6" fmla="*/ 112776794 w 244"/>
                  <a:gd name="T7" fmla="*/ 49446026 h 325"/>
                  <a:gd name="T8" fmla="*/ 153729531 w 244"/>
                  <a:gd name="T9" fmla="*/ 49446026 h 325"/>
                  <a:gd name="T10" fmla="*/ 153729531 w 244"/>
                  <a:gd name="T11" fmla="*/ 0 h 325"/>
                  <a:gd name="T12" fmla="*/ 15751175 w 244"/>
                  <a:gd name="T13" fmla="*/ 0 h 325"/>
                  <a:gd name="T14" fmla="*/ 0 w 244"/>
                  <a:gd name="T15" fmla="*/ 49446026 h 325"/>
                  <a:gd name="T16" fmla="*/ 55443438 w 244"/>
                  <a:gd name="T17" fmla="*/ 49446026 h 3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44" h="325">
                    <a:moveTo>
                      <a:pt x="88" y="78"/>
                    </a:moveTo>
                    <a:lnTo>
                      <a:pt x="88" y="325"/>
                    </a:lnTo>
                    <a:lnTo>
                      <a:pt x="179" y="325"/>
                    </a:lnTo>
                    <a:lnTo>
                      <a:pt x="179" y="78"/>
                    </a:lnTo>
                    <a:lnTo>
                      <a:pt x="244" y="78"/>
                    </a:lnTo>
                    <a:lnTo>
                      <a:pt x="244" y="0"/>
                    </a:lnTo>
                    <a:lnTo>
                      <a:pt x="25" y="0"/>
                    </a:lnTo>
                    <a:lnTo>
                      <a:pt x="0" y="78"/>
                    </a:lnTo>
                    <a:lnTo>
                      <a:pt x="88" y="78"/>
                    </a:lnTo>
                    <a:close/>
                  </a:path>
                </a:pathLst>
              </a:custGeom>
              <a:solidFill>
                <a:srgbClr val="F06E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6" name="V">
                <a:extLst>
                  <a:ext uri="{FF2B5EF4-FFF2-40B4-BE49-F238E27FC236}">
                    <a16:creationId xmlns:a16="http://schemas.microsoft.com/office/drawing/2014/main" id="{2559AB82-76E7-B7FF-C0DF-DC26A64520DB}"/>
                  </a:ext>
                </a:extLst>
              </p:cNvPr>
              <p:cNvSpPr>
                <a:spLocks/>
              </p:cNvSpPr>
              <p:nvPr userDrawn="1"/>
            </p:nvSpPr>
            <p:spPr bwMode="auto">
              <a:xfrm>
                <a:off x="567258" y="168151"/>
                <a:ext cx="230188" cy="258763"/>
              </a:xfrm>
              <a:custGeom>
                <a:avLst/>
                <a:gdLst>
                  <a:gd name="T0" fmla="*/ 116731600 w 289"/>
                  <a:gd name="T1" fmla="*/ 206025508 h 325"/>
                  <a:gd name="T2" fmla="*/ 183344344 w 289"/>
                  <a:gd name="T3" fmla="*/ 0 h 325"/>
                  <a:gd name="T4" fmla="*/ 124978544 w 289"/>
                  <a:gd name="T5" fmla="*/ 0 h 325"/>
                  <a:gd name="T6" fmla="*/ 90720356 w 289"/>
                  <a:gd name="T7" fmla="*/ 105865119 h 325"/>
                  <a:gd name="T8" fmla="*/ 85645069 w 289"/>
                  <a:gd name="T9" fmla="*/ 121079587 h 325"/>
                  <a:gd name="T10" fmla="*/ 85645069 w 289"/>
                  <a:gd name="T11" fmla="*/ 121079587 h 325"/>
                  <a:gd name="T12" fmla="*/ 85645069 w 289"/>
                  <a:gd name="T13" fmla="*/ 121079587 h 325"/>
                  <a:gd name="T14" fmla="*/ 85645069 w 289"/>
                  <a:gd name="T15" fmla="*/ 121079587 h 325"/>
                  <a:gd name="T16" fmla="*/ 85645069 w 289"/>
                  <a:gd name="T17" fmla="*/ 121079587 h 325"/>
                  <a:gd name="T18" fmla="*/ 85645069 w 289"/>
                  <a:gd name="T19" fmla="*/ 121079587 h 325"/>
                  <a:gd name="T20" fmla="*/ 85645069 w 289"/>
                  <a:gd name="T21" fmla="*/ 121079587 h 325"/>
                  <a:gd name="T22" fmla="*/ 81204592 w 289"/>
                  <a:gd name="T23" fmla="*/ 105865119 h 325"/>
                  <a:gd name="T24" fmla="*/ 57730991 w 289"/>
                  <a:gd name="T25" fmla="*/ 38035772 h 325"/>
                  <a:gd name="T26" fmla="*/ 0 w 289"/>
                  <a:gd name="T27" fmla="*/ 38035772 h 325"/>
                  <a:gd name="T28" fmla="*/ 57096978 w 289"/>
                  <a:gd name="T29" fmla="*/ 206025508 h 325"/>
                  <a:gd name="T30" fmla="*/ 116731600 w 289"/>
                  <a:gd name="T31" fmla="*/ 206025508 h 32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89" h="325">
                    <a:moveTo>
                      <a:pt x="184" y="325"/>
                    </a:moveTo>
                    <a:lnTo>
                      <a:pt x="289" y="0"/>
                    </a:lnTo>
                    <a:lnTo>
                      <a:pt x="197" y="0"/>
                    </a:lnTo>
                    <a:lnTo>
                      <a:pt x="143" y="167"/>
                    </a:lnTo>
                    <a:lnTo>
                      <a:pt x="135" y="191"/>
                    </a:lnTo>
                    <a:lnTo>
                      <a:pt x="128" y="167"/>
                    </a:lnTo>
                    <a:lnTo>
                      <a:pt x="91" y="60"/>
                    </a:lnTo>
                    <a:lnTo>
                      <a:pt x="0" y="60"/>
                    </a:lnTo>
                    <a:lnTo>
                      <a:pt x="90" y="325"/>
                    </a:lnTo>
                    <a:lnTo>
                      <a:pt x="184" y="325"/>
                    </a:lnTo>
                    <a:close/>
                  </a:path>
                </a:pathLst>
              </a:custGeom>
              <a:solidFill>
                <a:srgbClr val="F06E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grpSp>
      <p:sp>
        <p:nvSpPr>
          <p:cNvPr id="2" name="Title 1"/>
          <p:cNvSpPr>
            <a:spLocks noGrp="1"/>
          </p:cNvSpPr>
          <p:nvPr>
            <p:ph type="title"/>
          </p:nvPr>
        </p:nvSpPr>
        <p:spPr/>
        <p:txBody>
          <a:bodyPr/>
          <a:lstStyle/>
          <a:p>
            <a:r>
              <a:rPr lang="en-GB" noProof="0"/>
              <a:t>Click to edit Master title style</a:t>
            </a:r>
          </a:p>
        </p:txBody>
      </p:sp>
      <p:sp>
        <p:nvSpPr>
          <p:cNvPr id="49" name="Date Placeholder 8">
            <a:extLst>
              <a:ext uri="{FF2B5EF4-FFF2-40B4-BE49-F238E27FC236}">
                <a16:creationId xmlns:a16="http://schemas.microsoft.com/office/drawing/2014/main" id="{D169FCBB-A868-9F2D-5ED4-DDA62530F847}"/>
              </a:ext>
            </a:extLst>
          </p:cNvPr>
          <p:cNvSpPr>
            <a:spLocks noGrp="1"/>
          </p:cNvSpPr>
          <p:nvPr>
            <p:ph type="dt" sz="half" idx="10"/>
          </p:nvPr>
        </p:nvSpPr>
        <p:spPr/>
        <p:txBody>
          <a:bodyPr/>
          <a:lstStyle>
            <a:lvl1pPr>
              <a:defRPr/>
            </a:lvl1pPr>
          </a:lstStyle>
          <a:p>
            <a:pPr>
              <a:defRPr/>
            </a:pPr>
            <a:fld id="{B430E398-A39B-41F0-A1F4-A91FA3264487}" type="datetime1">
              <a:rPr lang="en-GB"/>
              <a:pPr>
                <a:defRPr/>
              </a:pPr>
              <a:t>28/01/2024</a:t>
            </a:fld>
            <a:endParaRPr lang="en-GB" dirty="0"/>
          </a:p>
        </p:txBody>
      </p:sp>
      <p:sp>
        <p:nvSpPr>
          <p:cNvPr id="50" name="Footer Placeholder 9">
            <a:extLst>
              <a:ext uri="{FF2B5EF4-FFF2-40B4-BE49-F238E27FC236}">
                <a16:creationId xmlns:a16="http://schemas.microsoft.com/office/drawing/2014/main" id="{1F899014-BF91-47C2-C0F6-164BD3899383}"/>
              </a:ext>
            </a:extLst>
          </p:cNvPr>
          <p:cNvSpPr>
            <a:spLocks noGrp="1"/>
          </p:cNvSpPr>
          <p:nvPr>
            <p:ph type="ftr" sz="quarter" idx="11"/>
          </p:nvPr>
        </p:nvSpPr>
        <p:spPr/>
        <p:txBody>
          <a:bodyPr/>
          <a:lstStyle>
            <a:lvl1pPr>
              <a:defRPr/>
            </a:lvl1pPr>
          </a:lstStyle>
          <a:p>
            <a:pPr>
              <a:defRPr/>
            </a:pPr>
            <a:r>
              <a:rPr lang="en-GB"/>
              <a:t>VTT – beyond the obvious</a:t>
            </a:r>
            <a:endParaRPr lang="en-GB" dirty="0"/>
          </a:p>
        </p:txBody>
      </p:sp>
      <p:sp>
        <p:nvSpPr>
          <p:cNvPr id="51" name="Slide Number Placeholder 10">
            <a:extLst>
              <a:ext uri="{FF2B5EF4-FFF2-40B4-BE49-F238E27FC236}">
                <a16:creationId xmlns:a16="http://schemas.microsoft.com/office/drawing/2014/main" id="{5CDD0886-D094-8AF2-5DB8-A78C98A0C61C}"/>
              </a:ext>
            </a:extLst>
          </p:cNvPr>
          <p:cNvSpPr>
            <a:spLocks noGrp="1"/>
          </p:cNvSpPr>
          <p:nvPr>
            <p:ph type="sldNum" sz="quarter" idx="12"/>
          </p:nvPr>
        </p:nvSpPr>
        <p:spPr/>
        <p:txBody>
          <a:bodyPr/>
          <a:lstStyle>
            <a:lvl1pPr>
              <a:defRPr/>
            </a:lvl1pPr>
          </a:lstStyle>
          <a:p>
            <a:pPr>
              <a:defRPr/>
            </a:pPr>
            <a:fld id="{6A28673F-1DD8-428E-B380-1FAB64C8C9BE}" type="slidenum">
              <a:rPr lang="en-GB"/>
              <a:pPr>
                <a:defRPr/>
              </a:pPr>
              <a:t>‹Nr.›</a:t>
            </a:fld>
            <a:endParaRPr lang="en-GB" dirty="0"/>
          </a:p>
        </p:txBody>
      </p:sp>
    </p:spTree>
    <p:extLst>
      <p:ext uri="{BB962C8B-B14F-4D97-AF65-F5344CB8AC3E}">
        <p14:creationId xmlns:p14="http://schemas.microsoft.com/office/powerpoint/2010/main" val="160639355"/>
      </p:ext>
    </p:extLst>
  </p:cSld>
  <p:clrMapOvr>
    <a:masterClrMapping/>
  </p:clrMapOvr>
  <p:transition spd="med">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title">
  <p:cSld name="Titelfolie">
    <p:spTree>
      <p:nvGrpSpPr>
        <p:cNvPr id="1" name=""/>
        <p:cNvGrpSpPr/>
        <p:nvPr/>
      </p:nvGrpSpPr>
      <p:grpSpPr>
        <a:xfrm>
          <a:off x="0" y="0"/>
          <a:ext cx="0" cy="0"/>
          <a:chOff x="0" y="0"/>
          <a:chExt cx="0" cy="0"/>
        </a:xfrm>
      </p:grpSpPr>
      <p:sp>
        <p:nvSpPr>
          <p:cNvPr id="2" name="Rectangle 2">
            <a:extLst>
              <a:ext uri="{FF2B5EF4-FFF2-40B4-BE49-F238E27FC236}">
                <a16:creationId xmlns:a16="http://schemas.microsoft.com/office/drawing/2014/main" id="{D7C0B004-69FD-E49A-6943-0AFB84CDF50E}"/>
              </a:ext>
            </a:extLst>
          </p:cNvPr>
          <p:cNvSpPr>
            <a:spLocks noChangeArrowheads="1"/>
          </p:cNvSpPr>
          <p:nvPr/>
        </p:nvSpPr>
        <p:spPr bwMode="auto">
          <a:xfrm>
            <a:off x="334963" y="368300"/>
            <a:ext cx="11522075" cy="1868488"/>
          </a:xfrm>
          <a:prstGeom prst="rect">
            <a:avLst/>
          </a:prstGeom>
          <a:solidFill>
            <a:srgbClr val="243572"/>
          </a:solidFill>
          <a:ln>
            <a:noFill/>
          </a:ln>
        </p:spPr>
        <p:txBody>
          <a:bodyPr wrap="none" anchor="ctr"/>
          <a:lstStyle>
            <a:lvl1pPr eaLnBrk="0" hangingPunct="0">
              <a:defRPr b="1">
                <a:solidFill>
                  <a:schemeClr val="tx1"/>
                </a:solidFill>
                <a:latin typeface="Verdana" pitchFamily="34" charset="0"/>
              </a:defRPr>
            </a:lvl1pPr>
            <a:lvl2pPr marL="742950" indent="-285750" eaLnBrk="0" hangingPunct="0">
              <a:defRPr b="1">
                <a:solidFill>
                  <a:schemeClr val="tx1"/>
                </a:solidFill>
                <a:latin typeface="Verdana" pitchFamily="34" charset="0"/>
              </a:defRPr>
            </a:lvl2pPr>
            <a:lvl3pPr marL="1143000" indent="-228600" eaLnBrk="0" hangingPunct="0">
              <a:defRPr b="1">
                <a:solidFill>
                  <a:schemeClr val="tx1"/>
                </a:solidFill>
                <a:latin typeface="Verdana" pitchFamily="34" charset="0"/>
              </a:defRPr>
            </a:lvl3pPr>
            <a:lvl4pPr marL="1600200" indent="-228600" eaLnBrk="0" hangingPunct="0">
              <a:defRPr b="1">
                <a:solidFill>
                  <a:schemeClr val="tx1"/>
                </a:solidFill>
                <a:latin typeface="Verdana" pitchFamily="34" charset="0"/>
              </a:defRPr>
            </a:lvl4pPr>
            <a:lvl5pPr marL="2057400" indent="-228600" eaLnBrk="0" hangingPunct="0">
              <a:defRPr b="1">
                <a:solidFill>
                  <a:schemeClr val="tx1"/>
                </a:solidFill>
                <a:latin typeface="Verdana" pitchFamily="34" charset="0"/>
              </a:defRPr>
            </a:lvl5pPr>
            <a:lvl6pPr marL="2514600" indent="-228600" eaLnBrk="0" fontAlgn="base" hangingPunct="0">
              <a:spcBef>
                <a:spcPct val="0"/>
              </a:spcBef>
              <a:spcAft>
                <a:spcPct val="0"/>
              </a:spcAft>
              <a:defRPr b="1">
                <a:solidFill>
                  <a:schemeClr val="tx1"/>
                </a:solidFill>
                <a:latin typeface="Verdana" pitchFamily="34" charset="0"/>
              </a:defRPr>
            </a:lvl6pPr>
            <a:lvl7pPr marL="2971800" indent="-228600" eaLnBrk="0" fontAlgn="base" hangingPunct="0">
              <a:spcBef>
                <a:spcPct val="0"/>
              </a:spcBef>
              <a:spcAft>
                <a:spcPct val="0"/>
              </a:spcAft>
              <a:defRPr b="1">
                <a:solidFill>
                  <a:schemeClr val="tx1"/>
                </a:solidFill>
                <a:latin typeface="Verdana" pitchFamily="34" charset="0"/>
              </a:defRPr>
            </a:lvl7pPr>
            <a:lvl8pPr marL="3429000" indent="-228600" eaLnBrk="0" fontAlgn="base" hangingPunct="0">
              <a:spcBef>
                <a:spcPct val="0"/>
              </a:spcBef>
              <a:spcAft>
                <a:spcPct val="0"/>
              </a:spcAft>
              <a:defRPr b="1">
                <a:solidFill>
                  <a:schemeClr val="tx1"/>
                </a:solidFill>
                <a:latin typeface="Verdana" pitchFamily="34" charset="0"/>
              </a:defRPr>
            </a:lvl8pPr>
            <a:lvl9pPr marL="3886200" indent="-228600" eaLnBrk="0" fontAlgn="base" hangingPunct="0">
              <a:spcBef>
                <a:spcPct val="0"/>
              </a:spcBef>
              <a:spcAft>
                <a:spcPct val="0"/>
              </a:spcAft>
              <a:defRPr b="1">
                <a:solidFill>
                  <a:schemeClr val="tx1"/>
                </a:solidFill>
                <a:latin typeface="Verdana" pitchFamily="34" charset="0"/>
              </a:defRPr>
            </a:lvl9pPr>
          </a:lstStyle>
          <a:p>
            <a:pPr algn="ctr" eaLnBrk="1" hangingPunct="1">
              <a:defRPr/>
            </a:pPr>
            <a:endParaRPr lang="de-DE" altLang="de-DE"/>
          </a:p>
        </p:txBody>
      </p:sp>
      <p:sp>
        <p:nvSpPr>
          <p:cNvPr id="3" name="Rectangle 8">
            <a:extLst>
              <a:ext uri="{FF2B5EF4-FFF2-40B4-BE49-F238E27FC236}">
                <a16:creationId xmlns:a16="http://schemas.microsoft.com/office/drawing/2014/main" id="{5E66A1DD-1F04-EAB6-C3DD-A9F2BE8A118D}"/>
              </a:ext>
            </a:extLst>
          </p:cNvPr>
          <p:cNvSpPr>
            <a:spLocks noChangeArrowheads="1"/>
          </p:cNvSpPr>
          <p:nvPr/>
        </p:nvSpPr>
        <p:spPr bwMode="auto">
          <a:xfrm>
            <a:off x="334963" y="196850"/>
            <a:ext cx="11522075" cy="144463"/>
          </a:xfrm>
          <a:prstGeom prst="rect">
            <a:avLst/>
          </a:prstGeom>
          <a:solidFill>
            <a:srgbClr val="243572"/>
          </a:solidFill>
          <a:ln>
            <a:noFill/>
          </a:ln>
        </p:spPr>
        <p:txBody>
          <a:bodyPr/>
          <a:lstStyle>
            <a:lvl1pPr eaLnBrk="0" hangingPunct="0">
              <a:defRPr b="1">
                <a:solidFill>
                  <a:schemeClr val="tx1"/>
                </a:solidFill>
                <a:latin typeface="Verdana" pitchFamily="34" charset="0"/>
              </a:defRPr>
            </a:lvl1pPr>
            <a:lvl2pPr marL="742950" indent="-285750" eaLnBrk="0" hangingPunct="0">
              <a:defRPr b="1">
                <a:solidFill>
                  <a:schemeClr val="tx1"/>
                </a:solidFill>
                <a:latin typeface="Verdana" pitchFamily="34" charset="0"/>
              </a:defRPr>
            </a:lvl2pPr>
            <a:lvl3pPr marL="1143000" indent="-228600" eaLnBrk="0" hangingPunct="0">
              <a:defRPr b="1">
                <a:solidFill>
                  <a:schemeClr val="tx1"/>
                </a:solidFill>
                <a:latin typeface="Verdana" pitchFamily="34" charset="0"/>
              </a:defRPr>
            </a:lvl3pPr>
            <a:lvl4pPr marL="1600200" indent="-228600" eaLnBrk="0" hangingPunct="0">
              <a:defRPr b="1">
                <a:solidFill>
                  <a:schemeClr val="tx1"/>
                </a:solidFill>
                <a:latin typeface="Verdana" pitchFamily="34" charset="0"/>
              </a:defRPr>
            </a:lvl4pPr>
            <a:lvl5pPr marL="2057400" indent="-228600" eaLnBrk="0" hangingPunct="0">
              <a:defRPr b="1">
                <a:solidFill>
                  <a:schemeClr val="tx1"/>
                </a:solidFill>
                <a:latin typeface="Verdana" pitchFamily="34" charset="0"/>
              </a:defRPr>
            </a:lvl5pPr>
            <a:lvl6pPr marL="2514600" indent="-228600" eaLnBrk="0" fontAlgn="base" hangingPunct="0">
              <a:spcBef>
                <a:spcPct val="0"/>
              </a:spcBef>
              <a:spcAft>
                <a:spcPct val="0"/>
              </a:spcAft>
              <a:defRPr b="1">
                <a:solidFill>
                  <a:schemeClr val="tx1"/>
                </a:solidFill>
                <a:latin typeface="Verdana" pitchFamily="34" charset="0"/>
              </a:defRPr>
            </a:lvl6pPr>
            <a:lvl7pPr marL="2971800" indent="-228600" eaLnBrk="0" fontAlgn="base" hangingPunct="0">
              <a:spcBef>
                <a:spcPct val="0"/>
              </a:spcBef>
              <a:spcAft>
                <a:spcPct val="0"/>
              </a:spcAft>
              <a:defRPr b="1">
                <a:solidFill>
                  <a:schemeClr val="tx1"/>
                </a:solidFill>
                <a:latin typeface="Verdana" pitchFamily="34" charset="0"/>
              </a:defRPr>
            </a:lvl7pPr>
            <a:lvl8pPr marL="3429000" indent="-228600" eaLnBrk="0" fontAlgn="base" hangingPunct="0">
              <a:spcBef>
                <a:spcPct val="0"/>
              </a:spcBef>
              <a:spcAft>
                <a:spcPct val="0"/>
              </a:spcAft>
              <a:defRPr b="1">
                <a:solidFill>
                  <a:schemeClr val="tx1"/>
                </a:solidFill>
                <a:latin typeface="Verdana" pitchFamily="34" charset="0"/>
              </a:defRPr>
            </a:lvl8pPr>
            <a:lvl9pPr marL="3886200" indent="-228600" eaLnBrk="0" fontAlgn="base" hangingPunct="0">
              <a:spcBef>
                <a:spcPct val="0"/>
              </a:spcBef>
              <a:spcAft>
                <a:spcPct val="0"/>
              </a:spcAft>
              <a:defRPr b="1">
                <a:solidFill>
                  <a:schemeClr val="tx1"/>
                </a:solidFill>
                <a:latin typeface="Verdana" pitchFamily="34" charset="0"/>
              </a:defRPr>
            </a:lvl9pPr>
          </a:lstStyle>
          <a:p>
            <a:pPr eaLnBrk="1" hangingPunct="1">
              <a:defRPr/>
            </a:pPr>
            <a:endParaRPr lang="de-DE" altLang="de-DE"/>
          </a:p>
        </p:txBody>
      </p:sp>
      <p:pic>
        <p:nvPicPr>
          <p:cNvPr id="4" name="Picture 9" descr="tud_logo">
            <a:extLst>
              <a:ext uri="{FF2B5EF4-FFF2-40B4-BE49-F238E27FC236}">
                <a16:creationId xmlns:a16="http://schemas.microsoft.com/office/drawing/2014/main" id="{D2965698-2CF5-AF5A-17B7-AEE6DAAC9D9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r="5453"/>
          <a:stretch>
            <a:fillRect/>
          </a:stretch>
        </p:blipFill>
        <p:spPr bwMode="auto">
          <a:xfrm>
            <a:off x="9563100" y="500063"/>
            <a:ext cx="2497138" cy="792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Line 11">
            <a:extLst>
              <a:ext uri="{FF2B5EF4-FFF2-40B4-BE49-F238E27FC236}">
                <a16:creationId xmlns:a16="http://schemas.microsoft.com/office/drawing/2014/main" id="{2BA146A3-A08C-4929-33C5-A392F3F41BDE}"/>
              </a:ext>
            </a:extLst>
          </p:cNvPr>
          <p:cNvSpPr>
            <a:spLocks noChangeShapeType="1"/>
          </p:cNvSpPr>
          <p:nvPr/>
        </p:nvSpPr>
        <p:spPr bwMode="auto">
          <a:xfrm>
            <a:off x="336550" y="6489700"/>
            <a:ext cx="11520488" cy="0"/>
          </a:xfrm>
          <a:prstGeom prst="line">
            <a:avLst/>
          </a:prstGeom>
          <a:noFill/>
          <a:ln w="7620">
            <a:solidFill>
              <a:srgbClr val="000000"/>
            </a:solidFill>
            <a:round/>
            <a:headEnd/>
            <a:tailEnd/>
          </a:ln>
          <a:extLst>
            <a:ext uri="{909E8E84-426E-40DD-AFC4-6F175D3DCCD1}">
              <a14:hiddenFill xmlns:a14="http://schemas.microsoft.com/office/drawing/2010/main">
                <a:noFill/>
              </a14:hiddenFill>
            </a:ext>
          </a:extLst>
        </p:spPr>
        <p:txBody>
          <a:bodyPr/>
          <a:lstStyle/>
          <a:p>
            <a:endParaRPr lang="de-DE"/>
          </a:p>
        </p:txBody>
      </p:sp>
      <p:sp>
        <p:nvSpPr>
          <p:cNvPr id="6" name="Line 15">
            <a:extLst>
              <a:ext uri="{FF2B5EF4-FFF2-40B4-BE49-F238E27FC236}">
                <a16:creationId xmlns:a16="http://schemas.microsoft.com/office/drawing/2014/main" id="{C0247E05-CD96-D7C0-3829-A80611946C70}"/>
              </a:ext>
            </a:extLst>
          </p:cNvPr>
          <p:cNvSpPr>
            <a:spLocks noChangeShapeType="1"/>
          </p:cNvSpPr>
          <p:nvPr/>
        </p:nvSpPr>
        <p:spPr bwMode="auto">
          <a:xfrm>
            <a:off x="336550" y="6489700"/>
            <a:ext cx="11520488" cy="0"/>
          </a:xfrm>
          <a:prstGeom prst="line">
            <a:avLst/>
          </a:prstGeom>
          <a:noFill/>
          <a:ln w="7620">
            <a:solidFill>
              <a:srgbClr val="000000"/>
            </a:solidFill>
            <a:round/>
            <a:headEnd/>
            <a:tailEnd/>
          </a:ln>
          <a:extLst>
            <a:ext uri="{909E8E84-426E-40DD-AFC4-6F175D3DCCD1}">
              <a14:hiddenFill xmlns:a14="http://schemas.microsoft.com/office/drawing/2010/main">
                <a:noFill/>
              </a14:hiddenFill>
            </a:ext>
          </a:extLst>
        </p:spPr>
        <p:txBody>
          <a:bodyPr/>
          <a:lstStyle/>
          <a:p>
            <a:endParaRPr lang="de-DE"/>
          </a:p>
        </p:txBody>
      </p:sp>
      <p:sp>
        <p:nvSpPr>
          <p:cNvPr id="7" name="Rectangle 18">
            <a:extLst>
              <a:ext uri="{FF2B5EF4-FFF2-40B4-BE49-F238E27FC236}">
                <a16:creationId xmlns:a16="http://schemas.microsoft.com/office/drawing/2014/main" id="{57068BD6-5CB5-B5C4-B706-550F83808C0E}"/>
              </a:ext>
            </a:extLst>
          </p:cNvPr>
          <p:cNvSpPr>
            <a:spLocks noChangeArrowheads="1"/>
          </p:cNvSpPr>
          <p:nvPr/>
        </p:nvSpPr>
        <p:spPr bwMode="auto">
          <a:xfrm>
            <a:off x="334963" y="360363"/>
            <a:ext cx="11520487" cy="14287"/>
          </a:xfrm>
          <a:prstGeom prst="rect">
            <a:avLst/>
          </a:prstGeom>
          <a:solidFill>
            <a:srgbClr val="000000"/>
          </a:solidFill>
          <a:ln>
            <a:noFill/>
          </a:ln>
        </p:spPr>
        <p:txBody>
          <a:bodyPr wrap="none" anchor="ctr"/>
          <a:lstStyle>
            <a:lvl1pPr eaLnBrk="0" hangingPunct="0">
              <a:defRPr b="1">
                <a:solidFill>
                  <a:schemeClr val="tx1"/>
                </a:solidFill>
                <a:latin typeface="Verdana" pitchFamily="34" charset="0"/>
              </a:defRPr>
            </a:lvl1pPr>
            <a:lvl2pPr marL="742950" indent="-285750" eaLnBrk="0" hangingPunct="0">
              <a:defRPr b="1">
                <a:solidFill>
                  <a:schemeClr val="tx1"/>
                </a:solidFill>
                <a:latin typeface="Verdana" pitchFamily="34" charset="0"/>
              </a:defRPr>
            </a:lvl2pPr>
            <a:lvl3pPr marL="1143000" indent="-228600" eaLnBrk="0" hangingPunct="0">
              <a:defRPr b="1">
                <a:solidFill>
                  <a:schemeClr val="tx1"/>
                </a:solidFill>
                <a:latin typeface="Verdana" pitchFamily="34" charset="0"/>
              </a:defRPr>
            </a:lvl3pPr>
            <a:lvl4pPr marL="1600200" indent="-228600" eaLnBrk="0" hangingPunct="0">
              <a:defRPr b="1">
                <a:solidFill>
                  <a:schemeClr val="tx1"/>
                </a:solidFill>
                <a:latin typeface="Verdana" pitchFamily="34" charset="0"/>
              </a:defRPr>
            </a:lvl4pPr>
            <a:lvl5pPr marL="2057400" indent="-228600" eaLnBrk="0" hangingPunct="0">
              <a:defRPr b="1">
                <a:solidFill>
                  <a:schemeClr val="tx1"/>
                </a:solidFill>
                <a:latin typeface="Verdana" pitchFamily="34" charset="0"/>
              </a:defRPr>
            </a:lvl5pPr>
            <a:lvl6pPr marL="2514600" indent="-228600" eaLnBrk="0" fontAlgn="base" hangingPunct="0">
              <a:spcBef>
                <a:spcPct val="0"/>
              </a:spcBef>
              <a:spcAft>
                <a:spcPct val="0"/>
              </a:spcAft>
              <a:defRPr b="1">
                <a:solidFill>
                  <a:schemeClr val="tx1"/>
                </a:solidFill>
                <a:latin typeface="Verdana" pitchFamily="34" charset="0"/>
              </a:defRPr>
            </a:lvl6pPr>
            <a:lvl7pPr marL="2971800" indent="-228600" eaLnBrk="0" fontAlgn="base" hangingPunct="0">
              <a:spcBef>
                <a:spcPct val="0"/>
              </a:spcBef>
              <a:spcAft>
                <a:spcPct val="0"/>
              </a:spcAft>
              <a:defRPr b="1">
                <a:solidFill>
                  <a:schemeClr val="tx1"/>
                </a:solidFill>
                <a:latin typeface="Verdana" pitchFamily="34" charset="0"/>
              </a:defRPr>
            </a:lvl7pPr>
            <a:lvl8pPr marL="3429000" indent="-228600" eaLnBrk="0" fontAlgn="base" hangingPunct="0">
              <a:spcBef>
                <a:spcPct val="0"/>
              </a:spcBef>
              <a:spcAft>
                <a:spcPct val="0"/>
              </a:spcAft>
              <a:defRPr b="1">
                <a:solidFill>
                  <a:schemeClr val="tx1"/>
                </a:solidFill>
                <a:latin typeface="Verdana" pitchFamily="34" charset="0"/>
              </a:defRPr>
            </a:lvl8pPr>
            <a:lvl9pPr marL="3886200" indent="-228600" eaLnBrk="0" fontAlgn="base" hangingPunct="0">
              <a:spcBef>
                <a:spcPct val="0"/>
              </a:spcBef>
              <a:spcAft>
                <a:spcPct val="0"/>
              </a:spcAft>
              <a:defRPr b="1">
                <a:solidFill>
                  <a:schemeClr val="tx1"/>
                </a:solidFill>
                <a:latin typeface="Verdana" pitchFamily="34" charset="0"/>
              </a:defRPr>
            </a:lvl9pPr>
          </a:lstStyle>
          <a:p>
            <a:pPr eaLnBrk="1" hangingPunct="1">
              <a:defRPr/>
            </a:pPr>
            <a:endParaRPr lang="de-DE" altLang="de-DE"/>
          </a:p>
        </p:txBody>
      </p:sp>
      <p:sp>
        <p:nvSpPr>
          <p:cNvPr id="8" name="Rectangle 19">
            <a:extLst>
              <a:ext uri="{FF2B5EF4-FFF2-40B4-BE49-F238E27FC236}">
                <a16:creationId xmlns:a16="http://schemas.microsoft.com/office/drawing/2014/main" id="{1DA6CA60-5C3F-17D2-513D-D33C726BD1EC}"/>
              </a:ext>
            </a:extLst>
          </p:cNvPr>
          <p:cNvSpPr>
            <a:spLocks noChangeArrowheads="1"/>
          </p:cNvSpPr>
          <p:nvPr/>
        </p:nvSpPr>
        <p:spPr bwMode="auto">
          <a:xfrm>
            <a:off x="334963" y="2239963"/>
            <a:ext cx="11520487" cy="7937"/>
          </a:xfrm>
          <a:prstGeom prst="rect">
            <a:avLst/>
          </a:prstGeom>
          <a:solidFill>
            <a:srgbClr val="000000"/>
          </a:solidFill>
          <a:ln>
            <a:noFill/>
          </a:ln>
        </p:spPr>
        <p:txBody>
          <a:bodyPr wrap="none" anchor="ctr"/>
          <a:lstStyle>
            <a:lvl1pPr eaLnBrk="0" hangingPunct="0">
              <a:defRPr b="1">
                <a:solidFill>
                  <a:schemeClr val="tx1"/>
                </a:solidFill>
                <a:latin typeface="Verdana" pitchFamily="34" charset="0"/>
              </a:defRPr>
            </a:lvl1pPr>
            <a:lvl2pPr marL="742950" indent="-285750" eaLnBrk="0" hangingPunct="0">
              <a:defRPr b="1">
                <a:solidFill>
                  <a:schemeClr val="tx1"/>
                </a:solidFill>
                <a:latin typeface="Verdana" pitchFamily="34" charset="0"/>
              </a:defRPr>
            </a:lvl2pPr>
            <a:lvl3pPr marL="1143000" indent="-228600" eaLnBrk="0" hangingPunct="0">
              <a:defRPr b="1">
                <a:solidFill>
                  <a:schemeClr val="tx1"/>
                </a:solidFill>
                <a:latin typeface="Verdana" pitchFamily="34" charset="0"/>
              </a:defRPr>
            </a:lvl3pPr>
            <a:lvl4pPr marL="1600200" indent="-228600" eaLnBrk="0" hangingPunct="0">
              <a:defRPr b="1">
                <a:solidFill>
                  <a:schemeClr val="tx1"/>
                </a:solidFill>
                <a:latin typeface="Verdana" pitchFamily="34" charset="0"/>
              </a:defRPr>
            </a:lvl4pPr>
            <a:lvl5pPr marL="2057400" indent="-228600" eaLnBrk="0" hangingPunct="0">
              <a:defRPr b="1">
                <a:solidFill>
                  <a:schemeClr val="tx1"/>
                </a:solidFill>
                <a:latin typeface="Verdana" pitchFamily="34" charset="0"/>
              </a:defRPr>
            </a:lvl5pPr>
            <a:lvl6pPr marL="2514600" indent="-228600" eaLnBrk="0" fontAlgn="base" hangingPunct="0">
              <a:spcBef>
                <a:spcPct val="0"/>
              </a:spcBef>
              <a:spcAft>
                <a:spcPct val="0"/>
              </a:spcAft>
              <a:defRPr b="1">
                <a:solidFill>
                  <a:schemeClr val="tx1"/>
                </a:solidFill>
                <a:latin typeface="Verdana" pitchFamily="34" charset="0"/>
              </a:defRPr>
            </a:lvl6pPr>
            <a:lvl7pPr marL="2971800" indent="-228600" eaLnBrk="0" fontAlgn="base" hangingPunct="0">
              <a:spcBef>
                <a:spcPct val="0"/>
              </a:spcBef>
              <a:spcAft>
                <a:spcPct val="0"/>
              </a:spcAft>
              <a:defRPr b="1">
                <a:solidFill>
                  <a:schemeClr val="tx1"/>
                </a:solidFill>
                <a:latin typeface="Verdana" pitchFamily="34" charset="0"/>
              </a:defRPr>
            </a:lvl7pPr>
            <a:lvl8pPr marL="3429000" indent="-228600" eaLnBrk="0" fontAlgn="base" hangingPunct="0">
              <a:spcBef>
                <a:spcPct val="0"/>
              </a:spcBef>
              <a:spcAft>
                <a:spcPct val="0"/>
              </a:spcAft>
              <a:defRPr b="1">
                <a:solidFill>
                  <a:schemeClr val="tx1"/>
                </a:solidFill>
                <a:latin typeface="Verdana" pitchFamily="34" charset="0"/>
              </a:defRPr>
            </a:lvl8pPr>
            <a:lvl9pPr marL="3886200" indent="-228600" eaLnBrk="0" fontAlgn="base" hangingPunct="0">
              <a:spcBef>
                <a:spcPct val="0"/>
              </a:spcBef>
              <a:spcAft>
                <a:spcPct val="0"/>
              </a:spcAft>
              <a:defRPr b="1">
                <a:solidFill>
                  <a:schemeClr val="tx1"/>
                </a:solidFill>
                <a:latin typeface="Verdana" pitchFamily="34" charset="0"/>
              </a:defRPr>
            </a:lvl9pPr>
          </a:lstStyle>
          <a:p>
            <a:pPr eaLnBrk="1" hangingPunct="1">
              <a:defRPr/>
            </a:pPr>
            <a:endParaRPr lang="de-DE" altLang="de-DE"/>
          </a:p>
        </p:txBody>
      </p:sp>
      <p:sp>
        <p:nvSpPr>
          <p:cNvPr id="87043" name="Rectangle 3"/>
          <p:cNvSpPr>
            <a:spLocks noGrp="1" noChangeArrowheads="1"/>
          </p:cNvSpPr>
          <p:nvPr>
            <p:ph type="ctrTitle"/>
          </p:nvPr>
        </p:nvSpPr>
        <p:spPr>
          <a:xfrm>
            <a:off x="478367" y="534967"/>
            <a:ext cx="8978900" cy="577850"/>
          </a:xfrm>
        </p:spPr>
        <p:txBody>
          <a:bodyPr anchor="t"/>
          <a:lstStyle>
            <a:lvl1pPr>
              <a:defRPr sz="2800">
                <a:solidFill>
                  <a:schemeClr val="bg1"/>
                </a:solidFill>
              </a:defRPr>
            </a:lvl1pPr>
          </a:lstStyle>
          <a:p>
            <a:r>
              <a:rPr lang="de-DE" dirty="0"/>
              <a:t>Titelmasterformat durch Klicken bearbeiten</a:t>
            </a:r>
          </a:p>
        </p:txBody>
      </p:sp>
      <p:sp>
        <p:nvSpPr>
          <p:cNvPr id="87044" name="Rectangle 4"/>
          <p:cNvSpPr>
            <a:spLocks noGrp="1" noChangeArrowheads="1"/>
          </p:cNvSpPr>
          <p:nvPr>
            <p:ph type="subTitle" idx="1"/>
          </p:nvPr>
        </p:nvSpPr>
        <p:spPr>
          <a:xfrm>
            <a:off x="478367" y="1292205"/>
            <a:ext cx="8978900" cy="944562"/>
          </a:xfrm>
        </p:spPr>
        <p:txBody>
          <a:bodyPr/>
          <a:lstStyle>
            <a:lvl1pPr marL="0" indent="0">
              <a:spcBef>
                <a:spcPct val="0"/>
              </a:spcBef>
              <a:buFont typeface="Wingdings" pitchFamily="2" charset="2"/>
              <a:buNone/>
              <a:defRPr b="1">
                <a:solidFill>
                  <a:schemeClr val="bg1"/>
                </a:solidFill>
              </a:defRPr>
            </a:lvl1pPr>
          </a:lstStyle>
          <a:p>
            <a:r>
              <a:rPr lang="de-DE" dirty="0"/>
              <a:t>Formatvorlage des Untertitelmasters durch Klicken bearbeiten</a:t>
            </a:r>
          </a:p>
        </p:txBody>
      </p:sp>
    </p:spTree>
    <p:extLst>
      <p:ext uri="{BB962C8B-B14F-4D97-AF65-F5344CB8AC3E}">
        <p14:creationId xmlns:p14="http://schemas.microsoft.com/office/powerpoint/2010/main" val="148860075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VTT 2020 Content slide 06 - full size picture">
    <p:spTree>
      <p:nvGrpSpPr>
        <p:cNvPr id="1" name=""/>
        <p:cNvGrpSpPr/>
        <p:nvPr/>
      </p:nvGrpSpPr>
      <p:grpSpPr>
        <a:xfrm>
          <a:off x="0" y="0"/>
          <a:ext cx="0" cy="0"/>
          <a:chOff x="0" y="0"/>
          <a:chExt cx="0" cy="0"/>
        </a:xfrm>
      </p:grpSpPr>
      <p:grpSp>
        <p:nvGrpSpPr>
          <p:cNvPr id="2" name="VTT_LogoStack_v3_16092019 pienempi koko">
            <a:extLst>
              <a:ext uri="{FF2B5EF4-FFF2-40B4-BE49-F238E27FC236}">
                <a16:creationId xmlns:a16="http://schemas.microsoft.com/office/drawing/2014/main" id="{0DAAB8F1-20E8-A436-216B-A276E0C094AB}"/>
              </a:ext>
            </a:extLst>
          </p:cNvPr>
          <p:cNvGrpSpPr>
            <a:grpSpLocks/>
          </p:cNvGrpSpPr>
          <p:nvPr userDrawn="1"/>
        </p:nvGrpSpPr>
        <p:grpSpPr bwMode="auto">
          <a:xfrm>
            <a:off x="10725150" y="0"/>
            <a:ext cx="1158875" cy="782638"/>
            <a:chOff x="7909204" y="1770762"/>
            <a:chExt cx="971550" cy="655638"/>
          </a:xfrm>
        </p:grpSpPr>
        <p:grpSp>
          <p:nvGrpSpPr>
            <p:cNvPr id="3" name="_VTT_logo_102019_01_white_on_orange">
              <a:extLst>
                <a:ext uri="{FF2B5EF4-FFF2-40B4-BE49-F238E27FC236}">
                  <a16:creationId xmlns:a16="http://schemas.microsoft.com/office/drawing/2014/main" id="{0A1D7798-FBF8-D900-5711-A4DF09BB7985}"/>
                </a:ext>
              </a:extLst>
            </p:cNvPr>
            <p:cNvGrpSpPr>
              <a:grpSpLocks/>
            </p:cNvGrpSpPr>
            <p:nvPr userDrawn="1"/>
          </p:nvGrpSpPr>
          <p:grpSpPr bwMode="auto">
            <a:xfrm>
              <a:off x="7909204" y="1770762"/>
              <a:ext cx="971550" cy="655638"/>
              <a:chOff x="379933" y="-15999"/>
              <a:chExt cx="971550" cy="655638"/>
            </a:xfrm>
          </p:grpSpPr>
          <p:sp>
            <p:nvSpPr>
              <p:cNvPr id="44" name="Box">
                <a:extLst>
                  <a:ext uri="{FF2B5EF4-FFF2-40B4-BE49-F238E27FC236}">
                    <a16:creationId xmlns:a16="http://schemas.microsoft.com/office/drawing/2014/main" id="{98CEB265-C8A6-BAAA-F3D6-955268A9A053}"/>
                  </a:ext>
                </a:extLst>
              </p:cNvPr>
              <p:cNvSpPr>
                <a:spLocks noChangeArrowheads="1"/>
              </p:cNvSpPr>
              <p:nvPr userDrawn="1"/>
            </p:nvSpPr>
            <p:spPr bwMode="auto">
              <a:xfrm>
                <a:off x="379933" y="-15999"/>
                <a:ext cx="971550" cy="655638"/>
              </a:xfrm>
              <a:prstGeom prst="rect">
                <a:avLst/>
              </a:prstGeom>
              <a:solidFill>
                <a:srgbClr val="F06E00"/>
              </a:solidFill>
              <a:ln>
                <a:noFill/>
              </a:ln>
            </p:spPr>
            <p:txBody>
              <a:bodyPr/>
              <a:lstStyle>
                <a:lvl1pPr defTabSz="455613">
                  <a:defRPr b="1">
                    <a:solidFill>
                      <a:schemeClr val="tx1"/>
                    </a:solidFill>
                    <a:latin typeface="Verdana" panose="020B0604030504040204" pitchFamily="34" charset="0"/>
                  </a:defRPr>
                </a:lvl1pPr>
                <a:lvl2pPr marL="742950" indent="-285750" defTabSz="455613">
                  <a:defRPr b="1">
                    <a:solidFill>
                      <a:schemeClr val="tx1"/>
                    </a:solidFill>
                    <a:latin typeface="Verdana" panose="020B0604030504040204" pitchFamily="34" charset="0"/>
                  </a:defRPr>
                </a:lvl2pPr>
                <a:lvl3pPr marL="1143000" indent="-228600" defTabSz="455613">
                  <a:defRPr b="1">
                    <a:solidFill>
                      <a:schemeClr val="tx1"/>
                    </a:solidFill>
                    <a:latin typeface="Verdana" panose="020B0604030504040204" pitchFamily="34" charset="0"/>
                  </a:defRPr>
                </a:lvl3pPr>
                <a:lvl4pPr marL="1600200" indent="-228600" defTabSz="455613">
                  <a:defRPr b="1">
                    <a:solidFill>
                      <a:schemeClr val="tx1"/>
                    </a:solidFill>
                    <a:latin typeface="Verdana" panose="020B0604030504040204" pitchFamily="34" charset="0"/>
                  </a:defRPr>
                </a:lvl4pPr>
                <a:lvl5pPr marL="2057400" indent="-228600" defTabSz="455613">
                  <a:defRPr b="1">
                    <a:solidFill>
                      <a:schemeClr val="tx1"/>
                    </a:solidFill>
                    <a:latin typeface="Verdana" panose="020B0604030504040204" pitchFamily="34" charset="0"/>
                  </a:defRPr>
                </a:lvl5pPr>
                <a:lvl6pPr marL="2514600" indent="-228600" defTabSz="455613" eaLnBrk="0" fontAlgn="base" hangingPunct="0">
                  <a:spcBef>
                    <a:spcPct val="0"/>
                  </a:spcBef>
                  <a:spcAft>
                    <a:spcPct val="0"/>
                  </a:spcAft>
                  <a:defRPr b="1">
                    <a:solidFill>
                      <a:schemeClr val="tx1"/>
                    </a:solidFill>
                    <a:latin typeface="Verdana" panose="020B0604030504040204" pitchFamily="34" charset="0"/>
                  </a:defRPr>
                </a:lvl6pPr>
                <a:lvl7pPr marL="2971800" indent="-228600" defTabSz="455613" eaLnBrk="0" fontAlgn="base" hangingPunct="0">
                  <a:spcBef>
                    <a:spcPct val="0"/>
                  </a:spcBef>
                  <a:spcAft>
                    <a:spcPct val="0"/>
                  </a:spcAft>
                  <a:defRPr b="1">
                    <a:solidFill>
                      <a:schemeClr val="tx1"/>
                    </a:solidFill>
                    <a:latin typeface="Verdana" panose="020B0604030504040204" pitchFamily="34" charset="0"/>
                  </a:defRPr>
                </a:lvl7pPr>
                <a:lvl8pPr marL="3429000" indent="-228600" defTabSz="455613" eaLnBrk="0" fontAlgn="base" hangingPunct="0">
                  <a:spcBef>
                    <a:spcPct val="0"/>
                  </a:spcBef>
                  <a:spcAft>
                    <a:spcPct val="0"/>
                  </a:spcAft>
                  <a:defRPr b="1">
                    <a:solidFill>
                      <a:schemeClr val="tx1"/>
                    </a:solidFill>
                    <a:latin typeface="Verdana" panose="020B0604030504040204" pitchFamily="34" charset="0"/>
                  </a:defRPr>
                </a:lvl8pPr>
                <a:lvl9pPr marL="3886200" indent="-228600" defTabSz="455613" eaLnBrk="0" fontAlgn="base" hangingPunct="0">
                  <a:spcBef>
                    <a:spcPct val="0"/>
                  </a:spcBef>
                  <a:spcAft>
                    <a:spcPct val="0"/>
                  </a:spcAft>
                  <a:defRPr b="1">
                    <a:solidFill>
                      <a:schemeClr val="tx1"/>
                    </a:solidFill>
                    <a:latin typeface="Verdana" panose="020B0604030504040204" pitchFamily="34" charset="0"/>
                  </a:defRPr>
                </a:lvl9pPr>
              </a:lstStyle>
              <a:p>
                <a:pPr eaLnBrk="1" hangingPunct="1">
                  <a:defRPr/>
                </a:pPr>
                <a:endParaRPr lang="en-GB" altLang="de-DE" b="0">
                  <a:solidFill>
                    <a:srgbClr val="000000"/>
                  </a:solidFill>
                  <a:latin typeface="Arial" panose="020B0604020202020204" pitchFamily="34" charset="0"/>
                </a:endParaRPr>
              </a:p>
            </p:txBody>
          </p:sp>
          <p:sp>
            <p:nvSpPr>
              <p:cNvPr id="45" name="T2">
                <a:extLst>
                  <a:ext uri="{FF2B5EF4-FFF2-40B4-BE49-F238E27FC236}">
                    <a16:creationId xmlns:a16="http://schemas.microsoft.com/office/drawing/2014/main" id="{A935332D-E4EF-E301-DAAD-822D1CD116D1}"/>
                  </a:ext>
                </a:extLst>
              </p:cNvPr>
              <p:cNvSpPr>
                <a:spLocks/>
              </p:cNvSpPr>
              <p:nvPr userDrawn="1"/>
            </p:nvSpPr>
            <p:spPr bwMode="auto">
              <a:xfrm>
                <a:off x="1011758" y="168151"/>
                <a:ext cx="176213" cy="258763"/>
              </a:xfrm>
              <a:custGeom>
                <a:avLst/>
                <a:gdLst>
                  <a:gd name="T0" fmla="*/ 98916612 w 222"/>
                  <a:gd name="T1" fmla="*/ 206025508 h 325"/>
                  <a:gd name="T2" fmla="*/ 98916612 w 222"/>
                  <a:gd name="T3" fmla="*/ 49446026 h 325"/>
                  <a:gd name="T4" fmla="*/ 139869466 w 222"/>
                  <a:gd name="T5" fmla="*/ 49446026 h 325"/>
                  <a:gd name="T6" fmla="*/ 139869466 w 222"/>
                  <a:gd name="T7" fmla="*/ 0 h 325"/>
                  <a:gd name="T8" fmla="*/ 0 w 222"/>
                  <a:gd name="T9" fmla="*/ 0 h 325"/>
                  <a:gd name="T10" fmla="*/ 0 w 222"/>
                  <a:gd name="T11" fmla="*/ 49446026 h 325"/>
                  <a:gd name="T12" fmla="*/ 41583093 w 222"/>
                  <a:gd name="T13" fmla="*/ 49446026 h 325"/>
                  <a:gd name="T14" fmla="*/ 41583093 w 222"/>
                  <a:gd name="T15" fmla="*/ 206025508 h 325"/>
                  <a:gd name="T16" fmla="*/ 41583093 w 222"/>
                  <a:gd name="T17" fmla="*/ 206025508 h 325"/>
                  <a:gd name="T18" fmla="*/ 98916612 w 222"/>
                  <a:gd name="T19" fmla="*/ 206025508 h 3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22" h="325">
                    <a:moveTo>
                      <a:pt x="157" y="325"/>
                    </a:moveTo>
                    <a:lnTo>
                      <a:pt x="157" y="78"/>
                    </a:lnTo>
                    <a:lnTo>
                      <a:pt x="222" y="78"/>
                    </a:lnTo>
                    <a:lnTo>
                      <a:pt x="222" y="0"/>
                    </a:lnTo>
                    <a:lnTo>
                      <a:pt x="0" y="0"/>
                    </a:lnTo>
                    <a:lnTo>
                      <a:pt x="0" y="78"/>
                    </a:lnTo>
                    <a:lnTo>
                      <a:pt x="66" y="78"/>
                    </a:lnTo>
                    <a:lnTo>
                      <a:pt x="66" y="325"/>
                    </a:lnTo>
                    <a:lnTo>
                      <a:pt x="157" y="3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46" name="T1">
                <a:extLst>
                  <a:ext uri="{FF2B5EF4-FFF2-40B4-BE49-F238E27FC236}">
                    <a16:creationId xmlns:a16="http://schemas.microsoft.com/office/drawing/2014/main" id="{97D1BECC-B43D-9C7B-584B-75549B338202}"/>
                  </a:ext>
                </a:extLst>
              </p:cNvPr>
              <p:cNvSpPr>
                <a:spLocks/>
              </p:cNvSpPr>
              <p:nvPr userDrawn="1"/>
            </p:nvSpPr>
            <p:spPr bwMode="auto">
              <a:xfrm>
                <a:off x="799033" y="168151"/>
                <a:ext cx="193675" cy="258763"/>
              </a:xfrm>
              <a:custGeom>
                <a:avLst/>
                <a:gdLst>
                  <a:gd name="T0" fmla="*/ 55443438 w 244"/>
                  <a:gd name="T1" fmla="*/ 49446026 h 325"/>
                  <a:gd name="T2" fmla="*/ 55443438 w 244"/>
                  <a:gd name="T3" fmla="*/ 206025508 h 325"/>
                  <a:gd name="T4" fmla="*/ 112776794 w 244"/>
                  <a:gd name="T5" fmla="*/ 206025508 h 325"/>
                  <a:gd name="T6" fmla="*/ 112776794 w 244"/>
                  <a:gd name="T7" fmla="*/ 49446026 h 325"/>
                  <a:gd name="T8" fmla="*/ 153729531 w 244"/>
                  <a:gd name="T9" fmla="*/ 49446026 h 325"/>
                  <a:gd name="T10" fmla="*/ 153729531 w 244"/>
                  <a:gd name="T11" fmla="*/ 0 h 325"/>
                  <a:gd name="T12" fmla="*/ 15751175 w 244"/>
                  <a:gd name="T13" fmla="*/ 0 h 325"/>
                  <a:gd name="T14" fmla="*/ 0 w 244"/>
                  <a:gd name="T15" fmla="*/ 49446026 h 325"/>
                  <a:gd name="T16" fmla="*/ 55443438 w 244"/>
                  <a:gd name="T17" fmla="*/ 49446026 h 3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44" h="325">
                    <a:moveTo>
                      <a:pt x="88" y="78"/>
                    </a:moveTo>
                    <a:lnTo>
                      <a:pt x="88" y="325"/>
                    </a:lnTo>
                    <a:lnTo>
                      <a:pt x="179" y="325"/>
                    </a:lnTo>
                    <a:lnTo>
                      <a:pt x="179" y="78"/>
                    </a:lnTo>
                    <a:lnTo>
                      <a:pt x="244" y="78"/>
                    </a:lnTo>
                    <a:lnTo>
                      <a:pt x="244" y="0"/>
                    </a:lnTo>
                    <a:lnTo>
                      <a:pt x="25" y="0"/>
                    </a:lnTo>
                    <a:lnTo>
                      <a:pt x="0" y="78"/>
                    </a:lnTo>
                    <a:lnTo>
                      <a:pt x="88"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47" name="V">
                <a:extLst>
                  <a:ext uri="{FF2B5EF4-FFF2-40B4-BE49-F238E27FC236}">
                    <a16:creationId xmlns:a16="http://schemas.microsoft.com/office/drawing/2014/main" id="{2C39C5BA-BAEE-4681-2E42-AB386BEA1976}"/>
                  </a:ext>
                </a:extLst>
              </p:cNvPr>
              <p:cNvSpPr>
                <a:spLocks/>
              </p:cNvSpPr>
              <p:nvPr userDrawn="1"/>
            </p:nvSpPr>
            <p:spPr bwMode="auto">
              <a:xfrm>
                <a:off x="567258" y="168151"/>
                <a:ext cx="230188" cy="258763"/>
              </a:xfrm>
              <a:custGeom>
                <a:avLst/>
                <a:gdLst>
                  <a:gd name="T0" fmla="*/ 116731600 w 289"/>
                  <a:gd name="T1" fmla="*/ 206025508 h 325"/>
                  <a:gd name="T2" fmla="*/ 183344344 w 289"/>
                  <a:gd name="T3" fmla="*/ 0 h 325"/>
                  <a:gd name="T4" fmla="*/ 124978544 w 289"/>
                  <a:gd name="T5" fmla="*/ 0 h 325"/>
                  <a:gd name="T6" fmla="*/ 90720356 w 289"/>
                  <a:gd name="T7" fmla="*/ 105865119 h 325"/>
                  <a:gd name="T8" fmla="*/ 85645069 w 289"/>
                  <a:gd name="T9" fmla="*/ 121079587 h 325"/>
                  <a:gd name="T10" fmla="*/ 85645069 w 289"/>
                  <a:gd name="T11" fmla="*/ 121079587 h 325"/>
                  <a:gd name="T12" fmla="*/ 85645069 w 289"/>
                  <a:gd name="T13" fmla="*/ 121079587 h 325"/>
                  <a:gd name="T14" fmla="*/ 85645069 w 289"/>
                  <a:gd name="T15" fmla="*/ 121079587 h 325"/>
                  <a:gd name="T16" fmla="*/ 85645069 w 289"/>
                  <a:gd name="T17" fmla="*/ 121079587 h 325"/>
                  <a:gd name="T18" fmla="*/ 85645069 w 289"/>
                  <a:gd name="T19" fmla="*/ 121079587 h 325"/>
                  <a:gd name="T20" fmla="*/ 85645069 w 289"/>
                  <a:gd name="T21" fmla="*/ 121079587 h 325"/>
                  <a:gd name="T22" fmla="*/ 81204592 w 289"/>
                  <a:gd name="T23" fmla="*/ 105865119 h 325"/>
                  <a:gd name="T24" fmla="*/ 57730991 w 289"/>
                  <a:gd name="T25" fmla="*/ 38035772 h 325"/>
                  <a:gd name="T26" fmla="*/ 0 w 289"/>
                  <a:gd name="T27" fmla="*/ 38035772 h 325"/>
                  <a:gd name="T28" fmla="*/ 57096978 w 289"/>
                  <a:gd name="T29" fmla="*/ 206025508 h 325"/>
                  <a:gd name="T30" fmla="*/ 116731600 w 289"/>
                  <a:gd name="T31" fmla="*/ 206025508 h 32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89" h="325">
                    <a:moveTo>
                      <a:pt x="184" y="325"/>
                    </a:moveTo>
                    <a:lnTo>
                      <a:pt x="289" y="0"/>
                    </a:lnTo>
                    <a:lnTo>
                      <a:pt x="197" y="0"/>
                    </a:lnTo>
                    <a:lnTo>
                      <a:pt x="143" y="167"/>
                    </a:lnTo>
                    <a:lnTo>
                      <a:pt x="135" y="191"/>
                    </a:lnTo>
                    <a:lnTo>
                      <a:pt x="128" y="167"/>
                    </a:lnTo>
                    <a:lnTo>
                      <a:pt x="91" y="60"/>
                    </a:lnTo>
                    <a:lnTo>
                      <a:pt x="0" y="60"/>
                    </a:lnTo>
                    <a:lnTo>
                      <a:pt x="90" y="325"/>
                    </a:lnTo>
                    <a:lnTo>
                      <a:pt x="184" y="3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grpSp>
          <p:nvGrpSpPr>
            <p:cNvPr id="4" name="_VTT_logo_102019_02_white_on_black" hidden="1">
              <a:extLst>
                <a:ext uri="{FF2B5EF4-FFF2-40B4-BE49-F238E27FC236}">
                  <a16:creationId xmlns:a16="http://schemas.microsoft.com/office/drawing/2014/main" id="{52488B6C-4089-462E-39AD-B84E99C7C962}"/>
                </a:ext>
              </a:extLst>
            </p:cNvPr>
            <p:cNvGrpSpPr>
              <a:grpSpLocks/>
            </p:cNvGrpSpPr>
            <p:nvPr userDrawn="1"/>
          </p:nvGrpSpPr>
          <p:grpSpPr bwMode="auto">
            <a:xfrm>
              <a:off x="7909204" y="1770762"/>
              <a:ext cx="971550" cy="655638"/>
              <a:chOff x="379933" y="-15999"/>
              <a:chExt cx="971550" cy="655638"/>
            </a:xfrm>
          </p:grpSpPr>
          <p:sp>
            <p:nvSpPr>
              <p:cNvPr id="40" name="Box">
                <a:extLst>
                  <a:ext uri="{FF2B5EF4-FFF2-40B4-BE49-F238E27FC236}">
                    <a16:creationId xmlns:a16="http://schemas.microsoft.com/office/drawing/2014/main" id="{993622A0-C97D-64C3-B01A-161267F56E43}"/>
                  </a:ext>
                </a:extLst>
              </p:cNvPr>
              <p:cNvSpPr>
                <a:spLocks noChangeArrowheads="1"/>
              </p:cNvSpPr>
              <p:nvPr userDrawn="1"/>
            </p:nvSpPr>
            <p:spPr bwMode="auto">
              <a:xfrm>
                <a:off x="379933" y="-15999"/>
                <a:ext cx="971550" cy="655638"/>
              </a:xfrm>
              <a:prstGeom prst="rect">
                <a:avLst/>
              </a:prstGeom>
              <a:solidFill>
                <a:srgbClr val="000000"/>
              </a:solidFill>
              <a:ln>
                <a:noFill/>
              </a:ln>
            </p:spPr>
            <p:txBody>
              <a:bodyPr/>
              <a:lstStyle>
                <a:lvl1pPr defTabSz="455613">
                  <a:defRPr b="1">
                    <a:solidFill>
                      <a:schemeClr val="tx1"/>
                    </a:solidFill>
                    <a:latin typeface="Verdana" panose="020B0604030504040204" pitchFamily="34" charset="0"/>
                  </a:defRPr>
                </a:lvl1pPr>
                <a:lvl2pPr marL="742950" indent="-285750" defTabSz="455613">
                  <a:defRPr b="1">
                    <a:solidFill>
                      <a:schemeClr val="tx1"/>
                    </a:solidFill>
                    <a:latin typeface="Verdana" panose="020B0604030504040204" pitchFamily="34" charset="0"/>
                  </a:defRPr>
                </a:lvl2pPr>
                <a:lvl3pPr marL="1143000" indent="-228600" defTabSz="455613">
                  <a:defRPr b="1">
                    <a:solidFill>
                      <a:schemeClr val="tx1"/>
                    </a:solidFill>
                    <a:latin typeface="Verdana" panose="020B0604030504040204" pitchFamily="34" charset="0"/>
                  </a:defRPr>
                </a:lvl3pPr>
                <a:lvl4pPr marL="1600200" indent="-228600" defTabSz="455613">
                  <a:defRPr b="1">
                    <a:solidFill>
                      <a:schemeClr val="tx1"/>
                    </a:solidFill>
                    <a:latin typeface="Verdana" panose="020B0604030504040204" pitchFamily="34" charset="0"/>
                  </a:defRPr>
                </a:lvl4pPr>
                <a:lvl5pPr marL="2057400" indent="-228600" defTabSz="455613">
                  <a:defRPr b="1">
                    <a:solidFill>
                      <a:schemeClr val="tx1"/>
                    </a:solidFill>
                    <a:latin typeface="Verdana" panose="020B0604030504040204" pitchFamily="34" charset="0"/>
                  </a:defRPr>
                </a:lvl5pPr>
                <a:lvl6pPr marL="2514600" indent="-228600" defTabSz="455613" eaLnBrk="0" fontAlgn="base" hangingPunct="0">
                  <a:spcBef>
                    <a:spcPct val="0"/>
                  </a:spcBef>
                  <a:spcAft>
                    <a:spcPct val="0"/>
                  </a:spcAft>
                  <a:defRPr b="1">
                    <a:solidFill>
                      <a:schemeClr val="tx1"/>
                    </a:solidFill>
                    <a:latin typeface="Verdana" panose="020B0604030504040204" pitchFamily="34" charset="0"/>
                  </a:defRPr>
                </a:lvl6pPr>
                <a:lvl7pPr marL="2971800" indent="-228600" defTabSz="455613" eaLnBrk="0" fontAlgn="base" hangingPunct="0">
                  <a:spcBef>
                    <a:spcPct val="0"/>
                  </a:spcBef>
                  <a:spcAft>
                    <a:spcPct val="0"/>
                  </a:spcAft>
                  <a:defRPr b="1">
                    <a:solidFill>
                      <a:schemeClr val="tx1"/>
                    </a:solidFill>
                    <a:latin typeface="Verdana" panose="020B0604030504040204" pitchFamily="34" charset="0"/>
                  </a:defRPr>
                </a:lvl7pPr>
                <a:lvl8pPr marL="3429000" indent="-228600" defTabSz="455613" eaLnBrk="0" fontAlgn="base" hangingPunct="0">
                  <a:spcBef>
                    <a:spcPct val="0"/>
                  </a:spcBef>
                  <a:spcAft>
                    <a:spcPct val="0"/>
                  </a:spcAft>
                  <a:defRPr b="1">
                    <a:solidFill>
                      <a:schemeClr val="tx1"/>
                    </a:solidFill>
                    <a:latin typeface="Verdana" panose="020B0604030504040204" pitchFamily="34" charset="0"/>
                  </a:defRPr>
                </a:lvl8pPr>
                <a:lvl9pPr marL="3886200" indent="-228600" defTabSz="455613" eaLnBrk="0" fontAlgn="base" hangingPunct="0">
                  <a:spcBef>
                    <a:spcPct val="0"/>
                  </a:spcBef>
                  <a:spcAft>
                    <a:spcPct val="0"/>
                  </a:spcAft>
                  <a:defRPr b="1">
                    <a:solidFill>
                      <a:schemeClr val="tx1"/>
                    </a:solidFill>
                    <a:latin typeface="Verdana" panose="020B0604030504040204" pitchFamily="34" charset="0"/>
                  </a:defRPr>
                </a:lvl9pPr>
              </a:lstStyle>
              <a:p>
                <a:pPr eaLnBrk="1" hangingPunct="1">
                  <a:defRPr/>
                </a:pPr>
                <a:endParaRPr lang="en-GB" altLang="de-DE" b="0">
                  <a:solidFill>
                    <a:srgbClr val="000000"/>
                  </a:solidFill>
                  <a:latin typeface="Arial" panose="020B0604020202020204" pitchFamily="34" charset="0"/>
                </a:endParaRPr>
              </a:p>
            </p:txBody>
          </p:sp>
          <p:sp>
            <p:nvSpPr>
              <p:cNvPr id="41" name="T2">
                <a:extLst>
                  <a:ext uri="{FF2B5EF4-FFF2-40B4-BE49-F238E27FC236}">
                    <a16:creationId xmlns:a16="http://schemas.microsoft.com/office/drawing/2014/main" id="{76C7BA46-A308-35BB-A67D-AA9B37C0B363}"/>
                  </a:ext>
                </a:extLst>
              </p:cNvPr>
              <p:cNvSpPr>
                <a:spLocks/>
              </p:cNvSpPr>
              <p:nvPr userDrawn="1"/>
            </p:nvSpPr>
            <p:spPr bwMode="auto">
              <a:xfrm>
                <a:off x="1011758" y="168151"/>
                <a:ext cx="176213" cy="258763"/>
              </a:xfrm>
              <a:custGeom>
                <a:avLst/>
                <a:gdLst>
                  <a:gd name="T0" fmla="*/ 98916612 w 222"/>
                  <a:gd name="T1" fmla="*/ 206025508 h 325"/>
                  <a:gd name="T2" fmla="*/ 98916612 w 222"/>
                  <a:gd name="T3" fmla="*/ 49446026 h 325"/>
                  <a:gd name="T4" fmla="*/ 139869466 w 222"/>
                  <a:gd name="T5" fmla="*/ 49446026 h 325"/>
                  <a:gd name="T6" fmla="*/ 139869466 w 222"/>
                  <a:gd name="T7" fmla="*/ 0 h 325"/>
                  <a:gd name="T8" fmla="*/ 0 w 222"/>
                  <a:gd name="T9" fmla="*/ 0 h 325"/>
                  <a:gd name="T10" fmla="*/ 0 w 222"/>
                  <a:gd name="T11" fmla="*/ 49446026 h 325"/>
                  <a:gd name="T12" fmla="*/ 41583093 w 222"/>
                  <a:gd name="T13" fmla="*/ 49446026 h 325"/>
                  <a:gd name="T14" fmla="*/ 41583093 w 222"/>
                  <a:gd name="T15" fmla="*/ 206025508 h 325"/>
                  <a:gd name="T16" fmla="*/ 41583093 w 222"/>
                  <a:gd name="T17" fmla="*/ 206025508 h 325"/>
                  <a:gd name="T18" fmla="*/ 98916612 w 222"/>
                  <a:gd name="T19" fmla="*/ 206025508 h 3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22" h="325">
                    <a:moveTo>
                      <a:pt x="157" y="325"/>
                    </a:moveTo>
                    <a:lnTo>
                      <a:pt x="157" y="78"/>
                    </a:lnTo>
                    <a:lnTo>
                      <a:pt x="222" y="78"/>
                    </a:lnTo>
                    <a:lnTo>
                      <a:pt x="222" y="0"/>
                    </a:lnTo>
                    <a:lnTo>
                      <a:pt x="0" y="0"/>
                    </a:lnTo>
                    <a:lnTo>
                      <a:pt x="0" y="78"/>
                    </a:lnTo>
                    <a:lnTo>
                      <a:pt x="66" y="78"/>
                    </a:lnTo>
                    <a:lnTo>
                      <a:pt x="66" y="325"/>
                    </a:lnTo>
                    <a:lnTo>
                      <a:pt x="157" y="3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42" name="T1">
                <a:extLst>
                  <a:ext uri="{FF2B5EF4-FFF2-40B4-BE49-F238E27FC236}">
                    <a16:creationId xmlns:a16="http://schemas.microsoft.com/office/drawing/2014/main" id="{C8DFF19E-67BC-104C-2120-EFCEA0AC4C82}"/>
                  </a:ext>
                </a:extLst>
              </p:cNvPr>
              <p:cNvSpPr>
                <a:spLocks/>
              </p:cNvSpPr>
              <p:nvPr userDrawn="1"/>
            </p:nvSpPr>
            <p:spPr bwMode="auto">
              <a:xfrm>
                <a:off x="799033" y="168151"/>
                <a:ext cx="193675" cy="258763"/>
              </a:xfrm>
              <a:custGeom>
                <a:avLst/>
                <a:gdLst>
                  <a:gd name="T0" fmla="*/ 55443438 w 244"/>
                  <a:gd name="T1" fmla="*/ 49446026 h 325"/>
                  <a:gd name="T2" fmla="*/ 55443438 w 244"/>
                  <a:gd name="T3" fmla="*/ 206025508 h 325"/>
                  <a:gd name="T4" fmla="*/ 112776794 w 244"/>
                  <a:gd name="T5" fmla="*/ 206025508 h 325"/>
                  <a:gd name="T6" fmla="*/ 112776794 w 244"/>
                  <a:gd name="T7" fmla="*/ 49446026 h 325"/>
                  <a:gd name="T8" fmla="*/ 153729531 w 244"/>
                  <a:gd name="T9" fmla="*/ 49446026 h 325"/>
                  <a:gd name="T10" fmla="*/ 153729531 w 244"/>
                  <a:gd name="T11" fmla="*/ 0 h 325"/>
                  <a:gd name="T12" fmla="*/ 15751175 w 244"/>
                  <a:gd name="T13" fmla="*/ 0 h 325"/>
                  <a:gd name="T14" fmla="*/ 0 w 244"/>
                  <a:gd name="T15" fmla="*/ 49446026 h 325"/>
                  <a:gd name="T16" fmla="*/ 55443438 w 244"/>
                  <a:gd name="T17" fmla="*/ 49446026 h 3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44" h="325">
                    <a:moveTo>
                      <a:pt x="88" y="78"/>
                    </a:moveTo>
                    <a:lnTo>
                      <a:pt x="88" y="325"/>
                    </a:lnTo>
                    <a:lnTo>
                      <a:pt x="179" y="325"/>
                    </a:lnTo>
                    <a:lnTo>
                      <a:pt x="179" y="78"/>
                    </a:lnTo>
                    <a:lnTo>
                      <a:pt x="244" y="78"/>
                    </a:lnTo>
                    <a:lnTo>
                      <a:pt x="244" y="0"/>
                    </a:lnTo>
                    <a:lnTo>
                      <a:pt x="25" y="0"/>
                    </a:lnTo>
                    <a:lnTo>
                      <a:pt x="0" y="78"/>
                    </a:lnTo>
                    <a:lnTo>
                      <a:pt x="88"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43" name="V">
                <a:extLst>
                  <a:ext uri="{FF2B5EF4-FFF2-40B4-BE49-F238E27FC236}">
                    <a16:creationId xmlns:a16="http://schemas.microsoft.com/office/drawing/2014/main" id="{2D639FCE-990C-64AA-65B2-15FD24035900}"/>
                  </a:ext>
                </a:extLst>
              </p:cNvPr>
              <p:cNvSpPr>
                <a:spLocks/>
              </p:cNvSpPr>
              <p:nvPr userDrawn="1"/>
            </p:nvSpPr>
            <p:spPr bwMode="auto">
              <a:xfrm>
                <a:off x="567258" y="168151"/>
                <a:ext cx="230188" cy="258763"/>
              </a:xfrm>
              <a:custGeom>
                <a:avLst/>
                <a:gdLst>
                  <a:gd name="T0" fmla="*/ 116731600 w 289"/>
                  <a:gd name="T1" fmla="*/ 206025508 h 325"/>
                  <a:gd name="T2" fmla="*/ 183344344 w 289"/>
                  <a:gd name="T3" fmla="*/ 0 h 325"/>
                  <a:gd name="T4" fmla="*/ 124978544 w 289"/>
                  <a:gd name="T5" fmla="*/ 0 h 325"/>
                  <a:gd name="T6" fmla="*/ 90720356 w 289"/>
                  <a:gd name="T7" fmla="*/ 105865119 h 325"/>
                  <a:gd name="T8" fmla="*/ 85645069 w 289"/>
                  <a:gd name="T9" fmla="*/ 121079587 h 325"/>
                  <a:gd name="T10" fmla="*/ 85645069 w 289"/>
                  <a:gd name="T11" fmla="*/ 121079587 h 325"/>
                  <a:gd name="T12" fmla="*/ 85645069 w 289"/>
                  <a:gd name="T13" fmla="*/ 121079587 h 325"/>
                  <a:gd name="T14" fmla="*/ 85645069 w 289"/>
                  <a:gd name="T15" fmla="*/ 121079587 h 325"/>
                  <a:gd name="T16" fmla="*/ 85645069 w 289"/>
                  <a:gd name="T17" fmla="*/ 121079587 h 325"/>
                  <a:gd name="T18" fmla="*/ 85645069 w 289"/>
                  <a:gd name="T19" fmla="*/ 121079587 h 325"/>
                  <a:gd name="T20" fmla="*/ 85645069 w 289"/>
                  <a:gd name="T21" fmla="*/ 121079587 h 325"/>
                  <a:gd name="T22" fmla="*/ 81204592 w 289"/>
                  <a:gd name="T23" fmla="*/ 105865119 h 325"/>
                  <a:gd name="T24" fmla="*/ 57730991 w 289"/>
                  <a:gd name="T25" fmla="*/ 38035772 h 325"/>
                  <a:gd name="T26" fmla="*/ 0 w 289"/>
                  <a:gd name="T27" fmla="*/ 38035772 h 325"/>
                  <a:gd name="T28" fmla="*/ 57096978 w 289"/>
                  <a:gd name="T29" fmla="*/ 206025508 h 325"/>
                  <a:gd name="T30" fmla="*/ 116731600 w 289"/>
                  <a:gd name="T31" fmla="*/ 206025508 h 32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89" h="325">
                    <a:moveTo>
                      <a:pt x="184" y="325"/>
                    </a:moveTo>
                    <a:lnTo>
                      <a:pt x="289" y="0"/>
                    </a:lnTo>
                    <a:lnTo>
                      <a:pt x="197" y="0"/>
                    </a:lnTo>
                    <a:lnTo>
                      <a:pt x="143" y="167"/>
                    </a:lnTo>
                    <a:lnTo>
                      <a:pt x="135" y="191"/>
                    </a:lnTo>
                    <a:lnTo>
                      <a:pt x="128" y="167"/>
                    </a:lnTo>
                    <a:lnTo>
                      <a:pt x="91" y="60"/>
                    </a:lnTo>
                    <a:lnTo>
                      <a:pt x="0" y="60"/>
                    </a:lnTo>
                    <a:lnTo>
                      <a:pt x="90" y="325"/>
                    </a:lnTo>
                    <a:lnTo>
                      <a:pt x="184" y="3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grpSp>
          <p:nvGrpSpPr>
            <p:cNvPr id="5" name="_VTT_logo_102019_03_white_on_blue" hidden="1">
              <a:extLst>
                <a:ext uri="{FF2B5EF4-FFF2-40B4-BE49-F238E27FC236}">
                  <a16:creationId xmlns:a16="http://schemas.microsoft.com/office/drawing/2014/main" id="{7401CE0D-1315-D297-F9F0-6876C56067CB}"/>
                </a:ext>
              </a:extLst>
            </p:cNvPr>
            <p:cNvGrpSpPr>
              <a:grpSpLocks/>
            </p:cNvGrpSpPr>
            <p:nvPr userDrawn="1"/>
          </p:nvGrpSpPr>
          <p:grpSpPr bwMode="auto">
            <a:xfrm>
              <a:off x="7909204" y="1770762"/>
              <a:ext cx="971550" cy="655638"/>
              <a:chOff x="379933" y="-15999"/>
              <a:chExt cx="971550" cy="655638"/>
            </a:xfrm>
          </p:grpSpPr>
          <p:sp>
            <p:nvSpPr>
              <p:cNvPr id="36" name="Box">
                <a:extLst>
                  <a:ext uri="{FF2B5EF4-FFF2-40B4-BE49-F238E27FC236}">
                    <a16:creationId xmlns:a16="http://schemas.microsoft.com/office/drawing/2014/main" id="{2EA386AB-6209-54DE-B94A-62F1420646BA}"/>
                  </a:ext>
                </a:extLst>
              </p:cNvPr>
              <p:cNvSpPr>
                <a:spLocks noChangeArrowheads="1"/>
              </p:cNvSpPr>
              <p:nvPr userDrawn="1"/>
            </p:nvSpPr>
            <p:spPr bwMode="auto">
              <a:xfrm>
                <a:off x="379933" y="-15999"/>
                <a:ext cx="971550" cy="655638"/>
              </a:xfrm>
              <a:prstGeom prst="rect">
                <a:avLst/>
              </a:prstGeom>
              <a:solidFill>
                <a:srgbClr val="005794"/>
              </a:solidFill>
              <a:ln>
                <a:noFill/>
              </a:ln>
            </p:spPr>
            <p:txBody>
              <a:bodyPr/>
              <a:lstStyle>
                <a:lvl1pPr defTabSz="455613">
                  <a:defRPr b="1">
                    <a:solidFill>
                      <a:schemeClr val="tx1"/>
                    </a:solidFill>
                    <a:latin typeface="Verdana" panose="020B0604030504040204" pitchFamily="34" charset="0"/>
                  </a:defRPr>
                </a:lvl1pPr>
                <a:lvl2pPr marL="742950" indent="-285750" defTabSz="455613">
                  <a:defRPr b="1">
                    <a:solidFill>
                      <a:schemeClr val="tx1"/>
                    </a:solidFill>
                    <a:latin typeface="Verdana" panose="020B0604030504040204" pitchFamily="34" charset="0"/>
                  </a:defRPr>
                </a:lvl2pPr>
                <a:lvl3pPr marL="1143000" indent="-228600" defTabSz="455613">
                  <a:defRPr b="1">
                    <a:solidFill>
                      <a:schemeClr val="tx1"/>
                    </a:solidFill>
                    <a:latin typeface="Verdana" panose="020B0604030504040204" pitchFamily="34" charset="0"/>
                  </a:defRPr>
                </a:lvl3pPr>
                <a:lvl4pPr marL="1600200" indent="-228600" defTabSz="455613">
                  <a:defRPr b="1">
                    <a:solidFill>
                      <a:schemeClr val="tx1"/>
                    </a:solidFill>
                    <a:latin typeface="Verdana" panose="020B0604030504040204" pitchFamily="34" charset="0"/>
                  </a:defRPr>
                </a:lvl4pPr>
                <a:lvl5pPr marL="2057400" indent="-228600" defTabSz="455613">
                  <a:defRPr b="1">
                    <a:solidFill>
                      <a:schemeClr val="tx1"/>
                    </a:solidFill>
                    <a:latin typeface="Verdana" panose="020B0604030504040204" pitchFamily="34" charset="0"/>
                  </a:defRPr>
                </a:lvl5pPr>
                <a:lvl6pPr marL="2514600" indent="-228600" defTabSz="455613" eaLnBrk="0" fontAlgn="base" hangingPunct="0">
                  <a:spcBef>
                    <a:spcPct val="0"/>
                  </a:spcBef>
                  <a:spcAft>
                    <a:spcPct val="0"/>
                  </a:spcAft>
                  <a:defRPr b="1">
                    <a:solidFill>
                      <a:schemeClr val="tx1"/>
                    </a:solidFill>
                    <a:latin typeface="Verdana" panose="020B0604030504040204" pitchFamily="34" charset="0"/>
                  </a:defRPr>
                </a:lvl6pPr>
                <a:lvl7pPr marL="2971800" indent="-228600" defTabSz="455613" eaLnBrk="0" fontAlgn="base" hangingPunct="0">
                  <a:spcBef>
                    <a:spcPct val="0"/>
                  </a:spcBef>
                  <a:spcAft>
                    <a:spcPct val="0"/>
                  </a:spcAft>
                  <a:defRPr b="1">
                    <a:solidFill>
                      <a:schemeClr val="tx1"/>
                    </a:solidFill>
                    <a:latin typeface="Verdana" panose="020B0604030504040204" pitchFamily="34" charset="0"/>
                  </a:defRPr>
                </a:lvl7pPr>
                <a:lvl8pPr marL="3429000" indent="-228600" defTabSz="455613" eaLnBrk="0" fontAlgn="base" hangingPunct="0">
                  <a:spcBef>
                    <a:spcPct val="0"/>
                  </a:spcBef>
                  <a:spcAft>
                    <a:spcPct val="0"/>
                  </a:spcAft>
                  <a:defRPr b="1">
                    <a:solidFill>
                      <a:schemeClr val="tx1"/>
                    </a:solidFill>
                    <a:latin typeface="Verdana" panose="020B0604030504040204" pitchFamily="34" charset="0"/>
                  </a:defRPr>
                </a:lvl8pPr>
                <a:lvl9pPr marL="3886200" indent="-228600" defTabSz="455613" eaLnBrk="0" fontAlgn="base" hangingPunct="0">
                  <a:spcBef>
                    <a:spcPct val="0"/>
                  </a:spcBef>
                  <a:spcAft>
                    <a:spcPct val="0"/>
                  </a:spcAft>
                  <a:defRPr b="1">
                    <a:solidFill>
                      <a:schemeClr val="tx1"/>
                    </a:solidFill>
                    <a:latin typeface="Verdana" panose="020B0604030504040204" pitchFamily="34" charset="0"/>
                  </a:defRPr>
                </a:lvl9pPr>
              </a:lstStyle>
              <a:p>
                <a:pPr eaLnBrk="1" hangingPunct="1">
                  <a:defRPr/>
                </a:pPr>
                <a:endParaRPr lang="en-GB" altLang="de-DE" b="0">
                  <a:solidFill>
                    <a:srgbClr val="000000"/>
                  </a:solidFill>
                  <a:latin typeface="Arial" panose="020B0604020202020204" pitchFamily="34" charset="0"/>
                </a:endParaRPr>
              </a:p>
            </p:txBody>
          </p:sp>
          <p:sp>
            <p:nvSpPr>
              <p:cNvPr id="37" name="T2">
                <a:extLst>
                  <a:ext uri="{FF2B5EF4-FFF2-40B4-BE49-F238E27FC236}">
                    <a16:creationId xmlns:a16="http://schemas.microsoft.com/office/drawing/2014/main" id="{23AC4AFF-3689-3EB7-A19E-41FFE793C07A}"/>
                  </a:ext>
                </a:extLst>
              </p:cNvPr>
              <p:cNvSpPr>
                <a:spLocks/>
              </p:cNvSpPr>
              <p:nvPr userDrawn="1"/>
            </p:nvSpPr>
            <p:spPr bwMode="auto">
              <a:xfrm>
                <a:off x="1011758" y="168151"/>
                <a:ext cx="176213" cy="258763"/>
              </a:xfrm>
              <a:custGeom>
                <a:avLst/>
                <a:gdLst>
                  <a:gd name="T0" fmla="*/ 98916612 w 222"/>
                  <a:gd name="T1" fmla="*/ 206025508 h 325"/>
                  <a:gd name="T2" fmla="*/ 98916612 w 222"/>
                  <a:gd name="T3" fmla="*/ 49446026 h 325"/>
                  <a:gd name="T4" fmla="*/ 139869466 w 222"/>
                  <a:gd name="T5" fmla="*/ 49446026 h 325"/>
                  <a:gd name="T6" fmla="*/ 139869466 w 222"/>
                  <a:gd name="T7" fmla="*/ 0 h 325"/>
                  <a:gd name="T8" fmla="*/ 0 w 222"/>
                  <a:gd name="T9" fmla="*/ 0 h 325"/>
                  <a:gd name="T10" fmla="*/ 0 w 222"/>
                  <a:gd name="T11" fmla="*/ 49446026 h 325"/>
                  <a:gd name="T12" fmla="*/ 41583093 w 222"/>
                  <a:gd name="T13" fmla="*/ 49446026 h 325"/>
                  <a:gd name="T14" fmla="*/ 41583093 w 222"/>
                  <a:gd name="T15" fmla="*/ 206025508 h 325"/>
                  <a:gd name="T16" fmla="*/ 41583093 w 222"/>
                  <a:gd name="T17" fmla="*/ 206025508 h 325"/>
                  <a:gd name="T18" fmla="*/ 98916612 w 222"/>
                  <a:gd name="T19" fmla="*/ 206025508 h 3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22" h="325">
                    <a:moveTo>
                      <a:pt x="157" y="325"/>
                    </a:moveTo>
                    <a:lnTo>
                      <a:pt x="157" y="78"/>
                    </a:lnTo>
                    <a:lnTo>
                      <a:pt x="222" y="78"/>
                    </a:lnTo>
                    <a:lnTo>
                      <a:pt x="222" y="0"/>
                    </a:lnTo>
                    <a:lnTo>
                      <a:pt x="0" y="0"/>
                    </a:lnTo>
                    <a:lnTo>
                      <a:pt x="0" y="78"/>
                    </a:lnTo>
                    <a:lnTo>
                      <a:pt x="66" y="78"/>
                    </a:lnTo>
                    <a:lnTo>
                      <a:pt x="66" y="325"/>
                    </a:lnTo>
                    <a:lnTo>
                      <a:pt x="157" y="3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38" name="T1">
                <a:extLst>
                  <a:ext uri="{FF2B5EF4-FFF2-40B4-BE49-F238E27FC236}">
                    <a16:creationId xmlns:a16="http://schemas.microsoft.com/office/drawing/2014/main" id="{ACEF8CFA-2DCF-F25D-337D-F413BCDD33F9}"/>
                  </a:ext>
                </a:extLst>
              </p:cNvPr>
              <p:cNvSpPr>
                <a:spLocks/>
              </p:cNvSpPr>
              <p:nvPr userDrawn="1"/>
            </p:nvSpPr>
            <p:spPr bwMode="auto">
              <a:xfrm>
                <a:off x="799033" y="168151"/>
                <a:ext cx="193675" cy="258763"/>
              </a:xfrm>
              <a:custGeom>
                <a:avLst/>
                <a:gdLst>
                  <a:gd name="T0" fmla="*/ 55443438 w 244"/>
                  <a:gd name="T1" fmla="*/ 49446026 h 325"/>
                  <a:gd name="T2" fmla="*/ 55443438 w 244"/>
                  <a:gd name="T3" fmla="*/ 206025508 h 325"/>
                  <a:gd name="T4" fmla="*/ 112776794 w 244"/>
                  <a:gd name="T5" fmla="*/ 206025508 h 325"/>
                  <a:gd name="T6" fmla="*/ 112776794 w 244"/>
                  <a:gd name="T7" fmla="*/ 49446026 h 325"/>
                  <a:gd name="T8" fmla="*/ 153729531 w 244"/>
                  <a:gd name="T9" fmla="*/ 49446026 h 325"/>
                  <a:gd name="T10" fmla="*/ 153729531 w 244"/>
                  <a:gd name="T11" fmla="*/ 0 h 325"/>
                  <a:gd name="T12" fmla="*/ 15751175 w 244"/>
                  <a:gd name="T13" fmla="*/ 0 h 325"/>
                  <a:gd name="T14" fmla="*/ 0 w 244"/>
                  <a:gd name="T15" fmla="*/ 49446026 h 325"/>
                  <a:gd name="T16" fmla="*/ 55443438 w 244"/>
                  <a:gd name="T17" fmla="*/ 49446026 h 3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44" h="325">
                    <a:moveTo>
                      <a:pt x="88" y="78"/>
                    </a:moveTo>
                    <a:lnTo>
                      <a:pt x="88" y="325"/>
                    </a:lnTo>
                    <a:lnTo>
                      <a:pt x="179" y="325"/>
                    </a:lnTo>
                    <a:lnTo>
                      <a:pt x="179" y="78"/>
                    </a:lnTo>
                    <a:lnTo>
                      <a:pt x="244" y="78"/>
                    </a:lnTo>
                    <a:lnTo>
                      <a:pt x="244" y="0"/>
                    </a:lnTo>
                    <a:lnTo>
                      <a:pt x="25" y="0"/>
                    </a:lnTo>
                    <a:lnTo>
                      <a:pt x="0" y="78"/>
                    </a:lnTo>
                    <a:lnTo>
                      <a:pt x="88"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39" name="V">
                <a:extLst>
                  <a:ext uri="{FF2B5EF4-FFF2-40B4-BE49-F238E27FC236}">
                    <a16:creationId xmlns:a16="http://schemas.microsoft.com/office/drawing/2014/main" id="{CDF339AE-FB5F-E1B8-4679-DDC70C45D218}"/>
                  </a:ext>
                </a:extLst>
              </p:cNvPr>
              <p:cNvSpPr>
                <a:spLocks/>
              </p:cNvSpPr>
              <p:nvPr userDrawn="1"/>
            </p:nvSpPr>
            <p:spPr bwMode="auto">
              <a:xfrm>
                <a:off x="567258" y="168151"/>
                <a:ext cx="230188" cy="258763"/>
              </a:xfrm>
              <a:custGeom>
                <a:avLst/>
                <a:gdLst>
                  <a:gd name="T0" fmla="*/ 116731600 w 289"/>
                  <a:gd name="T1" fmla="*/ 206025508 h 325"/>
                  <a:gd name="T2" fmla="*/ 183344344 w 289"/>
                  <a:gd name="T3" fmla="*/ 0 h 325"/>
                  <a:gd name="T4" fmla="*/ 124978544 w 289"/>
                  <a:gd name="T5" fmla="*/ 0 h 325"/>
                  <a:gd name="T6" fmla="*/ 90720356 w 289"/>
                  <a:gd name="T7" fmla="*/ 105865119 h 325"/>
                  <a:gd name="T8" fmla="*/ 85645069 w 289"/>
                  <a:gd name="T9" fmla="*/ 121079587 h 325"/>
                  <a:gd name="T10" fmla="*/ 85645069 w 289"/>
                  <a:gd name="T11" fmla="*/ 121079587 h 325"/>
                  <a:gd name="T12" fmla="*/ 85645069 w 289"/>
                  <a:gd name="T13" fmla="*/ 121079587 h 325"/>
                  <a:gd name="T14" fmla="*/ 85645069 w 289"/>
                  <a:gd name="T15" fmla="*/ 121079587 h 325"/>
                  <a:gd name="T16" fmla="*/ 85645069 w 289"/>
                  <a:gd name="T17" fmla="*/ 121079587 h 325"/>
                  <a:gd name="T18" fmla="*/ 85645069 w 289"/>
                  <a:gd name="T19" fmla="*/ 121079587 h 325"/>
                  <a:gd name="T20" fmla="*/ 85645069 w 289"/>
                  <a:gd name="T21" fmla="*/ 121079587 h 325"/>
                  <a:gd name="T22" fmla="*/ 81204592 w 289"/>
                  <a:gd name="T23" fmla="*/ 105865119 h 325"/>
                  <a:gd name="T24" fmla="*/ 57730991 w 289"/>
                  <a:gd name="T25" fmla="*/ 38035772 h 325"/>
                  <a:gd name="T26" fmla="*/ 0 w 289"/>
                  <a:gd name="T27" fmla="*/ 38035772 h 325"/>
                  <a:gd name="T28" fmla="*/ 57096978 w 289"/>
                  <a:gd name="T29" fmla="*/ 206025508 h 325"/>
                  <a:gd name="T30" fmla="*/ 116731600 w 289"/>
                  <a:gd name="T31" fmla="*/ 206025508 h 32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89" h="325">
                    <a:moveTo>
                      <a:pt x="184" y="325"/>
                    </a:moveTo>
                    <a:lnTo>
                      <a:pt x="289" y="0"/>
                    </a:lnTo>
                    <a:lnTo>
                      <a:pt x="197" y="0"/>
                    </a:lnTo>
                    <a:lnTo>
                      <a:pt x="143" y="167"/>
                    </a:lnTo>
                    <a:lnTo>
                      <a:pt x="135" y="191"/>
                    </a:lnTo>
                    <a:lnTo>
                      <a:pt x="128" y="167"/>
                    </a:lnTo>
                    <a:lnTo>
                      <a:pt x="91" y="60"/>
                    </a:lnTo>
                    <a:lnTo>
                      <a:pt x="0" y="60"/>
                    </a:lnTo>
                    <a:lnTo>
                      <a:pt x="90" y="325"/>
                    </a:lnTo>
                    <a:lnTo>
                      <a:pt x="184" y="3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grpSp>
          <p:nvGrpSpPr>
            <p:cNvPr id="6" name="_VTT_logo_102019_04_white_on_dark_grey" hidden="1">
              <a:extLst>
                <a:ext uri="{FF2B5EF4-FFF2-40B4-BE49-F238E27FC236}">
                  <a16:creationId xmlns:a16="http://schemas.microsoft.com/office/drawing/2014/main" id="{D9BD0951-628D-1C07-3620-F95C819E3F9A}"/>
                </a:ext>
              </a:extLst>
            </p:cNvPr>
            <p:cNvGrpSpPr>
              <a:grpSpLocks/>
            </p:cNvGrpSpPr>
            <p:nvPr userDrawn="1"/>
          </p:nvGrpSpPr>
          <p:grpSpPr bwMode="auto">
            <a:xfrm>
              <a:off x="7909204" y="1770762"/>
              <a:ext cx="971550" cy="655638"/>
              <a:chOff x="379933" y="-15999"/>
              <a:chExt cx="971550" cy="655638"/>
            </a:xfrm>
          </p:grpSpPr>
          <p:sp>
            <p:nvSpPr>
              <p:cNvPr id="32" name="Box">
                <a:extLst>
                  <a:ext uri="{FF2B5EF4-FFF2-40B4-BE49-F238E27FC236}">
                    <a16:creationId xmlns:a16="http://schemas.microsoft.com/office/drawing/2014/main" id="{8ADE6063-D142-50FE-B262-B9B65CA32392}"/>
                  </a:ext>
                </a:extLst>
              </p:cNvPr>
              <p:cNvSpPr>
                <a:spLocks noChangeArrowheads="1"/>
              </p:cNvSpPr>
              <p:nvPr userDrawn="1"/>
            </p:nvSpPr>
            <p:spPr bwMode="auto">
              <a:xfrm>
                <a:off x="379933" y="-15999"/>
                <a:ext cx="971550" cy="655638"/>
              </a:xfrm>
              <a:prstGeom prst="rect">
                <a:avLst/>
              </a:prstGeom>
              <a:solidFill>
                <a:srgbClr val="AFAFAF"/>
              </a:solidFill>
              <a:ln>
                <a:noFill/>
              </a:ln>
            </p:spPr>
            <p:txBody>
              <a:bodyPr/>
              <a:lstStyle>
                <a:lvl1pPr defTabSz="455613">
                  <a:defRPr b="1">
                    <a:solidFill>
                      <a:schemeClr val="tx1"/>
                    </a:solidFill>
                    <a:latin typeface="Verdana" panose="020B0604030504040204" pitchFamily="34" charset="0"/>
                  </a:defRPr>
                </a:lvl1pPr>
                <a:lvl2pPr marL="742950" indent="-285750" defTabSz="455613">
                  <a:defRPr b="1">
                    <a:solidFill>
                      <a:schemeClr val="tx1"/>
                    </a:solidFill>
                    <a:latin typeface="Verdana" panose="020B0604030504040204" pitchFamily="34" charset="0"/>
                  </a:defRPr>
                </a:lvl2pPr>
                <a:lvl3pPr marL="1143000" indent="-228600" defTabSz="455613">
                  <a:defRPr b="1">
                    <a:solidFill>
                      <a:schemeClr val="tx1"/>
                    </a:solidFill>
                    <a:latin typeface="Verdana" panose="020B0604030504040204" pitchFamily="34" charset="0"/>
                  </a:defRPr>
                </a:lvl3pPr>
                <a:lvl4pPr marL="1600200" indent="-228600" defTabSz="455613">
                  <a:defRPr b="1">
                    <a:solidFill>
                      <a:schemeClr val="tx1"/>
                    </a:solidFill>
                    <a:latin typeface="Verdana" panose="020B0604030504040204" pitchFamily="34" charset="0"/>
                  </a:defRPr>
                </a:lvl4pPr>
                <a:lvl5pPr marL="2057400" indent="-228600" defTabSz="455613">
                  <a:defRPr b="1">
                    <a:solidFill>
                      <a:schemeClr val="tx1"/>
                    </a:solidFill>
                    <a:latin typeface="Verdana" panose="020B0604030504040204" pitchFamily="34" charset="0"/>
                  </a:defRPr>
                </a:lvl5pPr>
                <a:lvl6pPr marL="2514600" indent="-228600" defTabSz="455613" eaLnBrk="0" fontAlgn="base" hangingPunct="0">
                  <a:spcBef>
                    <a:spcPct val="0"/>
                  </a:spcBef>
                  <a:spcAft>
                    <a:spcPct val="0"/>
                  </a:spcAft>
                  <a:defRPr b="1">
                    <a:solidFill>
                      <a:schemeClr val="tx1"/>
                    </a:solidFill>
                    <a:latin typeface="Verdana" panose="020B0604030504040204" pitchFamily="34" charset="0"/>
                  </a:defRPr>
                </a:lvl6pPr>
                <a:lvl7pPr marL="2971800" indent="-228600" defTabSz="455613" eaLnBrk="0" fontAlgn="base" hangingPunct="0">
                  <a:spcBef>
                    <a:spcPct val="0"/>
                  </a:spcBef>
                  <a:spcAft>
                    <a:spcPct val="0"/>
                  </a:spcAft>
                  <a:defRPr b="1">
                    <a:solidFill>
                      <a:schemeClr val="tx1"/>
                    </a:solidFill>
                    <a:latin typeface="Verdana" panose="020B0604030504040204" pitchFamily="34" charset="0"/>
                  </a:defRPr>
                </a:lvl7pPr>
                <a:lvl8pPr marL="3429000" indent="-228600" defTabSz="455613" eaLnBrk="0" fontAlgn="base" hangingPunct="0">
                  <a:spcBef>
                    <a:spcPct val="0"/>
                  </a:spcBef>
                  <a:spcAft>
                    <a:spcPct val="0"/>
                  </a:spcAft>
                  <a:defRPr b="1">
                    <a:solidFill>
                      <a:schemeClr val="tx1"/>
                    </a:solidFill>
                    <a:latin typeface="Verdana" panose="020B0604030504040204" pitchFamily="34" charset="0"/>
                  </a:defRPr>
                </a:lvl8pPr>
                <a:lvl9pPr marL="3886200" indent="-228600" defTabSz="455613" eaLnBrk="0" fontAlgn="base" hangingPunct="0">
                  <a:spcBef>
                    <a:spcPct val="0"/>
                  </a:spcBef>
                  <a:spcAft>
                    <a:spcPct val="0"/>
                  </a:spcAft>
                  <a:defRPr b="1">
                    <a:solidFill>
                      <a:schemeClr val="tx1"/>
                    </a:solidFill>
                    <a:latin typeface="Verdana" panose="020B0604030504040204" pitchFamily="34" charset="0"/>
                  </a:defRPr>
                </a:lvl9pPr>
              </a:lstStyle>
              <a:p>
                <a:pPr eaLnBrk="1" hangingPunct="1">
                  <a:defRPr/>
                </a:pPr>
                <a:endParaRPr lang="en-GB" altLang="de-DE" b="0">
                  <a:solidFill>
                    <a:srgbClr val="000000"/>
                  </a:solidFill>
                  <a:latin typeface="Arial" panose="020B0604020202020204" pitchFamily="34" charset="0"/>
                </a:endParaRPr>
              </a:p>
            </p:txBody>
          </p:sp>
          <p:sp>
            <p:nvSpPr>
              <p:cNvPr id="33" name="T2">
                <a:extLst>
                  <a:ext uri="{FF2B5EF4-FFF2-40B4-BE49-F238E27FC236}">
                    <a16:creationId xmlns:a16="http://schemas.microsoft.com/office/drawing/2014/main" id="{DDABF3B9-2EA0-C615-DE2B-1359E9F96BAF}"/>
                  </a:ext>
                </a:extLst>
              </p:cNvPr>
              <p:cNvSpPr>
                <a:spLocks/>
              </p:cNvSpPr>
              <p:nvPr userDrawn="1"/>
            </p:nvSpPr>
            <p:spPr bwMode="auto">
              <a:xfrm>
                <a:off x="1011758" y="168151"/>
                <a:ext cx="176213" cy="258763"/>
              </a:xfrm>
              <a:custGeom>
                <a:avLst/>
                <a:gdLst>
                  <a:gd name="T0" fmla="*/ 98916612 w 222"/>
                  <a:gd name="T1" fmla="*/ 206025508 h 325"/>
                  <a:gd name="T2" fmla="*/ 98916612 w 222"/>
                  <a:gd name="T3" fmla="*/ 49446026 h 325"/>
                  <a:gd name="T4" fmla="*/ 139869466 w 222"/>
                  <a:gd name="T5" fmla="*/ 49446026 h 325"/>
                  <a:gd name="T6" fmla="*/ 139869466 w 222"/>
                  <a:gd name="T7" fmla="*/ 0 h 325"/>
                  <a:gd name="T8" fmla="*/ 0 w 222"/>
                  <a:gd name="T9" fmla="*/ 0 h 325"/>
                  <a:gd name="T10" fmla="*/ 0 w 222"/>
                  <a:gd name="T11" fmla="*/ 49446026 h 325"/>
                  <a:gd name="T12" fmla="*/ 41583093 w 222"/>
                  <a:gd name="T13" fmla="*/ 49446026 h 325"/>
                  <a:gd name="T14" fmla="*/ 41583093 w 222"/>
                  <a:gd name="T15" fmla="*/ 206025508 h 325"/>
                  <a:gd name="T16" fmla="*/ 41583093 w 222"/>
                  <a:gd name="T17" fmla="*/ 206025508 h 325"/>
                  <a:gd name="T18" fmla="*/ 98916612 w 222"/>
                  <a:gd name="T19" fmla="*/ 206025508 h 3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22" h="325">
                    <a:moveTo>
                      <a:pt x="157" y="325"/>
                    </a:moveTo>
                    <a:lnTo>
                      <a:pt x="157" y="78"/>
                    </a:lnTo>
                    <a:lnTo>
                      <a:pt x="222" y="78"/>
                    </a:lnTo>
                    <a:lnTo>
                      <a:pt x="222" y="0"/>
                    </a:lnTo>
                    <a:lnTo>
                      <a:pt x="0" y="0"/>
                    </a:lnTo>
                    <a:lnTo>
                      <a:pt x="0" y="78"/>
                    </a:lnTo>
                    <a:lnTo>
                      <a:pt x="66" y="78"/>
                    </a:lnTo>
                    <a:lnTo>
                      <a:pt x="66" y="325"/>
                    </a:lnTo>
                    <a:lnTo>
                      <a:pt x="157" y="3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34" name="T1">
                <a:extLst>
                  <a:ext uri="{FF2B5EF4-FFF2-40B4-BE49-F238E27FC236}">
                    <a16:creationId xmlns:a16="http://schemas.microsoft.com/office/drawing/2014/main" id="{A771F06D-A2CC-E0B4-CD9F-BB2E16925D60}"/>
                  </a:ext>
                </a:extLst>
              </p:cNvPr>
              <p:cNvSpPr>
                <a:spLocks/>
              </p:cNvSpPr>
              <p:nvPr userDrawn="1"/>
            </p:nvSpPr>
            <p:spPr bwMode="auto">
              <a:xfrm>
                <a:off x="799033" y="168151"/>
                <a:ext cx="193675" cy="258763"/>
              </a:xfrm>
              <a:custGeom>
                <a:avLst/>
                <a:gdLst>
                  <a:gd name="T0" fmla="*/ 55443438 w 244"/>
                  <a:gd name="T1" fmla="*/ 49446026 h 325"/>
                  <a:gd name="T2" fmla="*/ 55443438 w 244"/>
                  <a:gd name="T3" fmla="*/ 206025508 h 325"/>
                  <a:gd name="T4" fmla="*/ 112776794 w 244"/>
                  <a:gd name="T5" fmla="*/ 206025508 h 325"/>
                  <a:gd name="T6" fmla="*/ 112776794 w 244"/>
                  <a:gd name="T7" fmla="*/ 49446026 h 325"/>
                  <a:gd name="T8" fmla="*/ 153729531 w 244"/>
                  <a:gd name="T9" fmla="*/ 49446026 h 325"/>
                  <a:gd name="T10" fmla="*/ 153729531 w 244"/>
                  <a:gd name="T11" fmla="*/ 0 h 325"/>
                  <a:gd name="T12" fmla="*/ 15751175 w 244"/>
                  <a:gd name="T13" fmla="*/ 0 h 325"/>
                  <a:gd name="T14" fmla="*/ 0 w 244"/>
                  <a:gd name="T15" fmla="*/ 49446026 h 325"/>
                  <a:gd name="T16" fmla="*/ 55443438 w 244"/>
                  <a:gd name="T17" fmla="*/ 49446026 h 3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44" h="325">
                    <a:moveTo>
                      <a:pt x="88" y="78"/>
                    </a:moveTo>
                    <a:lnTo>
                      <a:pt x="88" y="325"/>
                    </a:lnTo>
                    <a:lnTo>
                      <a:pt x="179" y="325"/>
                    </a:lnTo>
                    <a:lnTo>
                      <a:pt x="179" y="78"/>
                    </a:lnTo>
                    <a:lnTo>
                      <a:pt x="244" y="78"/>
                    </a:lnTo>
                    <a:lnTo>
                      <a:pt x="244" y="0"/>
                    </a:lnTo>
                    <a:lnTo>
                      <a:pt x="25" y="0"/>
                    </a:lnTo>
                    <a:lnTo>
                      <a:pt x="0" y="78"/>
                    </a:lnTo>
                    <a:lnTo>
                      <a:pt x="88"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35" name="V">
                <a:extLst>
                  <a:ext uri="{FF2B5EF4-FFF2-40B4-BE49-F238E27FC236}">
                    <a16:creationId xmlns:a16="http://schemas.microsoft.com/office/drawing/2014/main" id="{444192C2-43F4-5A5C-D33B-FDD484969543}"/>
                  </a:ext>
                </a:extLst>
              </p:cNvPr>
              <p:cNvSpPr>
                <a:spLocks/>
              </p:cNvSpPr>
              <p:nvPr userDrawn="1"/>
            </p:nvSpPr>
            <p:spPr bwMode="auto">
              <a:xfrm>
                <a:off x="567258" y="168151"/>
                <a:ext cx="230188" cy="258763"/>
              </a:xfrm>
              <a:custGeom>
                <a:avLst/>
                <a:gdLst>
                  <a:gd name="T0" fmla="*/ 116731600 w 289"/>
                  <a:gd name="T1" fmla="*/ 206025508 h 325"/>
                  <a:gd name="T2" fmla="*/ 183344344 w 289"/>
                  <a:gd name="T3" fmla="*/ 0 h 325"/>
                  <a:gd name="T4" fmla="*/ 124978544 w 289"/>
                  <a:gd name="T5" fmla="*/ 0 h 325"/>
                  <a:gd name="T6" fmla="*/ 90720356 w 289"/>
                  <a:gd name="T7" fmla="*/ 105865119 h 325"/>
                  <a:gd name="T8" fmla="*/ 85645069 w 289"/>
                  <a:gd name="T9" fmla="*/ 121079587 h 325"/>
                  <a:gd name="T10" fmla="*/ 85645069 w 289"/>
                  <a:gd name="T11" fmla="*/ 121079587 h 325"/>
                  <a:gd name="T12" fmla="*/ 85645069 w 289"/>
                  <a:gd name="T13" fmla="*/ 121079587 h 325"/>
                  <a:gd name="T14" fmla="*/ 85645069 w 289"/>
                  <a:gd name="T15" fmla="*/ 121079587 h 325"/>
                  <a:gd name="T16" fmla="*/ 85645069 w 289"/>
                  <a:gd name="T17" fmla="*/ 121079587 h 325"/>
                  <a:gd name="T18" fmla="*/ 85645069 w 289"/>
                  <a:gd name="T19" fmla="*/ 121079587 h 325"/>
                  <a:gd name="T20" fmla="*/ 85645069 w 289"/>
                  <a:gd name="T21" fmla="*/ 121079587 h 325"/>
                  <a:gd name="T22" fmla="*/ 81204592 w 289"/>
                  <a:gd name="T23" fmla="*/ 105865119 h 325"/>
                  <a:gd name="T24" fmla="*/ 57730991 w 289"/>
                  <a:gd name="T25" fmla="*/ 38035772 h 325"/>
                  <a:gd name="T26" fmla="*/ 0 w 289"/>
                  <a:gd name="T27" fmla="*/ 38035772 h 325"/>
                  <a:gd name="T28" fmla="*/ 57096978 w 289"/>
                  <a:gd name="T29" fmla="*/ 206025508 h 325"/>
                  <a:gd name="T30" fmla="*/ 116731600 w 289"/>
                  <a:gd name="T31" fmla="*/ 206025508 h 32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89" h="325">
                    <a:moveTo>
                      <a:pt x="184" y="325"/>
                    </a:moveTo>
                    <a:lnTo>
                      <a:pt x="289" y="0"/>
                    </a:lnTo>
                    <a:lnTo>
                      <a:pt x="197" y="0"/>
                    </a:lnTo>
                    <a:lnTo>
                      <a:pt x="143" y="167"/>
                    </a:lnTo>
                    <a:lnTo>
                      <a:pt x="135" y="191"/>
                    </a:lnTo>
                    <a:lnTo>
                      <a:pt x="128" y="167"/>
                    </a:lnTo>
                    <a:lnTo>
                      <a:pt x="91" y="60"/>
                    </a:lnTo>
                    <a:lnTo>
                      <a:pt x="0" y="60"/>
                    </a:lnTo>
                    <a:lnTo>
                      <a:pt x="90" y="325"/>
                    </a:lnTo>
                    <a:lnTo>
                      <a:pt x="184" y="3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grpSp>
          <p:nvGrpSpPr>
            <p:cNvPr id="7" name="_VTT_logo_102019_05_dark_grey_on_white" hidden="1">
              <a:extLst>
                <a:ext uri="{FF2B5EF4-FFF2-40B4-BE49-F238E27FC236}">
                  <a16:creationId xmlns:a16="http://schemas.microsoft.com/office/drawing/2014/main" id="{5E21E03F-63AC-D083-1848-7202D0F3CC8A}"/>
                </a:ext>
              </a:extLst>
            </p:cNvPr>
            <p:cNvGrpSpPr>
              <a:grpSpLocks/>
            </p:cNvGrpSpPr>
            <p:nvPr userDrawn="1"/>
          </p:nvGrpSpPr>
          <p:grpSpPr bwMode="auto">
            <a:xfrm>
              <a:off x="7909204" y="1770762"/>
              <a:ext cx="971550" cy="655638"/>
              <a:chOff x="379933" y="-15999"/>
              <a:chExt cx="971550" cy="655638"/>
            </a:xfrm>
          </p:grpSpPr>
          <p:sp>
            <p:nvSpPr>
              <p:cNvPr id="28" name="Box">
                <a:extLst>
                  <a:ext uri="{FF2B5EF4-FFF2-40B4-BE49-F238E27FC236}">
                    <a16:creationId xmlns:a16="http://schemas.microsoft.com/office/drawing/2014/main" id="{6CA8C128-08A0-34F6-DC97-FD92A412A5D7}"/>
                  </a:ext>
                </a:extLst>
              </p:cNvPr>
              <p:cNvSpPr>
                <a:spLocks noChangeArrowheads="1"/>
              </p:cNvSpPr>
              <p:nvPr userDrawn="1"/>
            </p:nvSpPr>
            <p:spPr bwMode="auto">
              <a:xfrm>
                <a:off x="379933" y="-15999"/>
                <a:ext cx="971550" cy="655638"/>
              </a:xfrm>
              <a:prstGeom prst="rect">
                <a:avLst/>
              </a:prstGeom>
              <a:solidFill>
                <a:srgbClr val="FFFFFF"/>
              </a:solidFill>
              <a:ln>
                <a:noFill/>
              </a:ln>
            </p:spPr>
            <p:txBody>
              <a:bodyPr/>
              <a:lstStyle>
                <a:lvl1pPr defTabSz="455613">
                  <a:defRPr b="1">
                    <a:solidFill>
                      <a:schemeClr val="tx1"/>
                    </a:solidFill>
                    <a:latin typeface="Verdana" panose="020B0604030504040204" pitchFamily="34" charset="0"/>
                  </a:defRPr>
                </a:lvl1pPr>
                <a:lvl2pPr marL="742950" indent="-285750" defTabSz="455613">
                  <a:defRPr b="1">
                    <a:solidFill>
                      <a:schemeClr val="tx1"/>
                    </a:solidFill>
                    <a:latin typeface="Verdana" panose="020B0604030504040204" pitchFamily="34" charset="0"/>
                  </a:defRPr>
                </a:lvl2pPr>
                <a:lvl3pPr marL="1143000" indent="-228600" defTabSz="455613">
                  <a:defRPr b="1">
                    <a:solidFill>
                      <a:schemeClr val="tx1"/>
                    </a:solidFill>
                    <a:latin typeface="Verdana" panose="020B0604030504040204" pitchFamily="34" charset="0"/>
                  </a:defRPr>
                </a:lvl3pPr>
                <a:lvl4pPr marL="1600200" indent="-228600" defTabSz="455613">
                  <a:defRPr b="1">
                    <a:solidFill>
                      <a:schemeClr val="tx1"/>
                    </a:solidFill>
                    <a:latin typeface="Verdana" panose="020B0604030504040204" pitchFamily="34" charset="0"/>
                  </a:defRPr>
                </a:lvl4pPr>
                <a:lvl5pPr marL="2057400" indent="-228600" defTabSz="455613">
                  <a:defRPr b="1">
                    <a:solidFill>
                      <a:schemeClr val="tx1"/>
                    </a:solidFill>
                    <a:latin typeface="Verdana" panose="020B0604030504040204" pitchFamily="34" charset="0"/>
                  </a:defRPr>
                </a:lvl5pPr>
                <a:lvl6pPr marL="2514600" indent="-228600" defTabSz="455613" eaLnBrk="0" fontAlgn="base" hangingPunct="0">
                  <a:spcBef>
                    <a:spcPct val="0"/>
                  </a:spcBef>
                  <a:spcAft>
                    <a:spcPct val="0"/>
                  </a:spcAft>
                  <a:defRPr b="1">
                    <a:solidFill>
                      <a:schemeClr val="tx1"/>
                    </a:solidFill>
                    <a:latin typeface="Verdana" panose="020B0604030504040204" pitchFamily="34" charset="0"/>
                  </a:defRPr>
                </a:lvl6pPr>
                <a:lvl7pPr marL="2971800" indent="-228600" defTabSz="455613" eaLnBrk="0" fontAlgn="base" hangingPunct="0">
                  <a:spcBef>
                    <a:spcPct val="0"/>
                  </a:spcBef>
                  <a:spcAft>
                    <a:spcPct val="0"/>
                  </a:spcAft>
                  <a:defRPr b="1">
                    <a:solidFill>
                      <a:schemeClr val="tx1"/>
                    </a:solidFill>
                    <a:latin typeface="Verdana" panose="020B0604030504040204" pitchFamily="34" charset="0"/>
                  </a:defRPr>
                </a:lvl7pPr>
                <a:lvl8pPr marL="3429000" indent="-228600" defTabSz="455613" eaLnBrk="0" fontAlgn="base" hangingPunct="0">
                  <a:spcBef>
                    <a:spcPct val="0"/>
                  </a:spcBef>
                  <a:spcAft>
                    <a:spcPct val="0"/>
                  </a:spcAft>
                  <a:defRPr b="1">
                    <a:solidFill>
                      <a:schemeClr val="tx1"/>
                    </a:solidFill>
                    <a:latin typeface="Verdana" panose="020B0604030504040204" pitchFamily="34" charset="0"/>
                  </a:defRPr>
                </a:lvl8pPr>
                <a:lvl9pPr marL="3886200" indent="-228600" defTabSz="455613" eaLnBrk="0" fontAlgn="base" hangingPunct="0">
                  <a:spcBef>
                    <a:spcPct val="0"/>
                  </a:spcBef>
                  <a:spcAft>
                    <a:spcPct val="0"/>
                  </a:spcAft>
                  <a:defRPr b="1">
                    <a:solidFill>
                      <a:schemeClr val="tx1"/>
                    </a:solidFill>
                    <a:latin typeface="Verdana" panose="020B0604030504040204" pitchFamily="34" charset="0"/>
                  </a:defRPr>
                </a:lvl9pPr>
              </a:lstStyle>
              <a:p>
                <a:pPr eaLnBrk="1" hangingPunct="1">
                  <a:defRPr/>
                </a:pPr>
                <a:endParaRPr lang="en-GB" altLang="de-DE" b="0">
                  <a:solidFill>
                    <a:srgbClr val="000000"/>
                  </a:solidFill>
                  <a:latin typeface="Arial" panose="020B0604020202020204" pitchFamily="34" charset="0"/>
                </a:endParaRPr>
              </a:p>
            </p:txBody>
          </p:sp>
          <p:sp>
            <p:nvSpPr>
              <p:cNvPr id="29" name="T2">
                <a:extLst>
                  <a:ext uri="{FF2B5EF4-FFF2-40B4-BE49-F238E27FC236}">
                    <a16:creationId xmlns:a16="http://schemas.microsoft.com/office/drawing/2014/main" id="{842AC57B-C2D0-5C31-F4C1-CF7A69127434}"/>
                  </a:ext>
                </a:extLst>
              </p:cNvPr>
              <p:cNvSpPr>
                <a:spLocks/>
              </p:cNvSpPr>
              <p:nvPr userDrawn="1"/>
            </p:nvSpPr>
            <p:spPr bwMode="auto">
              <a:xfrm>
                <a:off x="1011758" y="168151"/>
                <a:ext cx="176213" cy="258763"/>
              </a:xfrm>
              <a:custGeom>
                <a:avLst/>
                <a:gdLst>
                  <a:gd name="T0" fmla="*/ 98916612 w 222"/>
                  <a:gd name="T1" fmla="*/ 206025508 h 325"/>
                  <a:gd name="T2" fmla="*/ 98916612 w 222"/>
                  <a:gd name="T3" fmla="*/ 49446026 h 325"/>
                  <a:gd name="T4" fmla="*/ 139869466 w 222"/>
                  <a:gd name="T5" fmla="*/ 49446026 h 325"/>
                  <a:gd name="T6" fmla="*/ 139869466 w 222"/>
                  <a:gd name="T7" fmla="*/ 0 h 325"/>
                  <a:gd name="T8" fmla="*/ 0 w 222"/>
                  <a:gd name="T9" fmla="*/ 0 h 325"/>
                  <a:gd name="T10" fmla="*/ 0 w 222"/>
                  <a:gd name="T11" fmla="*/ 49446026 h 325"/>
                  <a:gd name="T12" fmla="*/ 41583093 w 222"/>
                  <a:gd name="T13" fmla="*/ 49446026 h 325"/>
                  <a:gd name="T14" fmla="*/ 41583093 w 222"/>
                  <a:gd name="T15" fmla="*/ 206025508 h 325"/>
                  <a:gd name="T16" fmla="*/ 41583093 w 222"/>
                  <a:gd name="T17" fmla="*/ 206025508 h 325"/>
                  <a:gd name="T18" fmla="*/ 98916612 w 222"/>
                  <a:gd name="T19" fmla="*/ 206025508 h 3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22" h="325">
                    <a:moveTo>
                      <a:pt x="157" y="325"/>
                    </a:moveTo>
                    <a:lnTo>
                      <a:pt x="157" y="78"/>
                    </a:lnTo>
                    <a:lnTo>
                      <a:pt x="222" y="78"/>
                    </a:lnTo>
                    <a:lnTo>
                      <a:pt x="222" y="0"/>
                    </a:lnTo>
                    <a:lnTo>
                      <a:pt x="0" y="0"/>
                    </a:lnTo>
                    <a:lnTo>
                      <a:pt x="0" y="78"/>
                    </a:lnTo>
                    <a:lnTo>
                      <a:pt x="66" y="78"/>
                    </a:lnTo>
                    <a:lnTo>
                      <a:pt x="66" y="325"/>
                    </a:lnTo>
                    <a:lnTo>
                      <a:pt x="157" y="325"/>
                    </a:lnTo>
                    <a:close/>
                  </a:path>
                </a:pathLst>
              </a:custGeom>
              <a:solidFill>
                <a:srgbClr val="AFAFA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30" name="T1">
                <a:extLst>
                  <a:ext uri="{FF2B5EF4-FFF2-40B4-BE49-F238E27FC236}">
                    <a16:creationId xmlns:a16="http://schemas.microsoft.com/office/drawing/2014/main" id="{66EBE851-EF65-E50E-CDBF-3EE92EEB500B}"/>
                  </a:ext>
                </a:extLst>
              </p:cNvPr>
              <p:cNvSpPr>
                <a:spLocks/>
              </p:cNvSpPr>
              <p:nvPr userDrawn="1"/>
            </p:nvSpPr>
            <p:spPr bwMode="auto">
              <a:xfrm>
                <a:off x="799033" y="168151"/>
                <a:ext cx="193675" cy="258763"/>
              </a:xfrm>
              <a:custGeom>
                <a:avLst/>
                <a:gdLst>
                  <a:gd name="T0" fmla="*/ 55443438 w 244"/>
                  <a:gd name="T1" fmla="*/ 49446026 h 325"/>
                  <a:gd name="T2" fmla="*/ 55443438 w 244"/>
                  <a:gd name="T3" fmla="*/ 206025508 h 325"/>
                  <a:gd name="T4" fmla="*/ 112776794 w 244"/>
                  <a:gd name="T5" fmla="*/ 206025508 h 325"/>
                  <a:gd name="T6" fmla="*/ 112776794 w 244"/>
                  <a:gd name="T7" fmla="*/ 49446026 h 325"/>
                  <a:gd name="T8" fmla="*/ 153729531 w 244"/>
                  <a:gd name="T9" fmla="*/ 49446026 h 325"/>
                  <a:gd name="T10" fmla="*/ 153729531 w 244"/>
                  <a:gd name="T11" fmla="*/ 0 h 325"/>
                  <a:gd name="T12" fmla="*/ 15751175 w 244"/>
                  <a:gd name="T13" fmla="*/ 0 h 325"/>
                  <a:gd name="T14" fmla="*/ 0 w 244"/>
                  <a:gd name="T15" fmla="*/ 49446026 h 325"/>
                  <a:gd name="T16" fmla="*/ 55443438 w 244"/>
                  <a:gd name="T17" fmla="*/ 49446026 h 3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44" h="325">
                    <a:moveTo>
                      <a:pt x="88" y="78"/>
                    </a:moveTo>
                    <a:lnTo>
                      <a:pt x="88" y="325"/>
                    </a:lnTo>
                    <a:lnTo>
                      <a:pt x="179" y="325"/>
                    </a:lnTo>
                    <a:lnTo>
                      <a:pt x="179" y="78"/>
                    </a:lnTo>
                    <a:lnTo>
                      <a:pt x="244" y="78"/>
                    </a:lnTo>
                    <a:lnTo>
                      <a:pt x="244" y="0"/>
                    </a:lnTo>
                    <a:lnTo>
                      <a:pt x="25" y="0"/>
                    </a:lnTo>
                    <a:lnTo>
                      <a:pt x="0" y="78"/>
                    </a:lnTo>
                    <a:lnTo>
                      <a:pt x="88" y="78"/>
                    </a:lnTo>
                    <a:close/>
                  </a:path>
                </a:pathLst>
              </a:custGeom>
              <a:solidFill>
                <a:srgbClr val="AFAFA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31" name="V">
                <a:extLst>
                  <a:ext uri="{FF2B5EF4-FFF2-40B4-BE49-F238E27FC236}">
                    <a16:creationId xmlns:a16="http://schemas.microsoft.com/office/drawing/2014/main" id="{58D76E5D-F8F0-ABAC-38E5-B164C726F8B1}"/>
                  </a:ext>
                </a:extLst>
              </p:cNvPr>
              <p:cNvSpPr>
                <a:spLocks/>
              </p:cNvSpPr>
              <p:nvPr userDrawn="1"/>
            </p:nvSpPr>
            <p:spPr bwMode="auto">
              <a:xfrm>
                <a:off x="567258" y="168151"/>
                <a:ext cx="230188" cy="258763"/>
              </a:xfrm>
              <a:custGeom>
                <a:avLst/>
                <a:gdLst>
                  <a:gd name="T0" fmla="*/ 116731600 w 289"/>
                  <a:gd name="T1" fmla="*/ 206025508 h 325"/>
                  <a:gd name="T2" fmla="*/ 183344344 w 289"/>
                  <a:gd name="T3" fmla="*/ 0 h 325"/>
                  <a:gd name="T4" fmla="*/ 124978544 w 289"/>
                  <a:gd name="T5" fmla="*/ 0 h 325"/>
                  <a:gd name="T6" fmla="*/ 90720356 w 289"/>
                  <a:gd name="T7" fmla="*/ 105865119 h 325"/>
                  <a:gd name="T8" fmla="*/ 85645069 w 289"/>
                  <a:gd name="T9" fmla="*/ 121079587 h 325"/>
                  <a:gd name="T10" fmla="*/ 85645069 w 289"/>
                  <a:gd name="T11" fmla="*/ 121079587 h 325"/>
                  <a:gd name="T12" fmla="*/ 85645069 w 289"/>
                  <a:gd name="T13" fmla="*/ 121079587 h 325"/>
                  <a:gd name="T14" fmla="*/ 85645069 w 289"/>
                  <a:gd name="T15" fmla="*/ 121079587 h 325"/>
                  <a:gd name="T16" fmla="*/ 85645069 w 289"/>
                  <a:gd name="T17" fmla="*/ 121079587 h 325"/>
                  <a:gd name="T18" fmla="*/ 85645069 w 289"/>
                  <a:gd name="T19" fmla="*/ 121079587 h 325"/>
                  <a:gd name="T20" fmla="*/ 85645069 w 289"/>
                  <a:gd name="T21" fmla="*/ 121079587 h 325"/>
                  <a:gd name="T22" fmla="*/ 81204592 w 289"/>
                  <a:gd name="T23" fmla="*/ 105865119 h 325"/>
                  <a:gd name="T24" fmla="*/ 57730991 w 289"/>
                  <a:gd name="T25" fmla="*/ 38035772 h 325"/>
                  <a:gd name="T26" fmla="*/ 0 w 289"/>
                  <a:gd name="T27" fmla="*/ 38035772 h 325"/>
                  <a:gd name="T28" fmla="*/ 57096978 w 289"/>
                  <a:gd name="T29" fmla="*/ 206025508 h 325"/>
                  <a:gd name="T30" fmla="*/ 116731600 w 289"/>
                  <a:gd name="T31" fmla="*/ 206025508 h 32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89" h="325">
                    <a:moveTo>
                      <a:pt x="184" y="325"/>
                    </a:moveTo>
                    <a:lnTo>
                      <a:pt x="289" y="0"/>
                    </a:lnTo>
                    <a:lnTo>
                      <a:pt x="197" y="0"/>
                    </a:lnTo>
                    <a:lnTo>
                      <a:pt x="143" y="167"/>
                    </a:lnTo>
                    <a:lnTo>
                      <a:pt x="135" y="191"/>
                    </a:lnTo>
                    <a:lnTo>
                      <a:pt x="128" y="167"/>
                    </a:lnTo>
                    <a:lnTo>
                      <a:pt x="91" y="60"/>
                    </a:lnTo>
                    <a:lnTo>
                      <a:pt x="0" y="60"/>
                    </a:lnTo>
                    <a:lnTo>
                      <a:pt x="90" y="325"/>
                    </a:lnTo>
                    <a:lnTo>
                      <a:pt x="184" y="325"/>
                    </a:lnTo>
                    <a:close/>
                  </a:path>
                </a:pathLst>
              </a:custGeom>
              <a:solidFill>
                <a:srgbClr val="AFAFA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grpSp>
          <p:nvGrpSpPr>
            <p:cNvPr id="8" name="_VTT_logo_102019_06_orange_blue_on_white" hidden="1">
              <a:extLst>
                <a:ext uri="{FF2B5EF4-FFF2-40B4-BE49-F238E27FC236}">
                  <a16:creationId xmlns:a16="http://schemas.microsoft.com/office/drawing/2014/main" id="{B9D49538-1B9D-3BF8-DF4E-25E5C8EB337C}"/>
                </a:ext>
              </a:extLst>
            </p:cNvPr>
            <p:cNvGrpSpPr>
              <a:grpSpLocks/>
            </p:cNvGrpSpPr>
            <p:nvPr userDrawn="1"/>
          </p:nvGrpSpPr>
          <p:grpSpPr bwMode="auto">
            <a:xfrm>
              <a:off x="7909204" y="1770762"/>
              <a:ext cx="971550" cy="655638"/>
              <a:chOff x="379933" y="-15999"/>
              <a:chExt cx="971550" cy="655638"/>
            </a:xfrm>
          </p:grpSpPr>
          <p:sp>
            <p:nvSpPr>
              <p:cNvPr id="24" name="Box">
                <a:extLst>
                  <a:ext uri="{FF2B5EF4-FFF2-40B4-BE49-F238E27FC236}">
                    <a16:creationId xmlns:a16="http://schemas.microsoft.com/office/drawing/2014/main" id="{1774046B-3C5F-30FF-0EE2-843D008C3A8C}"/>
                  </a:ext>
                </a:extLst>
              </p:cNvPr>
              <p:cNvSpPr>
                <a:spLocks noChangeArrowheads="1"/>
              </p:cNvSpPr>
              <p:nvPr userDrawn="1"/>
            </p:nvSpPr>
            <p:spPr bwMode="auto">
              <a:xfrm>
                <a:off x="379933" y="-15999"/>
                <a:ext cx="971550" cy="655638"/>
              </a:xfrm>
              <a:prstGeom prst="rect">
                <a:avLst/>
              </a:prstGeom>
              <a:solidFill>
                <a:srgbClr val="FFFFFF"/>
              </a:solidFill>
              <a:ln>
                <a:noFill/>
              </a:ln>
            </p:spPr>
            <p:txBody>
              <a:bodyPr/>
              <a:lstStyle>
                <a:lvl1pPr defTabSz="455613">
                  <a:defRPr b="1">
                    <a:solidFill>
                      <a:schemeClr val="tx1"/>
                    </a:solidFill>
                    <a:latin typeface="Verdana" panose="020B0604030504040204" pitchFamily="34" charset="0"/>
                  </a:defRPr>
                </a:lvl1pPr>
                <a:lvl2pPr marL="742950" indent="-285750" defTabSz="455613">
                  <a:defRPr b="1">
                    <a:solidFill>
                      <a:schemeClr val="tx1"/>
                    </a:solidFill>
                    <a:latin typeface="Verdana" panose="020B0604030504040204" pitchFamily="34" charset="0"/>
                  </a:defRPr>
                </a:lvl2pPr>
                <a:lvl3pPr marL="1143000" indent="-228600" defTabSz="455613">
                  <a:defRPr b="1">
                    <a:solidFill>
                      <a:schemeClr val="tx1"/>
                    </a:solidFill>
                    <a:latin typeface="Verdana" panose="020B0604030504040204" pitchFamily="34" charset="0"/>
                  </a:defRPr>
                </a:lvl3pPr>
                <a:lvl4pPr marL="1600200" indent="-228600" defTabSz="455613">
                  <a:defRPr b="1">
                    <a:solidFill>
                      <a:schemeClr val="tx1"/>
                    </a:solidFill>
                    <a:latin typeface="Verdana" panose="020B0604030504040204" pitchFamily="34" charset="0"/>
                  </a:defRPr>
                </a:lvl4pPr>
                <a:lvl5pPr marL="2057400" indent="-228600" defTabSz="455613">
                  <a:defRPr b="1">
                    <a:solidFill>
                      <a:schemeClr val="tx1"/>
                    </a:solidFill>
                    <a:latin typeface="Verdana" panose="020B0604030504040204" pitchFamily="34" charset="0"/>
                  </a:defRPr>
                </a:lvl5pPr>
                <a:lvl6pPr marL="2514600" indent="-228600" defTabSz="455613" eaLnBrk="0" fontAlgn="base" hangingPunct="0">
                  <a:spcBef>
                    <a:spcPct val="0"/>
                  </a:spcBef>
                  <a:spcAft>
                    <a:spcPct val="0"/>
                  </a:spcAft>
                  <a:defRPr b="1">
                    <a:solidFill>
                      <a:schemeClr val="tx1"/>
                    </a:solidFill>
                    <a:latin typeface="Verdana" panose="020B0604030504040204" pitchFamily="34" charset="0"/>
                  </a:defRPr>
                </a:lvl6pPr>
                <a:lvl7pPr marL="2971800" indent="-228600" defTabSz="455613" eaLnBrk="0" fontAlgn="base" hangingPunct="0">
                  <a:spcBef>
                    <a:spcPct val="0"/>
                  </a:spcBef>
                  <a:spcAft>
                    <a:spcPct val="0"/>
                  </a:spcAft>
                  <a:defRPr b="1">
                    <a:solidFill>
                      <a:schemeClr val="tx1"/>
                    </a:solidFill>
                    <a:latin typeface="Verdana" panose="020B0604030504040204" pitchFamily="34" charset="0"/>
                  </a:defRPr>
                </a:lvl7pPr>
                <a:lvl8pPr marL="3429000" indent="-228600" defTabSz="455613" eaLnBrk="0" fontAlgn="base" hangingPunct="0">
                  <a:spcBef>
                    <a:spcPct val="0"/>
                  </a:spcBef>
                  <a:spcAft>
                    <a:spcPct val="0"/>
                  </a:spcAft>
                  <a:defRPr b="1">
                    <a:solidFill>
                      <a:schemeClr val="tx1"/>
                    </a:solidFill>
                    <a:latin typeface="Verdana" panose="020B0604030504040204" pitchFamily="34" charset="0"/>
                  </a:defRPr>
                </a:lvl8pPr>
                <a:lvl9pPr marL="3886200" indent="-228600" defTabSz="455613" eaLnBrk="0" fontAlgn="base" hangingPunct="0">
                  <a:spcBef>
                    <a:spcPct val="0"/>
                  </a:spcBef>
                  <a:spcAft>
                    <a:spcPct val="0"/>
                  </a:spcAft>
                  <a:defRPr b="1">
                    <a:solidFill>
                      <a:schemeClr val="tx1"/>
                    </a:solidFill>
                    <a:latin typeface="Verdana" panose="020B0604030504040204" pitchFamily="34" charset="0"/>
                  </a:defRPr>
                </a:lvl9pPr>
              </a:lstStyle>
              <a:p>
                <a:pPr eaLnBrk="1" hangingPunct="1">
                  <a:defRPr/>
                </a:pPr>
                <a:endParaRPr lang="en-GB" altLang="de-DE" b="0">
                  <a:solidFill>
                    <a:srgbClr val="000000"/>
                  </a:solidFill>
                  <a:latin typeface="Arial" panose="020B0604020202020204" pitchFamily="34" charset="0"/>
                </a:endParaRPr>
              </a:p>
            </p:txBody>
          </p:sp>
          <p:sp>
            <p:nvSpPr>
              <p:cNvPr id="25" name="T2">
                <a:extLst>
                  <a:ext uri="{FF2B5EF4-FFF2-40B4-BE49-F238E27FC236}">
                    <a16:creationId xmlns:a16="http://schemas.microsoft.com/office/drawing/2014/main" id="{3EE5B7FE-A5C2-B2A2-7866-DEB31BDD40BC}"/>
                  </a:ext>
                </a:extLst>
              </p:cNvPr>
              <p:cNvSpPr>
                <a:spLocks/>
              </p:cNvSpPr>
              <p:nvPr userDrawn="1"/>
            </p:nvSpPr>
            <p:spPr bwMode="auto">
              <a:xfrm>
                <a:off x="1011758" y="168151"/>
                <a:ext cx="176213" cy="258763"/>
              </a:xfrm>
              <a:custGeom>
                <a:avLst/>
                <a:gdLst>
                  <a:gd name="T0" fmla="*/ 98916612 w 222"/>
                  <a:gd name="T1" fmla="*/ 206025508 h 325"/>
                  <a:gd name="T2" fmla="*/ 98916612 w 222"/>
                  <a:gd name="T3" fmla="*/ 49446026 h 325"/>
                  <a:gd name="T4" fmla="*/ 139869466 w 222"/>
                  <a:gd name="T5" fmla="*/ 49446026 h 325"/>
                  <a:gd name="T6" fmla="*/ 139869466 w 222"/>
                  <a:gd name="T7" fmla="*/ 0 h 325"/>
                  <a:gd name="T8" fmla="*/ 0 w 222"/>
                  <a:gd name="T9" fmla="*/ 0 h 325"/>
                  <a:gd name="T10" fmla="*/ 0 w 222"/>
                  <a:gd name="T11" fmla="*/ 49446026 h 325"/>
                  <a:gd name="T12" fmla="*/ 41583093 w 222"/>
                  <a:gd name="T13" fmla="*/ 49446026 h 325"/>
                  <a:gd name="T14" fmla="*/ 41583093 w 222"/>
                  <a:gd name="T15" fmla="*/ 206025508 h 325"/>
                  <a:gd name="T16" fmla="*/ 41583093 w 222"/>
                  <a:gd name="T17" fmla="*/ 206025508 h 325"/>
                  <a:gd name="T18" fmla="*/ 98916612 w 222"/>
                  <a:gd name="T19" fmla="*/ 206025508 h 3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22" h="325">
                    <a:moveTo>
                      <a:pt x="157" y="325"/>
                    </a:moveTo>
                    <a:lnTo>
                      <a:pt x="157" y="78"/>
                    </a:lnTo>
                    <a:lnTo>
                      <a:pt x="222" y="78"/>
                    </a:lnTo>
                    <a:lnTo>
                      <a:pt x="222" y="0"/>
                    </a:lnTo>
                    <a:lnTo>
                      <a:pt x="0" y="0"/>
                    </a:lnTo>
                    <a:lnTo>
                      <a:pt x="0" y="78"/>
                    </a:lnTo>
                    <a:lnTo>
                      <a:pt x="66" y="78"/>
                    </a:lnTo>
                    <a:lnTo>
                      <a:pt x="66" y="325"/>
                    </a:lnTo>
                    <a:lnTo>
                      <a:pt x="157" y="325"/>
                    </a:lnTo>
                    <a:close/>
                  </a:path>
                </a:pathLst>
              </a:custGeom>
              <a:solidFill>
                <a:srgbClr val="00579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 name="T1">
                <a:extLst>
                  <a:ext uri="{FF2B5EF4-FFF2-40B4-BE49-F238E27FC236}">
                    <a16:creationId xmlns:a16="http://schemas.microsoft.com/office/drawing/2014/main" id="{33C687E7-2C9C-7276-ADB6-3A22214FEA16}"/>
                  </a:ext>
                </a:extLst>
              </p:cNvPr>
              <p:cNvSpPr>
                <a:spLocks/>
              </p:cNvSpPr>
              <p:nvPr userDrawn="1"/>
            </p:nvSpPr>
            <p:spPr bwMode="auto">
              <a:xfrm>
                <a:off x="799033" y="168151"/>
                <a:ext cx="193675" cy="258763"/>
              </a:xfrm>
              <a:custGeom>
                <a:avLst/>
                <a:gdLst>
                  <a:gd name="T0" fmla="*/ 55443438 w 244"/>
                  <a:gd name="T1" fmla="*/ 49446026 h 325"/>
                  <a:gd name="T2" fmla="*/ 55443438 w 244"/>
                  <a:gd name="T3" fmla="*/ 206025508 h 325"/>
                  <a:gd name="T4" fmla="*/ 112776794 w 244"/>
                  <a:gd name="T5" fmla="*/ 206025508 h 325"/>
                  <a:gd name="T6" fmla="*/ 112776794 w 244"/>
                  <a:gd name="T7" fmla="*/ 49446026 h 325"/>
                  <a:gd name="T8" fmla="*/ 153729531 w 244"/>
                  <a:gd name="T9" fmla="*/ 49446026 h 325"/>
                  <a:gd name="T10" fmla="*/ 153729531 w 244"/>
                  <a:gd name="T11" fmla="*/ 0 h 325"/>
                  <a:gd name="T12" fmla="*/ 15751175 w 244"/>
                  <a:gd name="T13" fmla="*/ 0 h 325"/>
                  <a:gd name="T14" fmla="*/ 0 w 244"/>
                  <a:gd name="T15" fmla="*/ 49446026 h 325"/>
                  <a:gd name="T16" fmla="*/ 55443438 w 244"/>
                  <a:gd name="T17" fmla="*/ 49446026 h 3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44" h="325">
                    <a:moveTo>
                      <a:pt x="88" y="78"/>
                    </a:moveTo>
                    <a:lnTo>
                      <a:pt x="88" y="325"/>
                    </a:lnTo>
                    <a:lnTo>
                      <a:pt x="179" y="325"/>
                    </a:lnTo>
                    <a:lnTo>
                      <a:pt x="179" y="78"/>
                    </a:lnTo>
                    <a:lnTo>
                      <a:pt x="244" y="78"/>
                    </a:lnTo>
                    <a:lnTo>
                      <a:pt x="244" y="0"/>
                    </a:lnTo>
                    <a:lnTo>
                      <a:pt x="25" y="0"/>
                    </a:lnTo>
                    <a:lnTo>
                      <a:pt x="0" y="78"/>
                    </a:lnTo>
                    <a:lnTo>
                      <a:pt x="88" y="78"/>
                    </a:lnTo>
                    <a:close/>
                  </a:path>
                </a:pathLst>
              </a:custGeom>
              <a:solidFill>
                <a:srgbClr val="00579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7" name="V">
                <a:extLst>
                  <a:ext uri="{FF2B5EF4-FFF2-40B4-BE49-F238E27FC236}">
                    <a16:creationId xmlns:a16="http://schemas.microsoft.com/office/drawing/2014/main" id="{EC9BBCD4-7F5C-D4FA-4584-C8466ED4E39C}"/>
                  </a:ext>
                </a:extLst>
              </p:cNvPr>
              <p:cNvSpPr>
                <a:spLocks/>
              </p:cNvSpPr>
              <p:nvPr userDrawn="1"/>
            </p:nvSpPr>
            <p:spPr bwMode="auto">
              <a:xfrm>
                <a:off x="567258" y="168151"/>
                <a:ext cx="230188" cy="258763"/>
              </a:xfrm>
              <a:custGeom>
                <a:avLst/>
                <a:gdLst>
                  <a:gd name="T0" fmla="*/ 116731600 w 289"/>
                  <a:gd name="T1" fmla="*/ 206025508 h 325"/>
                  <a:gd name="T2" fmla="*/ 183344344 w 289"/>
                  <a:gd name="T3" fmla="*/ 0 h 325"/>
                  <a:gd name="T4" fmla="*/ 124978544 w 289"/>
                  <a:gd name="T5" fmla="*/ 0 h 325"/>
                  <a:gd name="T6" fmla="*/ 90720356 w 289"/>
                  <a:gd name="T7" fmla="*/ 105865119 h 325"/>
                  <a:gd name="T8" fmla="*/ 85645069 w 289"/>
                  <a:gd name="T9" fmla="*/ 121079587 h 325"/>
                  <a:gd name="T10" fmla="*/ 85645069 w 289"/>
                  <a:gd name="T11" fmla="*/ 121079587 h 325"/>
                  <a:gd name="T12" fmla="*/ 85645069 w 289"/>
                  <a:gd name="T13" fmla="*/ 121079587 h 325"/>
                  <a:gd name="T14" fmla="*/ 85645069 w 289"/>
                  <a:gd name="T15" fmla="*/ 121079587 h 325"/>
                  <a:gd name="T16" fmla="*/ 85645069 w 289"/>
                  <a:gd name="T17" fmla="*/ 121079587 h 325"/>
                  <a:gd name="T18" fmla="*/ 85645069 w 289"/>
                  <a:gd name="T19" fmla="*/ 121079587 h 325"/>
                  <a:gd name="T20" fmla="*/ 85645069 w 289"/>
                  <a:gd name="T21" fmla="*/ 121079587 h 325"/>
                  <a:gd name="T22" fmla="*/ 81204592 w 289"/>
                  <a:gd name="T23" fmla="*/ 105865119 h 325"/>
                  <a:gd name="T24" fmla="*/ 57730991 w 289"/>
                  <a:gd name="T25" fmla="*/ 38035772 h 325"/>
                  <a:gd name="T26" fmla="*/ 0 w 289"/>
                  <a:gd name="T27" fmla="*/ 38035772 h 325"/>
                  <a:gd name="T28" fmla="*/ 57096978 w 289"/>
                  <a:gd name="T29" fmla="*/ 206025508 h 325"/>
                  <a:gd name="T30" fmla="*/ 116731600 w 289"/>
                  <a:gd name="T31" fmla="*/ 206025508 h 32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89" h="325">
                    <a:moveTo>
                      <a:pt x="184" y="325"/>
                    </a:moveTo>
                    <a:lnTo>
                      <a:pt x="289" y="0"/>
                    </a:lnTo>
                    <a:lnTo>
                      <a:pt x="197" y="0"/>
                    </a:lnTo>
                    <a:lnTo>
                      <a:pt x="143" y="167"/>
                    </a:lnTo>
                    <a:lnTo>
                      <a:pt x="135" y="191"/>
                    </a:lnTo>
                    <a:lnTo>
                      <a:pt x="128" y="167"/>
                    </a:lnTo>
                    <a:lnTo>
                      <a:pt x="91" y="60"/>
                    </a:lnTo>
                    <a:lnTo>
                      <a:pt x="0" y="60"/>
                    </a:lnTo>
                    <a:lnTo>
                      <a:pt x="90" y="325"/>
                    </a:lnTo>
                    <a:lnTo>
                      <a:pt x="184" y="325"/>
                    </a:lnTo>
                    <a:close/>
                  </a:path>
                </a:pathLst>
              </a:custGeom>
              <a:solidFill>
                <a:srgbClr val="F06E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grpSp>
          <p:nvGrpSpPr>
            <p:cNvPr id="9" name="_VTT_logo_102019_07_blue_on_white" hidden="1">
              <a:extLst>
                <a:ext uri="{FF2B5EF4-FFF2-40B4-BE49-F238E27FC236}">
                  <a16:creationId xmlns:a16="http://schemas.microsoft.com/office/drawing/2014/main" id="{5314FC0A-9460-8EAF-0F74-C8851507D1C1}"/>
                </a:ext>
              </a:extLst>
            </p:cNvPr>
            <p:cNvGrpSpPr>
              <a:grpSpLocks/>
            </p:cNvGrpSpPr>
            <p:nvPr userDrawn="1"/>
          </p:nvGrpSpPr>
          <p:grpSpPr bwMode="auto">
            <a:xfrm>
              <a:off x="7909204" y="1770762"/>
              <a:ext cx="971550" cy="655638"/>
              <a:chOff x="379933" y="-15999"/>
              <a:chExt cx="971550" cy="655638"/>
            </a:xfrm>
          </p:grpSpPr>
          <p:sp>
            <p:nvSpPr>
              <p:cNvPr id="20" name="Box">
                <a:extLst>
                  <a:ext uri="{FF2B5EF4-FFF2-40B4-BE49-F238E27FC236}">
                    <a16:creationId xmlns:a16="http://schemas.microsoft.com/office/drawing/2014/main" id="{0FCADDE2-0973-05FC-1770-67487A3A5DB4}"/>
                  </a:ext>
                </a:extLst>
              </p:cNvPr>
              <p:cNvSpPr>
                <a:spLocks noChangeArrowheads="1"/>
              </p:cNvSpPr>
              <p:nvPr userDrawn="1"/>
            </p:nvSpPr>
            <p:spPr bwMode="auto">
              <a:xfrm>
                <a:off x="379933" y="-15999"/>
                <a:ext cx="971550" cy="655638"/>
              </a:xfrm>
              <a:prstGeom prst="rect">
                <a:avLst/>
              </a:prstGeom>
              <a:solidFill>
                <a:srgbClr val="FFFFFF"/>
              </a:solidFill>
              <a:ln>
                <a:noFill/>
              </a:ln>
            </p:spPr>
            <p:txBody>
              <a:bodyPr/>
              <a:lstStyle>
                <a:lvl1pPr defTabSz="455613">
                  <a:defRPr b="1">
                    <a:solidFill>
                      <a:schemeClr val="tx1"/>
                    </a:solidFill>
                    <a:latin typeface="Verdana" panose="020B0604030504040204" pitchFamily="34" charset="0"/>
                  </a:defRPr>
                </a:lvl1pPr>
                <a:lvl2pPr marL="742950" indent="-285750" defTabSz="455613">
                  <a:defRPr b="1">
                    <a:solidFill>
                      <a:schemeClr val="tx1"/>
                    </a:solidFill>
                    <a:latin typeface="Verdana" panose="020B0604030504040204" pitchFamily="34" charset="0"/>
                  </a:defRPr>
                </a:lvl2pPr>
                <a:lvl3pPr marL="1143000" indent="-228600" defTabSz="455613">
                  <a:defRPr b="1">
                    <a:solidFill>
                      <a:schemeClr val="tx1"/>
                    </a:solidFill>
                    <a:latin typeface="Verdana" panose="020B0604030504040204" pitchFamily="34" charset="0"/>
                  </a:defRPr>
                </a:lvl3pPr>
                <a:lvl4pPr marL="1600200" indent="-228600" defTabSz="455613">
                  <a:defRPr b="1">
                    <a:solidFill>
                      <a:schemeClr val="tx1"/>
                    </a:solidFill>
                    <a:latin typeface="Verdana" panose="020B0604030504040204" pitchFamily="34" charset="0"/>
                  </a:defRPr>
                </a:lvl4pPr>
                <a:lvl5pPr marL="2057400" indent="-228600" defTabSz="455613">
                  <a:defRPr b="1">
                    <a:solidFill>
                      <a:schemeClr val="tx1"/>
                    </a:solidFill>
                    <a:latin typeface="Verdana" panose="020B0604030504040204" pitchFamily="34" charset="0"/>
                  </a:defRPr>
                </a:lvl5pPr>
                <a:lvl6pPr marL="2514600" indent="-228600" defTabSz="455613" eaLnBrk="0" fontAlgn="base" hangingPunct="0">
                  <a:spcBef>
                    <a:spcPct val="0"/>
                  </a:spcBef>
                  <a:spcAft>
                    <a:spcPct val="0"/>
                  </a:spcAft>
                  <a:defRPr b="1">
                    <a:solidFill>
                      <a:schemeClr val="tx1"/>
                    </a:solidFill>
                    <a:latin typeface="Verdana" panose="020B0604030504040204" pitchFamily="34" charset="0"/>
                  </a:defRPr>
                </a:lvl6pPr>
                <a:lvl7pPr marL="2971800" indent="-228600" defTabSz="455613" eaLnBrk="0" fontAlgn="base" hangingPunct="0">
                  <a:spcBef>
                    <a:spcPct val="0"/>
                  </a:spcBef>
                  <a:spcAft>
                    <a:spcPct val="0"/>
                  </a:spcAft>
                  <a:defRPr b="1">
                    <a:solidFill>
                      <a:schemeClr val="tx1"/>
                    </a:solidFill>
                    <a:latin typeface="Verdana" panose="020B0604030504040204" pitchFamily="34" charset="0"/>
                  </a:defRPr>
                </a:lvl7pPr>
                <a:lvl8pPr marL="3429000" indent="-228600" defTabSz="455613" eaLnBrk="0" fontAlgn="base" hangingPunct="0">
                  <a:spcBef>
                    <a:spcPct val="0"/>
                  </a:spcBef>
                  <a:spcAft>
                    <a:spcPct val="0"/>
                  </a:spcAft>
                  <a:defRPr b="1">
                    <a:solidFill>
                      <a:schemeClr val="tx1"/>
                    </a:solidFill>
                    <a:latin typeface="Verdana" panose="020B0604030504040204" pitchFamily="34" charset="0"/>
                  </a:defRPr>
                </a:lvl8pPr>
                <a:lvl9pPr marL="3886200" indent="-228600" defTabSz="455613" eaLnBrk="0" fontAlgn="base" hangingPunct="0">
                  <a:spcBef>
                    <a:spcPct val="0"/>
                  </a:spcBef>
                  <a:spcAft>
                    <a:spcPct val="0"/>
                  </a:spcAft>
                  <a:defRPr b="1">
                    <a:solidFill>
                      <a:schemeClr val="tx1"/>
                    </a:solidFill>
                    <a:latin typeface="Verdana" panose="020B0604030504040204" pitchFamily="34" charset="0"/>
                  </a:defRPr>
                </a:lvl9pPr>
              </a:lstStyle>
              <a:p>
                <a:pPr eaLnBrk="1" hangingPunct="1">
                  <a:defRPr/>
                </a:pPr>
                <a:endParaRPr lang="en-GB" altLang="de-DE" b="0">
                  <a:solidFill>
                    <a:srgbClr val="000000"/>
                  </a:solidFill>
                  <a:latin typeface="Arial" panose="020B0604020202020204" pitchFamily="34" charset="0"/>
                </a:endParaRPr>
              </a:p>
            </p:txBody>
          </p:sp>
          <p:sp>
            <p:nvSpPr>
              <p:cNvPr id="21" name="T2">
                <a:extLst>
                  <a:ext uri="{FF2B5EF4-FFF2-40B4-BE49-F238E27FC236}">
                    <a16:creationId xmlns:a16="http://schemas.microsoft.com/office/drawing/2014/main" id="{F701EDF6-F221-539B-7F42-0BC3F2B73E52}"/>
                  </a:ext>
                </a:extLst>
              </p:cNvPr>
              <p:cNvSpPr>
                <a:spLocks/>
              </p:cNvSpPr>
              <p:nvPr userDrawn="1"/>
            </p:nvSpPr>
            <p:spPr bwMode="auto">
              <a:xfrm>
                <a:off x="1011758" y="168151"/>
                <a:ext cx="176213" cy="258763"/>
              </a:xfrm>
              <a:custGeom>
                <a:avLst/>
                <a:gdLst>
                  <a:gd name="T0" fmla="*/ 98916612 w 222"/>
                  <a:gd name="T1" fmla="*/ 206025508 h 325"/>
                  <a:gd name="T2" fmla="*/ 98916612 w 222"/>
                  <a:gd name="T3" fmla="*/ 49446026 h 325"/>
                  <a:gd name="T4" fmla="*/ 139869466 w 222"/>
                  <a:gd name="T5" fmla="*/ 49446026 h 325"/>
                  <a:gd name="T6" fmla="*/ 139869466 w 222"/>
                  <a:gd name="T7" fmla="*/ 0 h 325"/>
                  <a:gd name="T8" fmla="*/ 0 w 222"/>
                  <a:gd name="T9" fmla="*/ 0 h 325"/>
                  <a:gd name="T10" fmla="*/ 0 w 222"/>
                  <a:gd name="T11" fmla="*/ 49446026 h 325"/>
                  <a:gd name="T12" fmla="*/ 41583093 w 222"/>
                  <a:gd name="T13" fmla="*/ 49446026 h 325"/>
                  <a:gd name="T14" fmla="*/ 41583093 w 222"/>
                  <a:gd name="T15" fmla="*/ 206025508 h 325"/>
                  <a:gd name="T16" fmla="*/ 41583093 w 222"/>
                  <a:gd name="T17" fmla="*/ 206025508 h 325"/>
                  <a:gd name="T18" fmla="*/ 98916612 w 222"/>
                  <a:gd name="T19" fmla="*/ 206025508 h 3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22" h="325">
                    <a:moveTo>
                      <a:pt x="157" y="325"/>
                    </a:moveTo>
                    <a:lnTo>
                      <a:pt x="157" y="78"/>
                    </a:lnTo>
                    <a:lnTo>
                      <a:pt x="222" y="78"/>
                    </a:lnTo>
                    <a:lnTo>
                      <a:pt x="222" y="0"/>
                    </a:lnTo>
                    <a:lnTo>
                      <a:pt x="0" y="0"/>
                    </a:lnTo>
                    <a:lnTo>
                      <a:pt x="0" y="78"/>
                    </a:lnTo>
                    <a:lnTo>
                      <a:pt x="66" y="78"/>
                    </a:lnTo>
                    <a:lnTo>
                      <a:pt x="66" y="325"/>
                    </a:lnTo>
                    <a:lnTo>
                      <a:pt x="157" y="325"/>
                    </a:lnTo>
                    <a:close/>
                  </a:path>
                </a:pathLst>
              </a:custGeom>
              <a:solidFill>
                <a:srgbClr val="00579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 name="T1">
                <a:extLst>
                  <a:ext uri="{FF2B5EF4-FFF2-40B4-BE49-F238E27FC236}">
                    <a16:creationId xmlns:a16="http://schemas.microsoft.com/office/drawing/2014/main" id="{DE465DEF-E115-06DE-38A5-61A8ED091C03}"/>
                  </a:ext>
                </a:extLst>
              </p:cNvPr>
              <p:cNvSpPr>
                <a:spLocks/>
              </p:cNvSpPr>
              <p:nvPr userDrawn="1"/>
            </p:nvSpPr>
            <p:spPr bwMode="auto">
              <a:xfrm>
                <a:off x="799033" y="168151"/>
                <a:ext cx="193675" cy="258763"/>
              </a:xfrm>
              <a:custGeom>
                <a:avLst/>
                <a:gdLst>
                  <a:gd name="T0" fmla="*/ 55443438 w 244"/>
                  <a:gd name="T1" fmla="*/ 49446026 h 325"/>
                  <a:gd name="T2" fmla="*/ 55443438 w 244"/>
                  <a:gd name="T3" fmla="*/ 206025508 h 325"/>
                  <a:gd name="T4" fmla="*/ 112776794 w 244"/>
                  <a:gd name="T5" fmla="*/ 206025508 h 325"/>
                  <a:gd name="T6" fmla="*/ 112776794 w 244"/>
                  <a:gd name="T7" fmla="*/ 49446026 h 325"/>
                  <a:gd name="T8" fmla="*/ 153729531 w 244"/>
                  <a:gd name="T9" fmla="*/ 49446026 h 325"/>
                  <a:gd name="T10" fmla="*/ 153729531 w 244"/>
                  <a:gd name="T11" fmla="*/ 0 h 325"/>
                  <a:gd name="T12" fmla="*/ 15751175 w 244"/>
                  <a:gd name="T13" fmla="*/ 0 h 325"/>
                  <a:gd name="T14" fmla="*/ 0 w 244"/>
                  <a:gd name="T15" fmla="*/ 49446026 h 325"/>
                  <a:gd name="T16" fmla="*/ 55443438 w 244"/>
                  <a:gd name="T17" fmla="*/ 49446026 h 3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44" h="325">
                    <a:moveTo>
                      <a:pt x="88" y="78"/>
                    </a:moveTo>
                    <a:lnTo>
                      <a:pt x="88" y="325"/>
                    </a:lnTo>
                    <a:lnTo>
                      <a:pt x="179" y="325"/>
                    </a:lnTo>
                    <a:lnTo>
                      <a:pt x="179" y="78"/>
                    </a:lnTo>
                    <a:lnTo>
                      <a:pt x="244" y="78"/>
                    </a:lnTo>
                    <a:lnTo>
                      <a:pt x="244" y="0"/>
                    </a:lnTo>
                    <a:lnTo>
                      <a:pt x="25" y="0"/>
                    </a:lnTo>
                    <a:lnTo>
                      <a:pt x="0" y="78"/>
                    </a:lnTo>
                    <a:lnTo>
                      <a:pt x="88" y="78"/>
                    </a:lnTo>
                    <a:close/>
                  </a:path>
                </a:pathLst>
              </a:custGeom>
              <a:solidFill>
                <a:srgbClr val="00579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3" name="V">
                <a:extLst>
                  <a:ext uri="{FF2B5EF4-FFF2-40B4-BE49-F238E27FC236}">
                    <a16:creationId xmlns:a16="http://schemas.microsoft.com/office/drawing/2014/main" id="{85B30D4B-E3A8-400D-4C55-3EEEC2371CE1}"/>
                  </a:ext>
                </a:extLst>
              </p:cNvPr>
              <p:cNvSpPr>
                <a:spLocks/>
              </p:cNvSpPr>
              <p:nvPr userDrawn="1"/>
            </p:nvSpPr>
            <p:spPr bwMode="auto">
              <a:xfrm>
                <a:off x="567258" y="168151"/>
                <a:ext cx="230188" cy="258763"/>
              </a:xfrm>
              <a:custGeom>
                <a:avLst/>
                <a:gdLst>
                  <a:gd name="T0" fmla="*/ 116731600 w 289"/>
                  <a:gd name="T1" fmla="*/ 206025508 h 325"/>
                  <a:gd name="T2" fmla="*/ 183344344 w 289"/>
                  <a:gd name="T3" fmla="*/ 0 h 325"/>
                  <a:gd name="T4" fmla="*/ 124978544 w 289"/>
                  <a:gd name="T5" fmla="*/ 0 h 325"/>
                  <a:gd name="T6" fmla="*/ 90720356 w 289"/>
                  <a:gd name="T7" fmla="*/ 105865119 h 325"/>
                  <a:gd name="T8" fmla="*/ 85645069 w 289"/>
                  <a:gd name="T9" fmla="*/ 121079587 h 325"/>
                  <a:gd name="T10" fmla="*/ 85645069 w 289"/>
                  <a:gd name="T11" fmla="*/ 121079587 h 325"/>
                  <a:gd name="T12" fmla="*/ 85645069 w 289"/>
                  <a:gd name="T13" fmla="*/ 121079587 h 325"/>
                  <a:gd name="T14" fmla="*/ 85645069 w 289"/>
                  <a:gd name="T15" fmla="*/ 121079587 h 325"/>
                  <a:gd name="T16" fmla="*/ 85645069 w 289"/>
                  <a:gd name="T17" fmla="*/ 121079587 h 325"/>
                  <a:gd name="T18" fmla="*/ 85645069 w 289"/>
                  <a:gd name="T19" fmla="*/ 121079587 h 325"/>
                  <a:gd name="T20" fmla="*/ 85645069 w 289"/>
                  <a:gd name="T21" fmla="*/ 121079587 h 325"/>
                  <a:gd name="T22" fmla="*/ 81204592 w 289"/>
                  <a:gd name="T23" fmla="*/ 105865119 h 325"/>
                  <a:gd name="T24" fmla="*/ 57730991 w 289"/>
                  <a:gd name="T25" fmla="*/ 38035772 h 325"/>
                  <a:gd name="T26" fmla="*/ 0 w 289"/>
                  <a:gd name="T27" fmla="*/ 38035772 h 325"/>
                  <a:gd name="T28" fmla="*/ 57096978 w 289"/>
                  <a:gd name="T29" fmla="*/ 206025508 h 325"/>
                  <a:gd name="T30" fmla="*/ 116731600 w 289"/>
                  <a:gd name="T31" fmla="*/ 206025508 h 32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89" h="325">
                    <a:moveTo>
                      <a:pt x="184" y="325"/>
                    </a:moveTo>
                    <a:lnTo>
                      <a:pt x="289" y="0"/>
                    </a:lnTo>
                    <a:lnTo>
                      <a:pt x="197" y="0"/>
                    </a:lnTo>
                    <a:lnTo>
                      <a:pt x="143" y="167"/>
                    </a:lnTo>
                    <a:lnTo>
                      <a:pt x="135" y="191"/>
                    </a:lnTo>
                    <a:lnTo>
                      <a:pt x="128" y="167"/>
                    </a:lnTo>
                    <a:lnTo>
                      <a:pt x="91" y="60"/>
                    </a:lnTo>
                    <a:lnTo>
                      <a:pt x="0" y="60"/>
                    </a:lnTo>
                    <a:lnTo>
                      <a:pt x="90" y="325"/>
                    </a:lnTo>
                    <a:lnTo>
                      <a:pt x="184" y="325"/>
                    </a:lnTo>
                    <a:close/>
                  </a:path>
                </a:pathLst>
              </a:custGeom>
              <a:solidFill>
                <a:srgbClr val="00579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grpSp>
          <p:nvGrpSpPr>
            <p:cNvPr id="10" name="_VTT_logo_102019_08_black_on_white" hidden="1">
              <a:extLst>
                <a:ext uri="{FF2B5EF4-FFF2-40B4-BE49-F238E27FC236}">
                  <a16:creationId xmlns:a16="http://schemas.microsoft.com/office/drawing/2014/main" id="{2EF3BAF0-01F3-1B27-8573-E5C815CA18AC}"/>
                </a:ext>
              </a:extLst>
            </p:cNvPr>
            <p:cNvGrpSpPr>
              <a:grpSpLocks/>
            </p:cNvGrpSpPr>
            <p:nvPr userDrawn="1"/>
          </p:nvGrpSpPr>
          <p:grpSpPr bwMode="auto">
            <a:xfrm>
              <a:off x="7909204" y="1770762"/>
              <a:ext cx="971550" cy="655638"/>
              <a:chOff x="379933" y="-15999"/>
              <a:chExt cx="971550" cy="655638"/>
            </a:xfrm>
          </p:grpSpPr>
          <p:sp>
            <p:nvSpPr>
              <p:cNvPr id="16" name="Box">
                <a:extLst>
                  <a:ext uri="{FF2B5EF4-FFF2-40B4-BE49-F238E27FC236}">
                    <a16:creationId xmlns:a16="http://schemas.microsoft.com/office/drawing/2014/main" id="{E2384154-C54D-B396-F06F-27B3DAE988A4}"/>
                  </a:ext>
                </a:extLst>
              </p:cNvPr>
              <p:cNvSpPr>
                <a:spLocks noChangeArrowheads="1"/>
              </p:cNvSpPr>
              <p:nvPr userDrawn="1"/>
            </p:nvSpPr>
            <p:spPr bwMode="auto">
              <a:xfrm>
                <a:off x="379933" y="-15999"/>
                <a:ext cx="971550" cy="655638"/>
              </a:xfrm>
              <a:prstGeom prst="rect">
                <a:avLst/>
              </a:prstGeom>
              <a:solidFill>
                <a:srgbClr val="FFFFFF"/>
              </a:solidFill>
              <a:ln>
                <a:noFill/>
              </a:ln>
            </p:spPr>
            <p:txBody>
              <a:bodyPr/>
              <a:lstStyle>
                <a:lvl1pPr defTabSz="455613">
                  <a:defRPr b="1">
                    <a:solidFill>
                      <a:schemeClr val="tx1"/>
                    </a:solidFill>
                    <a:latin typeface="Verdana" panose="020B0604030504040204" pitchFamily="34" charset="0"/>
                  </a:defRPr>
                </a:lvl1pPr>
                <a:lvl2pPr marL="742950" indent="-285750" defTabSz="455613">
                  <a:defRPr b="1">
                    <a:solidFill>
                      <a:schemeClr val="tx1"/>
                    </a:solidFill>
                    <a:latin typeface="Verdana" panose="020B0604030504040204" pitchFamily="34" charset="0"/>
                  </a:defRPr>
                </a:lvl2pPr>
                <a:lvl3pPr marL="1143000" indent="-228600" defTabSz="455613">
                  <a:defRPr b="1">
                    <a:solidFill>
                      <a:schemeClr val="tx1"/>
                    </a:solidFill>
                    <a:latin typeface="Verdana" panose="020B0604030504040204" pitchFamily="34" charset="0"/>
                  </a:defRPr>
                </a:lvl3pPr>
                <a:lvl4pPr marL="1600200" indent="-228600" defTabSz="455613">
                  <a:defRPr b="1">
                    <a:solidFill>
                      <a:schemeClr val="tx1"/>
                    </a:solidFill>
                    <a:latin typeface="Verdana" panose="020B0604030504040204" pitchFamily="34" charset="0"/>
                  </a:defRPr>
                </a:lvl4pPr>
                <a:lvl5pPr marL="2057400" indent="-228600" defTabSz="455613">
                  <a:defRPr b="1">
                    <a:solidFill>
                      <a:schemeClr val="tx1"/>
                    </a:solidFill>
                    <a:latin typeface="Verdana" panose="020B0604030504040204" pitchFamily="34" charset="0"/>
                  </a:defRPr>
                </a:lvl5pPr>
                <a:lvl6pPr marL="2514600" indent="-228600" defTabSz="455613" eaLnBrk="0" fontAlgn="base" hangingPunct="0">
                  <a:spcBef>
                    <a:spcPct val="0"/>
                  </a:spcBef>
                  <a:spcAft>
                    <a:spcPct val="0"/>
                  </a:spcAft>
                  <a:defRPr b="1">
                    <a:solidFill>
                      <a:schemeClr val="tx1"/>
                    </a:solidFill>
                    <a:latin typeface="Verdana" panose="020B0604030504040204" pitchFamily="34" charset="0"/>
                  </a:defRPr>
                </a:lvl6pPr>
                <a:lvl7pPr marL="2971800" indent="-228600" defTabSz="455613" eaLnBrk="0" fontAlgn="base" hangingPunct="0">
                  <a:spcBef>
                    <a:spcPct val="0"/>
                  </a:spcBef>
                  <a:spcAft>
                    <a:spcPct val="0"/>
                  </a:spcAft>
                  <a:defRPr b="1">
                    <a:solidFill>
                      <a:schemeClr val="tx1"/>
                    </a:solidFill>
                    <a:latin typeface="Verdana" panose="020B0604030504040204" pitchFamily="34" charset="0"/>
                  </a:defRPr>
                </a:lvl7pPr>
                <a:lvl8pPr marL="3429000" indent="-228600" defTabSz="455613" eaLnBrk="0" fontAlgn="base" hangingPunct="0">
                  <a:spcBef>
                    <a:spcPct val="0"/>
                  </a:spcBef>
                  <a:spcAft>
                    <a:spcPct val="0"/>
                  </a:spcAft>
                  <a:defRPr b="1">
                    <a:solidFill>
                      <a:schemeClr val="tx1"/>
                    </a:solidFill>
                    <a:latin typeface="Verdana" panose="020B0604030504040204" pitchFamily="34" charset="0"/>
                  </a:defRPr>
                </a:lvl8pPr>
                <a:lvl9pPr marL="3886200" indent="-228600" defTabSz="455613" eaLnBrk="0" fontAlgn="base" hangingPunct="0">
                  <a:spcBef>
                    <a:spcPct val="0"/>
                  </a:spcBef>
                  <a:spcAft>
                    <a:spcPct val="0"/>
                  </a:spcAft>
                  <a:defRPr b="1">
                    <a:solidFill>
                      <a:schemeClr val="tx1"/>
                    </a:solidFill>
                    <a:latin typeface="Verdana" panose="020B0604030504040204" pitchFamily="34" charset="0"/>
                  </a:defRPr>
                </a:lvl9pPr>
              </a:lstStyle>
              <a:p>
                <a:pPr eaLnBrk="1" hangingPunct="1">
                  <a:defRPr/>
                </a:pPr>
                <a:endParaRPr lang="en-GB" altLang="de-DE" b="0">
                  <a:solidFill>
                    <a:srgbClr val="000000"/>
                  </a:solidFill>
                  <a:latin typeface="Arial" panose="020B0604020202020204" pitchFamily="34" charset="0"/>
                </a:endParaRPr>
              </a:p>
            </p:txBody>
          </p:sp>
          <p:sp>
            <p:nvSpPr>
              <p:cNvPr id="17" name="T2">
                <a:extLst>
                  <a:ext uri="{FF2B5EF4-FFF2-40B4-BE49-F238E27FC236}">
                    <a16:creationId xmlns:a16="http://schemas.microsoft.com/office/drawing/2014/main" id="{93E77A74-86E2-4941-B2D3-D93656597D24}"/>
                  </a:ext>
                </a:extLst>
              </p:cNvPr>
              <p:cNvSpPr>
                <a:spLocks/>
              </p:cNvSpPr>
              <p:nvPr userDrawn="1"/>
            </p:nvSpPr>
            <p:spPr bwMode="auto">
              <a:xfrm>
                <a:off x="1011758" y="168151"/>
                <a:ext cx="176213" cy="258763"/>
              </a:xfrm>
              <a:custGeom>
                <a:avLst/>
                <a:gdLst>
                  <a:gd name="T0" fmla="*/ 98916612 w 222"/>
                  <a:gd name="T1" fmla="*/ 206025508 h 325"/>
                  <a:gd name="T2" fmla="*/ 98916612 w 222"/>
                  <a:gd name="T3" fmla="*/ 49446026 h 325"/>
                  <a:gd name="T4" fmla="*/ 139869466 w 222"/>
                  <a:gd name="T5" fmla="*/ 49446026 h 325"/>
                  <a:gd name="T6" fmla="*/ 139869466 w 222"/>
                  <a:gd name="T7" fmla="*/ 0 h 325"/>
                  <a:gd name="T8" fmla="*/ 0 w 222"/>
                  <a:gd name="T9" fmla="*/ 0 h 325"/>
                  <a:gd name="T10" fmla="*/ 0 w 222"/>
                  <a:gd name="T11" fmla="*/ 49446026 h 325"/>
                  <a:gd name="T12" fmla="*/ 41583093 w 222"/>
                  <a:gd name="T13" fmla="*/ 49446026 h 325"/>
                  <a:gd name="T14" fmla="*/ 41583093 w 222"/>
                  <a:gd name="T15" fmla="*/ 206025508 h 325"/>
                  <a:gd name="T16" fmla="*/ 41583093 w 222"/>
                  <a:gd name="T17" fmla="*/ 206025508 h 325"/>
                  <a:gd name="T18" fmla="*/ 98916612 w 222"/>
                  <a:gd name="T19" fmla="*/ 206025508 h 3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22" h="325">
                    <a:moveTo>
                      <a:pt x="157" y="325"/>
                    </a:moveTo>
                    <a:lnTo>
                      <a:pt x="157" y="78"/>
                    </a:lnTo>
                    <a:lnTo>
                      <a:pt x="222" y="78"/>
                    </a:lnTo>
                    <a:lnTo>
                      <a:pt x="222" y="0"/>
                    </a:lnTo>
                    <a:lnTo>
                      <a:pt x="0" y="0"/>
                    </a:lnTo>
                    <a:lnTo>
                      <a:pt x="0" y="78"/>
                    </a:lnTo>
                    <a:lnTo>
                      <a:pt x="66" y="78"/>
                    </a:lnTo>
                    <a:lnTo>
                      <a:pt x="66" y="325"/>
                    </a:lnTo>
                    <a:lnTo>
                      <a:pt x="157" y="32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 name="T1">
                <a:extLst>
                  <a:ext uri="{FF2B5EF4-FFF2-40B4-BE49-F238E27FC236}">
                    <a16:creationId xmlns:a16="http://schemas.microsoft.com/office/drawing/2014/main" id="{AB6621A9-7840-9298-485D-7659CD6DA0A4}"/>
                  </a:ext>
                </a:extLst>
              </p:cNvPr>
              <p:cNvSpPr>
                <a:spLocks/>
              </p:cNvSpPr>
              <p:nvPr userDrawn="1"/>
            </p:nvSpPr>
            <p:spPr bwMode="auto">
              <a:xfrm>
                <a:off x="799033" y="168151"/>
                <a:ext cx="193675" cy="258763"/>
              </a:xfrm>
              <a:custGeom>
                <a:avLst/>
                <a:gdLst>
                  <a:gd name="T0" fmla="*/ 55443438 w 244"/>
                  <a:gd name="T1" fmla="*/ 49446026 h 325"/>
                  <a:gd name="T2" fmla="*/ 55443438 w 244"/>
                  <a:gd name="T3" fmla="*/ 206025508 h 325"/>
                  <a:gd name="T4" fmla="*/ 112776794 w 244"/>
                  <a:gd name="T5" fmla="*/ 206025508 h 325"/>
                  <a:gd name="T6" fmla="*/ 112776794 w 244"/>
                  <a:gd name="T7" fmla="*/ 49446026 h 325"/>
                  <a:gd name="T8" fmla="*/ 153729531 w 244"/>
                  <a:gd name="T9" fmla="*/ 49446026 h 325"/>
                  <a:gd name="T10" fmla="*/ 153729531 w 244"/>
                  <a:gd name="T11" fmla="*/ 0 h 325"/>
                  <a:gd name="T12" fmla="*/ 15751175 w 244"/>
                  <a:gd name="T13" fmla="*/ 0 h 325"/>
                  <a:gd name="T14" fmla="*/ 0 w 244"/>
                  <a:gd name="T15" fmla="*/ 49446026 h 325"/>
                  <a:gd name="T16" fmla="*/ 55443438 w 244"/>
                  <a:gd name="T17" fmla="*/ 49446026 h 3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44" h="325">
                    <a:moveTo>
                      <a:pt x="88" y="78"/>
                    </a:moveTo>
                    <a:lnTo>
                      <a:pt x="88" y="325"/>
                    </a:lnTo>
                    <a:lnTo>
                      <a:pt x="179" y="325"/>
                    </a:lnTo>
                    <a:lnTo>
                      <a:pt x="179" y="78"/>
                    </a:lnTo>
                    <a:lnTo>
                      <a:pt x="244" y="78"/>
                    </a:lnTo>
                    <a:lnTo>
                      <a:pt x="244" y="0"/>
                    </a:lnTo>
                    <a:lnTo>
                      <a:pt x="25" y="0"/>
                    </a:lnTo>
                    <a:lnTo>
                      <a:pt x="0" y="78"/>
                    </a:lnTo>
                    <a:lnTo>
                      <a:pt x="88" y="7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 name="V">
                <a:extLst>
                  <a:ext uri="{FF2B5EF4-FFF2-40B4-BE49-F238E27FC236}">
                    <a16:creationId xmlns:a16="http://schemas.microsoft.com/office/drawing/2014/main" id="{A637CF37-61AC-99DD-6C3F-F01D097C2650}"/>
                  </a:ext>
                </a:extLst>
              </p:cNvPr>
              <p:cNvSpPr>
                <a:spLocks/>
              </p:cNvSpPr>
              <p:nvPr userDrawn="1"/>
            </p:nvSpPr>
            <p:spPr bwMode="auto">
              <a:xfrm>
                <a:off x="567258" y="168151"/>
                <a:ext cx="230188" cy="258763"/>
              </a:xfrm>
              <a:custGeom>
                <a:avLst/>
                <a:gdLst>
                  <a:gd name="T0" fmla="*/ 116731600 w 289"/>
                  <a:gd name="T1" fmla="*/ 206025508 h 325"/>
                  <a:gd name="T2" fmla="*/ 183344344 w 289"/>
                  <a:gd name="T3" fmla="*/ 0 h 325"/>
                  <a:gd name="T4" fmla="*/ 124978544 w 289"/>
                  <a:gd name="T5" fmla="*/ 0 h 325"/>
                  <a:gd name="T6" fmla="*/ 90720356 w 289"/>
                  <a:gd name="T7" fmla="*/ 105865119 h 325"/>
                  <a:gd name="T8" fmla="*/ 85645069 w 289"/>
                  <a:gd name="T9" fmla="*/ 121079587 h 325"/>
                  <a:gd name="T10" fmla="*/ 85645069 w 289"/>
                  <a:gd name="T11" fmla="*/ 121079587 h 325"/>
                  <a:gd name="T12" fmla="*/ 85645069 w 289"/>
                  <a:gd name="T13" fmla="*/ 121079587 h 325"/>
                  <a:gd name="T14" fmla="*/ 85645069 w 289"/>
                  <a:gd name="T15" fmla="*/ 121079587 h 325"/>
                  <a:gd name="T16" fmla="*/ 85645069 w 289"/>
                  <a:gd name="T17" fmla="*/ 121079587 h 325"/>
                  <a:gd name="T18" fmla="*/ 85645069 w 289"/>
                  <a:gd name="T19" fmla="*/ 121079587 h 325"/>
                  <a:gd name="T20" fmla="*/ 85645069 w 289"/>
                  <a:gd name="T21" fmla="*/ 121079587 h 325"/>
                  <a:gd name="T22" fmla="*/ 81204592 w 289"/>
                  <a:gd name="T23" fmla="*/ 105865119 h 325"/>
                  <a:gd name="T24" fmla="*/ 57730991 w 289"/>
                  <a:gd name="T25" fmla="*/ 38035772 h 325"/>
                  <a:gd name="T26" fmla="*/ 0 w 289"/>
                  <a:gd name="T27" fmla="*/ 38035772 h 325"/>
                  <a:gd name="T28" fmla="*/ 57096978 w 289"/>
                  <a:gd name="T29" fmla="*/ 206025508 h 325"/>
                  <a:gd name="T30" fmla="*/ 116731600 w 289"/>
                  <a:gd name="T31" fmla="*/ 206025508 h 32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89" h="325">
                    <a:moveTo>
                      <a:pt x="184" y="325"/>
                    </a:moveTo>
                    <a:lnTo>
                      <a:pt x="289" y="0"/>
                    </a:lnTo>
                    <a:lnTo>
                      <a:pt x="197" y="0"/>
                    </a:lnTo>
                    <a:lnTo>
                      <a:pt x="143" y="167"/>
                    </a:lnTo>
                    <a:lnTo>
                      <a:pt x="135" y="191"/>
                    </a:lnTo>
                    <a:lnTo>
                      <a:pt x="128" y="167"/>
                    </a:lnTo>
                    <a:lnTo>
                      <a:pt x="91" y="60"/>
                    </a:lnTo>
                    <a:lnTo>
                      <a:pt x="0" y="60"/>
                    </a:lnTo>
                    <a:lnTo>
                      <a:pt x="90" y="325"/>
                    </a:lnTo>
                    <a:lnTo>
                      <a:pt x="184" y="32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grpSp>
          <p:nvGrpSpPr>
            <p:cNvPr id="11" name="_VTT_logo_102019_09_orange_on_white" hidden="1">
              <a:extLst>
                <a:ext uri="{FF2B5EF4-FFF2-40B4-BE49-F238E27FC236}">
                  <a16:creationId xmlns:a16="http://schemas.microsoft.com/office/drawing/2014/main" id="{15C4FE05-E78C-9F6B-8468-1DEA9B415AD4}"/>
                </a:ext>
              </a:extLst>
            </p:cNvPr>
            <p:cNvGrpSpPr>
              <a:grpSpLocks/>
            </p:cNvGrpSpPr>
            <p:nvPr userDrawn="1"/>
          </p:nvGrpSpPr>
          <p:grpSpPr bwMode="auto">
            <a:xfrm>
              <a:off x="7909204" y="1770762"/>
              <a:ext cx="971550" cy="655638"/>
              <a:chOff x="379933" y="-15999"/>
              <a:chExt cx="971550" cy="655638"/>
            </a:xfrm>
          </p:grpSpPr>
          <p:sp>
            <p:nvSpPr>
              <p:cNvPr id="12" name="Box">
                <a:extLst>
                  <a:ext uri="{FF2B5EF4-FFF2-40B4-BE49-F238E27FC236}">
                    <a16:creationId xmlns:a16="http://schemas.microsoft.com/office/drawing/2014/main" id="{BF451AC2-885C-FAEF-16B1-1579B76F585C}"/>
                  </a:ext>
                </a:extLst>
              </p:cNvPr>
              <p:cNvSpPr>
                <a:spLocks noChangeArrowheads="1"/>
              </p:cNvSpPr>
              <p:nvPr userDrawn="1"/>
            </p:nvSpPr>
            <p:spPr bwMode="auto">
              <a:xfrm>
                <a:off x="379933" y="-15999"/>
                <a:ext cx="971550" cy="655638"/>
              </a:xfrm>
              <a:prstGeom prst="rect">
                <a:avLst/>
              </a:prstGeom>
              <a:solidFill>
                <a:srgbClr val="FFFFFF"/>
              </a:solidFill>
              <a:ln>
                <a:noFill/>
              </a:ln>
            </p:spPr>
            <p:txBody>
              <a:bodyPr/>
              <a:lstStyle>
                <a:lvl1pPr defTabSz="455613">
                  <a:defRPr b="1">
                    <a:solidFill>
                      <a:schemeClr val="tx1"/>
                    </a:solidFill>
                    <a:latin typeface="Verdana" panose="020B0604030504040204" pitchFamily="34" charset="0"/>
                  </a:defRPr>
                </a:lvl1pPr>
                <a:lvl2pPr marL="742950" indent="-285750" defTabSz="455613">
                  <a:defRPr b="1">
                    <a:solidFill>
                      <a:schemeClr val="tx1"/>
                    </a:solidFill>
                    <a:latin typeface="Verdana" panose="020B0604030504040204" pitchFamily="34" charset="0"/>
                  </a:defRPr>
                </a:lvl2pPr>
                <a:lvl3pPr marL="1143000" indent="-228600" defTabSz="455613">
                  <a:defRPr b="1">
                    <a:solidFill>
                      <a:schemeClr val="tx1"/>
                    </a:solidFill>
                    <a:latin typeface="Verdana" panose="020B0604030504040204" pitchFamily="34" charset="0"/>
                  </a:defRPr>
                </a:lvl3pPr>
                <a:lvl4pPr marL="1600200" indent="-228600" defTabSz="455613">
                  <a:defRPr b="1">
                    <a:solidFill>
                      <a:schemeClr val="tx1"/>
                    </a:solidFill>
                    <a:latin typeface="Verdana" panose="020B0604030504040204" pitchFamily="34" charset="0"/>
                  </a:defRPr>
                </a:lvl4pPr>
                <a:lvl5pPr marL="2057400" indent="-228600" defTabSz="455613">
                  <a:defRPr b="1">
                    <a:solidFill>
                      <a:schemeClr val="tx1"/>
                    </a:solidFill>
                    <a:latin typeface="Verdana" panose="020B0604030504040204" pitchFamily="34" charset="0"/>
                  </a:defRPr>
                </a:lvl5pPr>
                <a:lvl6pPr marL="2514600" indent="-228600" defTabSz="455613" eaLnBrk="0" fontAlgn="base" hangingPunct="0">
                  <a:spcBef>
                    <a:spcPct val="0"/>
                  </a:spcBef>
                  <a:spcAft>
                    <a:spcPct val="0"/>
                  </a:spcAft>
                  <a:defRPr b="1">
                    <a:solidFill>
                      <a:schemeClr val="tx1"/>
                    </a:solidFill>
                    <a:latin typeface="Verdana" panose="020B0604030504040204" pitchFamily="34" charset="0"/>
                  </a:defRPr>
                </a:lvl6pPr>
                <a:lvl7pPr marL="2971800" indent="-228600" defTabSz="455613" eaLnBrk="0" fontAlgn="base" hangingPunct="0">
                  <a:spcBef>
                    <a:spcPct val="0"/>
                  </a:spcBef>
                  <a:spcAft>
                    <a:spcPct val="0"/>
                  </a:spcAft>
                  <a:defRPr b="1">
                    <a:solidFill>
                      <a:schemeClr val="tx1"/>
                    </a:solidFill>
                    <a:latin typeface="Verdana" panose="020B0604030504040204" pitchFamily="34" charset="0"/>
                  </a:defRPr>
                </a:lvl7pPr>
                <a:lvl8pPr marL="3429000" indent="-228600" defTabSz="455613" eaLnBrk="0" fontAlgn="base" hangingPunct="0">
                  <a:spcBef>
                    <a:spcPct val="0"/>
                  </a:spcBef>
                  <a:spcAft>
                    <a:spcPct val="0"/>
                  </a:spcAft>
                  <a:defRPr b="1">
                    <a:solidFill>
                      <a:schemeClr val="tx1"/>
                    </a:solidFill>
                    <a:latin typeface="Verdana" panose="020B0604030504040204" pitchFamily="34" charset="0"/>
                  </a:defRPr>
                </a:lvl8pPr>
                <a:lvl9pPr marL="3886200" indent="-228600" defTabSz="455613" eaLnBrk="0" fontAlgn="base" hangingPunct="0">
                  <a:spcBef>
                    <a:spcPct val="0"/>
                  </a:spcBef>
                  <a:spcAft>
                    <a:spcPct val="0"/>
                  </a:spcAft>
                  <a:defRPr b="1">
                    <a:solidFill>
                      <a:schemeClr val="tx1"/>
                    </a:solidFill>
                    <a:latin typeface="Verdana" panose="020B0604030504040204" pitchFamily="34" charset="0"/>
                  </a:defRPr>
                </a:lvl9pPr>
              </a:lstStyle>
              <a:p>
                <a:pPr eaLnBrk="1" hangingPunct="1">
                  <a:defRPr/>
                </a:pPr>
                <a:endParaRPr lang="en-GB" altLang="de-DE" b="0">
                  <a:solidFill>
                    <a:srgbClr val="000000"/>
                  </a:solidFill>
                  <a:latin typeface="Arial" panose="020B0604020202020204" pitchFamily="34" charset="0"/>
                </a:endParaRPr>
              </a:p>
            </p:txBody>
          </p:sp>
          <p:sp>
            <p:nvSpPr>
              <p:cNvPr id="13" name="T2">
                <a:extLst>
                  <a:ext uri="{FF2B5EF4-FFF2-40B4-BE49-F238E27FC236}">
                    <a16:creationId xmlns:a16="http://schemas.microsoft.com/office/drawing/2014/main" id="{66C3A74E-6D1B-72D4-4CC2-858F26BD0EFF}"/>
                  </a:ext>
                </a:extLst>
              </p:cNvPr>
              <p:cNvSpPr>
                <a:spLocks/>
              </p:cNvSpPr>
              <p:nvPr userDrawn="1"/>
            </p:nvSpPr>
            <p:spPr bwMode="auto">
              <a:xfrm>
                <a:off x="1011758" y="168151"/>
                <a:ext cx="176213" cy="258763"/>
              </a:xfrm>
              <a:custGeom>
                <a:avLst/>
                <a:gdLst>
                  <a:gd name="T0" fmla="*/ 98916612 w 222"/>
                  <a:gd name="T1" fmla="*/ 206025508 h 325"/>
                  <a:gd name="T2" fmla="*/ 98916612 w 222"/>
                  <a:gd name="T3" fmla="*/ 49446026 h 325"/>
                  <a:gd name="T4" fmla="*/ 139869466 w 222"/>
                  <a:gd name="T5" fmla="*/ 49446026 h 325"/>
                  <a:gd name="T6" fmla="*/ 139869466 w 222"/>
                  <a:gd name="T7" fmla="*/ 0 h 325"/>
                  <a:gd name="T8" fmla="*/ 0 w 222"/>
                  <a:gd name="T9" fmla="*/ 0 h 325"/>
                  <a:gd name="T10" fmla="*/ 0 w 222"/>
                  <a:gd name="T11" fmla="*/ 49446026 h 325"/>
                  <a:gd name="T12" fmla="*/ 41583093 w 222"/>
                  <a:gd name="T13" fmla="*/ 49446026 h 325"/>
                  <a:gd name="T14" fmla="*/ 41583093 w 222"/>
                  <a:gd name="T15" fmla="*/ 206025508 h 325"/>
                  <a:gd name="T16" fmla="*/ 41583093 w 222"/>
                  <a:gd name="T17" fmla="*/ 206025508 h 325"/>
                  <a:gd name="T18" fmla="*/ 98916612 w 222"/>
                  <a:gd name="T19" fmla="*/ 206025508 h 3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22" h="325">
                    <a:moveTo>
                      <a:pt x="157" y="325"/>
                    </a:moveTo>
                    <a:lnTo>
                      <a:pt x="157" y="78"/>
                    </a:lnTo>
                    <a:lnTo>
                      <a:pt x="222" y="78"/>
                    </a:lnTo>
                    <a:lnTo>
                      <a:pt x="222" y="0"/>
                    </a:lnTo>
                    <a:lnTo>
                      <a:pt x="0" y="0"/>
                    </a:lnTo>
                    <a:lnTo>
                      <a:pt x="0" y="78"/>
                    </a:lnTo>
                    <a:lnTo>
                      <a:pt x="66" y="78"/>
                    </a:lnTo>
                    <a:lnTo>
                      <a:pt x="66" y="325"/>
                    </a:lnTo>
                    <a:lnTo>
                      <a:pt x="157" y="325"/>
                    </a:lnTo>
                    <a:close/>
                  </a:path>
                </a:pathLst>
              </a:custGeom>
              <a:solidFill>
                <a:srgbClr val="F06E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4" name="T1">
                <a:extLst>
                  <a:ext uri="{FF2B5EF4-FFF2-40B4-BE49-F238E27FC236}">
                    <a16:creationId xmlns:a16="http://schemas.microsoft.com/office/drawing/2014/main" id="{63108AF0-FB96-3A50-85C5-AA0177E293CD}"/>
                  </a:ext>
                </a:extLst>
              </p:cNvPr>
              <p:cNvSpPr>
                <a:spLocks/>
              </p:cNvSpPr>
              <p:nvPr userDrawn="1"/>
            </p:nvSpPr>
            <p:spPr bwMode="auto">
              <a:xfrm>
                <a:off x="799033" y="168151"/>
                <a:ext cx="193675" cy="258763"/>
              </a:xfrm>
              <a:custGeom>
                <a:avLst/>
                <a:gdLst>
                  <a:gd name="T0" fmla="*/ 55443438 w 244"/>
                  <a:gd name="T1" fmla="*/ 49446026 h 325"/>
                  <a:gd name="T2" fmla="*/ 55443438 w 244"/>
                  <a:gd name="T3" fmla="*/ 206025508 h 325"/>
                  <a:gd name="T4" fmla="*/ 112776794 w 244"/>
                  <a:gd name="T5" fmla="*/ 206025508 h 325"/>
                  <a:gd name="T6" fmla="*/ 112776794 w 244"/>
                  <a:gd name="T7" fmla="*/ 49446026 h 325"/>
                  <a:gd name="T8" fmla="*/ 153729531 w 244"/>
                  <a:gd name="T9" fmla="*/ 49446026 h 325"/>
                  <a:gd name="T10" fmla="*/ 153729531 w 244"/>
                  <a:gd name="T11" fmla="*/ 0 h 325"/>
                  <a:gd name="T12" fmla="*/ 15751175 w 244"/>
                  <a:gd name="T13" fmla="*/ 0 h 325"/>
                  <a:gd name="T14" fmla="*/ 0 w 244"/>
                  <a:gd name="T15" fmla="*/ 49446026 h 325"/>
                  <a:gd name="T16" fmla="*/ 55443438 w 244"/>
                  <a:gd name="T17" fmla="*/ 49446026 h 3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44" h="325">
                    <a:moveTo>
                      <a:pt x="88" y="78"/>
                    </a:moveTo>
                    <a:lnTo>
                      <a:pt x="88" y="325"/>
                    </a:lnTo>
                    <a:lnTo>
                      <a:pt x="179" y="325"/>
                    </a:lnTo>
                    <a:lnTo>
                      <a:pt x="179" y="78"/>
                    </a:lnTo>
                    <a:lnTo>
                      <a:pt x="244" y="78"/>
                    </a:lnTo>
                    <a:lnTo>
                      <a:pt x="244" y="0"/>
                    </a:lnTo>
                    <a:lnTo>
                      <a:pt x="25" y="0"/>
                    </a:lnTo>
                    <a:lnTo>
                      <a:pt x="0" y="78"/>
                    </a:lnTo>
                    <a:lnTo>
                      <a:pt x="88" y="78"/>
                    </a:lnTo>
                    <a:close/>
                  </a:path>
                </a:pathLst>
              </a:custGeom>
              <a:solidFill>
                <a:srgbClr val="F06E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5" name="V">
                <a:extLst>
                  <a:ext uri="{FF2B5EF4-FFF2-40B4-BE49-F238E27FC236}">
                    <a16:creationId xmlns:a16="http://schemas.microsoft.com/office/drawing/2014/main" id="{DF17894B-309F-96B7-9D5E-FCEC6F4B9A2C}"/>
                  </a:ext>
                </a:extLst>
              </p:cNvPr>
              <p:cNvSpPr>
                <a:spLocks/>
              </p:cNvSpPr>
              <p:nvPr userDrawn="1"/>
            </p:nvSpPr>
            <p:spPr bwMode="auto">
              <a:xfrm>
                <a:off x="567258" y="168151"/>
                <a:ext cx="230188" cy="258763"/>
              </a:xfrm>
              <a:custGeom>
                <a:avLst/>
                <a:gdLst>
                  <a:gd name="T0" fmla="*/ 116731600 w 289"/>
                  <a:gd name="T1" fmla="*/ 206025508 h 325"/>
                  <a:gd name="T2" fmla="*/ 183344344 w 289"/>
                  <a:gd name="T3" fmla="*/ 0 h 325"/>
                  <a:gd name="T4" fmla="*/ 124978544 w 289"/>
                  <a:gd name="T5" fmla="*/ 0 h 325"/>
                  <a:gd name="T6" fmla="*/ 90720356 w 289"/>
                  <a:gd name="T7" fmla="*/ 105865119 h 325"/>
                  <a:gd name="T8" fmla="*/ 85645069 w 289"/>
                  <a:gd name="T9" fmla="*/ 121079587 h 325"/>
                  <a:gd name="T10" fmla="*/ 85645069 w 289"/>
                  <a:gd name="T11" fmla="*/ 121079587 h 325"/>
                  <a:gd name="T12" fmla="*/ 85645069 w 289"/>
                  <a:gd name="T13" fmla="*/ 121079587 h 325"/>
                  <a:gd name="T14" fmla="*/ 85645069 w 289"/>
                  <a:gd name="T15" fmla="*/ 121079587 h 325"/>
                  <a:gd name="T16" fmla="*/ 85645069 w 289"/>
                  <a:gd name="T17" fmla="*/ 121079587 h 325"/>
                  <a:gd name="T18" fmla="*/ 85645069 w 289"/>
                  <a:gd name="T19" fmla="*/ 121079587 h 325"/>
                  <a:gd name="T20" fmla="*/ 85645069 w 289"/>
                  <a:gd name="T21" fmla="*/ 121079587 h 325"/>
                  <a:gd name="T22" fmla="*/ 81204592 w 289"/>
                  <a:gd name="T23" fmla="*/ 105865119 h 325"/>
                  <a:gd name="T24" fmla="*/ 57730991 w 289"/>
                  <a:gd name="T25" fmla="*/ 38035772 h 325"/>
                  <a:gd name="T26" fmla="*/ 0 w 289"/>
                  <a:gd name="T27" fmla="*/ 38035772 h 325"/>
                  <a:gd name="T28" fmla="*/ 57096978 w 289"/>
                  <a:gd name="T29" fmla="*/ 206025508 h 325"/>
                  <a:gd name="T30" fmla="*/ 116731600 w 289"/>
                  <a:gd name="T31" fmla="*/ 206025508 h 32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89" h="325">
                    <a:moveTo>
                      <a:pt x="184" y="325"/>
                    </a:moveTo>
                    <a:lnTo>
                      <a:pt x="289" y="0"/>
                    </a:lnTo>
                    <a:lnTo>
                      <a:pt x="197" y="0"/>
                    </a:lnTo>
                    <a:lnTo>
                      <a:pt x="143" y="167"/>
                    </a:lnTo>
                    <a:lnTo>
                      <a:pt x="135" y="191"/>
                    </a:lnTo>
                    <a:lnTo>
                      <a:pt x="128" y="167"/>
                    </a:lnTo>
                    <a:lnTo>
                      <a:pt x="91" y="60"/>
                    </a:lnTo>
                    <a:lnTo>
                      <a:pt x="0" y="60"/>
                    </a:lnTo>
                    <a:lnTo>
                      <a:pt x="90" y="325"/>
                    </a:lnTo>
                    <a:lnTo>
                      <a:pt x="184" y="325"/>
                    </a:lnTo>
                    <a:close/>
                  </a:path>
                </a:pathLst>
              </a:custGeom>
              <a:solidFill>
                <a:srgbClr val="F06E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grpSp>
      <p:sp>
        <p:nvSpPr>
          <p:cNvPr id="56" name="Picture Placeholder 55"/>
          <p:cNvSpPr>
            <a:spLocks noGrp="1"/>
          </p:cNvSpPr>
          <p:nvPr>
            <p:ph type="pic" sz="quarter" idx="14"/>
          </p:nvPr>
        </p:nvSpPr>
        <p:spPr>
          <a:xfrm>
            <a:off x="0" y="0"/>
            <a:ext cx="12192000" cy="6858000"/>
          </a:xfrm>
          <a:custGeom>
            <a:avLst/>
            <a:gdLst>
              <a:gd name="connsiteX0" fmla="*/ 8043515 w 9144000"/>
              <a:gd name="connsiteY0" fmla="*/ 1 h 5143500"/>
              <a:gd name="connsiteX1" fmla="*/ 8043515 w 9144000"/>
              <a:gd name="connsiteY1" fmla="*/ 586801 h 5143500"/>
              <a:gd name="connsiteX2" fmla="*/ 8913058 w 9144000"/>
              <a:gd name="connsiteY2" fmla="*/ 586801 h 5143500"/>
              <a:gd name="connsiteX3" fmla="*/ 8913058 w 9144000"/>
              <a:gd name="connsiteY3" fmla="*/ 1 h 5143500"/>
              <a:gd name="connsiteX4" fmla="*/ 0 w 9144000"/>
              <a:gd name="connsiteY4" fmla="*/ 0 h 5143500"/>
              <a:gd name="connsiteX5" fmla="*/ 9144000 w 9144000"/>
              <a:gd name="connsiteY5" fmla="*/ 0 h 5143500"/>
              <a:gd name="connsiteX6" fmla="*/ 9144000 w 9144000"/>
              <a:gd name="connsiteY6" fmla="*/ 5143500 h 5143500"/>
              <a:gd name="connsiteX7" fmla="*/ 0 w 9144000"/>
              <a:gd name="connsiteY7"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144000" h="5143500">
                <a:moveTo>
                  <a:pt x="8043515" y="1"/>
                </a:moveTo>
                <a:lnTo>
                  <a:pt x="8043515" y="586801"/>
                </a:lnTo>
                <a:lnTo>
                  <a:pt x="8913058" y="586801"/>
                </a:lnTo>
                <a:lnTo>
                  <a:pt x="8913058" y="1"/>
                </a:lnTo>
                <a:close/>
                <a:moveTo>
                  <a:pt x="0" y="0"/>
                </a:moveTo>
                <a:lnTo>
                  <a:pt x="9144000" y="0"/>
                </a:lnTo>
                <a:lnTo>
                  <a:pt x="9144000" y="5143500"/>
                </a:lnTo>
                <a:lnTo>
                  <a:pt x="0" y="5143500"/>
                </a:lnTo>
                <a:close/>
              </a:path>
            </a:pathLst>
          </a:custGeom>
          <a:solidFill>
            <a:srgbClr val="DBDBDB"/>
          </a:solidFill>
        </p:spPr>
        <p:txBody>
          <a:bodyPr wrap="square"/>
          <a:lstStyle/>
          <a:p>
            <a:pPr lvl="0"/>
            <a:endParaRPr lang="en-GB" noProof="0"/>
          </a:p>
        </p:txBody>
      </p:sp>
    </p:spTree>
    <p:extLst>
      <p:ext uri="{BB962C8B-B14F-4D97-AF65-F5344CB8AC3E}">
        <p14:creationId xmlns:p14="http://schemas.microsoft.com/office/powerpoint/2010/main" val="2986589815"/>
      </p:ext>
    </p:extLst>
  </p:cSld>
  <p:clrMapOvr>
    <a:masterClrMapping/>
  </p:clrMapOvr>
  <p:transition spd="med">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2" name="Picture 7" descr="Fond">
            <a:extLst>
              <a:ext uri="{FF2B5EF4-FFF2-40B4-BE49-F238E27FC236}">
                <a16:creationId xmlns:a16="http://schemas.microsoft.com/office/drawing/2014/main" id="{39671606-B76F-09D0-E001-1C2E3CB75ED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9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12" descr="logcouv">
            <a:extLst>
              <a:ext uri="{FF2B5EF4-FFF2-40B4-BE49-F238E27FC236}">
                <a16:creationId xmlns:a16="http://schemas.microsoft.com/office/drawing/2014/main" id="{38D0599A-9751-EEF5-0FEE-9423E5CCD4B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113713" y="6021388"/>
            <a:ext cx="2638425" cy="396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482" name="Rectangle 2"/>
          <p:cNvSpPr>
            <a:spLocks noGrp="1" noChangeArrowheads="1"/>
          </p:cNvSpPr>
          <p:nvPr>
            <p:ph type="ctrTitle"/>
          </p:nvPr>
        </p:nvSpPr>
        <p:spPr>
          <a:xfrm>
            <a:off x="527051" y="1844676"/>
            <a:ext cx="7581900" cy="792163"/>
          </a:xfrm>
        </p:spPr>
        <p:txBody>
          <a:bodyPr anchor="b"/>
          <a:lstStyle>
            <a:lvl1pPr algn="r">
              <a:defRPr/>
            </a:lvl1pPr>
          </a:lstStyle>
          <a:p>
            <a:r>
              <a:rPr lang="en-GB" dirty="0"/>
              <a:t>Click here to change the title</a:t>
            </a:r>
          </a:p>
        </p:txBody>
      </p:sp>
      <p:sp>
        <p:nvSpPr>
          <p:cNvPr id="20483" name="Rectangle 3"/>
          <p:cNvSpPr>
            <a:spLocks noGrp="1" noChangeArrowheads="1"/>
          </p:cNvSpPr>
          <p:nvPr>
            <p:ph type="subTitle" idx="1"/>
          </p:nvPr>
        </p:nvSpPr>
        <p:spPr>
          <a:xfrm>
            <a:off x="524934" y="2852739"/>
            <a:ext cx="7581900" cy="719137"/>
          </a:xfrm>
        </p:spPr>
        <p:txBody>
          <a:bodyPr anchor="b"/>
          <a:lstStyle>
            <a:lvl1pPr marL="0" indent="0" algn="r">
              <a:spcBef>
                <a:spcPct val="0"/>
              </a:spcBef>
              <a:defRPr sz="2000">
                <a:solidFill>
                  <a:schemeClr val="tx2"/>
                </a:solidFill>
              </a:defRPr>
            </a:lvl1pPr>
          </a:lstStyle>
          <a:p>
            <a:r>
              <a:rPr lang="en-US"/>
              <a:t>Click to change the style of the master subtitles</a:t>
            </a:r>
            <a:endParaRPr lang="en-GB"/>
          </a:p>
        </p:txBody>
      </p:sp>
    </p:spTree>
    <p:extLst>
      <p:ext uri="{BB962C8B-B14F-4D97-AF65-F5344CB8AC3E}">
        <p14:creationId xmlns:p14="http://schemas.microsoft.com/office/powerpoint/2010/main" val="17362179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a:xfrm>
            <a:off x="814918" y="1912939"/>
            <a:ext cx="10684933" cy="4324351"/>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42769261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sz="half" idx="1"/>
          </p:nvPr>
        </p:nvSpPr>
        <p:spPr>
          <a:xfrm>
            <a:off x="814917" y="1455738"/>
            <a:ext cx="5240867" cy="4775200"/>
          </a:xfrm>
        </p:spPr>
        <p:txBody>
          <a:bodyPr/>
          <a:lstStyle>
            <a:lvl1pPr>
              <a:defRPr sz="2400"/>
            </a:lvl1pPr>
            <a:lvl2pPr>
              <a:defRPr sz="22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258984" y="1455738"/>
            <a:ext cx="5240867" cy="4775200"/>
          </a:xfrm>
        </p:spPr>
        <p:txBody>
          <a:bodyPr/>
          <a:lstStyle>
            <a:lvl1pPr>
              <a:defRPr sz="2400"/>
            </a:lvl1pPr>
            <a:lvl2pPr>
              <a:defRPr sz="22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34794009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609600" y="1455738"/>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095500"/>
            <a:ext cx="5386917" cy="413543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6193368" y="1455738"/>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095500"/>
            <a:ext cx="5389033" cy="413543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itle 1"/>
          <p:cNvSpPr>
            <a:spLocks noGrp="1"/>
          </p:cNvSpPr>
          <p:nvPr>
            <p:ph type="title"/>
          </p:nvPr>
        </p:nvSpPr>
        <p:spPr>
          <a:xfrm>
            <a:off x="814917" y="25400"/>
            <a:ext cx="10657416" cy="1125538"/>
          </a:xfrm>
        </p:spPr>
        <p:txBody>
          <a:bodyPr/>
          <a:lstStyle/>
          <a:p>
            <a:r>
              <a:rPr lang="en-US" dirty="0"/>
              <a:t>Click to edit Master title style</a:t>
            </a:r>
          </a:p>
        </p:txBody>
      </p:sp>
    </p:spTree>
    <p:extLst>
      <p:ext uri="{BB962C8B-B14F-4D97-AF65-F5344CB8AC3E}">
        <p14:creationId xmlns:p14="http://schemas.microsoft.com/office/powerpoint/2010/main" val="196912496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3" name="ZoneTexte 2">
            <a:extLst>
              <a:ext uri="{FF2B5EF4-FFF2-40B4-BE49-F238E27FC236}">
                <a16:creationId xmlns:a16="http://schemas.microsoft.com/office/drawing/2014/main" id="{603B95E0-B007-9BE1-B9BA-B5A61247A258}"/>
              </a:ext>
            </a:extLst>
          </p:cNvPr>
          <p:cNvSpPr txBox="1">
            <a:spLocks noChangeArrowheads="1"/>
          </p:cNvSpPr>
          <p:nvPr userDrawn="1"/>
        </p:nvSpPr>
        <p:spPr bwMode="auto">
          <a:xfrm>
            <a:off x="14193838" y="3409950"/>
            <a:ext cx="185737" cy="307975"/>
          </a:xfrm>
          <a:prstGeom prst="rect">
            <a:avLst/>
          </a:prstGeom>
          <a:noFill/>
          <a:ln>
            <a:noFill/>
          </a:ln>
        </p:spPr>
        <p:txBody>
          <a:bodyPr wrap="none">
            <a:spAutoFit/>
          </a:bodyPr>
          <a:lstStyle>
            <a:lvl1pPr eaLnBrk="0" hangingPunct="0">
              <a:defRPr sz="1400">
                <a:solidFill>
                  <a:schemeClr val="tx1"/>
                </a:solidFill>
                <a:latin typeface="Alstom" pitchFamily="2" charset="0"/>
              </a:defRPr>
            </a:lvl1pPr>
            <a:lvl2pPr marL="742950" indent="-285750" eaLnBrk="0" hangingPunct="0">
              <a:defRPr sz="1400">
                <a:solidFill>
                  <a:schemeClr val="tx1"/>
                </a:solidFill>
                <a:latin typeface="Alstom" pitchFamily="2" charset="0"/>
              </a:defRPr>
            </a:lvl2pPr>
            <a:lvl3pPr marL="1143000" indent="-228600" eaLnBrk="0" hangingPunct="0">
              <a:defRPr sz="1400">
                <a:solidFill>
                  <a:schemeClr val="tx1"/>
                </a:solidFill>
                <a:latin typeface="Alstom" pitchFamily="2" charset="0"/>
              </a:defRPr>
            </a:lvl3pPr>
            <a:lvl4pPr marL="1600200" indent="-228600" eaLnBrk="0" hangingPunct="0">
              <a:defRPr sz="1400">
                <a:solidFill>
                  <a:schemeClr val="tx1"/>
                </a:solidFill>
                <a:latin typeface="Alstom" pitchFamily="2" charset="0"/>
              </a:defRPr>
            </a:lvl4pPr>
            <a:lvl5pPr marL="2057400" indent="-228600" eaLnBrk="0" hangingPunct="0">
              <a:defRPr sz="1400">
                <a:solidFill>
                  <a:schemeClr val="tx1"/>
                </a:solidFill>
                <a:latin typeface="Alstom" pitchFamily="2" charset="0"/>
              </a:defRPr>
            </a:lvl5pPr>
            <a:lvl6pPr marL="2514600" indent="-228600" eaLnBrk="0" fontAlgn="base" hangingPunct="0">
              <a:spcBef>
                <a:spcPct val="0"/>
              </a:spcBef>
              <a:spcAft>
                <a:spcPct val="0"/>
              </a:spcAft>
              <a:defRPr sz="1400">
                <a:solidFill>
                  <a:schemeClr val="tx1"/>
                </a:solidFill>
                <a:latin typeface="Alstom" pitchFamily="2" charset="0"/>
              </a:defRPr>
            </a:lvl6pPr>
            <a:lvl7pPr marL="2971800" indent="-228600" eaLnBrk="0" fontAlgn="base" hangingPunct="0">
              <a:spcBef>
                <a:spcPct val="0"/>
              </a:spcBef>
              <a:spcAft>
                <a:spcPct val="0"/>
              </a:spcAft>
              <a:defRPr sz="1400">
                <a:solidFill>
                  <a:schemeClr val="tx1"/>
                </a:solidFill>
                <a:latin typeface="Alstom" pitchFamily="2" charset="0"/>
              </a:defRPr>
            </a:lvl7pPr>
            <a:lvl8pPr marL="3429000" indent="-228600" eaLnBrk="0" fontAlgn="base" hangingPunct="0">
              <a:spcBef>
                <a:spcPct val="0"/>
              </a:spcBef>
              <a:spcAft>
                <a:spcPct val="0"/>
              </a:spcAft>
              <a:defRPr sz="1400">
                <a:solidFill>
                  <a:schemeClr val="tx1"/>
                </a:solidFill>
                <a:latin typeface="Alstom" pitchFamily="2" charset="0"/>
              </a:defRPr>
            </a:lvl8pPr>
            <a:lvl9pPr marL="3886200" indent="-228600" eaLnBrk="0" fontAlgn="base" hangingPunct="0">
              <a:spcBef>
                <a:spcPct val="0"/>
              </a:spcBef>
              <a:spcAft>
                <a:spcPct val="0"/>
              </a:spcAft>
              <a:defRPr sz="1400">
                <a:solidFill>
                  <a:schemeClr val="tx1"/>
                </a:solidFill>
                <a:latin typeface="Alstom" pitchFamily="2" charset="0"/>
              </a:defRPr>
            </a:lvl9pPr>
          </a:lstStyle>
          <a:p>
            <a:pPr eaLnBrk="1" hangingPunct="1">
              <a:defRPr/>
            </a:pPr>
            <a:endParaRPr lang="en-GB"/>
          </a:p>
        </p:txBody>
      </p:sp>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7698423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6169151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082C2DA0-1C1A-8645-F066-7F297DDF4A50}"/>
              </a:ext>
            </a:extLst>
          </p:cNvPr>
          <p:cNvSpPr txBox="1">
            <a:spLocks/>
          </p:cNvSpPr>
          <p:nvPr userDrawn="1"/>
        </p:nvSpPr>
        <p:spPr bwMode="auto">
          <a:xfrm>
            <a:off x="814388" y="25400"/>
            <a:ext cx="10658475" cy="1125538"/>
          </a:xfrm>
          <a:prstGeom prst="rect">
            <a:avLst/>
          </a:prstGeom>
          <a:noFill/>
          <a:ln>
            <a:noFill/>
          </a:ln>
        </p:spPr>
        <p:txBody>
          <a:bodyPr lIns="0" tIns="0" rIns="0" bIns="0" anchor="ctr"/>
          <a:lstStyle>
            <a:lvl1pPr eaLnBrk="0" hangingPunct="0">
              <a:defRPr sz="1400">
                <a:solidFill>
                  <a:schemeClr val="tx1"/>
                </a:solidFill>
                <a:latin typeface="Alstom" pitchFamily="2" charset="0"/>
              </a:defRPr>
            </a:lvl1pPr>
            <a:lvl2pPr marL="742950" indent="-285750" eaLnBrk="0" hangingPunct="0">
              <a:defRPr sz="1400">
                <a:solidFill>
                  <a:schemeClr val="tx1"/>
                </a:solidFill>
                <a:latin typeface="Alstom" pitchFamily="2" charset="0"/>
              </a:defRPr>
            </a:lvl2pPr>
            <a:lvl3pPr marL="1143000" indent="-228600" eaLnBrk="0" hangingPunct="0">
              <a:defRPr sz="1400">
                <a:solidFill>
                  <a:schemeClr val="tx1"/>
                </a:solidFill>
                <a:latin typeface="Alstom" pitchFamily="2" charset="0"/>
              </a:defRPr>
            </a:lvl3pPr>
            <a:lvl4pPr marL="1600200" indent="-228600" eaLnBrk="0" hangingPunct="0">
              <a:defRPr sz="1400">
                <a:solidFill>
                  <a:schemeClr val="tx1"/>
                </a:solidFill>
                <a:latin typeface="Alstom" pitchFamily="2" charset="0"/>
              </a:defRPr>
            </a:lvl4pPr>
            <a:lvl5pPr marL="2057400" indent="-228600" eaLnBrk="0" hangingPunct="0">
              <a:defRPr sz="1400">
                <a:solidFill>
                  <a:schemeClr val="tx1"/>
                </a:solidFill>
                <a:latin typeface="Alstom" pitchFamily="2" charset="0"/>
              </a:defRPr>
            </a:lvl5pPr>
            <a:lvl6pPr marL="2514600" indent="-228600" eaLnBrk="0" fontAlgn="base" hangingPunct="0">
              <a:spcBef>
                <a:spcPct val="0"/>
              </a:spcBef>
              <a:spcAft>
                <a:spcPct val="0"/>
              </a:spcAft>
              <a:defRPr sz="1400">
                <a:solidFill>
                  <a:schemeClr val="tx1"/>
                </a:solidFill>
                <a:latin typeface="Alstom" pitchFamily="2" charset="0"/>
              </a:defRPr>
            </a:lvl6pPr>
            <a:lvl7pPr marL="2971800" indent="-228600" eaLnBrk="0" fontAlgn="base" hangingPunct="0">
              <a:spcBef>
                <a:spcPct val="0"/>
              </a:spcBef>
              <a:spcAft>
                <a:spcPct val="0"/>
              </a:spcAft>
              <a:defRPr sz="1400">
                <a:solidFill>
                  <a:schemeClr val="tx1"/>
                </a:solidFill>
                <a:latin typeface="Alstom" pitchFamily="2" charset="0"/>
              </a:defRPr>
            </a:lvl7pPr>
            <a:lvl8pPr marL="3429000" indent="-228600" eaLnBrk="0" fontAlgn="base" hangingPunct="0">
              <a:spcBef>
                <a:spcPct val="0"/>
              </a:spcBef>
              <a:spcAft>
                <a:spcPct val="0"/>
              </a:spcAft>
              <a:defRPr sz="1400">
                <a:solidFill>
                  <a:schemeClr val="tx1"/>
                </a:solidFill>
                <a:latin typeface="Alstom" pitchFamily="2" charset="0"/>
              </a:defRPr>
            </a:lvl8pPr>
            <a:lvl9pPr marL="3886200" indent="-228600" eaLnBrk="0" fontAlgn="base" hangingPunct="0">
              <a:spcBef>
                <a:spcPct val="0"/>
              </a:spcBef>
              <a:spcAft>
                <a:spcPct val="0"/>
              </a:spcAft>
              <a:defRPr sz="1400">
                <a:solidFill>
                  <a:schemeClr val="tx1"/>
                </a:solidFill>
                <a:latin typeface="Alstom" pitchFamily="2" charset="0"/>
              </a:defRPr>
            </a:lvl9pPr>
          </a:lstStyle>
          <a:p>
            <a:pPr eaLnBrk="1" hangingPunct="1">
              <a:lnSpc>
                <a:spcPct val="90000"/>
              </a:lnSpc>
              <a:defRPr/>
            </a:pPr>
            <a:r>
              <a:rPr lang="en-US" sz="2800">
                <a:solidFill>
                  <a:schemeClr val="tx2"/>
                </a:solidFill>
              </a:rPr>
              <a:t>Click to edit Master title style</a:t>
            </a:r>
          </a:p>
        </p:txBody>
      </p:sp>
      <p:sp>
        <p:nvSpPr>
          <p:cNvPr id="2" name="Title 1"/>
          <p:cNvSpPr>
            <a:spLocks noGrp="1"/>
          </p:cNvSpPr>
          <p:nvPr>
            <p:ph type="title"/>
          </p:nvPr>
        </p:nvSpPr>
        <p:spPr>
          <a:xfrm>
            <a:off x="609601" y="1455738"/>
            <a:ext cx="4011084"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1455738"/>
            <a:ext cx="6815667" cy="4775200"/>
          </a:xfrm>
        </p:spPr>
        <p:txBody>
          <a:bodyPr/>
          <a:lstStyle>
            <a:lvl1pPr>
              <a:defRPr sz="2400"/>
            </a:lvl1pPr>
            <a:lvl2pPr>
              <a:defRPr sz="2000"/>
            </a:lvl2pPr>
            <a:lvl3pPr>
              <a:defRPr sz="1800"/>
            </a:lvl3pPr>
            <a:lvl4pPr>
              <a:defRPr sz="1600"/>
            </a:lvl4pPr>
            <a:lvl5pPr>
              <a:defRPr sz="1600"/>
            </a:lvl5pPr>
            <a:lvl6pPr>
              <a:defRPr sz="2000"/>
            </a:lvl6pPr>
            <a:lvl7pPr>
              <a:defRPr sz="2000"/>
            </a:lvl7pPr>
            <a:lvl8pPr>
              <a:defRPr sz="2000"/>
            </a:lvl8pPr>
            <a:lvl9pPr>
              <a:defRPr sz="20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half" idx="2"/>
          </p:nvPr>
        </p:nvSpPr>
        <p:spPr>
          <a:xfrm>
            <a:off x="609601" y="2617789"/>
            <a:ext cx="4011084" cy="3613150"/>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117700675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objAndTx" preserve="1">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814917" y="25400"/>
            <a:ext cx="10657416" cy="1125538"/>
          </a:xfrm>
        </p:spPr>
        <p:txBody>
          <a:bodyPr/>
          <a:lstStyle/>
          <a:p>
            <a:r>
              <a:rPr lang="en-US"/>
              <a:t>Click to edit Master title style</a:t>
            </a:r>
          </a:p>
        </p:txBody>
      </p:sp>
      <p:sp>
        <p:nvSpPr>
          <p:cNvPr id="3" name="Content Placeholder 2"/>
          <p:cNvSpPr>
            <a:spLocks noGrp="1"/>
          </p:cNvSpPr>
          <p:nvPr>
            <p:ph sz="half" idx="1"/>
          </p:nvPr>
        </p:nvSpPr>
        <p:spPr>
          <a:xfrm>
            <a:off x="814917" y="1912938"/>
            <a:ext cx="5240867" cy="4318000"/>
          </a:xfrm>
        </p:spPr>
        <p:txBody>
          <a:bodyPr/>
          <a:lstStyle>
            <a:lvl1pPr>
              <a:defRPr lang="en-US" dirty="0" smtClean="0"/>
            </a:lvl1pPr>
            <a:lvl2pPr>
              <a:defRPr lang="en-US" dirty="0" smtClean="0"/>
            </a:lvl2pPr>
            <a:lvl3pPr>
              <a:defRPr lang="en-US" dirty="0" smtClean="0"/>
            </a:lvl3pPr>
            <a:lvl4pPr>
              <a:defRPr lang="en-US" dirty="0" smtClean="0"/>
            </a:lvl4pPr>
            <a:lvl5pPr>
              <a:defRPr lang="en-US"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half" idx="2"/>
          </p:nvPr>
        </p:nvSpPr>
        <p:spPr>
          <a:xfrm>
            <a:off x="6258984" y="1912938"/>
            <a:ext cx="5240867" cy="4318000"/>
          </a:xfrm>
        </p:spPr>
        <p:txBody>
          <a:bodyPr/>
          <a:lstStyle>
            <a:lvl1pPr>
              <a:defRPr lang="en-US" dirty="0" smtClean="0"/>
            </a:lvl1pPr>
            <a:lvl2pPr>
              <a:defRPr lang="en-US" dirty="0" smtClean="0"/>
            </a:lvl2pPr>
            <a:lvl3pPr>
              <a:defRPr lang="en-US" dirty="0" smtClean="0"/>
            </a:lvl3pPr>
            <a:lvl4pPr>
              <a:defRPr lang="en-US" dirty="0" smtClean="0"/>
            </a:lvl4pPr>
            <a:lvl5pPr>
              <a:defRPr lang="en-US"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87375785"/>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16DF9A77-AEAD-3220-444C-8FB0309EE58D}"/>
              </a:ext>
            </a:extLst>
          </p:cNvPr>
          <p:cNvSpPr txBox="1">
            <a:spLocks/>
          </p:cNvSpPr>
          <p:nvPr userDrawn="1"/>
        </p:nvSpPr>
        <p:spPr bwMode="auto">
          <a:xfrm>
            <a:off x="814388" y="25400"/>
            <a:ext cx="10658475" cy="1125538"/>
          </a:xfrm>
          <a:prstGeom prst="rect">
            <a:avLst/>
          </a:prstGeom>
          <a:noFill/>
          <a:ln>
            <a:noFill/>
          </a:ln>
        </p:spPr>
        <p:txBody>
          <a:bodyPr lIns="0" tIns="0" rIns="0" bIns="0" anchor="ctr"/>
          <a:lstStyle>
            <a:lvl1pPr eaLnBrk="0" hangingPunct="0">
              <a:defRPr sz="1400">
                <a:solidFill>
                  <a:schemeClr val="tx1"/>
                </a:solidFill>
                <a:latin typeface="Alstom" pitchFamily="2" charset="0"/>
              </a:defRPr>
            </a:lvl1pPr>
            <a:lvl2pPr marL="742950" indent="-285750" eaLnBrk="0" hangingPunct="0">
              <a:defRPr sz="1400">
                <a:solidFill>
                  <a:schemeClr val="tx1"/>
                </a:solidFill>
                <a:latin typeface="Alstom" pitchFamily="2" charset="0"/>
              </a:defRPr>
            </a:lvl2pPr>
            <a:lvl3pPr marL="1143000" indent="-228600" eaLnBrk="0" hangingPunct="0">
              <a:defRPr sz="1400">
                <a:solidFill>
                  <a:schemeClr val="tx1"/>
                </a:solidFill>
                <a:latin typeface="Alstom" pitchFamily="2" charset="0"/>
              </a:defRPr>
            </a:lvl3pPr>
            <a:lvl4pPr marL="1600200" indent="-228600" eaLnBrk="0" hangingPunct="0">
              <a:defRPr sz="1400">
                <a:solidFill>
                  <a:schemeClr val="tx1"/>
                </a:solidFill>
                <a:latin typeface="Alstom" pitchFamily="2" charset="0"/>
              </a:defRPr>
            </a:lvl4pPr>
            <a:lvl5pPr marL="2057400" indent="-228600" eaLnBrk="0" hangingPunct="0">
              <a:defRPr sz="1400">
                <a:solidFill>
                  <a:schemeClr val="tx1"/>
                </a:solidFill>
                <a:latin typeface="Alstom" pitchFamily="2" charset="0"/>
              </a:defRPr>
            </a:lvl5pPr>
            <a:lvl6pPr marL="2514600" indent="-228600" eaLnBrk="0" fontAlgn="base" hangingPunct="0">
              <a:spcBef>
                <a:spcPct val="0"/>
              </a:spcBef>
              <a:spcAft>
                <a:spcPct val="0"/>
              </a:spcAft>
              <a:defRPr sz="1400">
                <a:solidFill>
                  <a:schemeClr val="tx1"/>
                </a:solidFill>
                <a:latin typeface="Alstom" pitchFamily="2" charset="0"/>
              </a:defRPr>
            </a:lvl6pPr>
            <a:lvl7pPr marL="2971800" indent="-228600" eaLnBrk="0" fontAlgn="base" hangingPunct="0">
              <a:spcBef>
                <a:spcPct val="0"/>
              </a:spcBef>
              <a:spcAft>
                <a:spcPct val="0"/>
              </a:spcAft>
              <a:defRPr sz="1400">
                <a:solidFill>
                  <a:schemeClr val="tx1"/>
                </a:solidFill>
                <a:latin typeface="Alstom" pitchFamily="2" charset="0"/>
              </a:defRPr>
            </a:lvl7pPr>
            <a:lvl8pPr marL="3429000" indent="-228600" eaLnBrk="0" fontAlgn="base" hangingPunct="0">
              <a:spcBef>
                <a:spcPct val="0"/>
              </a:spcBef>
              <a:spcAft>
                <a:spcPct val="0"/>
              </a:spcAft>
              <a:defRPr sz="1400">
                <a:solidFill>
                  <a:schemeClr val="tx1"/>
                </a:solidFill>
                <a:latin typeface="Alstom" pitchFamily="2" charset="0"/>
              </a:defRPr>
            </a:lvl8pPr>
            <a:lvl9pPr marL="3886200" indent="-228600" eaLnBrk="0" fontAlgn="base" hangingPunct="0">
              <a:spcBef>
                <a:spcPct val="0"/>
              </a:spcBef>
              <a:spcAft>
                <a:spcPct val="0"/>
              </a:spcAft>
              <a:defRPr sz="1400">
                <a:solidFill>
                  <a:schemeClr val="tx1"/>
                </a:solidFill>
                <a:latin typeface="Alstom" pitchFamily="2" charset="0"/>
              </a:defRPr>
            </a:lvl9pPr>
          </a:lstStyle>
          <a:p>
            <a:pPr eaLnBrk="1" hangingPunct="1">
              <a:lnSpc>
                <a:spcPct val="90000"/>
              </a:lnSpc>
              <a:defRPr/>
            </a:pPr>
            <a:r>
              <a:rPr lang="en-US" sz="2800">
                <a:solidFill>
                  <a:schemeClr val="tx2"/>
                </a:solidFill>
              </a:rPr>
              <a:t>Click to edit Master title style</a:t>
            </a:r>
          </a:p>
        </p:txBody>
      </p:sp>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1455738"/>
            <a:ext cx="7315200" cy="3271837"/>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p>
        </p:txBody>
      </p:sp>
      <p:sp>
        <p:nvSpPr>
          <p:cNvPr id="4" name="Text Placeholder 3"/>
          <p:cNvSpPr>
            <a:spLocks noGrp="1"/>
          </p:cNvSpPr>
          <p:nvPr>
            <p:ph type="body" sz="half" idx="2"/>
          </p:nvPr>
        </p:nvSpPr>
        <p:spPr>
          <a:xfrm>
            <a:off x="2389717" y="5426076"/>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389266725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a:xfrm>
            <a:off x="478367" y="559974"/>
            <a:ext cx="9169400" cy="838200"/>
          </a:xfrm>
        </p:spPr>
        <p:txBody>
          <a:bodyPr anchor="t"/>
          <a:lstStyle>
            <a:lvl1pPr>
              <a:defRPr sz="2000"/>
            </a:lvl1pPr>
          </a:lstStyle>
          <a:p>
            <a:r>
              <a:rPr lang="de-DE" dirty="0"/>
              <a:t>Titelmasterformat durch Klicken bearbeiten</a:t>
            </a:r>
          </a:p>
        </p:txBody>
      </p:sp>
      <p:sp>
        <p:nvSpPr>
          <p:cNvPr id="3" name="Inhaltsplatzhalter 2"/>
          <p:cNvSpPr>
            <a:spLocks noGrp="1"/>
          </p:cNvSpPr>
          <p:nvPr>
            <p:ph idx="1"/>
          </p:nvPr>
        </p:nvSpPr>
        <p:spPr/>
        <p:txBody>
          <a:bodyPr/>
          <a:lstStyle/>
          <a:p>
            <a:pPr lvl="0"/>
            <a:r>
              <a:rPr lang="de-DE" dirty="0"/>
              <a:t>Textmasterformate durch Klicken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Rectangle 1041">
            <a:extLst>
              <a:ext uri="{FF2B5EF4-FFF2-40B4-BE49-F238E27FC236}">
                <a16:creationId xmlns:a16="http://schemas.microsoft.com/office/drawing/2014/main" id="{0A365812-6708-E599-CC55-1AB58FB91CD1}"/>
              </a:ext>
            </a:extLst>
          </p:cNvPr>
          <p:cNvSpPr>
            <a:spLocks noGrp="1" noChangeArrowheads="1"/>
          </p:cNvSpPr>
          <p:nvPr>
            <p:ph type="ftr" sz="quarter" idx="10"/>
          </p:nvPr>
        </p:nvSpPr>
        <p:spPr>
          <a:xfrm>
            <a:off x="627063" y="6310313"/>
            <a:ext cx="7007225" cy="215900"/>
          </a:xfrm>
          <a:prstGeom prst="rect">
            <a:avLst/>
          </a:prstGeom>
        </p:spPr>
        <p:txBody>
          <a:bodyPr vert="horz" wrap="square" lIns="91440" tIns="45720" rIns="91440" bIns="45720" numCol="1" anchor="t" anchorCtr="0" compatLnSpc="1">
            <a:prstTxWarp prst="textNoShape">
              <a:avLst/>
            </a:prstTxWarp>
          </a:bodyPr>
          <a:lstStyle>
            <a:lvl1pPr>
              <a:defRPr/>
            </a:lvl1pPr>
          </a:lstStyle>
          <a:p>
            <a:pPr>
              <a:defRPr/>
            </a:pPr>
            <a:r>
              <a:rPr lang="en-GB" altLang="de-DE"/>
              <a:t>Lecture: Interactions in Turbomachinery Rotordynamics - </a:t>
            </a:r>
            <a:fld id="{7A1B6024-AFA6-41A9-A8FB-AFF3B8EB1356}" type="datetime1">
              <a:rPr lang="en-GB" altLang="de-DE" smtClean="0"/>
              <a:pPr>
                <a:defRPr/>
              </a:pPr>
              <a:t>28/01/2024</a:t>
            </a:fld>
            <a:r>
              <a:rPr lang="en-GB" altLang="de-DE"/>
              <a:t> - P </a:t>
            </a:r>
            <a:fld id="{33CCDF14-FCC0-4FA8-B451-C1D43B99EAF4}" type="slidenum">
              <a:rPr lang="en-GB" altLang="de-DE" smtClean="0"/>
              <a:pPr>
                <a:defRPr/>
              </a:pPr>
              <a:t>‹Nr.›</a:t>
            </a:fld>
            <a:endParaRPr lang="en-GB" altLang="de-DE"/>
          </a:p>
        </p:txBody>
      </p:sp>
    </p:spTree>
    <p:extLst>
      <p:ext uri="{BB962C8B-B14F-4D97-AF65-F5344CB8AC3E}">
        <p14:creationId xmlns:p14="http://schemas.microsoft.com/office/powerpoint/2010/main" val="186058665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pic>
        <p:nvPicPr>
          <p:cNvPr id="2" name="Picture 7" descr="Fond">
            <a:extLst>
              <a:ext uri="{FF2B5EF4-FFF2-40B4-BE49-F238E27FC236}">
                <a16:creationId xmlns:a16="http://schemas.microsoft.com/office/drawing/2014/main" id="{935F5EAE-A427-D07B-1AEA-3B83D1EFCC8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9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12" descr="logcouv">
            <a:extLst>
              <a:ext uri="{FF2B5EF4-FFF2-40B4-BE49-F238E27FC236}">
                <a16:creationId xmlns:a16="http://schemas.microsoft.com/office/drawing/2014/main" id="{B852C149-AC71-4112-FF8F-5281E850F94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113713" y="6021388"/>
            <a:ext cx="2638425" cy="396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 Box 1029">
            <a:extLst>
              <a:ext uri="{FF2B5EF4-FFF2-40B4-BE49-F238E27FC236}">
                <a16:creationId xmlns:a16="http://schemas.microsoft.com/office/drawing/2014/main" id="{5358C380-6EEA-CDFE-BAB7-429E0C025F9A}"/>
              </a:ext>
            </a:extLst>
          </p:cNvPr>
          <p:cNvSpPr txBox="1">
            <a:spLocks noChangeArrowheads="1"/>
          </p:cNvSpPr>
          <p:nvPr userDrawn="1"/>
        </p:nvSpPr>
        <p:spPr bwMode="auto">
          <a:xfrm>
            <a:off x="1390650" y="3286125"/>
            <a:ext cx="6719888" cy="647700"/>
          </a:xfrm>
          <a:prstGeom prst="rect">
            <a:avLst/>
          </a:prstGeom>
          <a:noFill/>
          <a:ln>
            <a:noFill/>
          </a:ln>
        </p:spPr>
        <p:txBody>
          <a:bodyPr lIns="0" tIns="0" rIns="0" bIns="0" anchor="ctr"/>
          <a:lstStyle>
            <a:lvl1pPr eaLnBrk="0" hangingPunct="0">
              <a:defRPr sz="1400">
                <a:solidFill>
                  <a:schemeClr val="tx1"/>
                </a:solidFill>
                <a:latin typeface="Alstom" pitchFamily="2" charset="0"/>
              </a:defRPr>
            </a:lvl1pPr>
            <a:lvl2pPr marL="742950" indent="-285750" eaLnBrk="0" hangingPunct="0">
              <a:defRPr sz="1400">
                <a:solidFill>
                  <a:schemeClr val="tx1"/>
                </a:solidFill>
                <a:latin typeface="Alstom" pitchFamily="2" charset="0"/>
              </a:defRPr>
            </a:lvl2pPr>
            <a:lvl3pPr marL="1143000" indent="-228600" eaLnBrk="0" hangingPunct="0">
              <a:defRPr sz="1400">
                <a:solidFill>
                  <a:schemeClr val="tx1"/>
                </a:solidFill>
                <a:latin typeface="Alstom" pitchFamily="2" charset="0"/>
              </a:defRPr>
            </a:lvl3pPr>
            <a:lvl4pPr marL="1600200" indent="-228600" eaLnBrk="0" hangingPunct="0">
              <a:defRPr sz="1400">
                <a:solidFill>
                  <a:schemeClr val="tx1"/>
                </a:solidFill>
                <a:latin typeface="Alstom" pitchFamily="2" charset="0"/>
              </a:defRPr>
            </a:lvl4pPr>
            <a:lvl5pPr marL="2057400" indent="-228600" eaLnBrk="0" hangingPunct="0">
              <a:defRPr sz="1400">
                <a:solidFill>
                  <a:schemeClr val="tx1"/>
                </a:solidFill>
                <a:latin typeface="Alstom" pitchFamily="2" charset="0"/>
              </a:defRPr>
            </a:lvl5pPr>
            <a:lvl6pPr marL="2514600" indent="-228600" eaLnBrk="0" fontAlgn="base" hangingPunct="0">
              <a:spcBef>
                <a:spcPct val="0"/>
              </a:spcBef>
              <a:spcAft>
                <a:spcPct val="0"/>
              </a:spcAft>
              <a:defRPr sz="1400">
                <a:solidFill>
                  <a:schemeClr val="tx1"/>
                </a:solidFill>
                <a:latin typeface="Alstom" pitchFamily="2" charset="0"/>
              </a:defRPr>
            </a:lvl6pPr>
            <a:lvl7pPr marL="2971800" indent="-228600" eaLnBrk="0" fontAlgn="base" hangingPunct="0">
              <a:spcBef>
                <a:spcPct val="0"/>
              </a:spcBef>
              <a:spcAft>
                <a:spcPct val="0"/>
              </a:spcAft>
              <a:defRPr sz="1400">
                <a:solidFill>
                  <a:schemeClr val="tx1"/>
                </a:solidFill>
                <a:latin typeface="Alstom" pitchFamily="2" charset="0"/>
              </a:defRPr>
            </a:lvl7pPr>
            <a:lvl8pPr marL="3429000" indent="-228600" eaLnBrk="0" fontAlgn="base" hangingPunct="0">
              <a:spcBef>
                <a:spcPct val="0"/>
              </a:spcBef>
              <a:spcAft>
                <a:spcPct val="0"/>
              </a:spcAft>
              <a:defRPr sz="1400">
                <a:solidFill>
                  <a:schemeClr val="tx1"/>
                </a:solidFill>
                <a:latin typeface="Alstom" pitchFamily="2" charset="0"/>
              </a:defRPr>
            </a:lvl8pPr>
            <a:lvl9pPr marL="3886200" indent="-228600" eaLnBrk="0" fontAlgn="base" hangingPunct="0">
              <a:spcBef>
                <a:spcPct val="0"/>
              </a:spcBef>
              <a:spcAft>
                <a:spcPct val="0"/>
              </a:spcAft>
              <a:defRPr sz="1400">
                <a:solidFill>
                  <a:schemeClr val="tx1"/>
                </a:solidFill>
                <a:latin typeface="Alstom" pitchFamily="2" charset="0"/>
              </a:defRPr>
            </a:lvl9pPr>
          </a:lstStyle>
          <a:p>
            <a:pPr algn="r" eaLnBrk="1" hangingPunct="1">
              <a:spcBef>
                <a:spcPct val="50000"/>
              </a:spcBef>
              <a:defRPr/>
            </a:pPr>
            <a:r>
              <a:rPr lang="en-GB" sz="2800">
                <a:solidFill>
                  <a:schemeClr val="tx2"/>
                </a:solidFill>
              </a:rPr>
              <a:t>www. alstom.com/power</a:t>
            </a:r>
          </a:p>
        </p:txBody>
      </p:sp>
    </p:spTree>
    <p:extLst>
      <p:ext uri="{BB962C8B-B14F-4D97-AF65-F5344CB8AC3E}">
        <p14:creationId xmlns:p14="http://schemas.microsoft.com/office/powerpoint/2010/main" val="102728203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2" name="Picture 9">
            <a:extLst>
              <a:ext uri="{FF2B5EF4-FFF2-40B4-BE49-F238E27FC236}">
                <a16:creationId xmlns:a16="http://schemas.microsoft.com/office/drawing/2014/main" id="{AC1604C2-51F9-CA76-B108-FDBB8D68B67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12192000" cy="6848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3"/>
          <p:cNvSpPr>
            <a:spLocks noGrp="1" noChangeArrowheads="1"/>
          </p:cNvSpPr>
          <p:nvPr>
            <p:ph type="subTitle" idx="1"/>
          </p:nvPr>
        </p:nvSpPr>
        <p:spPr>
          <a:xfrm>
            <a:off x="768351" y="4421430"/>
            <a:ext cx="7496171" cy="372533"/>
          </a:xfrm>
          <a:prstGeom prst="rect">
            <a:avLst/>
          </a:prstGeom>
        </p:spPr>
        <p:txBody>
          <a:bodyPr anchor="b"/>
          <a:lstStyle>
            <a:lvl1pPr marL="0" indent="0" algn="r">
              <a:spcBef>
                <a:spcPct val="0"/>
              </a:spcBef>
              <a:buNone/>
              <a:defRPr sz="2000">
                <a:solidFill>
                  <a:schemeClr val="tx1"/>
                </a:solidFill>
                <a:latin typeface="+mj-lt"/>
                <a:cs typeface="Arial" pitchFamily="34" charset="0"/>
              </a:defRPr>
            </a:lvl1pPr>
          </a:lstStyle>
          <a:p>
            <a:r>
              <a:rPr lang="en-US" noProof="0"/>
              <a:t>Click to edit Master subtitle style</a:t>
            </a:r>
            <a:endParaRPr lang="en-US" noProof="0" dirty="0"/>
          </a:p>
        </p:txBody>
      </p:sp>
      <p:sp>
        <p:nvSpPr>
          <p:cNvPr id="7" name="Text Placeholder 7"/>
          <p:cNvSpPr>
            <a:spLocks noGrp="1"/>
          </p:cNvSpPr>
          <p:nvPr>
            <p:ph type="body" sz="quarter" idx="10"/>
          </p:nvPr>
        </p:nvSpPr>
        <p:spPr>
          <a:xfrm>
            <a:off x="768352" y="5217296"/>
            <a:ext cx="7496171" cy="363008"/>
          </a:xfrm>
          <a:prstGeom prst="rect">
            <a:avLst/>
          </a:prstGeom>
        </p:spPr>
        <p:txBody>
          <a:bodyPr anchor="b"/>
          <a:lstStyle>
            <a:lvl1pPr algn="r">
              <a:buNone/>
              <a:defRPr sz="1800">
                <a:latin typeface="+mj-lt"/>
              </a:defRPr>
            </a:lvl1pPr>
          </a:lstStyle>
          <a:p>
            <a:pPr lvl="0"/>
            <a:r>
              <a:rPr lang="en-US" noProof="0"/>
              <a:t>Click to edit Master text styles</a:t>
            </a:r>
          </a:p>
        </p:txBody>
      </p:sp>
      <p:sp>
        <p:nvSpPr>
          <p:cNvPr id="9" name="Text Placeholder 8"/>
          <p:cNvSpPr>
            <a:spLocks noGrp="1"/>
          </p:cNvSpPr>
          <p:nvPr>
            <p:ph type="body" sz="quarter" idx="11"/>
          </p:nvPr>
        </p:nvSpPr>
        <p:spPr>
          <a:xfrm>
            <a:off x="768351" y="3470191"/>
            <a:ext cx="7496171" cy="821797"/>
          </a:xfrm>
        </p:spPr>
        <p:txBody>
          <a:bodyPr anchor="b"/>
          <a:lstStyle>
            <a:lvl1pPr algn="r">
              <a:buNone/>
              <a:defRPr sz="2800">
                <a:latin typeface="+mj-lt"/>
              </a:defRPr>
            </a:lvl1pPr>
          </a:lstStyle>
          <a:p>
            <a:pPr lvl="0"/>
            <a:r>
              <a:rPr lang="en-US"/>
              <a:t>Click to edit Master text styles</a:t>
            </a:r>
          </a:p>
        </p:txBody>
      </p:sp>
      <p:sp>
        <p:nvSpPr>
          <p:cNvPr id="10" name="Text Placeholder 9"/>
          <p:cNvSpPr>
            <a:spLocks noGrp="1"/>
          </p:cNvSpPr>
          <p:nvPr>
            <p:ph type="body" sz="quarter" idx="12"/>
          </p:nvPr>
        </p:nvSpPr>
        <p:spPr>
          <a:xfrm>
            <a:off x="768351" y="4857198"/>
            <a:ext cx="7496176" cy="296862"/>
          </a:xfrm>
        </p:spPr>
        <p:txBody>
          <a:bodyPr>
            <a:noAutofit/>
          </a:bodyPr>
          <a:lstStyle>
            <a:lvl1pPr algn="r">
              <a:buNone/>
              <a:defRPr sz="2000" baseline="0">
                <a:latin typeface="+mj-lt"/>
              </a:defRPr>
            </a:lvl1pPr>
            <a:lvl2pPr algn="r">
              <a:buNone/>
              <a:defRPr sz="2000">
                <a:latin typeface="+mj-lt"/>
              </a:defRPr>
            </a:lvl2pPr>
            <a:lvl3pPr algn="r">
              <a:buNone/>
              <a:defRPr sz="2000">
                <a:latin typeface="+mj-lt"/>
              </a:defRPr>
            </a:lvl3pPr>
            <a:lvl4pPr algn="r">
              <a:buNone/>
              <a:defRPr sz="2000">
                <a:latin typeface="+mj-lt"/>
              </a:defRPr>
            </a:lvl4pPr>
            <a:lvl5pPr algn="r">
              <a:buNone/>
              <a:defRPr sz="2000">
                <a:latin typeface="+mj-lt"/>
              </a:defRPr>
            </a:lvl5pPr>
          </a:lstStyle>
          <a:p>
            <a:pPr lvl="0"/>
            <a:r>
              <a:rPr lang="en-US"/>
              <a:t>Click to edit Master text styles</a:t>
            </a:r>
          </a:p>
        </p:txBody>
      </p:sp>
    </p:spTree>
    <p:extLst>
      <p:ext uri="{BB962C8B-B14F-4D97-AF65-F5344CB8AC3E}">
        <p14:creationId xmlns:p14="http://schemas.microsoft.com/office/powerpoint/2010/main" val="2646370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US" dirty="0"/>
          </a:p>
        </p:txBody>
      </p:sp>
      <p:sp>
        <p:nvSpPr>
          <p:cNvPr id="4" name="Text Placeholder 3"/>
          <p:cNvSpPr>
            <a:spLocks noGrp="1"/>
          </p:cNvSpPr>
          <p:nvPr>
            <p:ph type="body" sz="quarter" idx="10"/>
          </p:nvPr>
        </p:nvSpPr>
        <p:spPr>
          <a:xfrm>
            <a:off x="621600" y="1312864"/>
            <a:ext cx="10948800" cy="414337"/>
          </a:xfrm>
        </p:spPr>
        <p:txBody>
          <a:bodyPr>
            <a:normAutofit/>
          </a:bodyPr>
          <a:lstStyle>
            <a:lvl1pPr>
              <a:buFont typeface="Arial" pitchFamily="34" charset="0"/>
              <a:buChar char="•"/>
              <a:defRPr sz="2000" b="1">
                <a:solidFill>
                  <a:schemeClr val="accent1"/>
                </a:solidFill>
              </a:defRPr>
            </a:lvl1pPr>
          </a:lstStyle>
          <a:p>
            <a:pPr lvl="0"/>
            <a:r>
              <a:rPr lang="en-US"/>
              <a:t>Click to edit Master text styles</a:t>
            </a:r>
          </a:p>
        </p:txBody>
      </p:sp>
      <p:sp>
        <p:nvSpPr>
          <p:cNvPr id="5" name="Text Placeholder 3"/>
          <p:cNvSpPr>
            <a:spLocks noGrp="1"/>
          </p:cNvSpPr>
          <p:nvPr>
            <p:ph type="body" sz="quarter" idx="11"/>
          </p:nvPr>
        </p:nvSpPr>
        <p:spPr>
          <a:xfrm>
            <a:off x="621600" y="1934317"/>
            <a:ext cx="10948800" cy="414337"/>
          </a:xfrm>
        </p:spPr>
        <p:txBody>
          <a:bodyPr>
            <a:normAutofit/>
          </a:bodyPr>
          <a:lstStyle>
            <a:lvl1pPr>
              <a:buFont typeface="Arial" pitchFamily="34" charset="0"/>
              <a:buChar char="•"/>
              <a:defRPr sz="2000" b="0"/>
            </a:lvl1pPr>
          </a:lstStyle>
          <a:p>
            <a:pPr lvl="0"/>
            <a:r>
              <a:rPr lang="en-US"/>
              <a:t>Click to edit Master text styles</a:t>
            </a:r>
          </a:p>
        </p:txBody>
      </p:sp>
      <p:sp>
        <p:nvSpPr>
          <p:cNvPr id="6" name="Text Placeholder 3"/>
          <p:cNvSpPr>
            <a:spLocks noGrp="1"/>
          </p:cNvSpPr>
          <p:nvPr>
            <p:ph type="body" sz="quarter" idx="12"/>
          </p:nvPr>
        </p:nvSpPr>
        <p:spPr>
          <a:xfrm>
            <a:off x="621600" y="2555770"/>
            <a:ext cx="10948800" cy="414337"/>
          </a:xfrm>
        </p:spPr>
        <p:txBody>
          <a:bodyPr>
            <a:normAutofit/>
          </a:bodyPr>
          <a:lstStyle>
            <a:lvl1pPr>
              <a:buFont typeface="Arial" pitchFamily="34" charset="0"/>
              <a:buChar char="•"/>
              <a:defRPr sz="2000" b="0"/>
            </a:lvl1pPr>
          </a:lstStyle>
          <a:p>
            <a:pPr lvl="0"/>
            <a:r>
              <a:rPr lang="en-US"/>
              <a:t>Click to edit Master text styles</a:t>
            </a:r>
          </a:p>
        </p:txBody>
      </p:sp>
      <p:sp>
        <p:nvSpPr>
          <p:cNvPr id="7" name="Text Placeholder 3"/>
          <p:cNvSpPr>
            <a:spLocks noGrp="1"/>
          </p:cNvSpPr>
          <p:nvPr>
            <p:ph type="body" sz="quarter" idx="13"/>
          </p:nvPr>
        </p:nvSpPr>
        <p:spPr>
          <a:xfrm>
            <a:off x="621600" y="3177223"/>
            <a:ext cx="10948800" cy="414337"/>
          </a:xfrm>
        </p:spPr>
        <p:txBody>
          <a:bodyPr>
            <a:normAutofit/>
          </a:bodyPr>
          <a:lstStyle>
            <a:lvl1pPr>
              <a:buFont typeface="Arial" pitchFamily="34" charset="0"/>
              <a:buChar char="•"/>
              <a:defRPr sz="2000" b="0"/>
            </a:lvl1pPr>
          </a:lstStyle>
          <a:p>
            <a:pPr lvl="0"/>
            <a:r>
              <a:rPr lang="en-US"/>
              <a:t>Click to edit Master text styles</a:t>
            </a:r>
          </a:p>
        </p:txBody>
      </p:sp>
      <p:sp>
        <p:nvSpPr>
          <p:cNvPr id="8" name="Text Placeholder 3"/>
          <p:cNvSpPr>
            <a:spLocks noGrp="1"/>
          </p:cNvSpPr>
          <p:nvPr>
            <p:ph type="body" sz="quarter" idx="14"/>
          </p:nvPr>
        </p:nvSpPr>
        <p:spPr>
          <a:xfrm>
            <a:off x="621600" y="3798676"/>
            <a:ext cx="10948800" cy="414337"/>
          </a:xfrm>
        </p:spPr>
        <p:txBody>
          <a:bodyPr>
            <a:normAutofit/>
          </a:bodyPr>
          <a:lstStyle>
            <a:lvl1pPr>
              <a:buFont typeface="Arial" pitchFamily="34" charset="0"/>
              <a:buChar char="•"/>
              <a:defRPr sz="2000" b="0"/>
            </a:lvl1pPr>
          </a:lstStyle>
          <a:p>
            <a:pPr lvl="0"/>
            <a:r>
              <a:rPr lang="en-US"/>
              <a:t>Click to edit Master text styles</a:t>
            </a:r>
          </a:p>
        </p:txBody>
      </p:sp>
      <p:sp>
        <p:nvSpPr>
          <p:cNvPr id="9" name="Text Placeholder 3"/>
          <p:cNvSpPr>
            <a:spLocks noGrp="1"/>
          </p:cNvSpPr>
          <p:nvPr>
            <p:ph type="body" sz="quarter" idx="15"/>
          </p:nvPr>
        </p:nvSpPr>
        <p:spPr>
          <a:xfrm>
            <a:off x="621600" y="4420130"/>
            <a:ext cx="10948800" cy="414337"/>
          </a:xfrm>
        </p:spPr>
        <p:txBody>
          <a:bodyPr>
            <a:normAutofit/>
          </a:bodyPr>
          <a:lstStyle>
            <a:lvl1pPr>
              <a:buFont typeface="Arial" pitchFamily="34" charset="0"/>
              <a:buChar char="•"/>
              <a:defRPr sz="2000" b="0"/>
            </a:lvl1pPr>
          </a:lstStyle>
          <a:p>
            <a:pPr lvl="0"/>
            <a:r>
              <a:rPr lang="en-US"/>
              <a:t>Click to edit Master text styles</a:t>
            </a:r>
          </a:p>
        </p:txBody>
      </p:sp>
    </p:spTree>
    <p:extLst>
      <p:ext uri="{BB962C8B-B14F-4D97-AF65-F5344CB8AC3E}">
        <p14:creationId xmlns:p14="http://schemas.microsoft.com/office/powerpoint/2010/main" val="253458760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mj-lt"/>
              </a:defRPr>
            </a:lvl1pPr>
          </a:lstStyle>
          <a:p>
            <a:r>
              <a:rPr lang="en-US"/>
              <a:t>Click to edit Master title style</a:t>
            </a:r>
            <a:endParaRPr lang="en-US" dirty="0"/>
          </a:p>
        </p:txBody>
      </p:sp>
      <p:sp>
        <p:nvSpPr>
          <p:cNvPr id="5" name="Text Placeholder 4"/>
          <p:cNvSpPr>
            <a:spLocks noGrp="1"/>
          </p:cNvSpPr>
          <p:nvPr>
            <p:ph type="body" sz="quarter" idx="10"/>
          </p:nvPr>
        </p:nvSpPr>
        <p:spPr>
          <a:xfrm>
            <a:off x="621600" y="1201867"/>
            <a:ext cx="10948800" cy="390525"/>
          </a:xfrm>
          <a:prstGeom prst="rect">
            <a:avLst/>
          </a:prstGeom>
        </p:spPr>
        <p:txBody>
          <a:bodyPr anchor="ctr"/>
          <a:lstStyle>
            <a:lvl1pPr algn="ctr">
              <a:buNone/>
              <a:defRPr sz="2600">
                <a:solidFill>
                  <a:schemeClr val="accent1"/>
                </a:solidFill>
                <a:latin typeface="+mn-lt"/>
              </a:defRPr>
            </a:lvl1pPr>
          </a:lstStyle>
          <a:p>
            <a:pPr lvl="0"/>
            <a:r>
              <a:rPr lang="en-US"/>
              <a:t>Click to edit Master text styles</a:t>
            </a:r>
          </a:p>
        </p:txBody>
      </p:sp>
      <p:sp>
        <p:nvSpPr>
          <p:cNvPr id="7" name="Text Placeholder 6"/>
          <p:cNvSpPr>
            <a:spLocks noGrp="1"/>
          </p:cNvSpPr>
          <p:nvPr>
            <p:ph type="body" sz="quarter" idx="11"/>
          </p:nvPr>
        </p:nvSpPr>
        <p:spPr>
          <a:xfrm>
            <a:off x="621600" y="1695450"/>
            <a:ext cx="10948800" cy="4552950"/>
          </a:xfrm>
          <a:prstGeom prst="rect">
            <a:avLst/>
          </a:prstGeom>
        </p:spPr>
        <p:txBody>
          <a:bodyPr/>
          <a:lstStyle>
            <a:lvl1pPr>
              <a:defRPr>
                <a:latin typeface="+mn-lt"/>
              </a:defRPr>
            </a:lvl1pPr>
            <a:lvl2pPr>
              <a:defRPr>
                <a:latin typeface="+mn-lt"/>
              </a:defRPr>
            </a:lvl2pPr>
            <a:lvl3pPr>
              <a:defRPr>
                <a:latin typeface="+mn-lt"/>
              </a:defRPr>
            </a:lvl3pPr>
            <a:lvl4pPr>
              <a:defRPr baseline="0">
                <a:latin typeface="+mn-lt"/>
              </a:defRPr>
            </a:lvl4pPr>
            <a:lvl5pPr>
              <a:defRPr>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421145953"/>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Content and message ba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US" dirty="0"/>
          </a:p>
        </p:txBody>
      </p:sp>
      <p:sp>
        <p:nvSpPr>
          <p:cNvPr id="13" name="Text Placeholder 12"/>
          <p:cNvSpPr>
            <a:spLocks noGrp="1"/>
          </p:cNvSpPr>
          <p:nvPr>
            <p:ph type="body" sz="quarter" idx="10"/>
          </p:nvPr>
        </p:nvSpPr>
        <p:spPr>
          <a:xfrm>
            <a:off x="621600" y="5888400"/>
            <a:ext cx="10948800" cy="360000"/>
          </a:xfrm>
          <a:prstGeom prst="rect">
            <a:avLst/>
          </a:prstGeom>
          <a:solidFill>
            <a:srgbClr val="C8DAE8"/>
          </a:solidFill>
          <a:ln>
            <a:noFill/>
          </a:ln>
        </p:spPr>
        <p:txBody>
          <a:bodyPr anchor="ctr"/>
          <a:lstStyle>
            <a:lvl1pPr algn="ctr">
              <a:buNone/>
              <a:defRPr sz="2000">
                <a:solidFill>
                  <a:schemeClr val="accent1"/>
                </a:solidFill>
              </a:defRPr>
            </a:lvl1pPr>
          </a:lstStyle>
          <a:p>
            <a:pPr lvl="0"/>
            <a:r>
              <a:rPr lang="en-US"/>
              <a:t>Click to edit Master text styles</a:t>
            </a:r>
          </a:p>
        </p:txBody>
      </p:sp>
      <p:sp>
        <p:nvSpPr>
          <p:cNvPr id="17" name="Content Placeholder 16"/>
          <p:cNvSpPr>
            <a:spLocks noGrp="1"/>
          </p:cNvSpPr>
          <p:nvPr>
            <p:ph sz="quarter" idx="12"/>
          </p:nvPr>
        </p:nvSpPr>
        <p:spPr>
          <a:xfrm>
            <a:off x="621600" y="1695450"/>
            <a:ext cx="10948800" cy="4095749"/>
          </a:xfrm>
          <a:prstGeom prst="rect">
            <a:avLst/>
          </a:prstGeom>
        </p:spPr>
        <p:txBody>
          <a:bodyPr/>
          <a:lstStyle>
            <a:lvl1pPr>
              <a:defRPr baseline="0"/>
            </a:lvl1pPr>
            <a:lvl2pPr>
              <a:defRPr/>
            </a:lvl2pPr>
            <a:lvl3pPr>
              <a:defRPr/>
            </a:lvl3pPr>
            <a:lvl4pPr>
              <a:defRPr baseline="0"/>
            </a:lvl4pPr>
            <a:lvl5pPr>
              <a:buFont typeface="Arial"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4"/>
          <p:cNvSpPr>
            <a:spLocks noGrp="1"/>
          </p:cNvSpPr>
          <p:nvPr>
            <p:ph type="body" sz="quarter" idx="13"/>
          </p:nvPr>
        </p:nvSpPr>
        <p:spPr>
          <a:xfrm>
            <a:off x="621600" y="1201867"/>
            <a:ext cx="10948800" cy="390525"/>
          </a:xfrm>
          <a:prstGeom prst="rect">
            <a:avLst/>
          </a:prstGeom>
        </p:spPr>
        <p:txBody>
          <a:bodyPr anchor="ctr"/>
          <a:lstStyle>
            <a:lvl1pPr algn="ctr">
              <a:buNone/>
              <a:defRPr sz="2600">
                <a:solidFill>
                  <a:schemeClr val="accent1"/>
                </a:solidFill>
                <a:latin typeface="+mn-lt"/>
              </a:defRPr>
            </a:lvl1pPr>
          </a:lstStyle>
          <a:p>
            <a:pPr lvl="0"/>
            <a:r>
              <a:rPr lang="en-US"/>
              <a:t>Click to edit Master text styles</a:t>
            </a:r>
          </a:p>
        </p:txBody>
      </p:sp>
    </p:spTree>
    <p:extLst>
      <p:ext uri="{BB962C8B-B14F-4D97-AF65-F5344CB8AC3E}">
        <p14:creationId xmlns:p14="http://schemas.microsoft.com/office/powerpoint/2010/main" val="1407127320"/>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32884" y="1695450"/>
            <a:ext cx="5240867" cy="4535488"/>
          </a:xfrm>
          <a:prstGeom prst="rect">
            <a:avLst/>
          </a:prstGeom>
        </p:spPr>
        <p:txBody>
          <a:bodyPr/>
          <a:lstStyle>
            <a:lvl1pPr>
              <a:buClr>
                <a:schemeClr val="accent1"/>
              </a:buClr>
              <a:defRPr sz="2400"/>
            </a:lvl1pPr>
            <a:lvl2pPr>
              <a:buClr>
                <a:schemeClr val="accent1"/>
              </a:buClr>
              <a:defRPr sz="2200"/>
            </a:lvl2pPr>
            <a:lvl3pPr>
              <a:buClr>
                <a:schemeClr val="accent1"/>
              </a:buClr>
              <a:defRPr sz="2000"/>
            </a:lvl3pPr>
            <a:lvl4pPr>
              <a:buClr>
                <a:schemeClr val="accent1"/>
              </a:buClr>
              <a:defRPr sz="1800"/>
            </a:lvl4pPr>
            <a:lvl5pPr>
              <a:buClr>
                <a:schemeClr val="accent1"/>
              </a:buCl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276623" y="1695450"/>
            <a:ext cx="5303661" cy="4535488"/>
          </a:xfrm>
          <a:prstGeom prst="rect">
            <a:avLst/>
          </a:prstGeom>
        </p:spPr>
        <p:txBody>
          <a:bodyPr/>
          <a:lstStyle>
            <a:lvl1pPr>
              <a:buClr>
                <a:schemeClr val="accent1"/>
              </a:buClr>
              <a:defRPr sz="2400" baseline="0"/>
            </a:lvl1pPr>
            <a:lvl2pPr>
              <a:buClr>
                <a:schemeClr val="accent1"/>
              </a:buClr>
              <a:defRPr sz="2200"/>
            </a:lvl2pPr>
            <a:lvl3pPr>
              <a:buClr>
                <a:schemeClr val="accent1"/>
              </a:buClr>
              <a:defRPr sz="2000"/>
            </a:lvl3pPr>
            <a:lvl4pPr>
              <a:buClr>
                <a:schemeClr val="accent1"/>
              </a:buClr>
              <a:defRPr sz="1800"/>
            </a:lvl4pPr>
            <a:lvl5pPr>
              <a:buClr>
                <a:schemeClr val="accent1"/>
              </a:buCl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4"/>
          <p:cNvSpPr>
            <a:spLocks noGrp="1"/>
          </p:cNvSpPr>
          <p:nvPr>
            <p:ph type="body" sz="quarter" idx="10"/>
          </p:nvPr>
        </p:nvSpPr>
        <p:spPr>
          <a:xfrm>
            <a:off x="621600" y="1201867"/>
            <a:ext cx="10948800" cy="390525"/>
          </a:xfrm>
          <a:prstGeom prst="rect">
            <a:avLst/>
          </a:prstGeom>
        </p:spPr>
        <p:txBody>
          <a:bodyPr anchor="ctr"/>
          <a:lstStyle>
            <a:lvl1pPr algn="ctr">
              <a:buNone/>
              <a:defRPr sz="2600">
                <a:solidFill>
                  <a:schemeClr val="accent1"/>
                </a:solidFill>
                <a:latin typeface="+mn-lt"/>
              </a:defRPr>
            </a:lvl1pPr>
          </a:lstStyle>
          <a:p>
            <a:pPr lvl="0"/>
            <a:r>
              <a:rPr lang="en-US"/>
              <a:t>Click to edit Master text styles</a:t>
            </a:r>
          </a:p>
        </p:txBody>
      </p:sp>
      <p:sp>
        <p:nvSpPr>
          <p:cNvPr id="6" name="Title 1"/>
          <p:cNvSpPr>
            <a:spLocks noGrp="1"/>
          </p:cNvSpPr>
          <p:nvPr>
            <p:ph type="title"/>
          </p:nvPr>
        </p:nvSpPr>
        <p:spPr>
          <a:xfrm>
            <a:off x="632884" y="25400"/>
            <a:ext cx="10947400" cy="889000"/>
          </a:xfrm>
        </p:spPr>
        <p:txBody>
          <a:bodyPr/>
          <a:lstStyle>
            <a:lvl1pPr>
              <a:defRPr/>
            </a:lvl1pPr>
          </a:lstStyle>
          <a:p>
            <a:r>
              <a:rPr lang="en-US"/>
              <a:t>Click to edit Master title style</a:t>
            </a:r>
            <a:endParaRPr lang="en-US" dirty="0"/>
          </a:p>
        </p:txBody>
      </p:sp>
    </p:spTree>
    <p:extLst>
      <p:ext uri="{BB962C8B-B14F-4D97-AF65-F5344CB8AC3E}">
        <p14:creationId xmlns:p14="http://schemas.microsoft.com/office/powerpoint/2010/main" val="216049769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609600" y="1455738"/>
            <a:ext cx="5386917" cy="639762"/>
          </a:xfrm>
          <a:prstGeom prst="rect">
            <a:avLst/>
          </a:prstGeom>
        </p:spPr>
        <p:txBody>
          <a:bodyPr anchor="ctr"/>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32885" y="2095500"/>
            <a:ext cx="5363633" cy="4135438"/>
          </a:xfrm>
          <a:prstGeom prst="rect">
            <a:avLst/>
          </a:prstGeom>
        </p:spPr>
        <p:txBody>
          <a:bodyPr/>
          <a:lstStyle>
            <a:lvl1pPr>
              <a:buClr>
                <a:schemeClr val="accent1"/>
              </a:buClr>
              <a:defRPr sz="2400"/>
            </a:lvl1pPr>
            <a:lvl2pPr>
              <a:buClr>
                <a:schemeClr val="accent1"/>
              </a:buClr>
              <a:defRPr sz="2000"/>
            </a:lvl2pPr>
            <a:lvl3pPr>
              <a:buClr>
                <a:schemeClr val="accent1"/>
              </a:buClr>
              <a:defRPr sz="1800"/>
            </a:lvl3pPr>
            <a:lvl4pPr>
              <a:buClr>
                <a:schemeClr val="accent1"/>
              </a:buClr>
              <a:defRPr sz="1600"/>
            </a:lvl4pPr>
            <a:lvl5pPr>
              <a:buClr>
                <a:schemeClr val="accent1"/>
              </a:buCl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93368" y="1455738"/>
            <a:ext cx="5389033" cy="639762"/>
          </a:xfrm>
          <a:prstGeom prst="rect">
            <a:avLst/>
          </a:prstGeom>
        </p:spPr>
        <p:txBody>
          <a:bodyPr anchor="ctr"/>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095500"/>
            <a:ext cx="5389033" cy="4135438"/>
          </a:xfrm>
          <a:prstGeom prst="rect">
            <a:avLst/>
          </a:prstGeom>
        </p:spPr>
        <p:txBody>
          <a:bodyPr/>
          <a:lstStyle>
            <a:lvl1pPr>
              <a:buClr>
                <a:schemeClr val="accent1"/>
              </a:buClr>
              <a:defRPr sz="2400"/>
            </a:lvl1pPr>
            <a:lvl2pPr>
              <a:buClr>
                <a:schemeClr val="accent1"/>
              </a:buClr>
              <a:defRPr sz="2000"/>
            </a:lvl2pPr>
            <a:lvl3pPr>
              <a:buClr>
                <a:schemeClr val="accent1"/>
              </a:buClr>
              <a:defRPr sz="1800"/>
            </a:lvl3pPr>
            <a:lvl4pPr>
              <a:buClr>
                <a:schemeClr val="accent1"/>
              </a:buClr>
              <a:defRPr sz="1600"/>
            </a:lvl4pPr>
            <a:lvl5pPr>
              <a:buClr>
                <a:schemeClr val="accent1"/>
              </a:buCl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1"/>
          <p:cNvSpPr>
            <a:spLocks noGrp="1"/>
          </p:cNvSpPr>
          <p:nvPr>
            <p:ph type="title"/>
          </p:nvPr>
        </p:nvSpPr>
        <p:spPr>
          <a:xfrm>
            <a:off x="632884" y="25400"/>
            <a:ext cx="10947400" cy="889000"/>
          </a:xfrm>
        </p:spPr>
        <p:txBody>
          <a:bodyPr/>
          <a:lstStyle>
            <a:lvl1pPr>
              <a:defRPr/>
            </a:lvl1pPr>
          </a:lstStyle>
          <a:p>
            <a:r>
              <a:rPr lang="en-US"/>
              <a:t>Click to edit Master title style</a:t>
            </a:r>
            <a:endParaRPr lang="en-US" dirty="0"/>
          </a:p>
        </p:txBody>
      </p:sp>
    </p:spTree>
    <p:extLst>
      <p:ext uri="{BB962C8B-B14F-4D97-AF65-F5344CB8AC3E}">
        <p14:creationId xmlns:p14="http://schemas.microsoft.com/office/powerpoint/2010/main" val="240842847"/>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1"/>
          <p:cNvSpPr>
            <a:spLocks noGrp="1"/>
          </p:cNvSpPr>
          <p:nvPr>
            <p:ph type="title"/>
          </p:nvPr>
        </p:nvSpPr>
        <p:spPr>
          <a:xfrm>
            <a:off x="632884" y="25400"/>
            <a:ext cx="10947400" cy="889000"/>
          </a:xfrm>
        </p:spPr>
        <p:txBody>
          <a:bodyPr/>
          <a:lstStyle>
            <a:lvl1pPr>
              <a:defRPr/>
            </a:lvl1pPr>
          </a:lstStyle>
          <a:p>
            <a:r>
              <a:rPr lang="en-US"/>
              <a:t>Click to edit Master title style</a:t>
            </a:r>
            <a:endParaRPr lang="en-US" dirty="0"/>
          </a:p>
        </p:txBody>
      </p:sp>
    </p:spTree>
    <p:extLst>
      <p:ext uri="{BB962C8B-B14F-4D97-AF65-F5344CB8AC3E}">
        <p14:creationId xmlns:p14="http://schemas.microsoft.com/office/powerpoint/2010/main" val="3505025614"/>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Blank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598773431"/>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3" name="Content Placeholder 2"/>
          <p:cNvSpPr>
            <a:spLocks noGrp="1"/>
          </p:cNvSpPr>
          <p:nvPr>
            <p:ph idx="1"/>
          </p:nvPr>
        </p:nvSpPr>
        <p:spPr>
          <a:xfrm>
            <a:off x="4766733" y="1455738"/>
            <a:ext cx="6815667" cy="4775200"/>
          </a:xfrm>
          <a:prstGeom prst="rect">
            <a:avLst/>
          </a:prstGeom>
        </p:spPr>
        <p:txBody>
          <a:bodyPr/>
          <a:lstStyle>
            <a:lvl1pPr>
              <a:buClr>
                <a:schemeClr val="accent1"/>
              </a:buClr>
              <a:defRPr sz="2400"/>
            </a:lvl1pPr>
            <a:lvl2pPr>
              <a:buClr>
                <a:schemeClr val="accent1"/>
              </a:buClr>
              <a:defRPr sz="2000"/>
            </a:lvl2pPr>
            <a:lvl3pPr>
              <a:buClr>
                <a:schemeClr val="accent1"/>
              </a:buClr>
              <a:defRPr sz="1800"/>
            </a:lvl3pPr>
            <a:lvl4pPr>
              <a:buClr>
                <a:schemeClr val="accent1"/>
              </a:buClr>
              <a:defRPr sz="1600"/>
            </a:lvl4pPr>
            <a:lvl5pPr>
              <a:buClr>
                <a:schemeClr val="accent1"/>
              </a:buClr>
              <a:defRPr sz="16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632884" y="2617789"/>
            <a:ext cx="3987800" cy="3613150"/>
          </a:xfrm>
          <a:prstGeom prst="rect">
            <a:avLst/>
          </a:prstGeom>
        </p:spPr>
        <p:txBody>
          <a:bodyPr/>
          <a:lstStyle>
            <a:lvl1pPr marL="0" indent="0">
              <a:buNone/>
              <a:defRPr sz="1400" baseline="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9" name="Title 8"/>
          <p:cNvSpPr>
            <a:spLocks noGrp="1"/>
          </p:cNvSpPr>
          <p:nvPr>
            <p:ph type="title"/>
          </p:nvPr>
        </p:nvSpPr>
        <p:spPr/>
        <p:txBody>
          <a:bodyPr/>
          <a:lstStyle>
            <a:lvl1pPr>
              <a:defRPr/>
            </a:lvl1pPr>
          </a:lstStyle>
          <a:p>
            <a:r>
              <a:rPr lang="en-US"/>
              <a:t>Click to edit Master title style</a:t>
            </a:r>
            <a:endParaRPr lang="en-US" dirty="0"/>
          </a:p>
        </p:txBody>
      </p:sp>
      <p:sp>
        <p:nvSpPr>
          <p:cNvPr id="12" name="Text Placeholder 11"/>
          <p:cNvSpPr>
            <a:spLocks noGrp="1"/>
          </p:cNvSpPr>
          <p:nvPr>
            <p:ph type="body" sz="quarter" idx="10"/>
          </p:nvPr>
        </p:nvSpPr>
        <p:spPr>
          <a:xfrm>
            <a:off x="635704" y="1457321"/>
            <a:ext cx="3988800" cy="1096963"/>
          </a:xfrm>
        </p:spPr>
        <p:txBody>
          <a:bodyPr anchor="ctr">
            <a:normAutofit/>
          </a:bodyPr>
          <a:lstStyle>
            <a:lvl1pPr>
              <a:buNone/>
              <a:defRPr sz="2000" b="1">
                <a:solidFill>
                  <a:schemeClr val="accent1"/>
                </a:solidFill>
                <a:latin typeface="+mj-lt"/>
              </a:defRPr>
            </a:lvl1pPr>
          </a:lstStyle>
          <a:p>
            <a:pPr lvl="0"/>
            <a:r>
              <a:rPr lang="en-US"/>
              <a:t>Click to edit Master text styles</a:t>
            </a:r>
          </a:p>
        </p:txBody>
      </p:sp>
    </p:spTree>
    <p:extLst>
      <p:ext uri="{BB962C8B-B14F-4D97-AF65-F5344CB8AC3E}">
        <p14:creationId xmlns:p14="http://schemas.microsoft.com/office/powerpoint/2010/main" val="258845777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blank" preserve="1">
  <p:cSld name="Leer">
    <p:spTree>
      <p:nvGrpSpPr>
        <p:cNvPr id="1" name=""/>
        <p:cNvGrpSpPr/>
        <p:nvPr/>
      </p:nvGrpSpPr>
      <p:grpSpPr>
        <a:xfrm>
          <a:off x="0" y="0"/>
          <a:ext cx="0" cy="0"/>
          <a:chOff x="0" y="0"/>
          <a:chExt cx="0" cy="0"/>
        </a:xfrm>
      </p:grpSpPr>
      <p:sp>
        <p:nvSpPr>
          <p:cNvPr id="2" name="Line 1039">
            <a:extLst>
              <a:ext uri="{FF2B5EF4-FFF2-40B4-BE49-F238E27FC236}">
                <a16:creationId xmlns:a16="http://schemas.microsoft.com/office/drawing/2014/main" id="{9F27FB0C-7FA9-77DE-8200-63755AC2426A}"/>
              </a:ext>
            </a:extLst>
          </p:cNvPr>
          <p:cNvSpPr>
            <a:spLocks noChangeShapeType="1"/>
          </p:cNvSpPr>
          <p:nvPr userDrawn="1"/>
        </p:nvSpPr>
        <p:spPr bwMode="auto">
          <a:xfrm>
            <a:off x="465138" y="950913"/>
            <a:ext cx="11263312" cy="0"/>
          </a:xfrm>
          <a:prstGeom prst="line">
            <a:avLst/>
          </a:prstGeom>
          <a:noFill/>
          <a:ln w="12700">
            <a:solidFill>
              <a:srgbClr val="5F5F5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Tree>
    <p:extLst>
      <p:ext uri="{BB962C8B-B14F-4D97-AF65-F5344CB8AC3E}">
        <p14:creationId xmlns:p14="http://schemas.microsoft.com/office/powerpoint/2010/main" val="1961075862"/>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Content and Tex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32884" y="1695450"/>
            <a:ext cx="5240867" cy="4552950"/>
          </a:xfrm>
          <a:prstGeom prst="rect">
            <a:avLst/>
          </a:prstGeom>
        </p:spPr>
        <p:txBody>
          <a:bodyPr/>
          <a:lstStyle>
            <a:lvl1pPr>
              <a:buClr>
                <a:schemeClr val="accent1"/>
              </a:buClr>
              <a:defRPr lang="en-US" dirty="0" smtClean="0"/>
            </a:lvl1pPr>
            <a:lvl2pPr>
              <a:buClr>
                <a:schemeClr val="accent1"/>
              </a:buClr>
              <a:defRPr lang="en-US" dirty="0" smtClean="0"/>
            </a:lvl2pPr>
            <a:lvl3pPr>
              <a:buClr>
                <a:schemeClr val="accent1"/>
              </a:buClr>
              <a:defRPr lang="en-US" dirty="0" smtClean="0"/>
            </a:lvl3pPr>
            <a:lvl4pPr>
              <a:buClr>
                <a:schemeClr val="accent1"/>
              </a:buClr>
              <a:defRPr lang="en-US" dirty="0" smtClean="0"/>
            </a:lvl4pPr>
            <a:lvl5pPr>
              <a:buClr>
                <a:schemeClr val="accent1"/>
              </a:buCl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6276623" y="1695450"/>
            <a:ext cx="5303661" cy="4552950"/>
          </a:xfrm>
          <a:prstGeom prst="rect">
            <a:avLst/>
          </a:prstGeom>
        </p:spPr>
        <p:txBody>
          <a:bodyPr/>
          <a:lstStyle>
            <a:lvl1pPr>
              <a:buClr>
                <a:schemeClr val="accent1"/>
              </a:buClr>
              <a:defRPr lang="en-US" dirty="0" smtClean="0"/>
            </a:lvl1pPr>
            <a:lvl2pPr>
              <a:buClr>
                <a:schemeClr val="accent1"/>
              </a:buClr>
              <a:defRPr lang="en-US" dirty="0" smtClean="0"/>
            </a:lvl2pPr>
            <a:lvl3pPr>
              <a:buClr>
                <a:schemeClr val="accent1"/>
              </a:buClr>
              <a:defRPr lang="en-US" dirty="0" smtClean="0"/>
            </a:lvl3pPr>
            <a:lvl4pPr>
              <a:buClr>
                <a:schemeClr val="accent1"/>
              </a:buClr>
              <a:defRPr lang="en-US" dirty="0" smtClean="0"/>
            </a:lvl4pPr>
            <a:lvl5pPr>
              <a:buClr>
                <a:schemeClr val="accent1"/>
              </a:buCl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4"/>
          <p:cNvSpPr>
            <a:spLocks noGrp="1"/>
          </p:cNvSpPr>
          <p:nvPr>
            <p:ph type="body" sz="quarter" idx="10"/>
          </p:nvPr>
        </p:nvSpPr>
        <p:spPr>
          <a:xfrm>
            <a:off x="621600" y="1201867"/>
            <a:ext cx="10948800" cy="390525"/>
          </a:xfrm>
          <a:prstGeom prst="rect">
            <a:avLst/>
          </a:prstGeom>
        </p:spPr>
        <p:txBody>
          <a:bodyPr anchor="ctr"/>
          <a:lstStyle>
            <a:lvl1pPr algn="ctr">
              <a:buNone/>
              <a:defRPr sz="2600">
                <a:solidFill>
                  <a:schemeClr val="accent1"/>
                </a:solidFill>
                <a:latin typeface="+mn-lt"/>
              </a:defRPr>
            </a:lvl1pPr>
          </a:lstStyle>
          <a:p>
            <a:pPr lvl="0"/>
            <a:r>
              <a:rPr lang="en-US"/>
              <a:t>Click to edit Master text styles</a:t>
            </a:r>
          </a:p>
        </p:txBody>
      </p:sp>
      <p:sp>
        <p:nvSpPr>
          <p:cNvPr id="6" name="Title 1"/>
          <p:cNvSpPr>
            <a:spLocks noGrp="1"/>
          </p:cNvSpPr>
          <p:nvPr>
            <p:ph type="title"/>
          </p:nvPr>
        </p:nvSpPr>
        <p:spPr>
          <a:xfrm>
            <a:off x="632884" y="25400"/>
            <a:ext cx="10947400" cy="889000"/>
          </a:xfrm>
        </p:spPr>
        <p:txBody>
          <a:bodyPr/>
          <a:lstStyle>
            <a:lvl1pPr>
              <a:defRPr/>
            </a:lvl1pPr>
          </a:lstStyle>
          <a:p>
            <a:r>
              <a:rPr lang="en-US"/>
              <a:t>Click to edit Master title style</a:t>
            </a:r>
            <a:endParaRPr lang="en-US" dirty="0"/>
          </a:p>
        </p:txBody>
      </p:sp>
    </p:spTree>
    <p:extLst>
      <p:ext uri="{BB962C8B-B14F-4D97-AF65-F5344CB8AC3E}">
        <p14:creationId xmlns:p14="http://schemas.microsoft.com/office/powerpoint/2010/main" val="3970259934"/>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3" name="Picture Placeholder 2"/>
          <p:cNvSpPr>
            <a:spLocks noGrp="1"/>
          </p:cNvSpPr>
          <p:nvPr>
            <p:ph type="pic" idx="1"/>
          </p:nvPr>
        </p:nvSpPr>
        <p:spPr>
          <a:xfrm>
            <a:off x="2389717" y="1455737"/>
            <a:ext cx="7315200" cy="3835930"/>
          </a:xfrm>
          <a:prstGeom prst="rect">
            <a:avLst/>
          </a:prstGeo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a:t>Click icon to add picture</a:t>
            </a:r>
            <a:endParaRPr lang="en-US" noProof="0" dirty="0"/>
          </a:p>
        </p:txBody>
      </p:sp>
      <p:sp>
        <p:nvSpPr>
          <p:cNvPr id="4" name="Text Placeholder 3"/>
          <p:cNvSpPr>
            <a:spLocks noGrp="1"/>
          </p:cNvSpPr>
          <p:nvPr>
            <p:ph type="body" sz="half" idx="2"/>
          </p:nvPr>
        </p:nvSpPr>
        <p:spPr>
          <a:xfrm>
            <a:off x="2389717" y="5426076"/>
            <a:ext cx="7315200"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Title 1"/>
          <p:cNvSpPr>
            <a:spLocks noGrp="1"/>
          </p:cNvSpPr>
          <p:nvPr>
            <p:ph type="title"/>
          </p:nvPr>
        </p:nvSpPr>
        <p:spPr>
          <a:xfrm>
            <a:off x="632884" y="25400"/>
            <a:ext cx="10947400" cy="889000"/>
          </a:xfrm>
        </p:spPr>
        <p:txBody>
          <a:bodyPr/>
          <a:lstStyle>
            <a:lvl1pPr>
              <a:defRPr/>
            </a:lvl1pPr>
          </a:lstStyle>
          <a:p>
            <a:r>
              <a:rPr lang="en-US"/>
              <a:t>Click to edit Master title style</a:t>
            </a:r>
            <a:endParaRPr lang="en-US" dirty="0"/>
          </a:p>
        </p:txBody>
      </p:sp>
    </p:spTree>
    <p:extLst>
      <p:ext uri="{BB962C8B-B14F-4D97-AF65-F5344CB8AC3E}">
        <p14:creationId xmlns:p14="http://schemas.microsoft.com/office/powerpoint/2010/main" val="1035560191"/>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pic>
        <p:nvPicPr>
          <p:cNvPr id="2" name="Picture 9">
            <a:extLst>
              <a:ext uri="{FF2B5EF4-FFF2-40B4-BE49-F238E27FC236}">
                <a16:creationId xmlns:a16="http://schemas.microsoft.com/office/drawing/2014/main" id="{6E1E52B4-B674-F661-1115-F63740C8F432}"/>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12192000" cy="6848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ext Box 1029">
            <a:extLst>
              <a:ext uri="{FF2B5EF4-FFF2-40B4-BE49-F238E27FC236}">
                <a16:creationId xmlns:a16="http://schemas.microsoft.com/office/drawing/2014/main" id="{2BD7AF3C-F021-2FCB-E6E0-2779CE7F0C6F}"/>
              </a:ext>
            </a:extLst>
          </p:cNvPr>
          <p:cNvSpPr txBox="1">
            <a:spLocks noChangeArrowheads="1"/>
          </p:cNvSpPr>
          <p:nvPr userDrawn="1"/>
        </p:nvSpPr>
        <p:spPr bwMode="auto">
          <a:xfrm>
            <a:off x="5614988" y="4002088"/>
            <a:ext cx="2587625" cy="323850"/>
          </a:xfrm>
          <a:prstGeom prst="rect">
            <a:avLst/>
          </a:prstGeom>
          <a:noFill/>
          <a:ln>
            <a:noFill/>
          </a:ln>
        </p:spPr>
        <p:txBody>
          <a:bodyPr lIns="0" tIns="0" rIns="0" bIns="0"/>
          <a:lstStyle>
            <a:lvl1pPr eaLnBrk="0" hangingPunct="0">
              <a:defRPr sz="1400">
                <a:solidFill>
                  <a:schemeClr val="tx1"/>
                </a:solidFill>
                <a:latin typeface="Alstom" pitchFamily="2" charset="0"/>
              </a:defRPr>
            </a:lvl1pPr>
            <a:lvl2pPr marL="742950" indent="-285750" eaLnBrk="0" hangingPunct="0">
              <a:defRPr sz="1400">
                <a:solidFill>
                  <a:schemeClr val="tx1"/>
                </a:solidFill>
                <a:latin typeface="Alstom" pitchFamily="2" charset="0"/>
              </a:defRPr>
            </a:lvl2pPr>
            <a:lvl3pPr marL="1143000" indent="-228600" eaLnBrk="0" hangingPunct="0">
              <a:defRPr sz="1400">
                <a:solidFill>
                  <a:schemeClr val="tx1"/>
                </a:solidFill>
                <a:latin typeface="Alstom" pitchFamily="2" charset="0"/>
              </a:defRPr>
            </a:lvl3pPr>
            <a:lvl4pPr marL="1600200" indent="-228600" eaLnBrk="0" hangingPunct="0">
              <a:defRPr sz="1400">
                <a:solidFill>
                  <a:schemeClr val="tx1"/>
                </a:solidFill>
                <a:latin typeface="Alstom" pitchFamily="2" charset="0"/>
              </a:defRPr>
            </a:lvl4pPr>
            <a:lvl5pPr marL="2057400" indent="-228600" eaLnBrk="0" hangingPunct="0">
              <a:defRPr sz="1400">
                <a:solidFill>
                  <a:schemeClr val="tx1"/>
                </a:solidFill>
                <a:latin typeface="Alstom" pitchFamily="2" charset="0"/>
              </a:defRPr>
            </a:lvl5pPr>
            <a:lvl6pPr marL="2514600" indent="-228600" eaLnBrk="0" fontAlgn="base" hangingPunct="0">
              <a:spcBef>
                <a:spcPct val="0"/>
              </a:spcBef>
              <a:spcAft>
                <a:spcPct val="0"/>
              </a:spcAft>
              <a:defRPr sz="1400">
                <a:solidFill>
                  <a:schemeClr val="tx1"/>
                </a:solidFill>
                <a:latin typeface="Alstom" pitchFamily="2" charset="0"/>
              </a:defRPr>
            </a:lvl6pPr>
            <a:lvl7pPr marL="2971800" indent="-228600" eaLnBrk="0" fontAlgn="base" hangingPunct="0">
              <a:spcBef>
                <a:spcPct val="0"/>
              </a:spcBef>
              <a:spcAft>
                <a:spcPct val="0"/>
              </a:spcAft>
              <a:defRPr sz="1400">
                <a:solidFill>
                  <a:schemeClr val="tx1"/>
                </a:solidFill>
                <a:latin typeface="Alstom" pitchFamily="2" charset="0"/>
              </a:defRPr>
            </a:lvl7pPr>
            <a:lvl8pPr marL="3429000" indent="-228600" eaLnBrk="0" fontAlgn="base" hangingPunct="0">
              <a:spcBef>
                <a:spcPct val="0"/>
              </a:spcBef>
              <a:spcAft>
                <a:spcPct val="0"/>
              </a:spcAft>
              <a:defRPr sz="1400">
                <a:solidFill>
                  <a:schemeClr val="tx1"/>
                </a:solidFill>
                <a:latin typeface="Alstom" pitchFamily="2" charset="0"/>
              </a:defRPr>
            </a:lvl8pPr>
            <a:lvl9pPr marL="3886200" indent="-228600" eaLnBrk="0" fontAlgn="base" hangingPunct="0">
              <a:spcBef>
                <a:spcPct val="0"/>
              </a:spcBef>
              <a:spcAft>
                <a:spcPct val="0"/>
              </a:spcAft>
              <a:defRPr sz="1400">
                <a:solidFill>
                  <a:schemeClr val="tx1"/>
                </a:solidFill>
                <a:latin typeface="Alstom" pitchFamily="2" charset="0"/>
              </a:defRPr>
            </a:lvl9pPr>
          </a:lstStyle>
          <a:p>
            <a:pPr eaLnBrk="1" hangingPunct="1">
              <a:spcBef>
                <a:spcPct val="50000"/>
              </a:spcBef>
              <a:defRPr/>
            </a:pPr>
            <a:r>
              <a:rPr lang="en-GB" altLang="en-US" sz="1800">
                <a:solidFill>
                  <a:schemeClr val="accent1"/>
                </a:solidFill>
                <a:latin typeface="Arial" pitchFamily="34" charset="0"/>
              </a:rPr>
              <a:t>www.alstom.com</a:t>
            </a:r>
          </a:p>
        </p:txBody>
      </p:sp>
    </p:spTree>
    <p:extLst>
      <p:ext uri="{BB962C8B-B14F-4D97-AF65-F5344CB8AC3E}">
        <p14:creationId xmlns:p14="http://schemas.microsoft.com/office/powerpoint/2010/main" val="779265610"/>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25766865"/>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8984716C-D25C-AEEA-B039-1F14EE661B32}"/>
              </a:ext>
            </a:extLst>
          </p:cNvPr>
          <p:cNvSpPr>
            <a:spLocks noGrp="1"/>
          </p:cNvSpPr>
          <p:nvPr>
            <p:ph type="ftr" sz="quarter" idx="10"/>
          </p:nvPr>
        </p:nvSpPr>
        <p:spPr>
          <a:xfrm>
            <a:off x="527050" y="6381750"/>
            <a:ext cx="7008813" cy="215900"/>
          </a:xfrm>
          <a:prstGeom prst="rect">
            <a:avLst/>
          </a:prstGeom>
        </p:spPr>
        <p:txBody>
          <a:bodyPr/>
          <a:lstStyle>
            <a:lvl1pPr eaLnBrk="1" hangingPunct="1">
              <a:defRPr>
                <a:cs typeface="+mn-cs"/>
              </a:defRPr>
            </a:lvl1pPr>
          </a:lstStyle>
          <a:p>
            <a:pPr>
              <a:defRPr/>
            </a:pPr>
            <a:r>
              <a:rPr lang="en-US"/>
              <a:t>TTTR Workshop Karlovac 13/05/2013</a:t>
            </a:r>
            <a:endParaRPr lang="en-GB"/>
          </a:p>
        </p:txBody>
      </p:sp>
    </p:spTree>
    <p:extLst>
      <p:ext uri="{BB962C8B-B14F-4D97-AF65-F5344CB8AC3E}">
        <p14:creationId xmlns:p14="http://schemas.microsoft.com/office/powerpoint/2010/main" val="1455477146"/>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a:xfrm>
            <a:off x="478367" y="559974"/>
            <a:ext cx="9169400" cy="838200"/>
          </a:xfrm>
        </p:spPr>
        <p:txBody>
          <a:bodyPr anchor="t"/>
          <a:lstStyle>
            <a:lvl1pPr>
              <a:defRPr sz="2000"/>
            </a:lvl1pPr>
          </a:lstStyle>
          <a:p>
            <a:r>
              <a:rPr lang="de-DE" dirty="0"/>
              <a:t>Titelmasterformat durch Klicken bearbeiten</a:t>
            </a:r>
          </a:p>
        </p:txBody>
      </p:sp>
      <p:sp>
        <p:nvSpPr>
          <p:cNvPr id="3" name="Inhaltsplatzhalter 2"/>
          <p:cNvSpPr>
            <a:spLocks noGrp="1"/>
          </p:cNvSpPr>
          <p:nvPr>
            <p:ph idx="1"/>
          </p:nvPr>
        </p:nvSpPr>
        <p:spPr/>
        <p:txBody>
          <a:bodyPr/>
          <a:lstStyle/>
          <a:p>
            <a:pPr lvl="0"/>
            <a:r>
              <a:rPr lang="de-DE" dirty="0"/>
              <a:t>Textmasterformate durch Klicken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Rectangle 1041">
            <a:extLst>
              <a:ext uri="{FF2B5EF4-FFF2-40B4-BE49-F238E27FC236}">
                <a16:creationId xmlns:a16="http://schemas.microsoft.com/office/drawing/2014/main" id="{3C00A556-1E35-5BDB-EEC4-73EC07B15E12}"/>
              </a:ext>
            </a:extLst>
          </p:cNvPr>
          <p:cNvSpPr>
            <a:spLocks noGrp="1" noChangeArrowheads="1"/>
          </p:cNvSpPr>
          <p:nvPr>
            <p:ph type="ftr" sz="quarter" idx="10"/>
          </p:nvPr>
        </p:nvSpPr>
        <p:spPr>
          <a:xfrm>
            <a:off x="627063" y="6310313"/>
            <a:ext cx="7007225" cy="215900"/>
          </a:xfrm>
          <a:prstGeom prst="rect">
            <a:avLst/>
          </a:prstGeom>
        </p:spPr>
        <p:txBody>
          <a:bodyPr vert="horz" wrap="square" lIns="91440" tIns="45720" rIns="91440" bIns="45720" numCol="1" anchor="t" anchorCtr="0" compatLnSpc="1">
            <a:prstTxWarp prst="textNoShape">
              <a:avLst/>
            </a:prstTxWarp>
          </a:bodyPr>
          <a:lstStyle>
            <a:lvl1pPr>
              <a:defRPr/>
            </a:lvl1pPr>
          </a:lstStyle>
          <a:p>
            <a:pPr>
              <a:defRPr/>
            </a:pPr>
            <a:r>
              <a:rPr lang="en-GB" altLang="de-DE"/>
              <a:t>Lecture: Interactions in Turbomachinery Rotordynamics - </a:t>
            </a:r>
            <a:fld id="{5B1BE343-571D-49C6-A0D2-A3C832A27232}" type="datetime1">
              <a:rPr lang="en-GB" altLang="de-DE" smtClean="0"/>
              <a:pPr>
                <a:defRPr/>
              </a:pPr>
              <a:t>28/01/2024</a:t>
            </a:fld>
            <a:r>
              <a:rPr lang="en-GB" altLang="de-DE"/>
              <a:t> - P </a:t>
            </a:r>
            <a:fld id="{E5EBAD1E-2BB8-4370-991F-9A3448EABD28}" type="slidenum">
              <a:rPr lang="en-GB" altLang="de-DE" smtClean="0"/>
              <a:pPr>
                <a:defRPr/>
              </a:pPr>
              <a:t>‹Nr.›</a:t>
            </a:fld>
            <a:endParaRPr lang="en-GB" altLang="de-DE"/>
          </a:p>
        </p:txBody>
      </p:sp>
    </p:spTree>
    <p:extLst>
      <p:ext uri="{BB962C8B-B14F-4D97-AF65-F5344CB8AC3E}">
        <p14:creationId xmlns:p14="http://schemas.microsoft.com/office/powerpoint/2010/main" val="3155994694"/>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type="blank" preserve="1">
  <p:cSld name="Leer">
    <p:spTree>
      <p:nvGrpSpPr>
        <p:cNvPr id="1" name=""/>
        <p:cNvGrpSpPr/>
        <p:nvPr/>
      </p:nvGrpSpPr>
      <p:grpSpPr>
        <a:xfrm>
          <a:off x="0" y="0"/>
          <a:ext cx="0" cy="0"/>
          <a:chOff x="0" y="0"/>
          <a:chExt cx="0" cy="0"/>
        </a:xfrm>
      </p:grpSpPr>
      <p:sp>
        <p:nvSpPr>
          <p:cNvPr id="2" name="Line 1039">
            <a:extLst>
              <a:ext uri="{FF2B5EF4-FFF2-40B4-BE49-F238E27FC236}">
                <a16:creationId xmlns:a16="http://schemas.microsoft.com/office/drawing/2014/main" id="{23A3156A-C385-FFB1-310E-C1646764B5C2}"/>
              </a:ext>
            </a:extLst>
          </p:cNvPr>
          <p:cNvSpPr>
            <a:spLocks noChangeShapeType="1"/>
          </p:cNvSpPr>
          <p:nvPr userDrawn="1"/>
        </p:nvSpPr>
        <p:spPr bwMode="auto">
          <a:xfrm>
            <a:off x="465138" y="950913"/>
            <a:ext cx="11263312" cy="0"/>
          </a:xfrm>
          <a:prstGeom prst="line">
            <a:avLst/>
          </a:prstGeom>
          <a:noFill/>
          <a:ln w="12700">
            <a:solidFill>
              <a:srgbClr val="5F5F5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Tree>
    <p:extLst>
      <p:ext uri="{BB962C8B-B14F-4D97-AF65-F5344CB8AC3E}">
        <p14:creationId xmlns:p14="http://schemas.microsoft.com/office/powerpoint/2010/main" val="3226939449"/>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blank" preserve="1">
  <p:cSld name="1_Leer">
    <p:spTree>
      <p:nvGrpSpPr>
        <p:cNvPr id="1" name=""/>
        <p:cNvGrpSpPr/>
        <p:nvPr/>
      </p:nvGrpSpPr>
      <p:grpSpPr>
        <a:xfrm>
          <a:off x="0" y="0"/>
          <a:ext cx="0" cy="0"/>
          <a:chOff x="0" y="0"/>
          <a:chExt cx="0" cy="0"/>
        </a:xfrm>
      </p:grpSpPr>
    </p:spTree>
    <p:extLst>
      <p:ext uri="{BB962C8B-B14F-4D97-AF65-F5344CB8AC3E}">
        <p14:creationId xmlns:p14="http://schemas.microsoft.com/office/powerpoint/2010/main" val="2730299626"/>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type="title">
  <p:cSld name="Titelfolie">
    <p:spTree>
      <p:nvGrpSpPr>
        <p:cNvPr id="1" name=""/>
        <p:cNvGrpSpPr/>
        <p:nvPr/>
      </p:nvGrpSpPr>
      <p:grpSpPr>
        <a:xfrm>
          <a:off x="0" y="0"/>
          <a:ext cx="0" cy="0"/>
          <a:chOff x="0" y="0"/>
          <a:chExt cx="0" cy="0"/>
        </a:xfrm>
      </p:grpSpPr>
      <p:sp>
        <p:nvSpPr>
          <p:cNvPr id="2" name="Rectangle 2">
            <a:extLst>
              <a:ext uri="{FF2B5EF4-FFF2-40B4-BE49-F238E27FC236}">
                <a16:creationId xmlns:a16="http://schemas.microsoft.com/office/drawing/2014/main" id="{F97890A8-F804-CF97-D251-8E7CFBDCBFDB}"/>
              </a:ext>
            </a:extLst>
          </p:cNvPr>
          <p:cNvSpPr>
            <a:spLocks noChangeArrowheads="1"/>
          </p:cNvSpPr>
          <p:nvPr/>
        </p:nvSpPr>
        <p:spPr bwMode="auto">
          <a:xfrm>
            <a:off x="334963" y="368300"/>
            <a:ext cx="11522075" cy="1868488"/>
          </a:xfrm>
          <a:prstGeom prst="rect">
            <a:avLst/>
          </a:prstGeom>
          <a:solidFill>
            <a:srgbClr val="243572"/>
          </a:solidFill>
          <a:ln>
            <a:noFill/>
          </a:ln>
        </p:spPr>
        <p:txBody>
          <a:bodyPr wrap="none" anchor="ctr"/>
          <a:lstStyle>
            <a:lvl1pPr eaLnBrk="0" hangingPunct="0">
              <a:defRPr b="1">
                <a:solidFill>
                  <a:schemeClr val="tx1"/>
                </a:solidFill>
                <a:latin typeface="Verdana" pitchFamily="34" charset="0"/>
              </a:defRPr>
            </a:lvl1pPr>
            <a:lvl2pPr marL="742950" indent="-285750" eaLnBrk="0" hangingPunct="0">
              <a:defRPr b="1">
                <a:solidFill>
                  <a:schemeClr val="tx1"/>
                </a:solidFill>
                <a:latin typeface="Verdana" pitchFamily="34" charset="0"/>
              </a:defRPr>
            </a:lvl2pPr>
            <a:lvl3pPr marL="1143000" indent="-228600" eaLnBrk="0" hangingPunct="0">
              <a:defRPr b="1">
                <a:solidFill>
                  <a:schemeClr val="tx1"/>
                </a:solidFill>
                <a:latin typeface="Verdana" pitchFamily="34" charset="0"/>
              </a:defRPr>
            </a:lvl3pPr>
            <a:lvl4pPr marL="1600200" indent="-228600" eaLnBrk="0" hangingPunct="0">
              <a:defRPr b="1">
                <a:solidFill>
                  <a:schemeClr val="tx1"/>
                </a:solidFill>
                <a:latin typeface="Verdana" pitchFamily="34" charset="0"/>
              </a:defRPr>
            </a:lvl4pPr>
            <a:lvl5pPr marL="2057400" indent="-228600" eaLnBrk="0" hangingPunct="0">
              <a:defRPr b="1">
                <a:solidFill>
                  <a:schemeClr val="tx1"/>
                </a:solidFill>
                <a:latin typeface="Verdana" pitchFamily="34" charset="0"/>
              </a:defRPr>
            </a:lvl5pPr>
            <a:lvl6pPr marL="2514600" indent="-228600" eaLnBrk="0" fontAlgn="base" hangingPunct="0">
              <a:spcBef>
                <a:spcPct val="0"/>
              </a:spcBef>
              <a:spcAft>
                <a:spcPct val="0"/>
              </a:spcAft>
              <a:defRPr b="1">
                <a:solidFill>
                  <a:schemeClr val="tx1"/>
                </a:solidFill>
                <a:latin typeface="Verdana" pitchFamily="34" charset="0"/>
              </a:defRPr>
            </a:lvl6pPr>
            <a:lvl7pPr marL="2971800" indent="-228600" eaLnBrk="0" fontAlgn="base" hangingPunct="0">
              <a:spcBef>
                <a:spcPct val="0"/>
              </a:spcBef>
              <a:spcAft>
                <a:spcPct val="0"/>
              </a:spcAft>
              <a:defRPr b="1">
                <a:solidFill>
                  <a:schemeClr val="tx1"/>
                </a:solidFill>
                <a:latin typeface="Verdana" pitchFamily="34" charset="0"/>
              </a:defRPr>
            </a:lvl7pPr>
            <a:lvl8pPr marL="3429000" indent="-228600" eaLnBrk="0" fontAlgn="base" hangingPunct="0">
              <a:spcBef>
                <a:spcPct val="0"/>
              </a:spcBef>
              <a:spcAft>
                <a:spcPct val="0"/>
              </a:spcAft>
              <a:defRPr b="1">
                <a:solidFill>
                  <a:schemeClr val="tx1"/>
                </a:solidFill>
                <a:latin typeface="Verdana" pitchFamily="34" charset="0"/>
              </a:defRPr>
            </a:lvl8pPr>
            <a:lvl9pPr marL="3886200" indent="-228600" eaLnBrk="0" fontAlgn="base" hangingPunct="0">
              <a:spcBef>
                <a:spcPct val="0"/>
              </a:spcBef>
              <a:spcAft>
                <a:spcPct val="0"/>
              </a:spcAft>
              <a:defRPr b="1">
                <a:solidFill>
                  <a:schemeClr val="tx1"/>
                </a:solidFill>
                <a:latin typeface="Verdana" pitchFamily="34" charset="0"/>
              </a:defRPr>
            </a:lvl9pPr>
          </a:lstStyle>
          <a:p>
            <a:pPr algn="ctr" eaLnBrk="1" hangingPunct="1">
              <a:defRPr/>
            </a:pPr>
            <a:endParaRPr lang="de-DE" altLang="de-DE"/>
          </a:p>
        </p:txBody>
      </p:sp>
      <p:sp>
        <p:nvSpPr>
          <p:cNvPr id="3" name="Rectangle 8">
            <a:extLst>
              <a:ext uri="{FF2B5EF4-FFF2-40B4-BE49-F238E27FC236}">
                <a16:creationId xmlns:a16="http://schemas.microsoft.com/office/drawing/2014/main" id="{BE6FE99F-7DA2-992F-292C-9FA56DCC1BDC}"/>
              </a:ext>
            </a:extLst>
          </p:cNvPr>
          <p:cNvSpPr>
            <a:spLocks noChangeArrowheads="1"/>
          </p:cNvSpPr>
          <p:nvPr/>
        </p:nvSpPr>
        <p:spPr bwMode="auto">
          <a:xfrm>
            <a:off x="334963" y="196850"/>
            <a:ext cx="11522075" cy="144463"/>
          </a:xfrm>
          <a:prstGeom prst="rect">
            <a:avLst/>
          </a:prstGeom>
          <a:solidFill>
            <a:srgbClr val="243572"/>
          </a:solidFill>
          <a:ln>
            <a:noFill/>
          </a:ln>
        </p:spPr>
        <p:txBody>
          <a:bodyPr/>
          <a:lstStyle>
            <a:lvl1pPr eaLnBrk="0" hangingPunct="0">
              <a:defRPr b="1">
                <a:solidFill>
                  <a:schemeClr val="tx1"/>
                </a:solidFill>
                <a:latin typeface="Verdana" pitchFamily="34" charset="0"/>
              </a:defRPr>
            </a:lvl1pPr>
            <a:lvl2pPr marL="742950" indent="-285750" eaLnBrk="0" hangingPunct="0">
              <a:defRPr b="1">
                <a:solidFill>
                  <a:schemeClr val="tx1"/>
                </a:solidFill>
                <a:latin typeface="Verdana" pitchFamily="34" charset="0"/>
              </a:defRPr>
            </a:lvl2pPr>
            <a:lvl3pPr marL="1143000" indent="-228600" eaLnBrk="0" hangingPunct="0">
              <a:defRPr b="1">
                <a:solidFill>
                  <a:schemeClr val="tx1"/>
                </a:solidFill>
                <a:latin typeface="Verdana" pitchFamily="34" charset="0"/>
              </a:defRPr>
            </a:lvl3pPr>
            <a:lvl4pPr marL="1600200" indent="-228600" eaLnBrk="0" hangingPunct="0">
              <a:defRPr b="1">
                <a:solidFill>
                  <a:schemeClr val="tx1"/>
                </a:solidFill>
                <a:latin typeface="Verdana" pitchFamily="34" charset="0"/>
              </a:defRPr>
            </a:lvl4pPr>
            <a:lvl5pPr marL="2057400" indent="-228600" eaLnBrk="0" hangingPunct="0">
              <a:defRPr b="1">
                <a:solidFill>
                  <a:schemeClr val="tx1"/>
                </a:solidFill>
                <a:latin typeface="Verdana" pitchFamily="34" charset="0"/>
              </a:defRPr>
            </a:lvl5pPr>
            <a:lvl6pPr marL="2514600" indent="-228600" eaLnBrk="0" fontAlgn="base" hangingPunct="0">
              <a:spcBef>
                <a:spcPct val="0"/>
              </a:spcBef>
              <a:spcAft>
                <a:spcPct val="0"/>
              </a:spcAft>
              <a:defRPr b="1">
                <a:solidFill>
                  <a:schemeClr val="tx1"/>
                </a:solidFill>
                <a:latin typeface="Verdana" pitchFamily="34" charset="0"/>
              </a:defRPr>
            </a:lvl6pPr>
            <a:lvl7pPr marL="2971800" indent="-228600" eaLnBrk="0" fontAlgn="base" hangingPunct="0">
              <a:spcBef>
                <a:spcPct val="0"/>
              </a:spcBef>
              <a:spcAft>
                <a:spcPct val="0"/>
              </a:spcAft>
              <a:defRPr b="1">
                <a:solidFill>
                  <a:schemeClr val="tx1"/>
                </a:solidFill>
                <a:latin typeface="Verdana" pitchFamily="34" charset="0"/>
              </a:defRPr>
            </a:lvl7pPr>
            <a:lvl8pPr marL="3429000" indent="-228600" eaLnBrk="0" fontAlgn="base" hangingPunct="0">
              <a:spcBef>
                <a:spcPct val="0"/>
              </a:spcBef>
              <a:spcAft>
                <a:spcPct val="0"/>
              </a:spcAft>
              <a:defRPr b="1">
                <a:solidFill>
                  <a:schemeClr val="tx1"/>
                </a:solidFill>
                <a:latin typeface="Verdana" pitchFamily="34" charset="0"/>
              </a:defRPr>
            </a:lvl8pPr>
            <a:lvl9pPr marL="3886200" indent="-228600" eaLnBrk="0" fontAlgn="base" hangingPunct="0">
              <a:spcBef>
                <a:spcPct val="0"/>
              </a:spcBef>
              <a:spcAft>
                <a:spcPct val="0"/>
              </a:spcAft>
              <a:defRPr b="1">
                <a:solidFill>
                  <a:schemeClr val="tx1"/>
                </a:solidFill>
                <a:latin typeface="Verdana" pitchFamily="34" charset="0"/>
              </a:defRPr>
            </a:lvl9pPr>
          </a:lstStyle>
          <a:p>
            <a:pPr eaLnBrk="1" hangingPunct="1">
              <a:defRPr/>
            </a:pPr>
            <a:endParaRPr lang="de-DE" altLang="de-DE"/>
          </a:p>
        </p:txBody>
      </p:sp>
      <p:pic>
        <p:nvPicPr>
          <p:cNvPr id="4" name="Picture 9" descr="tud_logo">
            <a:extLst>
              <a:ext uri="{FF2B5EF4-FFF2-40B4-BE49-F238E27FC236}">
                <a16:creationId xmlns:a16="http://schemas.microsoft.com/office/drawing/2014/main" id="{9FDFF958-00D9-DFF3-4A2B-0CC2A432BF2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r="5453"/>
          <a:stretch>
            <a:fillRect/>
          </a:stretch>
        </p:blipFill>
        <p:spPr bwMode="auto">
          <a:xfrm>
            <a:off x="9563100" y="500063"/>
            <a:ext cx="2497138" cy="792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Line 11">
            <a:extLst>
              <a:ext uri="{FF2B5EF4-FFF2-40B4-BE49-F238E27FC236}">
                <a16:creationId xmlns:a16="http://schemas.microsoft.com/office/drawing/2014/main" id="{160EBFE5-620D-D7C9-581F-18595EE6EE07}"/>
              </a:ext>
            </a:extLst>
          </p:cNvPr>
          <p:cNvSpPr>
            <a:spLocks noChangeShapeType="1"/>
          </p:cNvSpPr>
          <p:nvPr/>
        </p:nvSpPr>
        <p:spPr bwMode="auto">
          <a:xfrm>
            <a:off x="336550" y="6489700"/>
            <a:ext cx="11520488" cy="0"/>
          </a:xfrm>
          <a:prstGeom prst="line">
            <a:avLst/>
          </a:prstGeom>
          <a:noFill/>
          <a:ln w="7620">
            <a:solidFill>
              <a:srgbClr val="000000"/>
            </a:solidFill>
            <a:round/>
            <a:headEnd/>
            <a:tailEnd/>
          </a:ln>
          <a:extLst>
            <a:ext uri="{909E8E84-426E-40DD-AFC4-6F175D3DCCD1}">
              <a14:hiddenFill xmlns:a14="http://schemas.microsoft.com/office/drawing/2010/main">
                <a:noFill/>
              </a14:hiddenFill>
            </a:ext>
          </a:extLst>
        </p:spPr>
        <p:txBody>
          <a:bodyPr/>
          <a:lstStyle/>
          <a:p>
            <a:endParaRPr lang="de-DE"/>
          </a:p>
        </p:txBody>
      </p:sp>
      <p:sp>
        <p:nvSpPr>
          <p:cNvPr id="6" name="Line 15">
            <a:extLst>
              <a:ext uri="{FF2B5EF4-FFF2-40B4-BE49-F238E27FC236}">
                <a16:creationId xmlns:a16="http://schemas.microsoft.com/office/drawing/2014/main" id="{C9664C48-E869-DC4B-C7B4-749B613854F3}"/>
              </a:ext>
            </a:extLst>
          </p:cNvPr>
          <p:cNvSpPr>
            <a:spLocks noChangeShapeType="1"/>
          </p:cNvSpPr>
          <p:nvPr/>
        </p:nvSpPr>
        <p:spPr bwMode="auto">
          <a:xfrm>
            <a:off x="336550" y="6489700"/>
            <a:ext cx="11520488" cy="0"/>
          </a:xfrm>
          <a:prstGeom prst="line">
            <a:avLst/>
          </a:prstGeom>
          <a:noFill/>
          <a:ln w="7620">
            <a:solidFill>
              <a:srgbClr val="000000"/>
            </a:solidFill>
            <a:round/>
            <a:headEnd/>
            <a:tailEnd/>
          </a:ln>
          <a:extLst>
            <a:ext uri="{909E8E84-426E-40DD-AFC4-6F175D3DCCD1}">
              <a14:hiddenFill xmlns:a14="http://schemas.microsoft.com/office/drawing/2010/main">
                <a:noFill/>
              </a14:hiddenFill>
            </a:ext>
          </a:extLst>
        </p:spPr>
        <p:txBody>
          <a:bodyPr/>
          <a:lstStyle/>
          <a:p>
            <a:endParaRPr lang="de-DE"/>
          </a:p>
        </p:txBody>
      </p:sp>
      <p:sp>
        <p:nvSpPr>
          <p:cNvPr id="7" name="Rectangle 18">
            <a:extLst>
              <a:ext uri="{FF2B5EF4-FFF2-40B4-BE49-F238E27FC236}">
                <a16:creationId xmlns:a16="http://schemas.microsoft.com/office/drawing/2014/main" id="{F6023C64-7559-BBEC-8FC2-31123B1C55DE}"/>
              </a:ext>
            </a:extLst>
          </p:cNvPr>
          <p:cNvSpPr>
            <a:spLocks noChangeArrowheads="1"/>
          </p:cNvSpPr>
          <p:nvPr/>
        </p:nvSpPr>
        <p:spPr bwMode="auto">
          <a:xfrm>
            <a:off x="334963" y="360363"/>
            <a:ext cx="11520487" cy="14287"/>
          </a:xfrm>
          <a:prstGeom prst="rect">
            <a:avLst/>
          </a:prstGeom>
          <a:solidFill>
            <a:srgbClr val="000000"/>
          </a:solidFill>
          <a:ln>
            <a:noFill/>
          </a:ln>
        </p:spPr>
        <p:txBody>
          <a:bodyPr wrap="none" anchor="ctr"/>
          <a:lstStyle>
            <a:lvl1pPr eaLnBrk="0" hangingPunct="0">
              <a:defRPr b="1">
                <a:solidFill>
                  <a:schemeClr val="tx1"/>
                </a:solidFill>
                <a:latin typeface="Verdana" pitchFamily="34" charset="0"/>
              </a:defRPr>
            </a:lvl1pPr>
            <a:lvl2pPr marL="742950" indent="-285750" eaLnBrk="0" hangingPunct="0">
              <a:defRPr b="1">
                <a:solidFill>
                  <a:schemeClr val="tx1"/>
                </a:solidFill>
                <a:latin typeface="Verdana" pitchFamily="34" charset="0"/>
              </a:defRPr>
            </a:lvl2pPr>
            <a:lvl3pPr marL="1143000" indent="-228600" eaLnBrk="0" hangingPunct="0">
              <a:defRPr b="1">
                <a:solidFill>
                  <a:schemeClr val="tx1"/>
                </a:solidFill>
                <a:latin typeface="Verdana" pitchFamily="34" charset="0"/>
              </a:defRPr>
            </a:lvl3pPr>
            <a:lvl4pPr marL="1600200" indent="-228600" eaLnBrk="0" hangingPunct="0">
              <a:defRPr b="1">
                <a:solidFill>
                  <a:schemeClr val="tx1"/>
                </a:solidFill>
                <a:latin typeface="Verdana" pitchFamily="34" charset="0"/>
              </a:defRPr>
            </a:lvl4pPr>
            <a:lvl5pPr marL="2057400" indent="-228600" eaLnBrk="0" hangingPunct="0">
              <a:defRPr b="1">
                <a:solidFill>
                  <a:schemeClr val="tx1"/>
                </a:solidFill>
                <a:latin typeface="Verdana" pitchFamily="34" charset="0"/>
              </a:defRPr>
            </a:lvl5pPr>
            <a:lvl6pPr marL="2514600" indent="-228600" eaLnBrk="0" fontAlgn="base" hangingPunct="0">
              <a:spcBef>
                <a:spcPct val="0"/>
              </a:spcBef>
              <a:spcAft>
                <a:spcPct val="0"/>
              </a:spcAft>
              <a:defRPr b="1">
                <a:solidFill>
                  <a:schemeClr val="tx1"/>
                </a:solidFill>
                <a:latin typeface="Verdana" pitchFamily="34" charset="0"/>
              </a:defRPr>
            </a:lvl6pPr>
            <a:lvl7pPr marL="2971800" indent="-228600" eaLnBrk="0" fontAlgn="base" hangingPunct="0">
              <a:spcBef>
                <a:spcPct val="0"/>
              </a:spcBef>
              <a:spcAft>
                <a:spcPct val="0"/>
              </a:spcAft>
              <a:defRPr b="1">
                <a:solidFill>
                  <a:schemeClr val="tx1"/>
                </a:solidFill>
                <a:latin typeface="Verdana" pitchFamily="34" charset="0"/>
              </a:defRPr>
            </a:lvl7pPr>
            <a:lvl8pPr marL="3429000" indent="-228600" eaLnBrk="0" fontAlgn="base" hangingPunct="0">
              <a:spcBef>
                <a:spcPct val="0"/>
              </a:spcBef>
              <a:spcAft>
                <a:spcPct val="0"/>
              </a:spcAft>
              <a:defRPr b="1">
                <a:solidFill>
                  <a:schemeClr val="tx1"/>
                </a:solidFill>
                <a:latin typeface="Verdana" pitchFamily="34" charset="0"/>
              </a:defRPr>
            </a:lvl8pPr>
            <a:lvl9pPr marL="3886200" indent="-228600" eaLnBrk="0" fontAlgn="base" hangingPunct="0">
              <a:spcBef>
                <a:spcPct val="0"/>
              </a:spcBef>
              <a:spcAft>
                <a:spcPct val="0"/>
              </a:spcAft>
              <a:defRPr b="1">
                <a:solidFill>
                  <a:schemeClr val="tx1"/>
                </a:solidFill>
                <a:latin typeface="Verdana" pitchFamily="34" charset="0"/>
              </a:defRPr>
            </a:lvl9pPr>
          </a:lstStyle>
          <a:p>
            <a:pPr eaLnBrk="1" hangingPunct="1">
              <a:defRPr/>
            </a:pPr>
            <a:endParaRPr lang="de-DE" altLang="de-DE"/>
          </a:p>
        </p:txBody>
      </p:sp>
      <p:sp>
        <p:nvSpPr>
          <p:cNvPr id="8" name="Rectangle 19">
            <a:extLst>
              <a:ext uri="{FF2B5EF4-FFF2-40B4-BE49-F238E27FC236}">
                <a16:creationId xmlns:a16="http://schemas.microsoft.com/office/drawing/2014/main" id="{06F1ABB6-4C59-7E2D-25FE-AA6534A9557B}"/>
              </a:ext>
            </a:extLst>
          </p:cNvPr>
          <p:cNvSpPr>
            <a:spLocks noChangeArrowheads="1"/>
          </p:cNvSpPr>
          <p:nvPr/>
        </p:nvSpPr>
        <p:spPr bwMode="auto">
          <a:xfrm>
            <a:off x="334963" y="2239963"/>
            <a:ext cx="11520487" cy="7937"/>
          </a:xfrm>
          <a:prstGeom prst="rect">
            <a:avLst/>
          </a:prstGeom>
          <a:solidFill>
            <a:srgbClr val="000000"/>
          </a:solidFill>
          <a:ln>
            <a:noFill/>
          </a:ln>
        </p:spPr>
        <p:txBody>
          <a:bodyPr wrap="none" anchor="ctr"/>
          <a:lstStyle>
            <a:lvl1pPr eaLnBrk="0" hangingPunct="0">
              <a:defRPr b="1">
                <a:solidFill>
                  <a:schemeClr val="tx1"/>
                </a:solidFill>
                <a:latin typeface="Verdana" pitchFamily="34" charset="0"/>
              </a:defRPr>
            </a:lvl1pPr>
            <a:lvl2pPr marL="742950" indent="-285750" eaLnBrk="0" hangingPunct="0">
              <a:defRPr b="1">
                <a:solidFill>
                  <a:schemeClr val="tx1"/>
                </a:solidFill>
                <a:latin typeface="Verdana" pitchFamily="34" charset="0"/>
              </a:defRPr>
            </a:lvl2pPr>
            <a:lvl3pPr marL="1143000" indent="-228600" eaLnBrk="0" hangingPunct="0">
              <a:defRPr b="1">
                <a:solidFill>
                  <a:schemeClr val="tx1"/>
                </a:solidFill>
                <a:latin typeface="Verdana" pitchFamily="34" charset="0"/>
              </a:defRPr>
            </a:lvl3pPr>
            <a:lvl4pPr marL="1600200" indent="-228600" eaLnBrk="0" hangingPunct="0">
              <a:defRPr b="1">
                <a:solidFill>
                  <a:schemeClr val="tx1"/>
                </a:solidFill>
                <a:latin typeface="Verdana" pitchFamily="34" charset="0"/>
              </a:defRPr>
            </a:lvl4pPr>
            <a:lvl5pPr marL="2057400" indent="-228600" eaLnBrk="0" hangingPunct="0">
              <a:defRPr b="1">
                <a:solidFill>
                  <a:schemeClr val="tx1"/>
                </a:solidFill>
                <a:latin typeface="Verdana" pitchFamily="34" charset="0"/>
              </a:defRPr>
            </a:lvl5pPr>
            <a:lvl6pPr marL="2514600" indent="-228600" eaLnBrk="0" fontAlgn="base" hangingPunct="0">
              <a:spcBef>
                <a:spcPct val="0"/>
              </a:spcBef>
              <a:spcAft>
                <a:spcPct val="0"/>
              </a:spcAft>
              <a:defRPr b="1">
                <a:solidFill>
                  <a:schemeClr val="tx1"/>
                </a:solidFill>
                <a:latin typeface="Verdana" pitchFamily="34" charset="0"/>
              </a:defRPr>
            </a:lvl6pPr>
            <a:lvl7pPr marL="2971800" indent="-228600" eaLnBrk="0" fontAlgn="base" hangingPunct="0">
              <a:spcBef>
                <a:spcPct val="0"/>
              </a:spcBef>
              <a:spcAft>
                <a:spcPct val="0"/>
              </a:spcAft>
              <a:defRPr b="1">
                <a:solidFill>
                  <a:schemeClr val="tx1"/>
                </a:solidFill>
                <a:latin typeface="Verdana" pitchFamily="34" charset="0"/>
              </a:defRPr>
            </a:lvl7pPr>
            <a:lvl8pPr marL="3429000" indent="-228600" eaLnBrk="0" fontAlgn="base" hangingPunct="0">
              <a:spcBef>
                <a:spcPct val="0"/>
              </a:spcBef>
              <a:spcAft>
                <a:spcPct val="0"/>
              </a:spcAft>
              <a:defRPr b="1">
                <a:solidFill>
                  <a:schemeClr val="tx1"/>
                </a:solidFill>
                <a:latin typeface="Verdana" pitchFamily="34" charset="0"/>
              </a:defRPr>
            </a:lvl8pPr>
            <a:lvl9pPr marL="3886200" indent="-228600" eaLnBrk="0" fontAlgn="base" hangingPunct="0">
              <a:spcBef>
                <a:spcPct val="0"/>
              </a:spcBef>
              <a:spcAft>
                <a:spcPct val="0"/>
              </a:spcAft>
              <a:defRPr b="1">
                <a:solidFill>
                  <a:schemeClr val="tx1"/>
                </a:solidFill>
                <a:latin typeface="Verdana" pitchFamily="34" charset="0"/>
              </a:defRPr>
            </a:lvl9pPr>
          </a:lstStyle>
          <a:p>
            <a:pPr eaLnBrk="1" hangingPunct="1">
              <a:defRPr/>
            </a:pPr>
            <a:endParaRPr lang="de-DE" altLang="de-DE"/>
          </a:p>
        </p:txBody>
      </p:sp>
      <p:pic>
        <p:nvPicPr>
          <p:cNvPr id="9" name="Grafik 13" descr="MIM_logo_10x10_web.gif">
            <a:extLst>
              <a:ext uri="{FF2B5EF4-FFF2-40B4-BE49-F238E27FC236}">
                <a16:creationId xmlns:a16="http://schemas.microsoft.com/office/drawing/2014/main" id="{2CCE189D-A738-73B8-B598-82171FB5122C}"/>
              </a:ext>
            </a:extLst>
          </p:cNvPr>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0953750" y="6010275"/>
            <a:ext cx="1106488" cy="830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7043" name="Rectangle 3"/>
          <p:cNvSpPr>
            <a:spLocks noGrp="1" noChangeArrowheads="1"/>
          </p:cNvSpPr>
          <p:nvPr>
            <p:ph type="ctrTitle"/>
          </p:nvPr>
        </p:nvSpPr>
        <p:spPr>
          <a:xfrm>
            <a:off x="478367" y="534967"/>
            <a:ext cx="8978900" cy="577850"/>
          </a:xfrm>
        </p:spPr>
        <p:txBody>
          <a:bodyPr anchor="t"/>
          <a:lstStyle>
            <a:lvl1pPr>
              <a:defRPr sz="2800">
                <a:solidFill>
                  <a:schemeClr val="bg1"/>
                </a:solidFill>
              </a:defRPr>
            </a:lvl1pPr>
          </a:lstStyle>
          <a:p>
            <a:r>
              <a:rPr lang="de-DE" dirty="0"/>
              <a:t>Titelmasterformat durch Klicken bearbeiten</a:t>
            </a:r>
          </a:p>
        </p:txBody>
      </p:sp>
      <p:sp>
        <p:nvSpPr>
          <p:cNvPr id="87044" name="Rectangle 4"/>
          <p:cNvSpPr>
            <a:spLocks noGrp="1" noChangeArrowheads="1"/>
          </p:cNvSpPr>
          <p:nvPr>
            <p:ph type="subTitle" idx="1"/>
          </p:nvPr>
        </p:nvSpPr>
        <p:spPr>
          <a:xfrm>
            <a:off x="478367" y="1292205"/>
            <a:ext cx="8978900" cy="944562"/>
          </a:xfrm>
        </p:spPr>
        <p:txBody>
          <a:bodyPr/>
          <a:lstStyle>
            <a:lvl1pPr marL="0" indent="0">
              <a:spcBef>
                <a:spcPct val="0"/>
              </a:spcBef>
              <a:buFont typeface="Wingdings" pitchFamily="2" charset="2"/>
              <a:buNone/>
              <a:defRPr b="1">
                <a:solidFill>
                  <a:schemeClr val="bg1"/>
                </a:solidFill>
              </a:defRPr>
            </a:lvl1pPr>
          </a:lstStyle>
          <a:p>
            <a:r>
              <a:rPr lang="de-DE" dirty="0"/>
              <a:t>Formatvorlage des Untertitelmasters durch Klicken bearbeiten</a:t>
            </a:r>
          </a:p>
        </p:txBody>
      </p:sp>
    </p:spTree>
    <p:extLst>
      <p:ext uri="{BB962C8B-B14F-4D97-AF65-F5344CB8AC3E}">
        <p14:creationId xmlns:p14="http://schemas.microsoft.com/office/powerpoint/2010/main" val="4198588942"/>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a:xfrm>
            <a:off x="478367" y="559974"/>
            <a:ext cx="9169400" cy="838200"/>
          </a:xfrm>
        </p:spPr>
        <p:txBody>
          <a:bodyPr anchor="t"/>
          <a:lstStyle>
            <a:lvl1pPr>
              <a:defRPr sz="2000"/>
            </a:lvl1pPr>
          </a:lstStyle>
          <a:p>
            <a:r>
              <a:rPr lang="de-DE" dirty="0"/>
              <a:t>Titelmasterformat durch Klicken bearbeiten</a:t>
            </a:r>
          </a:p>
        </p:txBody>
      </p:sp>
      <p:sp>
        <p:nvSpPr>
          <p:cNvPr id="3" name="Inhaltsplatzhalter 2"/>
          <p:cNvSpPr>
            <a:spLocks noGrp="1"/>
          </p:cNvSpPr>
          <p:nvPr>
            <p:ph idx="1"/>
          </p:nvPr>
        </p:nvSpPr>
        <p:spPr/>
        <p:txBody>
          <a:bodyPr/>
          <a:lstStyle/>
          <a:p>
            <a:pPr lvl="0"/>
            <a:r>
              <a:rPr lang="de-DE" dirty="0"/>
              <a:t>Textmasterformate durch Klicken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Rectangle 1041">
            <a:extLst>
              <a:ext uri="{FF2B5EF4-FFF2-40B4-BE49-F238E27FC236}">
                <a16:creationId xmlns:a16="http://schemas.microsoft.com/office/drawing/2014/main" id="{B0E407EB-09AF-6A4E-EE94-A0F69A08EBF3}"/>
              </a:ext>
            </a:extLst>
          </p:cNvPr>
          <p:cNvSpPr>
            <a:spLocks noGrp="1" noChangeArrowheads="1"/>
          </p:cNvSpPr>
          <p:nvPr>
            <p:ph type="ftr" sz="quarter" idx="10"/>
          </p:nvPr>
        </p:nvSpPr>
        <p:spPr>
          <a:xfrm>
            <a:off x="627063" y="6310313"/>
            <a:ext cx="7007225" cy="215900"/>
          </a:xfrm>
          <a:prstGeom prst="rect">
            <a:avLst/>
          </a:prstGeom>
        </p:spPr>
        <p:txBody>
          <a:bodyPr vert="horz" wrap="square" lIns="91440" tIns="45720" rIns="91440" bIns="45720" numCol="1" anchor="t" anchorCtr="0" compatLnSpc="1">
            <a:prstTxWarp prst="textNoShape">
              <a:avLst/>
            </a:prstTxWarp>
          </a:bodyPr>
          <a:lstStyle>
            <a:lvl1pPr>
              <a:defRPr/>
            </a:lvl1pPr>
          </a:lstStyle>
          <a:p>
            <a:pPr>
              <a:defRPr/>
            </a:pPr>
            <a:r>
              <a:rPr lang="en-GB" altLang="de-DE"/>
              <a:t>Lecture: Interactions in Turbomachinery Rotordynamics - </a:t>
            </a:r>
            <a:fld id="{0A734AAD-32B9-4B03-B45B-97003ABF96B4}" type="datetime1">
              <a:rPr lang="en-GB" altLang="de-DE" smtClean="0"/>
              <a:pPr>
                <a:defRPr/>
              </a:pPr>
              <a:t>28/01/2024</a:t>
            </a:fld>
            <a:r>
              <a:rPr lang="en-GB" altLang="de-DE"/>
              <a:t> - P </a:t>
            </a:r>
            <a:fld id="{64DBD96E-CD51-4CF4-BE8B-1A146C730973}" type="slidenum">
              <a:rPr lang="en-GB" altLang="de-DE" smtClean="0"/>
              <a:pPr>
                <a:defRPr/>
              </a:pPr>
              <a:t>‹Nr.›</a:t>
            </a:fld>
            <a:endParaRPr lang="en-GB" altLang="de-DE"/>
          </a:p>
        </p:txBody>
      </p:sp>
    </p:spTree>
    <p:extLst>
      <p:ext uri="{BB962C8B-B14F-4D97-AF65-F5344CB8AC3E}">
        <p14:creationId xmlns:p14="http://schemas.microsoft.com/office/powerpoint/2010/main" val="370361411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1_Leer">
    <p:spTree>
      <p:nvGrpSpPr>
        <p:cNvPr id="1" name=""/>
        <p:cNvGrpSpPr/>
        <p:nvPr/>
      </p:nvGrpSpPr>
      <p:grpSpPr>
        <a:xfrm>
          <a:off x="0" y="0"/>
          <a:ext cx="0" cy="0"/>
          <a:chOff x="0" y="0"/>
          <a:chExt cx="0" cy="0"/>
        </a:xfrm>
      </p:grpSpPr>
    </p:spTree>
    <p:extLst>
      <p:ext uri="{BB962C8B-B14F-4D97-AF65-F5344CB8AC3E}">
        <p14:creationId xmlns:p14="http://schemas.microsoft.com/office/powerpoint/2010/main" val="1063873578"/>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type="blank" preserve="1">
  <p:cSld name="Leer">
    <p:spTree>
      <p:nvGrpSpPr>
        <p:cNvPr id="1" name=""/>
        <p:cNvGrpSpPr/>
        <p:nvPr/>
      </p:nvGrpSpPr>
      <p:grpSpPr>
        <a:xfrm>
          <a:off x="0" y="0"/>
          <a:ext cx="0" cy="0"/>
          <a:chOff x="0" y="0"/>
          <a:chExt cx="0" cy="0"/>
        </a:xfrm>
      </p:grpSpPr>
      <p:sp>
        <p:nvSpPr>
          <p:cNvPr id="2" name="Line 1039">
            <a:extLst>
              <a:ext uri="{FF2B5EF4-FFF2-40B4-BE49-F238E27FC236}">
                <a16:creationId xmlns:a16="http://schemas.microsoft.com/office/drawing/2014/main" id="{5C256126-F8B8-ED91-FC1D-6C8D07D1FAE9}"/>
              </a:ext>
            </a:extLst>
          </p:cNvPr>
          <p:cNvSpPr>
            <a:spLocks noChangeShapeType="1"/>
          </p:cNvSpPr>
          <p:nvPr userDrawn="1"/>
        </p:nvSpPr>
        <p:spPr bwMode="auto">
          <a:xfrm>
            <a:off x="465138" y="950913"/>
            <a:ext cx="11263312" cy="0"/>
          </a:xfrm>
          <a:prstGeom prst="line">
            <a:avLst/>
          </a:prstGeom>
          <a:noFill/>
          <a:ln w="12700">
            <a:solidFill>
              <a:srgbClr val="5F5F5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Tree>
    <p:extLst>
      <p:ext uri="{BB962C8B-B14F-4D97-AF65-F5344CB8AC3E}">
        <p14:creationId xmlns:p14="http://schemas.microsoft.com/office/powerpoint/2010/main" val="3867516180"/>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blank" preserve="1">
  <p:cSld name="1_Leer">
    <p:spTree>
      <p:nvGrpSpPr>
        <p:cNvPr id="1" name=""/>
        <p:cNvGrpSpPr/>
        <p:nvPr/>
      </p:nvGrpSpPr>
      <p:grpSpPr>
        <a:xfrm>
          <a:off x="0" y="0"/>
          <a:ext cx="0" cy="0"/>
          <a:chOff x="0" y="0"/>
          <a:chExt cx="0" cy="0"/>
        </a:xfrm>
      </p:grpSpPr>
    </p:spTree>
    <p:extLst>
      <p:ext uri="{BB962C8B-B14F-4D97-AF65-F5344CB8AC3E}">
        <p14:creationId xmlns:p14="http://schemas.microsoft.com/office/powerpoint/2010/main" val="2411270982"/>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type="title">
  <p:cSld name="Titelfolie">
    <p:spTree>
      <p:nvGrpSpPr>
        <p:cNvPr id="1" name=""/>
        <p:cNvGrpSpPr/>
        <p:nvPr/>
      </p:nvGrpSpPr>
      <p:grpSpPr>
        <a:xfrm>
          <a:off x="0" y="0"/>
          <a:ext cx="0" cy="0"/>
          <a:chOff x="0" y="0"/>
          <a:chExt cx="0" cy="0"/>
        </a:xfrm>
      </p:grpSpPr>
      <p:sp>
        <p:nvSpPr>
          <p:cNvPr id="2" name="Rectangle 2">
            <a:extLst>
              <a:ext uri="{FF2B5EF4-FFF2-40B4-BE49-F238E27FC236}">
                <a16:creationId xmlns:a16="http://schemas.microsoft.com/office/drawing/2014/main" id="{4E05DB63-8564-B45B-66E6-F7A11A5F3040}"/>
              </a:ext>
            </a:extLst>
          </p:cNvPr>
          <p:cNvSpPr>
            <a:spLocks noChangeArrowheads="1"/>
          </p:cNvSpPr>
          <p:nvPr/>
        </p:nvSpPr>
        <p:spPr bwMode="auto">
          <a:xfrm>
            <a:off x="334963" y="368300"/>
            <a:ext cx="11522075" cy="1868488"/>
          </a:xfrm>
          <a:prstGeom prst="rect">
            <a:avLst/>
          </a:prstGeom>
          <a:solidFill>
            <a:srgbClr val="243572"/>
          </a:solidFill>
          <a:ln>
            <a:noFill/>
          </a:ln>
        </p:spPr>
        <p:txBody>
          <a:bodyPr wrap="none" anchor="ctr"/>
          <a:lstStyle>
            <a:lvl1pPr eaLnBrk="0" hangingPunct="0">
              <a:defRPr b="1">
                <a:solidFill>
                  <a:schemeClr val="tx1"/>
                </a:solidFill>
                <a:latin typeface="Verdana" pitchFamily="34" charset="0"/>
              </a:defRPr>
            </a:lvl1pPr>
            <a:lvl2pPr marL="742950" indent="-285750" eaLnBrk="0" hangingPunct="0">
              <a:defRPr b="1">
                <a:solidFill>
                  <a:schemeClr val="tx1"/>
                </a:solidFill>
                <a:latin typeface="Verdana" pitchFamily="34" charset="0"/>
              </a:defRPr>
            </a:lvl2pPr>
            <a:lvl3pPr marL="1143000" indent="-228600" eaLnBrk="0" hangingPunct="0">
              <a:defRPr b="1">
                <a:solidFill>
                  <a:schemeClr val="tx1"/>
                </a:solidFill>
                <a:latin typeface="Verdana" pitchFamily="34" charset="0"/>
              </a:defRPr>
            </a:lvl3pPr>
            <a:lvl4pPr marL="1600200" indent="-228600" eaLnBrk="0" hangingPunct="0">
              <a:defRPr b="1">
                <a:solidFill>
                  <a:schemeClr val="tx1"/>
                </a:solidFill>
                <a:latin typeface="Verdana" pitchFamily="34" charset="0"/>
              </a:defRPr>
            </a:lvl4pPr>
            <a:lvl5pPr marL="2057400" indent="-228600" eaLnBrk="0" hangingPunct="0">
              <a:defRPr b="1">
                <a:solidFill>
                  <a:schemeClr val="tx1"/>
                </a:solidFill>
                <a:latin typeface="Verdana" pitchFamily="34" charset="0"/>
              </a:defRPr>
            </a:lvl5pPr>
            <a:lvl6pPr marL="2514600" indent="-228600" eaLnBrk="0" fontAlgn="base" hangingPunct="0">
              <a:spcBef>
                <a:spcPct val="0"/>
              </a:spcBef>
              <a:spcAft>
                <a:spcPct val="0"/>
              </a:spcAft>
              <a:defRPr b="1">
                <a:solidFill>
                  <a:schemeClr val="tx1"/>
                </a:solidFill>
                <a:latin typeface="Verdana" pitchFamily="34" charset="0"/>
              </a:defRPr>
            </a:lvl6pPr>
            <a:lvl7pPr marL="2971800" indent="-228600" eaLnBrk="0" fontAlgn="base" hangingPunct="0">
              <a:spcBef>
                <a:spcPct val="0"/>
              </a:spcBef>
              <a:spcAft>
                <a:spcPct val="0"/>
              </a:spcAft>
              <a:defRPr b="1">
                <a:solidFill>
                  <a:schemeClr val="tx1"/>
                </a:solidFill>
                <a:latin typeface="Verdana" pitchFamily="34" charset="0"/>
              </a:defRPr>
            </a:lvl7pPr>
            <a:lvl8pPr marL="3429000" indent="-228600" eaLnBrk="0" fontAlgn="base" hangingPunct="0">
              <a:spcBef>
                <a:spcPct val="0"/>
              </a:spcBef>
              <a:spcAft>
                <a:spcPct val="0"/>
              </a:spcAft>
              <a:defRPr b="1">
                <a:solidFill>
                  <a:schemeClr val="tx1"/>
                </a:solidFill>
                <a:latin typeface="Verdana" pitchFamily="34" charset="0"/>
              </a:defRPr>
            </a:lvl8pPr>
            <a:lvl9pPr marL="3886200" indent="-228600" eaLnBrk="0" fontAlgn="base" hangingPunct="0">
              <a:spcBef>
                <a:spcPct val="0"/>
              </a:spcBef>
              <a:spcAft>
                <a:spcPct val="0"/>
              </a:spcAft>
              <a:defRPr b="1">
                <a:solidFill>
                  <a:schemeClr val="tx1"/>
                </a:solidFill>
                <a:latin typeface="Verdana" pitchFamily="34" charset="0"/>
              </a:defRPr>
            </a:lvl9pPr>
          </a:lstStyle>
          <a:p>
            <a:pPr algn="ctr" eaLnBrk="1" hangingPunct="1">
              <a:defRPr/>
            </a:pPr>
            <a:endParaRPr lang="de-DE" altLang="de-DE"/>
          </a:p>
        </p:txBody>
      </p:sp>
      <p:sp>
        <p:nvSpPr>
          <p:cNvPr id="3" name="Rectangle 8">
            <a:extLst>
              <a:ext uri="{FF2B5EF4-FFF2-40B4-BE49-F238E27FC236}">
                <a16:creationId xmlns:a16="http://schemas.microsoft.com/office/drawing/2014/main" id="{04687BC6-0713-5207-EF2B-81EE8FAE1091}"/>
              </a:ext>
            </a:extLst>
          </p:cNvPr>
          <p:cNvSpPr>
            <a:spLocks noChangeArrowheads="1"/>
          </p:cNvSpPr>
          <p:nvPr/>
        </p:nvSpPr>
        <p:spPr bwMode="auto">
          <a:xfrm>
            <a:off x="334963" y="196850"/>
            <a:ext cx="11522075" cy="144463"/>
          </a:xfrm>
          <a:prstGeom prst="rect">
            <a:avLst/>
          </a:prstGeom>
          <a:solidFill>
            <a:srgbClr val="243572"/>
          </a:solidFill>
          <a:ln>
            <a:noFill/>
          </a:ln>
        </p:spPr>
        <p:txBody>
          <a:bodyPr/>
          <a:lstStyle>
            <a:lvl1pPr eaLnBrk="0" hangingPunct="0">
              <a:defRPr b="1">
                <a:solidFill>
                  <a:schemeClr val="tx1"/>
                </a:solidFill>
                <a:latin typeface="Verdana" pitchFamily="34" charset="0"/>
              </a:defRPr>
            </a:lvl1pPr>
            <a:lvl2pPr marL="742950" indent="-285750" eaLnBrk="0" hangingPunct="0">
              <a:defRPr b="1">
                <a:solidFill>
                  <a:schemeClr val="tx1"/>
                </a:solidFill>
                <a:latin typeface="Verdana" pitchFamily="34" charset="0"/>
              </a:defRPr>
            </a:lvl2pPr>
            <a:lvl3pPr marL="1143000" indent="-228600" eaLnBrk="0" hangingPunct="0">
              <a:defRPr b="1">
                <a:solidFill>
                  <a:schemeClr val="tx1"/>
                </a:solidFill>
                <a:latin typeface="Verdana" pitchFamily="34" charset="0"/>
              </a:defRPr>
            </a:lvl3pPr>
            <a:lvl4pPr marL="1600200" indent="-228600" eaLnBrk="0" hangingPunct="0">
              <a:defRPr b="1">
                <a:solidFill>
                  <a:schemeClr val="tx1"/>
                </a:solidFill>
                <a:latin typeface="Verdana" pitchFamily="34" charset="0"/>
              </a:defRPr>
            </a:lvl4pPr>
            <a:lvl5pPr marL="2057400" indent="-228600" eaLnBrk="0" hangingPunct="0">
              <a:defRPr b="1">
                <a:solidFill>
                  <a:schemeClr val="tx1"/>
                </a:solidFill>
                <a:latin typeface="Verdana" pitchFamily="34" charset="0"/>
              </a:defRPr>
            </a:lvl5pPr>
            <a:lvl6pPr marL="2514600" indent="-228600" eaLnBrk="0" fontAlgn="base" hangingPunct="0">
              <a:spcBef>
                <a:spcPct val="0"/>
              </a:spcBef>
              <a:spcAft>
                <a:spcPct val="0"/>
              </a:spcAft>
              <a:defRPr b="1">
                <a:solidFill>
                  <a:schemeClr val="tx1"/>
                </a:solidFill>
                <a:latin typeface="Verdana" pitchFamily="34" charset="0"/>
              </a:defRPr>
            </a:lvl6pPr>
            <a:lvl7pPr marL="2971800" indent="-228600" eaLnBrk="0" fontAlgn="base" hangingPunct="0">
              <a:spcBef>
                <a:spcPct val="0"/>
              </a:spcBef>
              <a:spcAft>
                <a:spcPct val="0"/>
              </a:spcAft>
              <a:defRPr b="1">
                <a:solidFill>
                  <a:schemeClr val="tx1"/>
                </a:solidFill>
                <a:latin typeface="Verdana" pitchFamily="34" charset="0"/>
              </a:defRPr>
            </a:lvl7pPr>
            <a:lvl8pPr marL="3429000" indent="-228600" eaLnBrk="0" fontAlgn="base" hangingPunct="0">
              <a:spcBef>
                <a:spcPct val="0"/>
              </a:spcBef>
              <a:spcAft>
                <a:spcPct val="0"/>
              </a:spcAft>
              <a:defRPr b="1">
                <a:solidFill>
                  <a:schemeClr val="tx1"/>
                </a:solidFill>
                <a:latin typeface="Verdana" pitchFamily="34" charset="0"/>
              </a:defRPr>
            </a:lvl8pPr>
            <a:lvl9pPr marL="3886200" indent="-228600" eaLnBrk="0" fontAlgn="base" hangingPunct="0">
              <a:spcBef>
                <a:spcPct val="0"/>
              </a:spcBef>
              <a:spcAft>
                <a:spcPct val="0"/>
              </a:spcAft>
              <a:defRPr b="1">
                <a:solidFill>
                  <a:schemeClr val="tx1"/>
                </a:solidFill>
                <a:latin typeface="Verdana" pitchFamily="34" charset="0"/>
              </a:defRPr>
            </a:lvl9pPr>
          </a:lstStyle>
          <a:p>
            <a:pPr eaLnBrk="1" hangingPunct="1">
              <a:defRPr/>
            </a:pPr>
            <a:endParaRPr lang="de-DE" altLang="de-DE"/>
          </a:p>
        </p:txBody>
      </p:sp>
      <p:pic>
        <p:nvPicPr>
          <p:cNvPr id="4" name="Picture 9" descr="tud_logo">
            <a:extLst>
              <a:ext uri="{FF2B5EF4-FFF2-40B4-BE49-F238E27FC236}">
                <a16:creationId xmlns:a16="http://schemas.microsoft.com/office/drawing/2014/main" id="{96B21C1F-BF0B-8AA8-BA63-F3F97F31F55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r="5453"/>
          <a:stretch>
            <a:fillRect/>
          </a:stretch>
        </p:blipFill>
        <p:spPr bwMode="auto">
          <a:xfrm>
            <a:off x="9563100" y="500063"/>
            <a:ext cx="2497138" cy="792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Line 11">
            <a:extLst>
              <a:ext uri="{FF2B5EF4-FFF2-40B4-BE49-F238E27FC236}">
                <a16:creationId xmlns:a16="http://schemas.microsoft.com/office/drawing/2014/main" id="{2D07F41F-62AE-E8C3-55EC-E321D5AB6EB3}"/>
              </a:ext>
            </a:extLst>
          </p:cNvPr>
          <p:cNvSpPr>
            <a:spLocks noChangeShapeType="1"/>
          </p:cNvSpPr>
          <p:nvPr/>
        </p:nvSpPr>
        <p:spPr bwMode="auto">
          <a:xfrm>
            <a:off x="336550" y="6489700"/>
            <a:ext cx="11520488" cy="0"/>
          </a:xfrm>
          <a:prstGeom prst="line">
            <a:avLst/>
          </a:prstGeom>
          <a:noFill/>
          <a:ln w="7620">
            <a:solidFill>
              <a:srgbClr val="000000"/>
            </a:solidFill>
            <a:round/>
            <a:headEnd/>
            <a:tailEnd/>
          </a:ln>
          <a:extLst>
            <a:ext uri="{909E8E84-426E-40DD-AFC4-6F175D3DCCD1}">
              <a14:hiddenFill xmlns:a14="http://schemas.microsoft.com/office/drawing/2010/main">
                <a:noFill/>
              </a14:hiddenFill>
            </a:ext>
          </a:extLst>
        </p:spPr>
        <p:txBody>
          <a:bodyPr/>
          <a:lstStyle/>
          <a:p>
            <a:endParaRPr lang="de-DE"/>
          </a:p>
        </p:txBody>
      </p:sp>
      <p:sp>
        <p:nvSpPr>
          <p:cNvPr id="6" name="Line 15">
            <a:extLst>
              <a:ext uri="{FF2B5EF4-FFF2-40B4-BE49-F238E27FC236}">
                <a16:creationId xmlns:a16="http://schemas.microsoft.com/office/drawing/2014/main" id="{C0CFF148-03D2-7F73-F917-B1BE813FFD60}"/>
              </a:ext>
            </a:extLst>
          </p:cNvPr>
          <p:cNvSpPr>
            <a:spLocks noChangeShapeType="1"/>
          </p:cNvSpPr>
          <p:nvPr/>
        </p:nvSpPr>
        <p:spPr bwMode="auto">
          <a:xfrm>
            <a:off x="336550" y="6489700"/>
            <a:ext cx="11520488" cy="0"/>
          </a:xfrm>
          <a:prstGeom prst="line">
            <a:avLst/>
          </a:prstGeom>
          <a:noFill/>
          <a:ln w="7620">
            <a:solidFill>
              <a:srgbClr val="000000"/>
            </a:solidFill>
            <a:round/>
            <a:headEnd/>
            <a:tailEnd/>
          </a:ln>
          <a:extLst>
            <a:ext uri="{909E8E84-426E-40DD-AFC4-6F175D3DCCD1}">
              <a14:hiddenFill xmlns:a14="http://schemas.microsoft.com/office/drawing/2010/main">
                <a:noFill/>
              </a14:hiddenFill>
            </a:ext>
          </a:extLst>
        </p:spPr>
        <p:txBody>
          <a:bodyPr/>
          <a:lstStyle/>
          <a:p>
            <a:endParaRPr lang="de-DE"/>
          </a:p>
        </p:txBody>
      </p:sp>
      <p:sp>
        <p:nvSpPr>
          <p:cNvPr id="7" name="Rectangle 18">
            <a:extLst>
              <a:ext uri="{FF2B5EF4-FFF2-40B4-BE49-F238E27FC236}">
                <a16:creationId xmlns:a16="http://schemas.microsoft.com/office/drawing/2014/main" id="{9AD4CDC1-4787-45B9-B57D-15452C69F7A5}"/>
              </a:ext>
            </a:extLst>
          </p:cNvPr>
          <p:cNvSpPr>
            <a:spLocks noChangeArrowheads="1"/>
          </p:cNvSpPr>
          <p:nvPr/>
        </p:nvSpPr>
        <p:spPr bwMode="auto">
          <a:xfrm>
            <a:off x="334963" y="360363"/>
            <a:ext cx="11520487" cy="14287"/>
          </a:xfrm>
          <a:prstGeom prst="rect">
            <a:avLst/>
          </a:prstGeom>
          <a:solidFill>
            <a:srgbClr val="000000"/>
          </a:solidFill>
          <a:ln>
            <a:noFill/>
          </a:ln>
        </p:spPr>
        <p:txBody>
          <a:bodyPr wrap="none" anchor="ctr"/>
          <a:lstStyle>
            <a:lvl1pPr eaLnBrk="0" hangingPunct="0">
              <a:defRPr b="1">
                <a:solidFill>
                  <a:schemeClr val="tx1"/>
                </a:solidFill>
                <a:latin typeface="Verdana" pitchFamily="34" charset="0"/>
              </a:defRPr>
            </a:lvl1pPr>
            <a:lvl2pPr marL="742950" indent="-285750" eaLnBrk="0" hangingPunct="0">
              <a:defRPr b="1">
                <a:solidFill>
                  <a:schemeClr val="tx1"/>
                </a:solidFill>
                <a:latin typeface="Verdana" pitchFamily="34" charset="0"/>
              </a:defRPr>
            </a:lvl2pPr>
            <a:lvl3pPr marL="1143000" indent="-228600" eaLnBrk="0" hangingPunct="0">
              <a:defRPr b="1">
                <a:solidFill>
                  <a:schemeClr val="tx1"/>
                </a:solidFill>
                <a:latin typeface="Verdana" pitchFamily="34" charset="0"/>
              </a:defRPr>
            </a:lvl3pPr>
            <a:lvl4pPr marL="1600200" indent="-228600" eaLnBrk="0" hangingPunct="0">
              <a:defRPr b="1">
                <a:solidFill>
                  <a:schemeClr val="tx1"/>
                </a:solidFill>
                <a:latin typeface="Verdana" pitchFamily="34" charset="0"/>
              </a:defRPr>
            </a:lvl4pPr>
            <a:lvl5pPr marL="2057400" indent="-228600" eaLnBrk="0" hangingPunct="0">
              <a:defRPr b="1">
                <a:solidFill>
                  <a:schemeClr val="tx1"/>
                </a:solidFill>
                <a:latin typeface="Verdana" pitchFamily="34" charset="0"/>
              </a:defRPr>
            </a:lvl5pPr>
            <a:lvl6pPr marL="2514600" indent="-228600" eaLnBrk="0" fontAlgn="base" hangingPunct="0">
              <a:spcBef>
                <a:spcPct val="0"/>
              </a:spcBef>
              <a:spcAft>
                <a:spcPct val="0"/>
              </a:spcAft>
              <a:defRPr b="1">
                <a:solidFill>
                  <a:schemeClr val="tx1"/>
                </a:solidFill>
                <a:latin typeface="Verdana" pitchFamily="34" charset="0"/>
              </a:defRPr>
            </a:lvl6pPr>
            <a:lvl7pPr marL="2971800" indent="-228600" eaLnBrk="0" fontAlgn="base" hangingPunct="0">
              <a:spcBef>
                <a:spcPct val="0"/>
              </a:spcBef>
              <a:spcAft>
                <a:spcPct val="0"/>
              </a:spcAft>
              <a:defRPr b="1">
                <a:solidFill>
                  <a:schemeClr val="tx1"/>
                </a:solidFill>
                <a:latin typeface="Verdana" pitchFamily="34" charset="0"/>
              </a:defRPr>
            </a:lvl7pPr>
            <a:lvl8pPr marL="3429000" indent="-228600" eaLnBrk="0" fontAlgn="base" hangingPunct="0">
              <a:spcBef>
                <a:spcPct val="0"/>
              </a:spcBef>
              <a:spcAft>
                <a:spcPct val="0"/>
              </a:spcAft>
              <a:defRPr b="1">
                <a:solidFill>
                  <a:schemeClr val="tx1"/>
                </a:solidFill>
                <a:latin typeface="Verdana" pitchFamily="34" charset="0"/>
              </a:defRPr>
            </a:lvl8pPr>
            <a:lvl9pPr marL="3886200" indent="-228600" eaLnBrk="0" fontAlgn="base" hangingPunct="0">
              <a:spcBef>
                <a:spcPct val="0"/>
              </a:spcBef>
              <a:spcAft>
                <a:spcPct val="0"/>
              </a:spcAft>
              <a:defRPr b="1">
                <a:solidFill>
                  <a:schemeClr val="tx1"/>
                </a:solidFill>
                <a:latin typeface="Verdana" pitchFamily="34" charset="0"/>
              </a:defRPr>
            </a:lvl9pPr>
          </a:lstStyle>
          <a:p>
            <a:pPr eaLnBrk="1" hangingPunct="1">
              <a:defRPr/>
            </a:pPr>
            <a:endParaRPr lang="de-DE" altLang="de-DE"/>
          </a:p>
        </p:txBody>
      </p:sp>
      <p:sp>
        <p:nvSpPr>
          <p:cNvPr id="8" name="Rectangle 19">
            <a:extLst>
              <a:ext uri="{FF2B5EF4-FFF2-40B4-BE49-F238E27FC236}">
                <a16:creationId xmlns:a16="http://schemas.microsoft.com/office/drawing/2014/main" id="{993AB1B3-DC85-24A6-BDA6-40FC14E847A7}"/>
              </a:ext>
            </a:extLst>
          </p:cNvPr>
          <p:cNvSpPr>
            <a:spLocks noChangeArrowheads="1"/>
          </p:cNvSpPr>
          <p:nvPr/>
        </p:nvSpPr>
        <p:spPr bwMode="auto">
          <a:xfrm>
            <a:off x="334963" y="2239963"/>
            <a:ext cx="11520487" cy="7937"/>
          </a:xfrm>
          <a:prstGeom prst="rect">
            <a:avLst/>
          </a:prstGeom>
          <a:solidFill>
            <a:srgbClr val="000000"/>
          </a:solidFill>
          <a:ln>
            <a:noFill/>
          </a:ln>
        </p:spPr>
        <p:txBody>
          <a:bodyPr wrap="none" anchor="ctr"/>
          <a:lstStyle>
            <a:lvl1pPr eaLnBrk="0" hangingPunct="0">
              <a:defRPr b="1">
                <a:solidFill>
                  <a:schemeClr val="tx1"/>
                </a:solidFill>
                <a:latin typeface="Verdana" pitchFamily="34" charset="0"/>
              </a:defRPr>
            </a:lvl1pPr>
            <a:lvl2pPr marL="742950" indent="-285750" eaLnBrk="0" hangingPunct="0">
              <a:defRPr b="1">
                <a:solidFill>
                  <a:schemeClr val="tx1"/>
                </a:solidFill>
                <a:latin typeface="Verdana" pitchFamily="34" charset="0"/>
              </a:defRPr>
            </a:lvl2pPr>
            <a:lvl3pPr marL="1143000" indent="-228600" eaLnBrk="0" hangingPunct="0">
              <a:defRPr b="1">
                <a:solidFill>
                  <a:schemeClr val="tx1"/>
                </a:solidFill>
                <a:latin typeface="Verdana" pitchFamily="34" charset="0"/>
              </a:defRPr>
            </a:lvl3pPr>
            <a:lvl4pPr marL="1600200" indent="-228600" eaLnBrk="0" hangingPunct="0">
              <a:defRPr b="1">
                <a:solidFill>
                  <a:schemeClr val="tx1"/>
                </a:solidFill>
                <a:latin typeface="Verdana" pitchFamily="34" charset="0"/>
              </a:defRPr>
            </a:lvl4pPr>
            <a:lvl5pPr marL="2057400" indent="-228600" eaLnBrk="0" hangingPunct="0">
              <a:defRPr b="1">
                <a:solidFill>
                  <a:schemeClr val="tx1"/>
                </a:solidFill>
                <a:latin typeface="Verdana" pitchFamily="34" charset="0"/>
              </a:defRPr>
            </a:lvl5pPr>
            <a:lvl6pPr marL="2514600" indent="-228600" eaLnBrk="0" fontAlgn="base" hangingPunct="0">
              <a:spcBef>
                <a:spcPct val="0"/>
              </a:spcBef>
              <a:spcAft>
                <a:spcPct val="0"/>
              </a:spcAft>
              <a:defRPr b="1">
                <a:solidFill>
                  <a:schemeClr val="tx1"/>
                </a:solidFill>
                <a:latin typeface="Verdana" pitchFamily="34" charset="0"/>
              </a:defRPr>
            </a:lvl6pPr>
            <a:lvl7pPr marL="2971800" indent="-228600" eaLnBrk="0" fontAlgn="base" hangingPunct="0">
              <a:spcBef>
                <a:spcPct val="0"/>
              </a:spcBef>
              <a:spcAft>
                <a:spcPct val="0"/>
              </a:spcAft>
              <a:defRPr b="1">
                <a:solidFill>
                  <a:schemeClr val="tx1"/>
                </a:solidFill>
                <a:latin typeface="Verdana" pitchFamily="34" charset="0"/>
              </a:defRPr>
            </a:lvl7pPr>
            <a:lvl8pPr marL="3429000" indent="-228600" eaLnBrk="0" fontAlgn="base" hangingPunct="0">
              <a:spcBef>
                <a:spcPct val="0"/>
              </a:spcBef>
              <a:spcAft>
                <a:spcPct val="0"/>
              </a:spcAft>
              <a:defRPr b="1">
                <a:solidFill>
                  <a:schemeClr val="tx1"/>
                </a:solidFill>
                <a:latin typeface="Verdana" pitchFamily="34" charset="0"/>
              </a:defRPr>
            </a:lvl8pPr>
            <a:lvl9pPr marL="3886200" indent="-228600" eaLnBrk="0" fontAlgn="base" hangingPunct="0">
              <a:spcBef>
                <a:spcPct val="0"/>
              </a:spcBef>
              <a:spcAft>
                <a:spcPct val="0"/>
              </a:spcAft>
              <a:defRPr b="1">
                <a:solidFill>
                  <a:schemeClr val="tx1"/>
                </a:solidFill>
                <a:latin typeface="Verdana" pitchFamily="34" charset="0"/>
              </a:defRPr>
            </a:lvl9pPr>
          </a:lstStyle>
          <a:p>
            <a:pPr eaLnBrk="1" hangingPunct="1">
              <a:defRPr/>
            </a:pPr>
            <a:endParaRPr lang="de-DE" altLang="de-DE"/>
          </a:p>
        </p:txBody>
      </p:sp>
      <p:pic>
        <p:nvPicPr>
          <p:cNvPr id="9" name="Grafik 13" descr="MIM_logo_10x10_web.gif">
            <a:extLst>
              <a:ext uri="{FF2B5EF4-FFF2-40B4-BE49-F238E27FC236}">
                <a16:creationId xmlns:a16="http://schemas.microsoft.com/office/drawing/2014/main" id="{876B9DAA-186A-470E-99F4-B469431F2671}"/>
              </a:ext>
            </a:extLst>
          </p:cNvPr>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0953750" y="6010275"/>
            <a:ext cx="1106488" cy="830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7043" name="Rectangle 3"/>
          <p:cNvSpPr>
            <a:spLocks noGrp="1" noChangeArrowheads="1"/>
          </p:cNvSpPr>
          <p:nvPr>
            <p:ph type="ctrTitle"/>
          </p:nvPr>
        </p:nvSpPr>
        <p:spPr>
          <a:xfrm>
            <a:off x="478367" y="534967"/>
            <a:ext cx="8978900" cy="577850"/>
          </a:xfrm>
        </p:spPr>
        <p:txBody>
          <a:bodyPr anchor="t"/>
          <a:lstStyle>
            <a:lvl1pPr>
              <a:defRPr sz="2800">
                <a:solidFill>
                  <a:schemeClr val="bg1"/>
                </a:solidFill>
              </a:defRPr>
            </a:lvl1pPr>
          </a:lstStyle>
          <a:p>
            <a:r>
              <a:rPr lang="de-DE" dirty="0"/>
              <a:t>Titelmasterformat durch Klicken bearbeiten</a:t>
            </a:r>
          </a:p>
        </p:txBody>
      </p:sp>
      <p:sp>
        <p:nvSpPr>
          <p:cNvPr id="87044" name="Rectangle 4"/>
          <p:cNvSpPr>
            <a:spLocks noGrp="1" noChangeArrowheads="1"/>
          </p:cNvSpPr>
          <p:nvPr>
            <p:ph type="subTitle" idx="1"/>
          </p:nvPr>
        </p:nvSpPr>
        <p:spPr>
          <a:xfrm>
            <a:off x="478367" y="1292205"/>
            <a:ext cx="8978900" cy="944562"/>
          </a:xfrm>
        </p:spPr>
        <p:txBody>
          <a:bodyPr/>
          <a:lstStyle>
            <a:lvl1pPr marL="0" indent="0">
              <a:spcBef>
                <a:spcPct val="0"/>
              </a:spcBef>
              <a:buFont typeface="Wingdings" pitchFamily="2" charset="2"/>
              <a:buNone/>
              <a:defRPr b="1">
                <a:solidFill>
                  <a:schemeClr val="bg1"/>
                </a:solidFill>
              </a:defRPr>
            </a:lvl1pPr>
          </a:lstStyle>
          <a:p>
            <a:r>
              <a:rPr lang="de-DE" dirty="0"/>
              <a:t>Formatvorlage des Untertitelmasters durch Klicken bearbeiten</a:t>
            </a:r>
          </a:p>
        </p:txBody>
      </p:sp>
    </p:spTree>
    <p:extLst>
      <p:ext uri="{BB962C8B-B14F-4D97-AF65-F5344CB8AC3E}">
        <p14:creationId xmlns:p14="http://schemas.microsoft.com/office/powerpoint/2010/main" val="1193018126"/>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6_Titelfolie">
    <p:spTree>
      <p:nvGrpSpPr>
        <p:cNvPr id="1" name=""/>
        <p:cNvGrpSpPr/>
        <p:nvPr/>
      </p:nvGrpSpPr>
      <p:grpSpPr>
        <a:xfrm>
          <a:off x="0" y="0"/>
          <a:ext cx="0" cy="0"/>
          <a:chOff x="0" y="0"/>
          <a:chExt cx="0" cy="0"/>
        </a:xfrm>
      </p:grpSpPr>
      <p:sp>
        <p:nvSpPr>
          <p:cNvPr id="14" name="Rechteck 13"/>
          <p:cNvSpPr/>
          <p:nvPr/>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rgbClr val="00715E"/>
              </a:solidFill>
            </a:endParaRPr>
          </a:p>
        </p:txBody>
      </p:sp>
      <p:sp>
        <p:nvSpPr>
          <p:cNvPr id="12" name="Titel 11"/>
          <p:cNvSpPr>
            <a:spLocks noGrp="1"/>
          </p:cNvSpPr>
          <p:nvPr>
            <p:ph type="title" hasCustomPrompt="1"/>
          </p:nvPr>
        </p:nvSpPr>
        <p:spPr>
          <a:xfrm>
            <a:off x="672001" y="480000"/>
            <a:ext cx="9120000" cy="480000"/>
          </a:xfrm>
        </p:spPr>
        <p:txBody>
          <a:bodyPr/>
          <a:lstStyle>
            <a:lvl1pPr>
              <a:defRPr sz="3200">
                <a:solidFill>
                  <a:srgbClr val="FDCA00"/>
                </a:solidFill>
              </a:defRPr>
            </a:lvl1pPr>
          </a:lstStyle>
          <a:p>
            <a:r>
              <a:rPr lang="de-DE" dirty="0"/>
              <a:t>TITELMASTERFORMAT DURCH KLICKEN</a:t>
            </a:r>
          </a:p>
        </p:txBody>
      </p:sp>
      <p:pic>
        <p:nvPicPr>
          <p:cNvPr id="15" name="Bild 14"/>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680914" y="5740751"/>
            <a:ext cx="11192933" cy="609600"/>
          </a:xfrm>
          <a:prstGeom prst="rect">
            <a:avLst/>
          </a:prstGeom>
        </p:spPr>
      </p:pic>
      <p:sp>
        <p:nvSpPr>
          <p:cNvPr id="9" name="Titel 2"/>
          <p:cNvSpPr txBox="1">
            <a:spLocks/>
          </p:cNvSpPr>
          <p:nvPr/>
        </p:nvSpPr>
        <p:spPr bwMode="auto">
          <a:xfrm>
            <a:off x="2596318" y="5384375"/>
            <a:ext cx="1812295" cy="1117600"/>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lvl1pPr algn="l" rtl="0" eaLnBrk="1" fontAlgn="base" hangingPunct="1">
              <a:spcBef>
                <a:spcPct val="0"/>
              </a:spcBef>
              <a:spcAft>
                <a:spcPct val="0"/>
              </a:spcAft>
              <a:defRPr sz="2800" b="1" i="0">
                <a:solidFill>
                  <a:srgbClr val="FDCA00"/>
                </a:solidFill>
                <a:latin typeface="+mj-lt"/>
                <a:ea typeface="Verdana" charset="0"/>
                <a:cs typeface="Verdana" charset="0"/>
              </a:defRPr>
            </a:lvl1pPr>
            <a:lvl2pPr algn="l" rtl="0" eaLnBrk="1" fontAlgn="base" hangingPunct="1">
              <a:spcBef>
                <a:spcPct val="0"/>
              </a:spcBef>
              <a:spcAft>
                <a:spcPct val="0"/>
              </a:spcAft>
              <a:defRPr sz="2400" b="1">
                <a:solidFill>
                  <a:schemeClr val="tx1"/>
                </a:solidFill>
                <a:latin typeface="Arial" charset="0"/>
              </a:defRPr>
            </a:lvl2pPr>
            <a:lvl3pPr algn="l" rtl="0" eaLnBrk="1" fontAlgn="base" hangingPunct="1">
              <a:spcBef>
                <a:spcPct val="0"/>
              </a:spcBef>
              <a:spcAft>
                <a:spcPct val="0"/>
              </a:spcAft>
              <a:defRPr sz="2400" b="1">
                <a:solidFill>
                  <a:schemeClr val="tx1"/>
                </a:solidFill>
                <a:latin typeface="Arial" charset="0"/>
              </a:defRPr>
            </a:lvl3pPr>
            <a:lvl4pPr algn="l" rtl="0" eaLnBrk="1" fontAlgn="base" hangingPunct="1">
              <a:spcBef>
                <a:spcPct val="0"/>
              </a:spcBef>
              <a:spcAft>
                <a:spcPct val="0"/>
              </a:spcAft>
              <a:defRPr sz="2400" b="1">
                <a:solidFill>
                  <a:schemeClr val="tx1"/>
                </a:solidFill>
                <a:latin typeface="Arial" charset="0"/>
              </a:defRPr>
            </a:lvl4pPr>
            <a:lvl5pPr algn="l" rtl="0" eaLnBrk="1" fontAlgn="base" hangingPunct="1">
              <a:spcBef>
                <a:spcPct val="0"/>
              </a:spcBef>
              <a:spcAft>
                <a:spcPct val="0"/>
              </a:spcAft>
              <a:defRPr sz="2400" b="1">
                <a:solidFill>
                  <a:schemeClr val="tx1"/>
                </a:solidFill>
                <a:latin typeface="Arial" charset="0"/>
              </a:defRPr>
            </a:lvl5pPr>
            <a:lvl6pPr marL="457200" algn="l" rtl="0" eaLnBrk="1" fontAlgn="base" hangingPunct="1">
              <a:spcBef>
                <a:spcPct val="0"/>
              </a:spcBef>
              <a:spcAft>
                <a:spcPct val="0"/>
              </a:spcAft>
              <a:defRPr sz="2400" b="1">
                <a:solidFill>
                  <a:schemeClr val="tx1"/>
                </a:solidFill>
                <a:latin typeface="Arial" charset="0"/>
              </a:defRPr>
            </a:lvl6pPr>
            <a:lvl7pPr marL="914400" algn="l" rtl="0" eaLnBrk="1" fontAlgn="base" hangingPunct="1">
              <a:spcBef>
                <a:spcPct val="0"/>
              </a:spcBef>
              <a:spcAft>
                <a:spcPct val="0"/>
              </a:spcAft>
              <a:defRPr sz="2400" b="1">
                <a:solidFill>
                  <a:schemeClr val="tx1"/>
                </a:solidFill>
                <a:latin typeface="Arial" charset="0"/>
              </a:defRPr>
            </a:lvl7pPr>
            <a:lvl8pPr marL="1371600" algn="l" rtl="0" eaLnBrk="1" fontAlgn="base" hangingPunct="1">
              <a:spcBef>
                <a:spcPct val="0"/>
              </a:spcBef>
              <a:spcAft>
                <a:spcPct val="0"/>
              </a:spcAft>
              <a:defRPr sz="2400" b="1">
                <a:solidFill>
                  <a:schemeClr val="tx1"/>
                </a:solidFill>
                <a:latin typeface="Arial" charset="0"/>
              </a:defRPr>
            </a:lvl8pPr>
            <a:lvl9pPr marL="1828800" algn="l" rtl="0" eaLnBrk="1" fontAlgn="base" hangingPunct="1">
              <a:spcBef>
                <a:spcPct val="0"/>
              </a:spcBef>
              <a:spcAft>
                <a:spcPct val="0"/>
              </a:spcAft>
              <a:defRPr sz="2400" b="1">
                <a:solidFill>
                  <a:schemeClr val="tx1"/>
                </a:solidFill>
                <a:latin typeface="Arial" charset="0"/>
              </a:defRPr>
            </a:lvl9pPr>
          </a:lstStyle>
          <a:p>
            <a:endParaRPr lang="de-DE" sz="4533" b="0" kern="0" dirty="0">
              <a:solidFill>
                <a:schemeClr val="accent1"/>
              </a:solidFill>
              <a:latin typeface="+mj-lt"/>
            </a:endParaRPr>
          </a:p>
        </p:txBody>
      </p:sp>
      <p:sp>
        <p:nvSpPr>
          <p:cNvPr id="50" name="Textfeld 49"/>
          <p:cNvSpPr txBox="1"/>
          <p:nvPr userDrawn="1"/>
        </p:nvSpPr>
        <p:spPr>
          <a:xfrm>
            <a:off x="5376000" y="2880000"/>
            <a:ext cx="6144000" cy="2575770"/>
          </a:xfrm>
          <a:prstGeom prst="rect">
            <a:avLst/>
          </a:prstGeom>
          <a:noFill/>
        </p:spPr>
        <p:txBody>
          <a:bodyPr wrap="square" rtlCol="0">
            <a:spAutoFit/>
          </a:bodyPr>
          <a:lstStyle/>
          <a:p>
            <a:pPr marL="0" indent="0">
              <a:lnSpc>
                <a:spcPct val="100000"/>
              </a:lnSpc>
              <a:spcBef>
                <a:spcPts val="0"/>
              </a:spcBef>
              <a:spcAft>
                <a:spcPts val="0"/>
              </a:spcAft>
              <a:buNone/>
            </a:pPr>
            <a:r>
              <a:rPr lang="de-DE" sz="1467" dirty="0">
                <a:solidFill>
                  <a:schemeClr val="accent1"/>
                </a:solidFill>
              </a:rPr>
              <a:t>Prof. Tobias </a:t>
            </a:r>
            <a:r>
              <a:rPr lang="de-DE" sz="1467" dirty="0" err="1">
                <a:solidFill>
                  <a:schemeClr val="accent1"/>
                </a:solidFill>
              </a:rPr>
              <a:t>Melz</a:t>
            </a:r>
            <a:endParaRPr lang="de-DE" sz="1467" dirty="0">
              <a:solidFill>
                <a:schemeClr val="accent1"/>
              </a:solidFill>
            </a:endParaRPr>
          </a:p>
          <a:p>
            <a:pPr marL="0" indent="0">
              <a:lnSpc>
                <a:spcPct val="100000"/>
              </a:lnSpc>
              <a:spcBef>
                <a:spcPts val="0"/>
              </a:spcBef>
              <a:spcAft>
                <a:spcPts val="0"/>
              </a:spcAft>
              <a:buNone/>
            </a:pPr>
            <a:endParaRPr lang="de-DE" sz="1467" dirty="0">
              <a:solidFill>
                <a:schemeClr val="accent1"/>
              </a:solidFill>
            </a:endParaRPr>
          </a:p>
          <a:p>
            <a:pPr marL="0" indent="0">
              <a:lnSpc>
                <a:spcPct val="100000"/>
              </a:lnSpc>
              <a:spcBef>
                <a:spcPts val="0"/>
              </a:spcBef>
              <a:spcAft>
                <a:spcPts val="0"/>
              </a:spcAft>
              <a:buNone/>
            </a:pPr>
            <a:r>
              <a:rPr lang="de-DE" sz="1467" dirty="0">
                <a:solidFill>
                  <a:schemeClr val="accent1"/>
                </a:solidFill>
              </a:rPr>
              <a:t>Technische Universität Darmstadt</a:t>
            </a:r>
          </a:p>
          <a:p>
            <a:pPr marL="0" indent="0">
              <a:lnSpc>
                <a:spcPct val="100000"/>
              </a:lnSpc>
              <a:spcBef>
                <a:spcPts val="0"/>
              </a:spcBef>
              <a:spcAft>
                <a:spcPts val="0"/>
              </a:spcAft>
              <a:buNone/>
            </a:pPr>
            <a:r>
              <a:rPr lang="de-DE" sz="1467" dirty="0">
                <a:solidFill>
                  <a:schemeClr val="accent1"/>
                </a:solidFill>
              </a:rPr>
              <a:t>Fachgebiet Systemzuverlässigkeit, </a:t>
            </a:r>
            <a:r>
              <a:rPr lang="de-DE" sz="1467" dirty="0" err="1">
                <a:solidFill>
                  <a:schemeClr val="accent1"/>
                </a:solidFill>
              </a:rPr>
              <a:t>Adaptronik</a:t>
            </a:r>
            <a:r>
              <a:rPr lang="de-DE" sz="1467" dirty="0">
                <a:solidFill>
                  <a:schemeClr val="accent1"/>
                </a:solidFill>
              </a:rPr>
              <a:t> und Maschinenakustik SAM</a:t>
            </a:r>
          </a:p>
          <a:p>
            <a:pPr marL="0" indent="0">
              <a:lnSpc>
                <a:spcPct val="100000"/>
              </a:lnSpc>
              <a:spcBef>
                <a:spcPts val="0"/>
              </a:spcBef>
              <a:spcAft>
                <a:spcPts val="0"/>
              </a:spcAft>
              <a:buNone/>
            </a:pPr>
            <a:r>
              <a:rPr lang="de-DE" sz="1467" dirty="0">
                <a:solidFill>
                  <a:schemeClr val="accent1"/>
                </a:solidFill>
              </a:rPr>
              <a:t>Otto-Berndt-Straße 2, Gebäude L1|01</a:t>
            </a:r>
          </a:p>
          <a:p>
            <a:pPr marL="0" indent="0">
              <a:lnSpc>
                <a:spcPct val="100000"/>
              </a:lnSpc>
              <a:spcBef>
                <a:spcPts val="0"/>
              </a:spcBef>
              <a:spcAft>
                <a:spcPts val="0"/>
              </a:spcAft>
              <a:buNone/>
            </a:pPr>
            <a:r>
              <a:rPr lang="de-DE" sz="1467" dirty="0">
                <a:solidFill>
                  <a:schemeClr val="accent1"/>
                </a:solidFill>
              </a:rPr>
              <a:t>64287 Darmstadt</a:t>
            </a:r>
          </a:p>
          <a:p>
            <a:pPr marL="0" indent="0">
              <a:lnSpc>
                <a:spcPct val="100000"/>
              </a:lnSpc>
              <a:spcBef>
                <a:spcPts val="0"/>
              </a:spcBef>
              <a:spcAft>
                <a:spcPts val="0"/>
              </a:spcAft>
              <a:buNone/>
            </a:pPr>
            <a:r>
              <a:rPr lang="de-DE" sz="1467" dirty="0">
                <a:solidFill>
                  <a:schemeClr val="accent1"/>
                </a:solidFill>
              </a:rPr>
              <a:t>Tel.: 06151 16-23510</a:t>
            </a:r>
          </a:p>
          <a:p>
            <a:pPr marL="0" indent="0">
              <a:lnSpc>
                <a:spcPct val="100000"/>
              </a:lnSpc>
              <a:spcBef>
                <a:spcPts val="0"/>
              </a:spcBef>
              <a:spcAft>
                <a:spcPts val="0"/>
              </a:spcAft>
              <a:buNone/>
            </a:pPr>
            <a:r>
              <a:rPr lang="de-DE" sz="1467" dirty="0">
                <a:solidFill>
                  <a:schemeClr val="accent1"/>
                </a:solidFill>
              </a:rPr>
              <a:t>tobias.melz@lbf.fraunhofer.de</a:t>
            </a:r>
          </a:p>
          <a:p>
            <a:pPr marL="0" indent="0">
              <a:lnSpc>
                <a:spcPct val="100000"/>
              </a:lnSpc>
              <a:spcBef>
                <a:spcPts val="0"/>
              </a:spcBef>
              <a:spcAft>
                <a:spcPts val="0"/>
              </a:spcAft>
              <a:buNone/>
            </a:pPr>
            <a:r>
              <a:rPr lang="de-DE" sz="1467" dirty="0">
                <a:solidFill>
                  <a:schemeClr val="accent1"/>
                </a:solidFill>
              </a:rPr>
              <a:t>www.sam.tu-darmstadt.de </a:t>
            </a:r>
            <a:br>
              <a:rPr lang="de-DE" sz="1467" dirty="0">
                <a:solidFill>
                  <a:schemeClr val="accent1"/>
                </a:solidFill>
              </a:rPr>
            </a:br>
            <a:r>
              <a:rPr lang="de-DE" sz="1467" dirty="0">
                <a:solidFill>
                  <a:schemeClr val="accent1"/>
                </a:solidFill>
              </a:rPr>
              <a:t>www.lbf.fraunhofer.de</a:t>
            </a:r>
          </a:p>
        </p:txBody>
      </p:sp>
      <p:sp>
        <p:nvSpPr>
          <p:cNvPr id="52" name="Rectangle 4"/>
          <p:cNvSpPr>
            <a:spLocks noGrp="1" noChangeArrowheads="1"/>
          </p:cNvSpPr>
          <p:nvPr>
            <p:ph type="subTitle" idx="1"/>
          </p:nvPr>
        </p:nvSpPr>
        <p:spPr>
          <a:xfrm>
            <a:off x="671076" y="1152001"/>
            <a:ext cx="9120000" cy="789519"/>
          </a:xfrm>
        </p:spPr>
        <p:txBody>
          <a:bodyPr lIns="0" tIns="0" rIns="0" bIns="0"/>
          <a:lstStyle>
            <a:lvl1pPr marL="0" indent="0">
              <a:spcBef>
                <a:spcPct val="0"/>
              </a:spcBef>
              <a:buFont typeface="Wingdings" pitchFamily="2" charset="2"/>
              <a:buNone/>
              <a:defRPr sz="2200" b="0" i="0">
                <a:solidFill>
                  <a:srgbClr val="FDCA00"/>
                </a:solidFill>
                <a:latin typeface="+mj-lt"/>
                <a:ea typeface="Verdana" charset="0"/>
                <a:cs typeface="Verdana" charset="0"/>
              </a:defRPr>
            </a:lvl1pPr>
          </a:lstStyle>
          <a:p>
            <a:r>
              <a:rPr lang="de-DE" dirty="0"/>
              <a:t>Master-Untertitelformat bearbeiten</a:t>
            </a:r>
          </a:p>
        </p:txBody>
      </p:sp>
      <p:grpSp>
        <p:nvGrpSpPr>
          <p:cNvPr id="45" name="Gruppierung 9"/>
          <p:cNvGrpSpPr/>
          <p:nvPr userDrawn="1"/>
        </p:nvGrpSpPr>
        <p:grpSpPr>
          <a:xfrm>
            <a:off x="9887088" y="477223"/>
            <a:ext cx="2304912" cy="870205"/>
            <a:chOff x="7415316" y="357917"/>
            <a:chExt cx="1728684" cy="652654"/>
          </a:xfrm>
          <a:solidFill>
            <a:schemeClr val="bg1"/>
          </a:solidFill>
        </p:grpSpPr>
        <p:sp>
          <p:nvSpPr>
            <p:cNvPr id="46" name="Rechteck 45"/>
            <p:cNvSpPr/>
            <p:nvPr/>
          </p:nvSpPr>
          <p:spPr>
            <a:xfrm>
              <a:off x="7415316" y="357917"/>
              <a:ext cx="1728684" cy="65265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47" name="Picture 9" descr="tud_logo"/>
            <p:cNvPicPr>
              <a:picLocks noChangeAspect="1" noChangeArrowheads="1"/>
            </p:cNvPicPr>
            <p:nvPr/>
          </p:nvPicPr>
          <p:blipFill rotWithShape="1">
            <a:blip r:embed="rId3" cstate="print">
              <a:clrChange>
                <a:clrFrom>
                  <a:srgbClr val="FDFDFD"/>
                </a:clrFrom>
                <a:clrTo>
                  <a:srgbClr val="FDFDFD">
                    <a:alpha val="0"/>
                  </a:srgbClr>
                </a:clrTo>
              </a:clrChange>
              <a:extLst>
                <a:ext uri="{28A0092B-C50C-407E-A947-70E740481C1C}">
                  <a14:useLocalDpi xmlns:a14="http://schemas.microsoft.com/office/drawing/2010/main"/>
                </a:ext>
              </a:extLst>
            </a:blip>
            <a:srcRect l="7733" t="6878" r="5453" b="9546"/>
            <a:stretch/>
          </p:blipFill>
          <p:spPr bwMode="auto">
            <a:xfrm>
              <a:off x="7608875" y="407299"/>
              <a:ext cx="1404584" cy="540631"/>
            </a:xfrm>
            <a:prstGeom prst="rect">
              <a:avLst/>
            </a:prstGeom>
            <a:grpFill/>
            <a:ln w="9525">
              <a:noFill/>
              <a:miter lim="800000"/>
              <a:headEnd/>
              <a:tailEnd/>
            </a:ln>
          </p:spPr>
        </p:pic>
      </p:grpSp>
      <p:sp>
        <p:nvSpPr>
          <p:cNvPr id="84" name="Rechteck 83"/>
          <p:cNvSpPr/>
          <p:nvPr userDrawn="1"/>
        </p:nvSpPr>
        <p:spPr>
          <a:xfrm>
            <a:off x="9887088" y="1345096"/>
            <a:ext cx="2304912" cy="429605"/>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51" name="Group 4"/>
          <p:cNvGrpSpPr>
            <a:grpSpLocks noChangeAspect="1"/>
          </p:cNvGrpSpPr>
          <p:nvPr userDrawn="1"/>
        </p:nvGrpSpPr>
        <p:grpSpPr bwMode="auto">
          <a:xfrm>
            <a:off x="11268361" y="1286959"/>
            <a:ext cx="601441" cy="445749"/>
            <a:chOff x="5478" y="637"/>
            <a:chExt cx="282" cy="209"/>
          </a:xfrm>
        </p:grpSpPr>
        <p:sp>
          <p:nvSpPr>
            <p:cNvPr id="53" name="AutoShape 3"/>
            <p:cNvSpPr>
              <a:spLocks noChangeAspect="1" noChangeArrowheads="1" noTextEdit="1"/>
            </p:cNvSpPr>
            <p:nvPr userDrawn="1"/>
          </p:nvSpPr>
          <p:spPr bwMode="auto">
            <a:xfrm>
              <a:off x="5478" y="637"/>
              <a:ext cx="282" cy="2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pic>
          <p:nvPicPr>
            <p:cNvPr id="54" name="Picture 5"/>
            <p:cNvPicPr>
              <a:picLocks noChangeAspect="1" noChangeArrowheads="1"/>
            </p:cNvPicPr>
            <p:nvPr userDrawn="1"/>
          </p:nvPicPr>
          <p:blipFill>
            <a:blip r:embed="rId4" cstate="hqprint">
              <a:extLst>
                <a:ext uri="{28A0092B-C50C-407E-A947-70E740481C1C}">
                  <a14:useLocalDpi xmlns:a14="http://schemas.microsoft.com/office/drawing/2010/main" val="0"/>
                </a:ext>
              </a:extLst>
            </a:blip>
            <a:srcRect/>
            <a:stretch>
              <a:fillRect/>
            </a:stretch>
          </p:blipFill>
          <p:spPr bwMode="auto">
            <a:xfrm>
              <a:off x="5478" y="637"/>
              <a:ext cx="282" cy="2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5" name="Freeform 6"/>
            <p:cNvSpPr>
              <a:spLocks noEditPoints="1"/>
            </p:cNvSpPr>
            <p:nvPr userDrawn="1"/>
          </p:nvSpPr>
          <p:spPr bwMode="auto">
            <a:xfrm>
              <a:off x="5486" y="647"/>
              <a:ext cx="185" cy="183"/>
            </a:xfrm>
            <a:custGeom>
              <a:avLst/>
              <a:gdLst>
                <a:gd name="T0" fmla="*/ 554 w 554"/>
                <a:gd name="T1" fmla="*/ 275 h 550"/>
                <a:gd name="T2" fmla="*/ 549 w 554"/>
                <a:gd name="T3" fmla="*/ 331 h 550"/>
                <a:gd name="T4" fmla="*/ 533 w 554"/>
                <a:gd name="T5" fmla="*/ 382 h 550"/>
                <a:gd name="T6" fmla="*/ 507 w 554"/>
                <a:gd name="T7" fmla="*/ 429 h 550"/>
                <a:gd name="T8" fmla="*/ 473 w 554"/>
                <a:gd name="T9" fmla="*/ 470 h 550"/>
                <a:gd name="T10" fmla="*/ 433 w 554"/>
                <a:gd name="T11" fmla="*/ 503 h 550"/>
                <a:gd name="T12" fmla="*/ 385 w 554"/>
                <a:gd name="T13" fmla="*/ 529 h 550"/>
                <a:gd name="T14" fmla="*/ 334 w 554"/>
                <a:gd name="T15" fmla="*/ 544 h 550"/>
                <a:gd name="T16" fmla="*/ 278 w 554"/>
                <a:gd name="T17" fmla="*/ 550 h 550"/>
                <a:gd name="T18" fmla="*/ 249 w 554"/>
                <a:gd name="T19" fmla="*/ 549 h 550"/>
                <a:gd name="T20" fmla="*/ 195 w 554"/>
                <a:gd name="T21" fmla="*/ 539 h 550"/>
                <a:gd name="T22" fmla="*/ 145 w 554"/>
                <a:gd name="T23" fmla="*/ 517 h 550"/>
                <a:gd name="T24" fmla="*/ 102 w 554"/>
                <a:gd name="T25" fmla="*/ 487 h 550"/>
                <a:gd name="T26" fmla="*/ 63 w 554"/>
                <a:gd name="T27" fmla="*/ 450 h 550"/>
                <a:gd name="T28" fmla="*/ 33 w 554"/>
                <a:gd name="T29" fmla="*/ 406 h 550"/>
                <a:gd name="T30" fmla="*/ 13 w 554"/>
                <a:gd name="T31" fmla="*/ 358 h 550"/>
                <a:gd name="T32" fmla="*/ 2 w 554"/>
                <a:gd name="T33" fmla="*/ 303 h 550"/>
                <a:gd name="T34" fmla="*/ 0 w 554"/>
                <a:gd name="T35" fmla="*/ 275 h 550"/>
                <a:gd name="T36" fmla="*/ 6 w 554"/>
                <a:gd name="T37" fmla="*/ 219 h 550"/>
                <a:gd name="T38" fmla="*/ 22 w 554"/>
                <a:gd name="T39" fmla="*/ 168 h 550"/>
                <a:gd name="T40" fmla="*/ 48 w 554"/>
                <a:gd name="T41" fmla="*/ 121 h 550"/>
                <a:gd name="T42" fmla="*/ 82 w 554"/>
                <a:gd name="T43" fmla="*/ 80 h 550"/>
                <a:gd name="T44" fmla="*/ 122 w 554"/>
                <a:gd name="T45" fmla="*/ 47 h 550"/>
                <a:gd name="T46" fmla="*/ 169 w 554"/>
                <a:gd name="T47" fmla="*/ 21 h 550"/>
                <a:gd name="T48" fmla="*/ 222 w 554"/>
                <a:gd name="T49" fmla="*/ 6 h 550"/>
                <a:gd name="T50" fmla="*/ 278 w 554"/>
                <a:gd name="T51" fmla="*/ 0 h 550"/>
                <a:gd name="T52" fmla="*/ 305 w 554"/>
                <a:gd name="T53" fmla="*/ 1 h 550"/>
                <a:gd name="T54" fmla="*/ 360 w 554"/>
                <a:gd name="T55" fmla="*/ 11 h 550"/>
                <a:gd name="T56" fmla="*/ 410 w 554"/>
                <a:gd name="T57" fmla="*/ 33 h 550"/>
                <a:gd name="T58" fmla="*/ 454 w 554"/>
                <a:gd name="T59" fmla="*/ 63 h 550"/>
                <a:gd name="T60" fmla="*/ 491 w 554"/>
                <a:gd name="T61" fmla="*/ 100 h 550"/>
                <a:gd name="T62" fmla="*/ 521 w 554"/>
                <a:gd name="T63" fmla="*/ 144 h 550"/>
                <a:gd name="T64" fmla="*/ 541 w 554"/>
                <a:gd name="T65" fmla="*/ 192 h 550"/>
                <a:gd name="T66" fmla="*/ 553 w 554"/>
                <a:gd name="T67" fmla="*/ 246 h 550"/>
                <a:gd name="T68" fmla="*/ 554 w 554"/>
                <a:gd name="T69" fmla="*/ 275 h 550"/>
                <a:gd name="T70" fmla="*/ 554 w 554"/>
                <a:gd name="T71" fmla="*/ 275 h 5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54" h="550">
                  <a:moveTo>
                    <a:pt x="554" y="275"/>
                  </a:moveTo>
                  <a:lnTo>
                    <a:pt x="554" y="275"/>
                  </a:lnTo>
                  <a:lnTo>
                    <a:pt x="553" y="303"/>
                  </a:lnTo>
                  <a:lnTo>
                    <a:pt x="549" y="331"/>
                  </a:lnTo>
                  <a:lnTo>
                    <a:pt x="541" y="358"/>
                  </a:lnTo>
                  <a:lnTo>
                    <a:pt x="533" y="382"/>
                  </a:lnTo>
                  <a:lnTo>
                    <a:pt x="521" y="406"/>
                  </a:lnTo>
                  <a:lnTo>
                    <a:pt x="507" y="429"/>
                  </a:lnTo>
                  <a:lnTo>
                    <a:pt x="491" y="450"/>
                  </a:lnTo>
                  <a:lnTo>
                    <a:pt x="473" y="470"/>
                  </a:lnTo>
                  <a:lnTo>
                    <a:pt x="454" y="487"/>
                  </a:lnTo>
                  <a:lnTo>
                    <a:pt x="433" y="503"/>
                  </a:lnTo>
                  <a:lnTo>
                    <a:pt x="410" y="517"/>
                  </a:lnTo>
                  <a:lnTo>
                    <a:pt x="385" y="529"/>
                  </a:lnTo>
                  <a:lnTo>
                    <a:pt x="360" y="539"/>
                  </a:lnTo>
                  <a:lnTo>
                    <a:pt x="334" y="544"/>
                  </a:lnTo>
                  <a:lnTo>
                    <a:pt x="305" y="549"/>
                  </a:lnTo>
                  <a:lnTo>
                    <a:pt x="278" y="550"/>
                  </a:lnTo>
                  <a:lnTo>
                    <a:pt x="278" y="550"/>
                  </a:lnTo>
                  <a:lnTo>
                    <a:pt x="249" y="549"/>
                  </a:lnTo>
                  <a:lnTo>
                    <a:pt x="222" y="544"/>
                  </a:lnTo>
                  <a:lnTo>
                    <a:pt x="195" y="539"/>
                  </a:lnTo>
                  <a:lnTo>
                    <a:pt x="169" y="529"/>
                  </a:lnTo>
                  <a:lnTo>
                    <a:pt x="145" y="517"/>
                  </a:lnTo>
                  <a:lnTo>
                    <a:pt x="122" y="503"/>
                  </a:lnTo>
                  <a:lnTo>
                    <a:pt x="102" y="487"/>
                  </a:lnTo>
                  <a:lnTo>
                    <a:pt x="82" y="470"/>
                  </a:lnTo>
                  <a:lnTo>
                    <a:pt x="63" y="450"/>
                  </a:lnTo>
                  <a:lnTo>
                    <a:pt x="48" y="429"/>
                  </a:lnTo>
                  <a:lnTo>
                    <a:pt x="33" y="406"/>
                  </a:lnTo>
                  <a:lnTo>
                    <a:pt x="22" y="382"/>
                  </a:lnTo>
                  <a:lnTo>
                    <a:pt x="13" y="358"/>
                  </a:lnTo>
                  <a:lnTo>
                    <a:pt x="6" y="331"/>
                  </a:lnTo>
                  <a:lnTo>
                    <a:pt x="2" y="303"/>
                  </a:lnTo>
                  <a:lnTo>
                    <a:pt x="0" y="275"/>
                  </a:lnTo>
                  <a:lnTo>
                    <a:pt x="0" y="275"/>
                  </a:lnTo>
                  <a:lnTo>
                    <a:pt x="2" y="246"/>
                  </a:lnTo>
                  <a:lnTo>
                    <a:pt x="6" y="219"/>
                  </a:lnTo>
                  <a:lnTo>
                    <a:pt x="13" y="192"/>
                  </a:lnTo>
                  <a:lnTo>
                    <a:pt x="22" y="168"/>
                  </a:lnTo>
                  <a:lnTo>
                    <a:pt x="33" y="144"/>
                  </a:lnTo>
                  <a:lnTo>
                    <a:pt x="48" y="121"/>
                  </a:lnTo>
                  <a:lnTo>
                    <a:pt x="63" y="100"/>
                  </a:lnTo>
                  <a:lnTo>
                    <a:pt x="82" y="80"/>
                  </a:lnTo>
                  <a:lnTo>
                    <a:pt x="102" y="63"/>
                  </a:lnTo>
                  <a:lnTo>
                    <a:pt x="122" y="47"/>
                  </a:lnTo>
                  <a:lnTo>
                    <a:pt x="145" y="33"/>
                  </a:lnTo>
                  <a:lnTo>
                    <a:pt x="169" y="21"/>
                  </a:lnTo>
                  <a:lnTo>
                    <a:pt x="195" y="11"/>
                  </a:lnTo>
                  <a:lnTo>
                    <a:pt x="222" y="6"/>
                  </a:lnTo>
                  <a:lnTo>
                    <a:pt x="249" y="1"/>
                  </a:lnTo>
                  <a:lnTo>
                    <a:pt x="278" y="0"/>
                  </a:lnTo>
                  <a:lnTo>
                    <a:pt x="278" y="0"/>
                  </a:lnTo>
                  <a:lnTo>
                    <a:pt x="305" y="1"/>
                  </a:lnTo>
                  <a:lnTo>
                    <a:pt x="334" y="6"/>
                  </a:lnTo>
                  <a:lnTo>
                    <a:pt x="360" y="11"/>
                  </a:lnTo>
                  <a:lnTo>
                    <a:pt x="385" y="21"/>
                  </a:lnTo>
                  <a:lnTo>
                    <a:pt x="410" y="33"/>
                  </a:lnTo>
                  <a:lnTo>
                    <a:pt x="433" y="47"/>
                  </a:lnTo>
                  <a:lnTo>
                    <a:pt x="454" y="63"/>
                  </a:lnTo>
                  <a:lnTo>
                    <a:pt x="473" y="80"/>
                  </a:lnTo>
                  <a:lnTo>
                    <a:pt x="491" y="100"/>
                  </a:lnTo>
                  <a:lnTo>
                    <a:pt x="507" y="121"/>
                  </a:lnTo>
                  <a:lnTo>
                    <a:pt x="521" y="144"/>
                  </a:lnTo>
                  <a:lnTo>
                    <a:pt x="533" y="168"/>
                  </a:lnTo>
                  <a:lnTo>
                    <a:pt x="541" y="192"/>
                  </a:lnTo>
                  <a:lnTo>
                    <a:pt x="549" y="219"/>
                  </a:lnTo>
                  <a:lnTo>
                    <a:pt x="553" y="246"/>
                  </a:lnTo>
                  <a:lnTo>
                    <a:pt x="554" y="275"/>
                  </a:lnTo>
                  <a:lnTo>
                    <a:pt x="554" y="275"/>
                  </a:lnTo>
                  <a:close/>
                  <a:moveTo>
                    <a:pt x="554" y="275"/>
                  </a:moveTo>
                  <a:lnTo>
                    <a:pt x="554" y="275"/>
                  </a:lnTo>
                  <a:close/>
                </a:path>
              </a:pathLst>
            </a:custGeom>
            <a:solidFill>
              <a:srgbClr val="B61F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6" name="Freeform 7"/>
            <p:cNvSpPr>
              <a:spLocks/>
            </p:cNvSpPr>
            <p:nvPr userDrawn="1"/>
          </p:nvSpPr>
          <p:spPr bwMode="auto">
            <a:xfrm>
              <a:off x="5486" y="647"/>
              <a:ext cx="185" cy="183"/>
            </a:xfrm>
            <a:custGeom>
              <a:avLst/>
              <a:gdLst>
                <a:gd name="T0" fmla="*/ 554 w 554"/>
                <a:gd name="T1" fmla="*/ 275 h 550"/>
                <a:gd name="T2" fmla="*/ 549 w 554"/>
                <a:gd name="T3" fmla="*/ 331 h 550"/>
                <a:gd name="T4" fmla="*/ 533 w 554"/>
                <a:gd name="T5" fmla="*/ 382 h 550"/>
                <a:gd name="T6" fmla="*/ 507 w 554"/>
                <a:gd name="T7" fmla="*/ 429 h 550"/>
                <a:gd name="T8" fmla="*/ 473 w 554"/>
                <a:gd name="T9" fmla="*/ 470 h 550"/>
                <a:gd name="T10" fmla="*/ 433 w 554"/>
                <a:gd name="T11" fmla="*/ 503 h 550"/>
                <a:gd name="T12" fmla="*/ 385 w 554"/>
                <a:gd name="T13" fmla="*/ 529 h 550"/>
                <a:gd name="T14" fmla="*/ 334 w 554"/>
                <a:gd name="T15" fmla="*/ 544 h 550"/>
                <a:gd name="T16" fmla="*/ 278 w 554"/>
                <a:gd name="T17" fmla="*/ 550 h 550"/>
                <a:gd name="T18" fmla="*/ 249 w 554"/>
                <a:gd name="T19" fmla="*/ 549 h 550"/>
                <a:gd name="T20" fmla="*/ 195 w 554"/>
                <a:gd name="T21" fmla="*/ 539 h 550"/>
                <a:gd name="T22" fmla="*/ 145 w 554"/>
                <a:gd name="T23" fmla="*/ 517 h 550"/>
                <a:gd name="T24" fmla="*/ 102 w 554"/>
                <a:gd name="T25" fmla="*/ 487 h 550"/>
                <a:gd name="T26" fmla="*/ 63 w 554"/>
                <a:gd name="T27" fmla="*/ 450 h 550"/>
                <a:gd name="T28" fmla="*/ 33 w 554"/>
                <a:gd name="T29" fmla="*/ 406 h 550"/>
                <a:gd name="T30" fmla="*/ 13 w 554"/>
                <a:gd name="T31" fmla="*/ 358 h 550"/>
                <a:gd name="T32" fmla="*/ 2 w 554"/>
                <a:gd name="T33" fmla="*/ 303 h 550"/>
                <a:gd name="T34" fmla="*/ 0 w 554"/>
                <a:gd name="T35" fmla="*/ 275 h 550"/>
                <a:gd name="T36" fmla="*/ 6 w 554"/>
                <a:gd name="T37" fmla="*/ 219 h 550"/>
                <a:gd name="T38" fmla="*/ 22 w 554"/>
                <a:gd name="T39" fmla="*/ 168 h 550"/>
                <a:gd name="T40" fmla="*/ 48 w 554"/>
                <a:gd name="T41" fmla="*/ 121 h 550"/>
                <a:gd name="T42" fmla="*/ 82 w 554"/>
                <a:gd name="T43" fmla="*/ 80 h 550"/>
                <a:gd name="T44" fmla="*/ 122 w 554"/>
                <a:gd name="T45" fmla="*/ 47 h 550"/>
                <a:gd name="T46" fmla="*/ 169 w 554"/>
                <a:gd name="T47" fmla="*/ 21 h 550"/>
                <a:gd name="T48" fmla="*/ 222 w 554"/>
                <a:gd name="T49" fmla="*/ 6 h 550"/>
                <a:gd name="T50" fmla="*/ 278 w 554"/>
                <a:gd name="T51" fmla="*/ 0 h 550"/>
                <a:gd name="T52" fmla="*/ 305 w 554"/>
                <a:gd name="T53" fmla="*/ 1 h 550"/>
                <a:gd name="T54" fmla="*/ 360 w 554"/>
                <a:gd name="T55" fmla="*/ 11 h 550"/>
                <a:gd name="T56" fmla="*/ 410 w 554"/>
                <a:gd name="T57" fmla="*/ 33 h 550"/>
                <a:gd name="T58" fmla="*/ 454 w 554"/>
                <a:gd name="T59" fmla="*/ 63 h 550"/>
                <a:gd name="T60" fmla="*/ 491 w 554"/>
                <a:gd name="T61" fmla="*/ 100 h 550"/>
                <a:gd name="T62" fmla="*/ 521 w 554"/>
                <a:gd name="T63" fmla="*/ 144 h 550"/>
                <a:gd name="T64" fmla="*/ 541 w 554"/>
                <a:gd name="T65" fmla="*/ 192 h 550"/>
                <a:gd name="T66" fmla="*/ 553 w 554"/>
                <a:gd name="T67" fmla="*/ 246 h 550"/>
                <a:gd name="T68" fmla="*/ 554 w 554"/>
                <a:gd name="T69" fmla="*/ 275 h 5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54" h="550">
                  <a:moveTo>
                    <a:pt x="554" y="275"/>
                  </a:moveTo>
                  <a:lnTo>
                    <a:pt x="554" y="275"/>
                  </a:lnTo>
                  <a:lnTo>
                    <a:pt x="553" y="303"/>
                  </a:lnTo>
                  <a:lnTo>
                    <a:pt x="549" y="331"/>
                  </a:lnTo>
                  <a:lnTo>
                    <a:pt x="541" y="358"/>
                  </a:lnTo>
                  <a:lnTo>
                    <a:pt x="533" y="382"/>
                  </a:lnTo>
                  <a:lnTo>
                    <a:pt x="521" y="406"/>
                  </a:lnTo>
                  <a:lnTo>
                    <a:pt x="507" y="429"/>
                  </a:lnTo>
                  <a:lnTo>
                    <a:pt x="491" y="450"/>
                  </a:lnTo>
                  <a:lnTo>
                    <a:pt x="473" y="470"/>
                  </a:lnTo>
                  <a:lnTo>
                    <a:pt x="454" y="487"/>
                  </a:lnTo>
                  <a:lnTo>
                    <a:pt x="433" y="503"/>
                  </a:lnTo>
                  <a:lnTo>
                    <a:pt x="410" y="517"/>
                  </a:lnTo>
                  <a:lnTo>
                    <a:pt x="385" y="529"/>
                  </a:lnTo>
                  <a:lnTo>
                    <a:pt x="360" y="539"/>
                  </a:lnTo>
                  <a:lnTo>
                    <a:pt x="334" y="544"/>
                  </a:lnTo>
                  <a:lnTo>
                    <a:pt x="305" y="549"/>
                  </a:lnTo>
                  <a:lnTo>
                    <a:pt x="278" y="550"/>
                  </a:lnTo>
                  <a:lnTo>
                    <a:pt x="278" y="550"/>
                  </a:lnTo>
                  <a:lnTo>
                    <a:pt x="249" y="549"/>
                  </a:lnTo>
                  <a:lnTo>
                    <a:pt x="222" y="544"/>
                  </a:lnTo>
                  <a:lnTo>
                    <a:pt x="195" y="539"/>
                  </a:lnTo>
                  <a:lnTo>
                    <a:pt x="169" y="529"/>
                  </a:lnTo>
                  <a:lnTo>
                    <a:pt x="145" y="517"/>
                  </a:lnTo>
                  <a:lnTo>
                    <a:pt x="122" y="503"/>
                  </a:lnTo>
                  <a:lnTo>
                    <a:pt x="102" y="487"/>
                  </a:lnTo>
                  <a:lnTo>
                    <a:pt x="82" y="470"/>
                  </a:lnTo>
                  <a:lnTo>
                    <a:pt x="63" y="450"/>
                  </a:lnTo>
                  <a:lnTo>
                    <a:pt x="48" y="429"/>
                  </a:lnTo>
                  <a:lnTo>
                    <a:pt x="33" y="406"/>
                  </a:lnTo>
                  <a:lnTo>
                    <a:pt x="22" y="382"/>
                  </a:lnTo>
                  <a:lnTo>
                    <a:pt x="13" y="358"/>
                  </a:lnTo>
                  <a:lnTo>
                    <a:pt x="6" y="331"/>
                  </a:lnTo>
                  <a:lnTo>
                    <a:pt x="2" y="303"/>
                  </a:lnTo>
                  <a:lnTo>
                    <a:pt x="0" y="275"/>
                  </a:lnTo>
                  <a:lnTo>
                    <a:pt x="0" y="275"/>
                  </a:lnTo>
                  <a:lnTo>
                    <a:pt x="2" y="246"/>
                  </a:lnTo>
                  <a:lnTo>
                    <a:pt x="6" y="219"/>
                  </a:lnTo>
                  <a:lnTo>
                    <a:pt x="13" y="192"/>
                  </a:lnTo>
                  <a:lnTo>
                    <a:pt x="22" y="168"/>
                  </a:lnTo>
                  <a:lnTo>
                    <a:pt x="33" y="144"/>
                  </a:lnTo>
                  <a:lnTo>
                    <a:pt x="48" y="121"/>
                  </a:lnTo>
                  <a:lnTo>
                    <a:pt x="63" y="100"/>
                  </a:lnTo>
                  <a:lnTo>
                    <a:pt x="82" y="80"/>
                  </a:lnTo>
                  <a:lnTo>
                    <a:pt x="102" y="63"/>
                  </a:lnTo>
                  <a:lnTo>
                    <a:pt x="122" y="47"/>
                  </a:lnTo>
                  <a:lnTo>
                    <a:pt x="145" y="33"/>
                  </a:lnTo>
                  <a:lnTo>
                    <a:pt x="169" y="21"/>
                  </a:lnTo>
                  <a:lnTo>
                    <a:pt x="195" y="11"/>
                  </a:lnTo>
                  <a:lnTo>
                    <a:pt x="222" y="6"/>
                  </a:lnTo>
                  <a:lnTo>
                    <a:pt x="249" y="1"/>
                  </a:lnTo>
                  <a:lnTo>
                    <a:pt x="278" y="0"/>
                  </a:lnTo>
                  <a:lnTo>
                    <a:pt x="278" y="0"/>
                  </a:lnTo>
                  <a:lnTo>
                    <a:pt x="305" y="1"/>
                  </a:lnTo>
                  <a:lnTo>
                    <a:pt x="334" y="6"/>
                  </a:lnTo>
                  <a:lnTo>
                    <a:pt x="360" y="11"/>
                  </a:lnTo>
                  <a:lnTo>
                    <a:pt x="385" y="21"/>
                  </a:lnTo>
                  <a:lnTo>
                    <a:pt x="410" y="33"/>
                  </a:lnTo>
                  <a:lnTo>
                    <a:pt x="433" y="47"/>
                  </a:lnTo>
                  <a:lnTo>
                    <a:pt x="454" y="63"/>
                  </a:lnTo>
                  <a:lnTo>
                    <a:pt x="473" y="80"/>
                  </a:lnTo>
                  <a:lnTo>
                    <a:pt x="491" y="100"/>
                  </a:lnTo>
                  <a:lnTo>
                    <a:pt x="507" y="121"/>
                  </a:lnTo>
                  <a:lnTo>
                    <a:pt x="521" y="144"/>
                  </a:lnTo>
                  <a:lnTo>
                    <a:pt x="533" y="168"/>
                  </a:lnTo>
                  <a:lnTo>
                    <a:pt x="541" y="192"/>
                  </a:lnTo>
                  <a:lnTo>
                    <a:pt x="549" y="219"/>
                  </a:lnTo>
                  <a:lnTo>
                    <a:pt x="553" y="246"/>
                  </a:lnTo>
                  <a:lnTo>
                    <a:pt x="554" y="275"/>
                  </a:lnTo>
                  <a:lnTo>
                    <a:pt x="554" y="27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7" name="Line 8"/>
            <p:cNvSpPr>
              <a:spLocks noChangeShapeType="1"/>
            </p:cNvSpPr>
            <p:nvPr userDrawn="1"/>
          </p:nvSpPr>
          <p:spPr bwMode="auto">
            <a:xfrm>
              <a:off x="5671" y="739"/>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8" name="Freeform 9"/>
            <p:cNvSpPr>
              <a:spLocks/>
            </p:cNvSpPr>
            <p:nvPr userDrawn="1"/>
          </p:nvSpPr>
          <p:spPr bwMode="auto">
            <a:xfrm>
              <a:off x="5486" y="647"/>
              <a:ext cx="185" cy="183"/>
            </a:xfrm>
            <a:custGeom>
              <a:avLst/>
              <a:gdLst>
                <a:gd name="T0" fmla="*/ 554 w 554"/>
                <a:gd name="T1" fmla="*/ 275 h 550"/>
                <a:gd name="T2" fmla="*/ 549 w 554"/>
                <a:gd name="T3" fmla="*/ 331 h 550"/>
                <a:gd name="T4" fmla="*/ 533 w 554"/>
                <a:gd name="T5" fmla="*/ 382 h 550"/>
                <a:gd name="T6" fmla="*/ 507 w 554"/>
                <a:gd name="T7" fmla="*/ 429 h 550"/>
                <a:gd name="T8" fmla="*/ 473 w 554"/>
                <a:gd name="T9" fmla="*/ 470 h 550"/>
                <a:gd name="T10" fmla="*/ 433 w 554"/>
                <a:gd name="T11" fmla="*/ 503 h 550"/>
                <a:gd name="T12" fmla="*/ 385 w 554"/>
                <a:gd name="T13" fmla="*/ 529 h 550"/>
                <a:gd name="T14" fmla="*/ 334 w 554"/>
                <a:gd name="T15" fmla="*/ 544 h 550"/>
                <a:gd name="T16" fmla="*/ 278 w 554"/>
                <a:gd name="T17" fmla="*/ 550 h 550"/>
                <a:gd name="T18" fmla="*/ 249 w 554"/>
                <a:gd name="T19" fmla="*/ 549 h 550"/>
                <a:gd name="T20" fmla="*/ 195 w 554"/>
                <a:gd name="T21" fmla="*/ 539 h 550"/>
                <a:gd name="T22" fmla="*/ 145 w 554"/>
                <a:gd name="T23" fmla="*/ 517 h 550"/>
                <a:gd name="T24" fmla="*/ 102 w 554"/>
                <a:gd name="T25" fmla="*/ 487 h 550"/>
                <a:gd name="T26" fmla="*/ 63 w 554"/>
                <a:gd name="T27" fmla="*/ 450 h 550"/>
                <a:gd name="T28" fmla="*/ 33 w 554"/>
                <a:gd name="T29" fmla="*/ 406 h 550"/>
                <a:gd name="T30" fmla="*/ 13 w 554"/>
                <a:gd name="T31" fmla="*/ 358 h 550"/>
                <a:gd name="T32" fmla="*/ 2 w 554"/>
                <a:gd name="T33" fmla="*/ 303 h 550"/>
                <a:gd name="T34" fmla="*/ 0 w 554"/>
                <a:gd name="T35" fmla="*/ 275 h 550"/>
                <a:gd name="T36" fmla="*/ 6 w 554"/>
                <a:gd name="T37" fmla="*/ 219 h 550"/>
                <a:gd name="T38" fmla="*/ 22 w 554"/>
                <a:gd name="T39" fmla="*/ 168 h 550"/>
                <a:gd name="T40" fmla="*/ 48 w 554"/>
                <a:gd name="T41" fmla="*/ 121 h 550"/>
                <a:gd name="T42" fmla="*/ 82 w 554"/>
                <a:gd name="T43" fmla="*/ 80 h 550"/>
                <a:gd name="T44" fmla="*/ 122 w 554"/>
                <a:gd name="T45" fmla="*/ 47 h 550"/>
                <a:gd name="T46" fmla="*/ 169 w 554"/>
                <a:gd name="T47" fmla="*/ 21 h 550"/>
                <a:gd name="T48" fmla="*/ 222 w 554"/>
                <a:gd name="T49" fmla="*/ 6 h 550"/>
                <a:gd name="T50" fmla="*/ 278 w 554"/>
                <a:gd name="T51" fmla="*/ 0 h 550"/>
                <a:gd name="T52" fmla="*/ 305 w 554"/>
                <a:gd name="T53" fmla="*/ 1 h 550"/>
                <a:gd name="T54" fmla="*/ 360 w 554"/>
                <a:gd name="T55" fmla="*/ 11 h 550"/>
                <a:gd name="T56" fmla="*/ 410 w 554"/>
                <a:gd name="T57" fmla="*/ 33 h 550"/>
                <a:gd name="T58" fmla="*/ 454 w 554"/>
                <a:gd name="T59" fmla="*/ 63 h 550"/>
                <a:gd name="T60" fmla="*/ 491 w 554"/>
                <a:gd name="T61" fmla="*/ 100 h 550"/>
                <a:gd name="T62" fmla="*/ 521 w 554"/>
                <a:gd name="T63" fmla="*/ 144 h 550"/>
                <a:gd name="T64" fmla="*/ 541 w 554"/>
                <a:gd name="T65" fmla="*/ 192 h 550"/>
                <a:gd name="T66" fmla="*/ 553 w 554"/>
                <a:gd name="T67" fmla="*/ 246 h 550"/>
                <a:gd name="T68" fmla="*/ 554 w 554"/>
                <a:gd name="T69" fmla="*/ 275 h 5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54" h="550">
                  <a:moveTo>
                    <a:pt x="554" y="275"/>
                  </a:moveTo>
                  <a:lnTo>
                    <a:pt x="554" y="275"/>
                  </a:lnTo>
                  <a:lnTo>
                    <a:pt x="553" y="303"/>
                  </a:lnTo>
                  <a:lnTo>
                    <a:pt x="549" y="331"/>
                  </a:lnTo>
                  <a:lnTo>
                    <a:pt x="541" y="358"/>
                  </a:lnTo>
                  <a:lnTo>
                    <a:pt x="533" y="382"/>
                  </a:lnTo>
                  <a:lnTo>
                    <a:pt x="521" y="406"/>
                  </a:lnTo>
                  <a:lnTo>
                    <a:pt x="507" y="429"/>
                  </a:lnTo>
                  <a:lnTo>
                    <a:pt x="491" y="450"/>
                  </a:lnTo>
                  <a:lnTo>
                    <a:pt x="473" y="470"/>
                  </a:lnTo>
                  <a:lnTo>
                    <a:pt x="454" y="487"/>
                  </a:lnTo>
                  <a:lnTo>
                    <a:pt x="433" y="503"/>
                  </a:lnTo>
                  <a:lnTo>
                    <a:pt x="410" y="517"/>
                  </a:lnTo>
                  <a:lnTo>
                    <a:pt x="385" y="529"/>
                  </a:lnTo>
                  <a:lnTo>
                    <a:pt x="360" y="539"/>
                  </a:lnTo>
                  <a:lnTo>
                    <a:pt x="334" y="544"/>
                  </a:lnTo>
                  <a:lnTo>
                    <a:pt x="305" y="549"/>
                  </a:lnTo>
                  <a:lnTo>
                    <a:pt x="278" y="550"/>
                  </a:lnTo>
                  <a:lnTo>
                    <a:pt x="278" y="550"/>
                  </a:lnTo>
                  <a:lnTo>
                    <a:pt x="249" y="549"/>
                  </a:lnTo>
                  <a:lnTo>
                    <a:pt x="222" y="544"/>
                  </a:lnTo>
                  <a:lnTo>
                    <a:pt x="195" y="539"/>
                  </a:lnTo>
                  <a:lnTo>
                    <a:pt x="169" y="529"/>
                  </a:lnTo>
                  <a:lnTo>
                    <a:pt x="145" y="517"/>
                  </a:lnTo>
                  <a:lnTo>
                    <a:pt x="122" y="503"/>
                  </a:lnTo>
                  <a:lnTo>
                    <a:pt x="102" y="487"/>
                  </a:lnTo>
                  <a:lnTo>
                    <a:pt x="82" y="470"/>
                  </a:lnTo>
                  <a:lnTo>
                    <a:pt x="63" y="450"/>
                  </a:lnTo>
                  <a:lnTo>
                    <a:pt x="48" y="429"/>
                  </a:lnTo>
                  <a:lnTo>
                    <a:pt x="33" y="406"/>
                  </a:lnTo>
                  <a:lnTo>
                    <a:pt x="22" y="382"/>
                  </a:lnTo>
                  <a:lnTo>
                    <a:pt x="13" y="358"/>
                  </a:lnTo>
                  <a:lnTo>
                    <a:pt x="6" y="331"/>
                  </a:lnTo>
                  <a:lnTo>
                    <a:pt x="2" y="303"/>
                  </a:lnTo>
                  <a:lnTo>
                    <a:pt x="0" y="275"/>
                  </a:lnTo>
                  <a:lnTo>
                    <a:pt x="0" y="275"/>
                  </a:lnTo>
                  <a:lnTo>
                    <a:pt x="2" y="246"/>
                  </a:lnTo>
                  <a:lnTo>
                    <a:pt x="6" y="219"/>
                  </a:lnTo>
                  <a:lnTo>
                    <a:pt x="13" y="192"/>
                  </a:lnTo>
                  <a:lnTo>
                    <a:pt x="22" y="168"/>
                  </a:lnTo>
                  <a:lnTo>
                    <a:pt x="33" y="144"/>
                  </a:lnTo>
                  <a:lnTo>
                    <a:pt x="48" y="121"/>
                  </a:lnTo>
                  <a:lnTo>
                    <a:pt x="63" y="100"/>
                  </a:lnTo>
                  <a:lnTo>
                    <a:pt x="82" y="80"/>
                  </a:lnTo>
                  <a:lnTo>
                    <a:pt x="102" y="63"/>
                  </a:lnTo>
                  <a:lnTo>
                    <a:pt x="122" y="47"/>
                  </a:lnTo>
                  <a:lnTo>
                    <a:pt x="145" y="33"/>
                  </a:lnTo>
                  <a:lnTo>
                    <a:pt x="169" y="21"/>
                  </a:lnTo>
                  <a:lnTo>
                    <a:pt x="195" y="11"/>
                  </a:lnTo>
                  <a:lnTo>
                    <a:pt x="222" y="6"/>
                  </a:lnTo>
                  <a:lnTo>
                    <a:pt x="249" y="1"/>
                  </a:lnTo>
                  <a:lnTo>
                    <a:pt x="278" y="0"/>
                  </a:lnTo>
                  <a:lnTo>
                    <a:pt x="278" y="0"/>
                  </a:lnTo>
                  <a:lnTo>
                    <a:pt x="305" y="1"/>
                  </a:lnTo>
                  <a:lnTo>
                    <a:pt x="334" y="6"/>
                  </a:lnTo>
                  <a:lnTo>
                    <a:pt x="360" y="11"/>
                  </a:lnTo>
                  <a:lnTo>
                    <a:pt x="385" y="21"/>
                  </a:lnTo>
                  <a:lnTo>
                    <a:pt x="410" y="33"/>
                  </a:lnTo>
                  <a:lnTo>
                    <a:pt x="433" y="47"/>
                  </a:lnTo>
                  <a:lnTo>
                    <a:pt x="454" y="63"/>
                  </a:lnTo>
                  <a:lnTo>
                    <a:pt x="473" y="80"/>
                  </a:lnTo>
                  <a:lnTo>
                    <a:pt x="491" y="100"/>
                  </a:lnTo>
                  <a:lnTo>
                    <a:pt x="507" y="121"/>
                  </a:lnTo>
                  <a:lnTo>
                    <a:pt x="521" y="144"/>
                  </a:lnTo>
                  <a:lnTo>
                    <a:pt x="533" y="168"/>
                  </a:lnTo>
                  <a:lnTo>
                    <a:pt x="541" y="192"/>
                  </a:lnTo>
                  <a:lnTo>
                    <a:pt x="549" y="219"/>
                  </a:lnTo>
                  <a:lnTo>
                    <a:pt x="553" y="246"/>
                  </a:lnTo>
                  <a:lnTo>
                    <a:pt x="554" y="275"/>
                  </a:lnTo>
                  <a:lnTo>
                    <a:pt x="554" y="275"/>
                  </a:lnTo>
                </a:path>
              </a:pathLst>
            </a:custGeom>
            <a:noFill/>
            <a:ln w="1588">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59" name="Line 10"/>
            <p:cNvSpPr>
              <a:spLocks noChangeShapeType="1"/>
            </p:cNvSpPr>
            <p:nvPr userDrawn="1"/>
          </p:nvSpPr>
          <p:spPr bwMode="auto">
            <a:xfrm>
              <a:off x="5671" y="739"/>
              <a:ext cx="0" cy="0"/>
            </a:xfrm>
            <a:prstGeom prst="line">
              <a:avLst/>
            </a:prstGeom>
            <a:noFill/>
            <a:ln w="1588">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60" name="Freeform 11"/>
            <p:cNvSpPr>
              <a:spLocks noEditPoints="1"/>
            </p:cNvSpPr>
            <p:nvPr userDrawn="1"/>
          </p:nvSpPr>
          <p:spPr bwMode="auto">
            <a:xfrm>
              <a:off x="5497" y="659"/>
              <a:ext cx="170" cy="170"/>
            </a:xfrm>
            <a:custGeom>
              <a:avLst/>
              <a:gdLst>
                <a:gd name="T0" fmla="*/ 510 w 510"/>
                <a:gd name="T1" fmla="*/ 257 h 511"/>
                <a:gd name="T2" fmla="*/ 504 w 510"/>
                <a:gd name="T3" fmla="*/ 309 h 511"/>
                <a:gd name="T4" fmla="*/ 490 w 510"/>
                <a:gd name="T5" fmla="*/ 356 h 511"/>
                <a:gd name="T6" fmla="*/ 465 w 510"/>
                <a:gd name="T7" fmla="*/ 399 h 511"/>
                <a:gd name="T8" fmla="*/ 434 w 510"/>
                <a:gd name="T9" fmla="*/ 437 h 511"/>
                <a:gd name="T10" fmla="*/ 397 w 510"/>
                <a:gd name="T11" fmla="*/ 467 h 511"/>
                <a:gd name="T12" fmla="*/ 354 w 510"/>
                <a:gd name="T13" fmla="*/ 491 h 511"/>
                <a:gd name="T14" fmla="*/ 307 w 510"/>
                <a:gd name="T15" fmla="*/ 505 h 511"/>
                <a:gd name="T16" fmla="*/ 255 w 510"/>
                <a:gd name="T17" fmla="*/ 511 h 511"/>
                <a:gd name="T18" fmla="*/ 229 w 510"/>
                <a:gd name="T19" fmla="*/ 510 h 511"/>
                <a:gd name="T20" fmla="*/ 179 w 510"/>
                <a:gd name="T21" fmla="*/ 500 h 511"/>
                <a:gd name="T22" fmla="*/ 133 w 510"/>
                <a:gd name="T23" fmla="*/ 480 h 511"/>
                <a:gd name="T24" fmla="*/ 93 w 510"/>
                <a:gd name="T25" fmla="*/ 453 h 511"/>
                <a:gd name="T26" fmla="*/ 59 w 510"/>
                <a:gd name="T27" fmla="*/ 419 h 511"/>
                <a:gd name="T28" fmla="*/ 30 w 510"/>
                <a:gd name="T29" fmla="*/ 379 h 511"/>
                <a:gd name="T30" fmla="*/ 12 w 510"/>
                <a:gd name="T31" fmla="*/ 333 h 511"/>
                <a:gd name="T32" fmla="*/ 2 w 510"/>
                <a:gd name="T33" fmla="*/ 283 h 511"/>
                <a:gd name="T34" fmla="*/ 0 w 510"/>
                <a:gd name="T35" fmla="*/ 257 h 511"/>
                <a:gd name="T36" fmla="*/ 6 w 510"/>
                <a:gd name="T37" fmla="*/ 206 h 511"/>
                <a:gd name="T38" fmla="*/ 20 w 510"/>
                <a:gd name="T39" fmla="*/ 158 h 511"/>
                <a:gd name="T40" fmla="*/ 43 w 510"/>
                <a:gd name="T41" fmla="*/ 115 h 511"/>
                <a:gd name="T42" fmla="*/ 75 w 510"/>
                <a:gd name="T43" fmla="*/ 77 h 511"/>
                <a:gd name="T44" fmla="*/ 112 w 510"/>
                <a:gd name="T45" fmla="*/ 44 h 511"/>
                <a:gd name="T46" fmla="*/ 156 w 510"/>
                <a:gd name="T47" fmla="*/ 21 h 511"/>
                <a:gd name="T48" fmla="*/ 204 w 510"/>
                <a:gd name="T49" fmla="*/ 5 h 511"/>
                <a:gd name="T50" fmla="*/ 255 w 510"/>
                <a:gd name="T51" fmla="*/ 0 h 511"/>
                <a:gd name="T52" fmla="*/ 284 w 510"/>
                <a:gd name="T53" fmla="*/ 1 h 511"/>
                <a:gd name="T54" fmla="*/ 337 w 510"/>
                <a:gd name="T55" fmla="*/ 11 h 511"/>
                <a:gd name="T56" fmla="*/ 384 w 510"/>
                <a:gd name="T57" fmla="*/ 31 h 511"/>
                <a:gd name="T58" fmla="*/ 424 w 510"/>
                <a:gd name="T59" fmla="*/ 59 h 511"/>
                <a:gd name="T60" fmla="*/ 457 w 510"/>
                <a:gd name="T61" fmla="*/ 95 h 511"/>
                <a:gd name="T62" fmla="*/ 481 w 510"/>
                <a:gd name="T63" fmla="*/ 136 h 511"/>
                <a:gd name="T64" fmla="*/ 500 w 510"/>
                <a:gd name="T65" fmla="*/ 182 h 511"/>
                <a:gd name="T66" fmla="*/ 508 w 510"/>
                <a:gd name="T67" fmla="*/ 232 h 511"/>
                <a:gd name="T68" fmla="*/ 510 w 510"/>
                <a:gd name="T69" fmla="*/ 257 h 511"/>
                <a:gd name="T70" fmla="*/ 510 w 510"/>
                <a:gd name="T71" fmla="*/ 257 h 5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0" h="511">
                  <a:moveTo>
                    <a:pt x="510" y="257"/>
                  </a:moveTo>
                  <a:lnTo>
                    <a:pt x="510" y="257"/>
                  </a:lnTo>
                  <a:lnTo>
                    <a:pt x="508" y="283"/>
                  </a:lnTo>
                  <a:lnTo>
                    <a:pt x="504" y="309"/>
                  </a:lnTo>
                  <a:lnTo>
                    <a:pt x="498" y="333"/>
                  </a:lnTo>
                  <a:lnTo>
                    <a:pt x="490" y="356"/>
                  </a:lnTo>
                  <a:lnTo>
                    <a:pt x="478" y="379"/>
                  </a:lnTo>
                  <a:lnTo>
                    <a:pt x="465" y="399"/>
                  </a:lnTo>
                  <a:lnTo>
                    <a:pt x="451" y="419"/>
                  </a:lnTo>
                  <a:lnTo>
                    <a:pt x="434" y="437"/>
                  </a:lnTo>
                  <a:lnTo>
                    <a:pt x="417" y="453"/>
                  </a:lnTo>
                  <a:lnTo>
                    <a:pt x="397" y="467"/>
                  </a:lnTo>
                  <a:lnTo>
                    <a:pt x="377" y="480"/>
                  </a:lnTo>
                  <a:lnTo>
                    <a:pt x="354" y="491"/>
                  </a:lnTo>
                  <a:lnTo>
                    <a:pt x="331" y="500"/>
                  </a:lnTo>
                  <a:lnTo>
                    <a:pt x="307" y="505"/>
                  </a:lnTo>
                  <a:lnTo>
                    <a:pt x="281" y="510"/>
                  </a:lnTo>
                  <a:lnTo>
                    <a:pt x="255" y="511"/>
                  </a:lnTo>
                  <a:lnTo>
                    <a:pt x="255" y="511"/>
                  </a:lnTo>
                  <a:lnTo>
                    <a:pt x="229" y="510"/>
                  </a:lnTo>
                  <a:lnTo>
                    <a:pt x="204" y="505"/>
                  </a:lnTo>
                  <a:lnTo>
                    <a:pt x="179" y="500"/>
                  </a:lnTo>
                  <a:lnTo>
                    <a:pt x="156" y="491"/>
                  </a:lnTo>
                  <a:lnTo>
                    <a:pt x="133" y="480"/>
                  </a:lnTo>
                  <a:lnTo>
                    <a:pt x="112" y="467"/>
                  </a:lnTo>
                  <a:lnTo>
                    <a:pt x="93" y="453"/>
                  </a:lnTo>
                  <a:lnTo>
                    <a:pt x="75" y="437"/>
                  </a:lnTo>
                  <a:lnTo>
                    <a:pt x="59" y="419"/>
                  </a:lnTo>
                  <a:lnTo>
                    <a:pt x="43" y="399"/>
                  </a:lnTo>
                  <a:lnTo>
                    <a:pt x="30" y="379"/>
                  </a:lnTo>
                  <a:lnTo>
                    <a:pt x="20" y="356"/>
                  </a:lnTo>
                  <a:lnTo>
                    <a:pt x="12" y="333"/>
                  </a:lnTo>
                  <a:lnTo>
                    <a:pt x="6" y="309"/>
                  </a:lnTo>
                  <a:lnTo>
                    <a:pt x="2" y="283"/>
                  </a:lnTo>
                  <a:lnTo>
                    <a:pt x="0" y="257"/>
                  </a:lnTo>
                  <a:lnTo>
                    <a:pt x="0" y="257"/>
                  </a:lnTo>
                  <a:lnTo>
                    <a:pt x="2" y="232"/>
                  </a:lnTo>
                  <a:lnTo>
                    <a:pt x="6" y="206"/>
                  </a:lnTo>
                  <a:lnTo>
                    <a:pt x="12" y="182"/>
                  </a:lnTo>
                  <a:lnTo>
                    <a:pt x="20" y="158"/>
                  </a:lnTo>
                  <a:lnTo>
                    <a:pt x="30" y="136"/>
                  </a:lnTo>
                  <a:lnTo>
                    <a:pt x="43" y="115"/>
                  </a:lnTo>
                  <a:lnTo>
                    <a:pt x="59" y="95"/>
                  </a:lnTo>
                  <a:lnTo>
                    <a:pt x="75" y="77"/>
                  </a:lnTo>
                  <a:lnTo>
                    <a:pt x="93" y="59"/>
                  </a:lnTo>
                  <a:lnTo>
                    <a:pt x="112" y="44"/>
                  </a:lnTo>
                  <a:lnTo>
                    <a:pt x="133" y="31"/>
                  </a:lnTo>
                  <a:lnTo>
                    <a:pt x="156" y="21"/>
                  </a:lnTo>
                  <a:lnTo>
                    <a:pt x="179" y="11"/>
                  </a:lnTo>
                  <a:lnTo>
                    <a:pt x="204" y="5"/>
                  </a:lnTo>
                  <a:lnTo>
                    <a:pt x="229" y="1"/>
                  </a:lnTo>
                  <a:lnTo>
                    <a:pt x="255" y="0"/>
                  </a:lnTo>
                  <a:lnTo>
                    <a:pt x="255" y="0"/>
                  </a:lnTo>
                  <a:lnTo>
                    <a:pt x="284" y="1"/>
                  </a:lnTo>
                  <a:lnTo>
                    <a:pt x="311" y="5"/>
                  </a:lnTo>
                  <a:lnTo>
                    <a:pt x="337" y="11"/>
                  </a:lnTo>
                  <a:lnTo>
                    <a:pt x="361" y="21"/>
                  </a:lnTo>
                  <a:lnTo>
                    <a:pt x="384" y="31"/>
                  </a:lnTo>
                  <a:lnTo>
                    <a:pt x="404" y="44"/>
                  </a:lnTo>
                  <a:lnTo>
                    <a:pt x="424" y="59"/>
                  </a:lnTo>
                  <a:lnTo>
                    <a:pt x="441" y="77"/>
                  </a:lnTo>
                  <a:lnTo>
                    <a:pt x="457" y="95"/>
                  </a:lnTo>
                  <a:lnTo>
                    <a:pt x="470" y="115"/>
                  </a:lnTo>
                  <a:lnTo>
                    <a:pt x="481" y="136"/>
                  </a:lnTo>
                  <a:lnTo>
                    <a:pt x="491" y="158"/>
                  </a:lnTo>
                  <a:lnTo>
                    <a:pt x="500" y="182"/>
                  </a:lnTo>
                  <a:lnTo>
                    <a:pt x="504" y="206"/>
                  </a:lnTo>
                  <a:lnTo>
                    <a:pt x="508" y="232"/>
                  </a:lnTo>
                  <a:lnTo>
                    <a:pt x="510" y="257"/>
                  </a:lnTo>
                  <a:lnTo>
                    <a:pt x="510" y="257"/>
                  </a:lnTo>
                  <a:close/>
                  <a:moveTo>
                    <a:pt x="510" y="257"/>
                  </a:moveTo>
                  <a:lnTo>
                    <a:pt x="510" y="257"/>
                  </a:lnTo>
                  <a:close/>
                </a:path>
              </a:pathLst>
            </a:custGeom>
            <a:solidFill>
              <a:srgbClr val="00987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61" name="Freeform 12"/>
            <p:cNvSpPr>
              <a:spLocks/>
            </p:cNvSpPr>
            <p:nvPr userDrawn="1"/>
          </p:nvSpPr>
          <p:spPr bwMode="auto">
            <a:xfrm>
              <a:off x="5497" y="659"/>
              <a:ext cx="170" cy="170"/>
            </a:xfrm>
            <a:custGeom>
              <a:avLst/>
              <a:gdLst>
                <a:gd name="T0" fmla="*/ 510 w 510"/>
                <a:gd name="T1" fmla="*/ 257 h 511"/>
                <a:gd name="T2" fmla="*/ 504 w 510"/>
                <a:gd name="T3" fmla="*/ 309 h 511"/>
                <a:gd name="T4" fmla="*/ 490 w 510"/>
                <a:gd name="T5" fmla="*/ 356 h 511"/>
                <a:gd name="T6" fmla="*/ 465 w 510"/>
                <a:gd name="T7" fmla="*/ 399 h 511"/>
                <a:gd name="T8" fmla="*/ 434 w 510"/>
                <a:gd name="T9" fmla="*/ 437 h 511"/>
                <a:gd name="T10" fmla="*/ 397 w 510"/>
                <a:gd name="T11" fmla="*/ 467 h 511"/>
                <a:gd name="T12" fmla="*/ 354 w 510"/>
                <a:gd name="T13" fmla="*/ 491 h 511"/>
                <a:gd name="T14" fmla="*/ 307 w 510"/>
                <a:gd name="T15" fmla="*/ 505 h 511"/>
                <a:gd name="T16" fmla="*/ 255 w 510"/>
                <a:gd name="T17" fmla="*/ 511 h 511"/>
                <a:gd name="T18" fmla="*/ 229 w 510"/>
                <a:gd name="T19" fmla="*/ 510 h 511"/>
                <a:gd name="T20" fmla="*/ 179 w 510"/>
                <a:gd name="T21" fmla="*/ 500 h 511"/>
                <a:gd name="T22" fmla="*/ 133 w 510"/>
                <a:gd name="T23" fmla="*/ 480 h 511"/>
                <a:gd name="T24" fmla="*/ 93 w 510"/>
                <a:gd name="T25" fmla="*/ 453 h 511"/>
                <a:gd name="T26" fmla="*/ 59 w 510"/>
                <a:gd name="T27" fmla="*/ 419 h 511"/>
                <a:gd name="T28" fmla="*/ 30 w 510"/>
                <a:gd name="T29" fmla="*/ 379 h 511"/>
                <a:gd name="T30" fmla="*/ 12 w 510"/>
                <a:gd name="T31" fmla="*/ 333 h 511"/>
                <a:gd name="T32" fmla="*/ 2 w 510"/>
                <a:gd name="T33" fmla="*/ 283 h 511"/>
                <a:gd name="T34" fmla="*/ 0 w 510"/>
                <a:gd name="T35" fmla="*/ 257 h 511"/>
                <a:gd name="T36" fmla="*/ 6 w 510"/>
                <a:gd name="T37" fmla="*/ 206 h 511"/>
                <a:gd name="T38" fmla="*/ 20 w 510"/>
                <a:gd name="T39" fmla="*/ 158 h 511"/>
                <a:gd name="T40" fmla="*/ 43 w 510"/>
                <a:gd name="T41" fmla="*/ 115 h 511"/>
                <a:gd name="T42" fmla="*/ 75 w 510"/>
                <a:gd name="T43" fmla="*/ 77 h 511"/>
                <a:gd name="T44" fmla="*/ 112 w 510"/>
                <a:gd name="T45" fmla="*/ 44 h 511"/>
                <a:gd name="T46" fmla="*/ 156 w 510"/>
                <a:gd name="T47" fmla="*/ 21 h 511"/>
                <a:gd name="T48" fmla="*/ 204 w 510"/>
                <a:gd name="T49" fmla="*/ 5 h 511"/>
                <a:gd name="T50" fmla="*/ 255 w 510"/>
                <a:gd name="T51" fmla="*/ 0 h 511"/>
                <a:gd name="T52" fmla="*/ 284 w 510"/>
                <a:gd name="T53" fmla="*/ 1 h 511"/>
                <a:gd name="T54" fmla="*/ 337 w 510"/>
                <a:gd name="T55" fmla="*/ 11 h 511"/>
                <a:gd name="T56" fmla="*/ 384 w 510"/>
                <a:gd name="T57" fmla="*/ 31 h 511"/>
                <a:gd name="T58" fmla="*/ 424 w 510"/>
                <a:gd name="T59" fmla="*/ 59 h 511"/>
                <a:gd name="T60" fmla="*/ 457 w 510"/>
                <a:gd name="T61" fmla="*/ 95 h 511"/>
                <a:gd name="T62" fmla="*/ 481 w 510"/>
                <a:gd name="T63" fmla="*/ 136 h 511"/>
                <a:gd name="T64" fmla="*/ 500 w 510"/>
                <a:gd name="T65" fmla="*/ 182 h 511"/>
                <a:gd name="T66" fmla="*/ 508 w 510"/>
                <a:gd name="T67" fmla="*/ 232 h 511"/>
                <a:gd name="T68" fmla="*/ 510 w 510"/>
                <a:gd name="T69" fmla="*/ 257 h 5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0" h="511">
                  <a:moveTo>
                    <a:pt x="510" y="257"/>
                  </a:moveTo>
                  <a:lnTo>
                    <a:pt x="510" y="257"/>
                  </a:lnTo>
                  <a:lnTo>
                    <a:pt x="508" y="283"/>
                  </a:lnTo>
                  <a:lnTo>
                    <a:pt x="504" y="309"/>
                  </a:lnTo>
                  <a:lnTo>
                    <a:pt x="498" y="333"/>
                  </a:lnTo>
                  <a:lnTo>
                    <a:pt x="490" y="356"/>
                  </a:lnTo>
                  <a:lnTo>
                    <a:pt x="478" y="379"/>
                  </a:lnTo>
                  <a:lnTo>
                    <a:pt x="465" y="399"/>
                  </a:lnTo>
                  <a:lnTo>
                    <a:pt x="451" y="419"/>
                  </a:lnTo>
                  <a:lnTo>
                    <a:pt x="434" y="437"/>
                  </a:lnTo>
                  <a:lnTo>
                    <a:pt x="417" y="453"/>
                  </a:lnTo>
                  <a:lnTo>
                    <a:pt x="397" y="467"/>
                  </a:lnTo>
                  <a:lnTo>
                    <a:pt x="377" y="480"/>
                  </a:lnTo>
                  <a:lnTo>
                    <a:pt x="354" y="491"/>
                  </a:lnTo>
                  <a:lnTo>
                    <a:pt x="331" y="500"/>
                  </a:lnTo>
                  <a:lnTo>
                    <a:pt x="307" y="505"/>
                  </a:lnTo>
                  <a:lnTo>
                    <a:pt x="281" y="510"/>
                  </a:lnTo>
                  <a:lnTo>
                    <a:pt x="255" y="511"/>
                  </a:lnTo>
                  <a:lnTo>
                    <a:pt x="255" y="511"/>
                  </a:lnTo>
                  <a:lnTo>
                    <a:pt x="229" y="510"/>
                  </a:lnTo>
                  <a:lnTo>
                    <a:pt x="204" y="505"/>
                  </a:lnTo>
                  <a:lnTo>
                    <a:pt x="179" y="500"/>
                  </a:lnTo>
                  <a:lnTo>
                    <a:pt x="156" y="491"/>
                  </a:lnTo>
                  <a:lnTo>
                    <a:pt x="133" y="480"/>
                  </a:lnTo>
                  <a:lnTo>
                    <a:pt x="112" y="467"/>
                  </a:lnTo>
                  <a:lnTo>
                    <a:pt x="93" y="453"/>
                  </a:lnTo>
                  <a:lnTo>
                    <a:pt x="75" y="437"/>
                  </a:lnTo>
                  <a:lnTo>
                    <a:pt x="59" y="419"/>
                  </a:lnTo>
                  <a:lnTo>
                    <a:pt x="43" y="399"/>
                  </a:lnTo>
                  <a:lnTo>
                    <a:pt x="30" y="379"/>
                  </a:lnTo>
                  <a:lnTo>
                    <a:pt x="20" y="356"/>
                  </a:lnTo>
                  <a:lnTo>
                    <a:pt x="12" y="333"/>
                  </a:lnTo>
                  <a:lnTo>
                    <a:pt x="6" y="309"/>
                  </a:lnTo>
                  <a:lnTo>
                    <a:pt x="2" y="283"/>
                  </a:lnTo>
                  <a:lnTo>
                    <a:pt x="0" y="257"/>
                  </a:lnTo>
                  <a:lnTo>
                    <a:pt x="0" y="257"/>
                  </a:lnTo>
                  <a:lnTo>
                    <a:pt x="2" y="232"/>
                  </a:lnTo>
                  <a:lnTo>
                    <a:pt x="6" y="206"/>
                  </a:lnTo>
                  <a:lnTo>
                    <a:pt x="12" y="182"/>
                  </a:lnTo>
                  <a:lnTo>
                    <a:pt x="20" y="158"/>
                  </a:lnTo>
                  <a:lnTo>
                    <a:pt x="30" y="136"/>
                  </a:lnTo>
                  <a:lnTo>
                    <a:pt x="43" y="115"/>
                  </a:lnTo>
                  <a:lnTo>
                    <a:pt x="59" y="95"/>
                  </a:lnTo>
                  <a:lnTo>
                    <a:pt x="75" y="77"/>
                  </a:lnTo>
                  <a:lnTo>
                    <a:pt x="93" y="59"/>
                  </a:lnTo>
                  <a:lnTo>
                    <a:pt x="112" y="44"/>
                  </a:lnTo>
                  <a:lnTo>
                    <a:pt x="133" y="31"/>
                  </a:lnTo>
                  <a:lnTo>
                    <a:pt x="156" y="21"/>
                  </a:lnTo>
                  <a:lnTo>
                    <a:pt x="179" y="11"/>
                  </a:lnTo>
                  <a:lnTo>
                    <a:pt x="204" y="5"/>
                  </a:lnTo>
                  <a:lnTo>
                    <a:pt x="229" y="1"/>
                  </a:lnTo>
                  <a:lnTo>
                    <a:pt x="255" y="0"/>
                  </a:lnTo>
                  <a:lnTo>
                    <a:pt x="255" y="0"/>
                  </a:lnTo>
                  <a:lnTo>
                    <a:pt x="284" y="1"/>
                  </a:lnTo>
                  <a:lnTo>
                    <a:pt x="311" y="5"/>
                  </a:lnTo>
                  <a:lnTo>
                    <a:pt x="337" y="11"/>
                  </a:lnTo>
                  <a:lnTo>
                    <a:pt x="361" y="21"/>
                  </a:lnTo>
                  <a:lnTo>
                    <a:pt x="384" y="31"/>
                  </a:lnTo>
                  <a:lnTo>
                    <a:pt x="404" y="44"/>
                  </a:lnTo>
                  <a:lnTo>
                    <a:pt x="424" y="59"/>
                  </a:lnTo>
                  <a:lnTo>
                    <a:pt x="441" y="77"/>
                  </a:lnTo>
                  <a:lnTo>
                    <a:pt x="457" y="95"/>
                  </a:lnTo>
                  <a:lnTo>
                    <a:pt x="470" y="115"/>
                  </a:lnTo>
                  <a:lnTo>
                    <a:pt x="481" y="136"/>
                  </a:lnTo>
                  <a:lnTo>
                    <a:pt x="491" y="158"/>
                  </a:lnTo>
                  <a:lnTo>
                    <a:pt x="500" y="182"/>
                  </a:lnTo>
                  <a:lnTo>
                    <a:pt x="504" y="206"/>
                  </a:lnTo>
                  <a:lnTo>
                    <a:pt x="508" y="232"/>
                  </a:lnTo>
                  <a:lnTo>
                    <a:pt x="510" y="257"/>
                  </a:lnTo>
                  <a:lnTo>
                    <a:pt x="510" y="25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62" name="Line 13"/>
            <p:cNvSpPr>
              <a:spLocks noChangeShapeType="1"/>
            </p:cNvSpPr>
            <p:nvPr userDrawn="1"/>
          </p:nvSpPr>
          <p:spPr bwMode="auto">
            <a:xfrm>
              <a:off x="5667" y="745"/>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pic>
          <p:nvPicPr>
            <p:cNvPr id="63" name="Picture 14"/>
            <p:cNvPicPr>
              <a:picLocks noChangeAspect="1" noChangeArrowheads="1"/>
            </p:cNvPicPr>
            <p:nvPr userDrawn="1"/>
          </p:nvPicPr>
          <p:blipFill>
            <a:blip r:embed="rId5" cstate="hqprint">
              <a:extLst>
                <a:ext uri="{28A0092B-C50C-407E-A947-70E740481C1C}">
                  <a14:useLocalDpi xmlns:a14="http://schemas.microsoft.com/office/drawing/2010/main" val="0"/>
                </a:ext>
              </a:extLst>
            </a:blip>
            <a:srcRect/>
            <a:stretch>
              <a:fillRect/>
            </a:stretch>
          </p:blipFill>
          <p:spPr bwMode="auto">
            <a:xfrm>
              <a:off x="5478" y="637"/>
              <a:ext cx="282" cy="2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4" name="Freeform 15"/>
            <p:cNvSpPr>
              <a:spLocks/>
            </p:cNvSpPr>
            <p:nvPr userDrawn="1"/>
          </p:nvSpPr>
          <p:spPr bwMode="auto">
            <a:xfrm>
              <a:off x="5525" y="658"/>
              <a:ext cx="121" cy="25"/>
            </a:xfrm>
            <a:custGeom>
              <a:avLst/>
              <a:gdLst>
                <a:gd name="T0" fmla="*/ 0 w 364"/>
                <a:gd name="T1" fmla="*/ 75 h 75"/>
                <a:gd name="T2" fmla="*/ 0 w 364"/>
                <a:gd name="T3" fmla="*/ 75 h 75"/>
                <a:gd name="T4" fmla="*/ 19 w 364"/>
                <a:gd name="T5" fmla="*/ 58 h 75"/>
                <a:gd name="T6" fmla="*/ 40 w 364"/>
                <a:gd name="T7" fmla="*/ 44 h 75"/>
                <a:gd name="T8" fmla="*/ 62 w 364"/>
                <a:gd name="T9" fmla="*/ 31 h 75"/>
                <a:gd name="T10" fmla="*/ 85 w 364"/>
                <a:gd name="T11" fmla="*/ 20 h 75"/>
                <a:gd name="T12" fmla="*/ 108 w 364"/>
                <a:gd name="T13" fmla="*/ 11 h 75"/>
                <a:gd name="T14" fmla="*/ 132 w 364"/>
                <a:gd name="T15" fmla="*/ 5 h 75"/>
                <a:gd name="T16" fmla="*/ 156 w 364"/>
                <a:gd name="T17" fmla="*/ 1 h 75"/>
                <a:gd name="T18" fmla="*/ 182 w 364"/>
                <a:gd name="T19" fmla="*/ 0 h 75"/>
                <a:gd name="T20" fmla="*/ 206 w 364"/>
                <a:gd name="T21" fmla="*/ 1 h 75"/>
                <a:gd name="T22" fmla="*/ 231 w 364"/>
                <a:gd name="T23" fmla="*/ 4 h 75"/>
                <a:gd name="T24" fmla="*/ 255 w 364"/>
                <a:gd name="T25" fmla="*/ 10 h 75"/>
                <a:gd name="T26" fmla="*/ 278 w 364"/>
                <a:gd name="T27" fmla="*/ 18 h 75"/>
                <a:gd name="T28" fmla="*/ 301 w 364"/>
                <a:gd name="T29" fmla="*/ 28 h 75"/>
                <a:gd name="T30" fmla="*/ 324 w 364"/>
                <a:gd name="T31" fmla="*/ 41 h 75"/>
                <a:gd name="T32" fmla="*/ 344 w 364"/>
                <a:gd name="T33" fmla="*/ 55 h 75"/>
                <a:gd name="T34" fmla="*/ 364 w 364"/>
                <a:gd name="T35" fmla="*/ 72 h 75"/>
                <a:gd name="T36" fmla="*/ 0 w 364"/>
                <a:gd name="T37"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4" h="75">
                  <a:moveTo>
                    <a:pt x="0" y="75"/>
                  </a:moveTo>
                  <a:lnTo>
                    <a:pt x="0" y="75"/>
                  </a:lnTo>
                  <a:lnTo>
                    <a:pt x="19" y="58"/>
                  </a:lnTo>
                  <a:lnTo>
                    <a:pt x="40" y="44"/>
                  </a:lnTo>
                  <a:lnTo>
                    <a:pt x="62" y="31"/>
                  </a:lnTo>
                  <a:lnTo>
                    <a:pt x="85" y="20"/>
                  </a:lnTo>
                  <a:lnTo>
                    <a:pt x="108" y="11"/>
                  </a:lnTo>
                  <a:lnTo>
                    <a:pt x="132" y="5"/>
                  </a:lnTo>
                  <a:lnTo>
                    <a:pt x="156" y="1"/>
                  </a:lnTo>
                  <a:lnTo>
                    <a:pt x="182" y="0"/>
                  </a:lnTo>
                  <a:lnTo>
                    <a:pt x="206" y="1"/>
                  </a:lnTo>
                  <a:lnTo>
                    <a:pt x="231" y="4"/>
                  </a:lnTo>
                  <a:lnTo>
                    <a:pt x="255" y="10"/>
                  </a:lnTo>
                  <a:lnTo>
                    <a:pt x="278" y="18"/>
                  </a:lnTo>
                  <a:lnTo>
                    <a:pt x="301" y="28"/>
                  </a:lnTo>
                  <a:lnTo>
                    <a:pt x="324" y="41"/>
                  </a:lnTo>
                  <a:lnTo>
                    <a:pt x="344" y="55"/>
                  </a:lnTo>
                  <a:lnTo>
                    <a:pt x="364" y="72"/>
                  </a:lnTo>
                  <a:lnTo>
                    <a:pt x="0" y="75"/>
                  </a:lnTo>
                  <a:close/>
                </a:path>
              </a:pathLst>
            </a:custGeom>
            <a:solidFill>
              <a:srgbClr val="00987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65" name="Freeform 16"/>
            <p:cNvSpPr>
              <a:spLocks/>
            </p:cNvSpPr>
            <p:nvPr userDrawn="1"/>
          </p:nvSpPr>
          <p:spPr bwMode="auto">
            <a:xfrm>
              <a:off x="5525" y="658"/>
              <a:ext cx="121" cy="25"/>
            </a:xfrm>
            <a:custGeom>
              <a:avLst/>
              <a:gdLst>
                <a:gd name="T0" fmla="*/ 0 w 364"/>
                <a:gd name="T1" fmla="*/ 75 h 75"/>
                <a:gd name="T2" fmla="*/ 0 w 364"/>
                <a:gd name="T3" fmla="*/ 75 h 75"/>
                <a:gd name="T4" fmla="*/ 19 w 364"/>
                <a:gd name="T5" fmla="*/ 58 h 75"/>
                <a:gd name="T6" fmla="*/ 40 w 364"/>
                <a:gd name="T7" fmla="*/ 44 h 75"/>
                <a:gd name="T8" fmla="*/ 62 w 364"/>
                <a:gd name="T9" fmla="*/ 31 h 75"/>
                <a:gd name="T10" fmla="*/ 85 w 364"/>
                <a:gd name="T11" fmla="*/ 20 h 75"/>
                <a:gd name="T12" fmla="*/ 108 w 364"/>
                <a:gd name="T13" fmla="*/ 11 h 75"/>
                <a:gd name="T14" fmla="*/ 132 w 364"/>
                <a:gd name="T15" fmla="*/ 5 h 75"/>
                <a:gd name="T16" fmla="*/ 156 w 364"/>
                <a:gd name="T17" fmla="*/ 1 h 75"/>
                <a:gd name="T18" fmla="*/ 182 w 364"/>
                <a:gd name="T19" fmla="*/ 0 h 75"/>
                <a:gd name="T20" fmla="*/ 206 w 364"/>
                <a:gd name="T21" fmla="*/ 1 h 75"/>
                <a:gd name="T22" fmla="*/ 231 w 364"/>
                <a:gd name="T23" fmla="*/ 4 h 75"/>
                <a:gd name="T24" fmla="*/ 255 w 364"/>
                <a:gd name="T25" fmla="*/ 10 h 75"/>
                <a:gd name="T26" fmla="*/ 278 w 364"/>
                <a:gd name="T27" fmla="*/ 18 h 75"/>
                <a:gd name="T28" fmla="*/ 301 w 364"/>
                <a:gd name="T29" fmla="*/ 28 h 75"/>
                <a:gd name="T30" fmla="*/ 324 w 364"/>
                <a:gd name="T31" fmla="*/ 41 h 75"/>
                <a:gd name="T32" fmla="*/ 344 w 364"/>
                <a:gd name="T33" fmla="*/ 55 h 75"/>
                <a:gd name="T34" fmla="*/ 364 w 364"/>
                <a:gd name="T35" fmla="*/ 7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64" h="75">
                  <a:moveTo>
                    <a:pt x="0" y="75"/>
                  </a:moveTo>
                  <a:lnTo>
                    <a:pt x="0" y="75"/>
                  </a:lnTo>
                  <a:lnTo>
                    <a:pt x="19" y="58"/>
                  </a:lnTo>
                  <a:lnTo>
                    <a:pt x="40" y="44"/>
                  </a:lnTo>
                  <a:lnTo>
                    <a:pt x="62" y="31"/>
                  </a:lnTo>
                  <a:lnTo>
                    <a:pt x="85" y="20"/>
                  </a:lnTo>
                  <a:lnTo>
                    <a:pt x="108" y="11"/>
                  </a:lnTo>
                  <a:lnTo>
                    <a:pt x="132" y="5"/>
                  </a:lnTo>
                  <a:lnTo>
                    <a:pt x="156" y="1"/>
                  </a:lnTo>
                  <a:lnTo>
                    <a:pt x="182" y="0"/>
                  </a:lnTo>
                  <a:lnTo>
                    <a:pt x="206" y="1"/>
                  </a:lnTo>
                  <a:lnTo>
                    <a:pt x="231" y="4"/>
                  </a:lnTo>
                  <a:lnTo>
                    <a:pt x="255" y="10"/>
                  </a:lnTo>
                  <a:lnTo>
                    <a:pt x="278" y="18"/>
                  </a:lnTo>
                  <a:lnTo>
                    <a:pt x="301" y="28"/>
                  </a:lnTo>
                  <a:lnTo>
                    <a:pt x="324" y="41"/>
                  </a:lnTo>
                  <a:lnTo>
                    <a:pt x="344" y="55"/>
                  </a:lnTo>
                  <a:lnTo>
                    <a:pt x="364" y="7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pic>
          <p:nvPicPr>
            <p:cNvPr id="66" name="Picture 17"/>
            <p:cNvPicPr>
              <a:picLocks noChangeAspect="1" noChangeArrowheads="1"/>
            </p:cNvPicPr>
            <p:nvPr userDrawn="1"/>
          </p:nvPicPr>
          <p:blipFill>
            <a:blip r:embed="rId6" cstate="hqprint">
              <a:extLst>
                <a:ext uri="{28A0092B-C50C-407E-A947-70E740481C1C}">
                  <a14:useLocalDpi xmlns:a14="http://schemas.microsoft.com/office/drawing/2010/main" val="0"/>
                </a:ext>
              </a:extLst>
            </a:blip>
            <a:srcRect/>
            <a:stretch>
              <a:fillRect/>
            </a:stretch>
          </p:blipFill>
          <p:spPr bwMode="auto">
            <a:xfrm>
              <a:off x="5478" y="637"/>
              <a:ext cx="282" cy="2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7" name="Freeform 18"/>
            <p:cNvSpPr>
              <a:spLocks noEditPoints="1"/>
            </p:cNvSpPr>
            <p:nvPr userDrawn="1"/>
          </p:nvSpPr>
          <p:spPr bwMode="auto">
            <a:xfrm>
              <a:off x="5510" y="659"/>
              <a:ext cx="160" cy="156"/>
            </a:xfrm>
            <a:custGeom>
              <a:avLst/>
              <a:gdLst>
                <a:gd name="T0" fmla="*/ 478 w 478"/>
                <a:gd name="T1" fmla="*/ 232 h 466"/>
                <a:gd name="T2" fmla="*/ 474 w 478"/>
                <a:gd name="T3" fmla="*/ 279 h 466"/>
                <a:gd name="T4" fmla="*/ 460 w 478"/>
                <a:gd name="T5" fmla="*/ 323 h 466"/>
                <a:gd name="T6" fmla="*/ 437 w 478"/>
                <a:gd name="T7" fmla="*/ 363 h 466"/>
                <a:gd name="T8" fmla="*/ 408 w 478"/>
                <a:gd name="T9" fmla="*/ 398 h 466"/>
                <a:gd name="T10" fmla="*/ 373 w 478"/>
                <a:gd name="T11" fmla="*/ 426 h 466"/>
                <a:gd name="T12" fmla="*/ 332 w 478"/>
                <a:gd name="T13" fmla="*/ 447 h 466"/>
                <a:gd name="T14" fmla="*/ 288 w 478"/>
                <a:gd name="T15" fmla="*/ 460 h 466"/>
                <a:gd name="T16" fmla="*/ 239 w 478"/>
                <a:gd name="T17" fmla="*/ 466 h 466"/>
                <a:gd name="T18" fmla="*/ 215 w 478"/>
                <a:gd name="T19" fmla="*/ 465 h 466"/>
                <a:gd name="T20" fmla="*/ 168 w 478"/>
                <a:gd name="T21" fmla="*/ 455 h 466"/>
                <a:gd name="T22" fmla="*/ 125 w 478"/>
                <a:gd name="T23" fmla="*/ 437 h 466"/>
                <a:gd name="T24" fmla="*/ 88 w 478"/>
                <a:gd name="T25" fmla="*/ 412 h 466"/>
                <a:gd name="T26" fmla="*/ 55 w 478"/>
                <a:gd name="T27" fmla="*/ 380 h 466"/>
                <a:gd name="T28" fmla="*/ 29 w 478"/>
                <a:gd name="T29" fmla="*/ 343 h 466"/>
                <a:gd name="T30" fmla="*/ 12 w 478"/>
                <a:gd name="T31" fmla="*/ 302 h 466"/>
                <a:gd name="T32" fmla="*/ 2 w 478"/>
                <a:gd name="T33" fmla="*/ 256 h 466"/>
                <a:gd name="T34" fmla="*/ 0 w 478"/>
                <a:gd name="T35" fmla="*/ 232 h 466"/>
                <a:gd name="T36" fmla="*/ 5 w 478"/>
                <a:gd name="T37" fmla="*/ 185 h 466"/>
                <a:gd name="T38" fmla="*/ 19 w 478"/>
                <a:gd name="T39" fmla="*/ 141 h 466"/>
                <a:gd name="T40" fmla="*/ 42 w 478"/>
                <a:gd name="T41" fmla="*/ 103 h 466"/>
                <a:gd name="T42" fmla="*/ 70 w 478"/>
                <a:gd name="T43" fmla="*/ 68 h 466"/>
                <a:gd name="T44" fmla="*/ 106 w 478"/>
                <a:gd name="T45" fmla="*/ 40 h 466"/>
                <a:gd name="T46" fmla="*/ 146 w 478"/>
                <a:gd name="T47" fmla="*/ 17 h 466"/>
                <a:gd name="T48" fmla="*/ 191 w 478"/>
                <a:gd name="T49" fmla="*/ 4 h 466"/>
                <a:gd name="T50" fmla="*/ 239 w 478"/>
                <a:gd name="T51" fmla="*/ 0 h 466"/>
                <a:gd name="T52" fmla="*/ 264 w 478"/>
                <a:gd name="T53" fmla="*/ 0 h 466"/>
                <a:gd name="T54" fmla="*/ 311 w 478"/>
                <a:gd name="T55" fmla="*/ 10 h 466"/>
                <a:gd name="T56" fmla="*/ 354 w 478"/>
                <a:gd name="T57" fmla="*/ 27 h 466"/>
                <a:gd name="T58" fmla="*/ 391 w 478"/>
                <a:gd name="T59" fmla="*/ 53 h 466"/>
                <a:gd name="T60" fmla="*/ 424 w 478"/>
                <a:gd name="T61" fmla="*/ 84 h 466"/>
                <a:gd name="T62" fmla="*/ 450 w 478"/>
                <a:gd name="T63" fmla="*/ 121 h 466"/>
                <a:gd name="T64" fmla="*/ 467 w 478"/>
                <a:gd name="T65" fmla="*/ 164 h 466"/>
                <a:gd name="T66" fmla="*/ 477 w 478"/>
                <a:gd name="T67" fmla="*/ 208 h 466"/>
                <a:gd name="T68" fmla="*/ 478 w 478"/>
                <a:gd name="T69" fmla="*/ 232 h 466"/>
                <a:gd name="T70" fmla="*/ 478 w 478"/>
                <a:gd name="T71" fmla="*/ 232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78" h="466">
                  <a:moveTo>
                    <a:pt x="478" y="232"/>
                  </a:moveTo>
                  <a:lnTo>
                    <a:pt x="478" y="232"/>
                  </a:lnTo>
                  <a:lnTo>
                    <a:pt x="477" y="256"/>
                  </a:lnTo>
                  <a:lnTo>
                    <a:pt x="474" y="279"/>
                  </a:lnTo>
                  <a:lnTo>
                    <a:pt x="467" y="302"/>
                  </a:lnTo>
                  <a:lnTo>
                    <a:pt x="460" y="323"/>
                  </a:lnTo>
                  <a:lnTo>
                    <a:pt x="450" y="343"/>
                  </a:lnTo>
                  <a:lnTo>
                    <a:pt x="437" y="363"/>
                  </a:lnTo>
                  <a:lnTo>
                    <a:pt x="424" y="380"/>
                  </a:lnTo>
                  <a:lnTo>
                    <a:pt x="408" y="398"/>
                  </a:lnTo>
                  <a:lnTo>
                    <a:pt x="391" y="412"/>
                  </a:lnTo>
                  <a:lnTo>
                    <a:pt x="373" y="426"/>
                  </a:lnTo>
                  <a:lnTo>
                    <a:pt x="354" y="437"/>
                  </a:lnTo>
                  <a:lnTo>
                    <a:pt x="332" y="447"/>
                  </a:lnTo>
                  <a:lnTo>
                    <a:pt x="311" y="455"/>
                  </a:lnTo>
                  <a:lnTo>
                    <a:pt x="288" y="460"/>
                  </a:lnTo>
                  <a:lnTo>
                    <a:pt x="264" y="465"/>
                  </a:lnTo>
                  <a:lnTo>
                    <a:pt x="239" y="466"/>
                  </a:lnTo>
                  <a:lnTo>
                    <a:pt x="239" y="466"/>
                  </a:lnTo>
                  <a:lnTo>
                    <a:pt x="215" y="465"/>
                  </a:lnTo>
                  <a:lnTo>
                    <a:pt x="191" y="460"/>
                  </a:lnTo>
                  <a:lnTo>
                    <a:pt x="168" y="455"/>
                  </a:lnTo>
                  <a:lnTo>
                    <a:pt x="146" y="447"/>
                  </a:lnTo>
                  <a:lnTo>
                    <a:pt x="125" y="437"/>
                  </a:lnTo>
                  <a:lnTo>
                    <a:pt x="106" y="426"/>
                  </a:lnTo>
                  <a:lnTo>
                    <a:pt x="88" y="412"/>
                  </a:lnTo>
                  <a:lnTo>
                    <a:pt x="70" y="398"/>
                  </a:lnTo>
                  <a:lnTo>
                    <a:pt x="55" y="380"/>
                  </a:lnTo>
                  <a:lnTo>
                    <a:pt x="42" y="363"/>
                  </a:lnTo>
                  <a:lnTo>
                    <a:pt x="29" y="343"/>
                  </a:lnTo>
                  <a:lnTo>
                    <a:pt x="19" y="323"/>
                  </a:lnTo>
                  <a:lnTo>
                    <a:pt x="12" y="302"/>
                  </a:lnTo>
                  <a:lnTo>
                    <a:pt x="5" y="279"/>
                  </a:lnTo>
                  <a:lnTo>
                    <a:pt x="2" y="256"/>
                  </a:lnTo>
                  <a:lnTo>
                    <a:pt x="0" y="232"/>
                  </a:lnTo>
                  <a:lnTo>
                    <a:pt x="0" y="232"/>
                  </a:lnTo>
                  <a:lnTo>
                    <a:pt x="2" y="208"/>
                  </a:lnTo>
                  <a:lnTo>
                    <a:pt x="5" y="185"/>
                  </a:lnTo>
                  <a:lnTo>
                    <a:pt x="12" y="164"/>
                  </a:lnTo>
                  <a:lnTo>
                    <a:pt x="19" y="141"/>
                  </a:lnTo>
                  <a:lnTo>
                    <a:pt x="29" y="121"/>
                  </a:lnTo>
                  <a:lnTo>
                    <a:pt x="42" y="103"/>
                  </a:lnTo>
                  <a:lnTo>
                    <a:pt x="55" y="84"/>
                  </a:lnTo>
                  <a:lnTo>
                    <a:pt x="70" y="68"/>
                  </a:lnTo>
                  <a:lnTo>
                    <a:pt x="88" y="53"/>
                  </a:lnTo>
                  <a:lnTo>
                    <a:pt x="106" y="40"/>
                  </a:lnTo>
                  <a:lnTo>
                    <a:pt x="125" y="27"/>
                  </a:lnTo>
                  <a:lnTo>
                    <a:pt x="146" y="17"/>
                  </a:lnTo>
                  <a:lnTo>
                    <a:pt x="168" y="10"/>
                  </a:lnTo>
                  <a:lnTo>
                    <a:pt x="191" y="4"/>
                  </a:lnTo>
                  <a:lnTo>
                    <a:pt x="215" y="0"/>
                  </a:lnTo>
                  <a:lnTo>
                    <a:pt x="239" y="0"/>
                  </a:lnTo>
                  <a:lnTo>
                    <a:pt x="239" y="0"/>
                  </a:lnTo>
                  <a:lnTo>
                    <a:pt x="264" y="0"/>
                  </a:lnTo>
                  <a:lnTo>
                    <a:pt x="288" y="4"/>
                  </a:lnTo>
                  <a:lnTo>
                    <a:pt x="311" y="10"/>
                  </a:lnTo>
                  <a:lnTo>
                    <a:pt x="332" y="17"/>
                  </a:lnTo>
                  <a:lnTo>
                    <a:pt x="354" y="27"/>
                  </a:lnTo>
                  <a:lnTo>
                    <a:pt x="373" y="40"/>
                  </a:lnTo>
                  <a:lnTo>
                    <a:pt x="391" y="53"/>
                  </a:lnTo>
                  <a:lnTo>
                    <a:pt x="408" y="67"/>
                  </a:lnTo>
                  <a:lnTo>
                    <a:pt x="424" y="84"/>
                  </a:lnTo>
                  <a:lnTo>
                    <a:pt x="437" y="103"/>
                  </a:lnTo>
                  <a:lnTo>
                    <a:pt x="450" y="121"/>
                  </a:lnTo>
                  <a:lnTo>
                    <a:pt x="460" y="141"/>
                  </a:lnTo>
                  <a:lnTo>
                    <a:pt x="467" y="164"/>
                  </a:lnTo>
                  <a:lnTo>
                    <a:pt x="474" y="185"/>
                  </a:lnTo>
                  <a:lnTo>
                    <a:pt x="477" y="208"/>
                  </a:lnTo>
                  <a:lnTo>
                    <a:pt x="478" y="232"/>
                  </a:lnTo>
                  <a:lnTo>
                    <a:pt x="478" y="232"/>
                  </a:lnTo>
                  <a:close/>
                  <a:moveTo>
                    <a:pt x="478" y="232"/>
                  </a:moveTo>
                  <a:lnTo>
                    <a:pt x="478" y="23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68" name="Freeform 19"/>
            <p:cNvSpPr>
              <a:spLocks/>
            </p:cNvSpPr>
            <p:nvPr userDrawn="1"/>
          </p:nvSpPr>
          <p:spPr bwMode="auto">
            <a:xfrm>
              <a:off x="5510" y="659"/>
              <a:ext cx="160" cy="156"/>
            </a:xfrm>
            <a:custGeom>
              <a:avLst/>
              <a:gdLst>
                <a:gd name="T0" fmla="*/ 478 w 478"/>
                <a:gd name="T1" fmla="*/ 232 h 466"/>
                <a:gd name="T2" fmla="*/ 474 w 478"/>
                <a:gd name="T3" fmla="*/ 279 h 466"/>
                <a:gd name="T4" fmla="*/ 460 w 478"/>
                <a:gd name="T5" fmla="*/ 323 h 466"/>
                <a:gd name="T6" fmla="*/ 437 w 478"/>
                <a:gd name="T7" fmla="*/ 363 h 466"/>
                <a:gd name="T8" fmla="*/ 408 w 478"/>
                <a:gd name="T9" fmla="*/ 398 h 466"/>
                <a:gd name="T10" fmla="*/ 373 w 478"/>
                <a:gd name="T11" fmla="*/ 426 h 466"/>
                <a:gd name="T12" fmla="*/ 332 w 478"/>
                <a:gd name="T13" fmla="*/ 447 h 466"/>
                <a:gd name="T14" fmla="*/ 288 w 478"/>
                <a:gd name="T15" fmla="*/ 460 h 466"/>
                <a:gd name="T16" fmla="*/ 239 w 478"/>
                <a:gd name="T17" fmla="*/ 466 h 466"/>
                <a:gd name="T18" fmla="*/ 215 w 478"/>
                <a:gd name="T19" fmla="*/ 465 h 466"/>
                <a:gd name="T20" fmla="*/ 168 w 478"/>
                <a:gd name="T21" fmla="*/ 455 h 466"/>
                <a:gd name="T22" fmla="*/ 125 w 478"/>
                <a:gd name="T23" fmla="*/ 437 h 466"/>
                <a:gd name="T24" fmla="*/ 88 w 478"/>
                <a:gd name="T25" fmla="*/ 412 h 466"/>
                <a:gd name="T26" fmla="*/ 55 w 478"/>
                <a:gd name="T27" fmla="*/ 380 h 466"/>
                <a:gd name="T28" fmla="*/ 29 w 478"/>
                <a:gd name="T29" fmla="*/ 343 h 466"/>
                <a:gd name="T30" fmla="*/ 12 w 478"/>
                <a:gd name="T31" fmla="*/ 302 h 466"/>
                <a:gd name="T32" fmla="*/ 2 w 478"/>
                <a:gd name="T33" fmla="*/ 256 h 466"/>
                <a:gd name="T34" fmla="*/ 0 w 478"/>
                <a:gd name="T35" fmla="*/ 232 h 466"/>
                <a:gd name="T36" fmla="*/ 5 w 478"/>
                <a:gd name="T37" fmla="*/ 185 h 466"/>
                <a:gd name="T38" fmla="*/ 19 w 478"/>
                <a:gd name="T39" fmla="*/ 141 h 466"/>
                <a:gd name="T40" fmla="*/ 42 w 478"/>
                <a:gd name="T41" fmla="*/ 103 h 466"/>
                <a:gd name="T42" fmla="*/ 70 w 478"/>
                <a:gd name="T43" fmla="*/ 68 h 466"/>
                <a:gd name="T44" fmla="*/ 106 w 478"/>
                <a:gd name="T45" fmla="*/ 40 h 466"/>
                <a:gd name="T46" fmla="*/ 146 w 478"/>
                <a:gd name="T47" fmla="*/ 17 h 466"/>
                <a:gd name="T48" fmla="*/ 191 w 478"/>
                <a:gd name="T49" fmla="*/ 4 h 466"/>
                <a:gd name="T50" fmla="*/ 239 w 478"/>
                <a:gd name="T51" fmla="*/ 0 h 466"/>
                <a:gd name="T52" fmla="*/ 264 w 478"/>
                <a:gd name="T53" fmla="*/ 0 h 466"/>
                <a:gd name="T54" fmla="*/ 311 w 478"/>
                <a:gd name="T55" fmla="*/ 10 h 466"/>
                <a:gd name="T56" fmla="*/ 354 w 478"/>
                <a:gd name="T57" fmla="*/ 27 h 466"/>
                <a:gd name="T58" fmla="*/ 391 w 478"/>
                <a:gd name="T59" fmla="*/ 53 h 466"/>
                <a:gd name="T60" fmla="*/ 424 w 478"/>
                <a:gd name="T61" fmla="*/ 84 h 466"/>
                <a:gd name="T62" fmla="*/ 450 w 478"/>
                <a:gd name="T63" fmla="*/ 121 h 466"/>
                <a:gd name="T64" fmla="*/ 467 w 478"/>
                <a:gd name="T65" fmla="*/ 164 h 466"/>
                <a:gd name="T66" fmla="*/ 477 w 478"/>
                <a:gd name="T67" fmla="*/ 208 h 466"/>
                <a:gd name="T68" fmla="*/ 478 w 478"/>
                <a:gd name="T69" fmla="*/ 232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78" h="466">
                  <a:moveTo>
                    <a:pt x="478" y="232"/>
                  </a:moveTo>
                  <a:lnTo>
                    <a:pt x="478" y="232"/>
                  </a:lnTo>
                  <a:lnTo>
                    <a:pt x="477" y="256"/>
                  </a:lnTo>
                  <a:lnTo>
                    <a:pt x="474" y="279"/>
                  </a:lnTo>
                  <a:lnTo>
                    <a:pt x="467" y="302"/>
                  </a:lnTo>
                  <a:lnTo>
                    <a:pt x="460" y="323"/>
                  </a:lnTo>
                  <a:lnTo>
                    <a:pt x="450" y="343"/>
                  </a:lnTo>
                  <a:lnTo>
                    <a:pt x="437" y="363"/>
                  </a:lnTo>
                  <a:lnTo>
                    <a:pt x="424" y="380"/>
                  </a:lnTo>
                  <a:lnTo>
                    <a:pt x="408" y="398"/>
                  </a:lnTo>
                  <a:lnTo>
                    <a:pt x="391" y="412"/>
                  </a:lnTo>
                  <a:lnTo>
                    <a:pt x="373" y="426"/>
                  </a:lnTo>
                  <a:lnTo>
                    <a:pt x="354" y="437"/>
                  </a:lnTo>
                  <a:lnTo>
                    <a:pt x="332" y="447"/>
                  </a:lnTo>
                  <a:lnTo>
                    <a:pt x="311" y="455"/>
                  </a:lnTo>
                  <a:lnTo>
                    <a:pt x="288" y="460"/>
                  </a:lnTo>
                  <a:lnTo>
                    <a:pt x="264" y="465"/>
                  </a:lnTo>
                  <a:lnTo>
                    <a:pt x="239" y="466"/>
                  </a:lnTo>
                  <a:lnTo>
                    <a:pt x="239" y="466"/>
                  </a:lnTo>
                  <a:lnTo>
                    <a:pt x="215" y="465"/>
                  </a:lnTo>
                  <a:lnTo>
                    <a:pt x="191" y="460"/>
                  </a:lnTo>
                  <a:lnTo>
                    <a:pt x="168" y="455"/>
                  </a:lnTo>
                  <a:lnTo>
                    <a:pt x="146" y="447"/>
                  </a:lnTo>
                  <a:lnTo>
                    <a:pt x="125" y="437"/>
                  </a:lnTo>
                  <a:lnTo>
                    <a:pt x="106" y="426"/>
                  </a:lnTo>
                  <a:lnTo>
                    <a:pt x="88" y="412"/>
                  </a:lnTo>
                  <a:lnTo>
                    <a:pt x="70" y="398"/>
                  </a:lnTo>
                  <a:lnTo>
                    <a:pt x="55" y="380"/>
                  </a:lnTo>
                  <a:lnTo>
                    <a:pt x="42" y="363"/>
                  </a:lnTo>
                  <a:lnTo>
                    <a:pt x="29" y="343"/>
                  </a:lnTo>
                  <a:lnTo>
                    <a:pt x="19" y="323"/>
                  </a:lnTo>
                  <a:lnTo>
                    <a:pt x="12" y="302"/>
                  </a:lnTo>
                  <a:lnTo>
                    <a:pt x="5" y="279"/>
                  </a:lnTo>
                  <a:lnTo>
                    <a:pt x="2" y="256"/>
                  </a:lnTo>
                  <a:lnTo>
                    <a:pt x="0" y="232"/>
                  </a:lnTo>
                  <a:lnTo>
                    <a:pt x="0" y="232"/>
                  </a:lnTo>
                  <a:lnTo>
                    <a:pt x="2" y="208"/>
                  </a:lnTo>
                  <a:lnTo>
                    <a:pt x="5" y="185"/>
                  </a:lnTo>
                  <a:lnTo>
                    <a:pt x="12" y="164"/>
                  </a:lnTo>
                  <a:lnTo>
                    <a:pt x="19" y="141"/>
                  </a:lnTo>
                  <a:lnTo>
                    <a:pt x="29" y="121"/>
                  </a:lnTo>
                  <a:lnTo>
                    <a:pt x="42" y="103"/>
                  </a:lnTo>
                  <a:lnTo>
                    <a:pt x="55" y="84"/>
                  </a:lnTo>
                  <a:lnTo>
                    <a:pt x="70" y="68"/>
                  </a:lnTo>
                  <a:lnTo>
                    <a:pt x="88" y="53"/>
                  </a:lnTo>
                  <a:lnTo>
                    <a:pt x="106" y="40"/>
                  </a:lnTo>
                  <a:lnTo>
                    <a:pt x="125" y="27"/>
                  </a:lnTo>
                  <a:lnTo>
                    <a:pt x="146" y="17"/>
                  </a:lnTo>
                  <a:lnTo>
                    <a:pt x="168" y="10"/>
                  </a:lnTo>
                  <a:lnTo>
                    <a:pt x="191" y="4"/>
                  </a:lnTo>
                  <a:lnTo>
                    <a:pt x="215" y="0"/>
                  </a:lnTo>
                  <a:lnTo>
                    <a:pt x="239" y="0"/>
                  </a:lnTo>
                  <a:lnTo>
                    <a:pt x="239" y="0"/>
                  </a:lnTo>
                  <a:lnTo>
                    <a:pt x="264" y="0"/>
                  </a:lnTo>
                  <a:lnTo>
                    <a:pt x="288" y="4"/>
                  </a:lnTo>
                  <a:lnTo>
                    <a:pt x="311" y="10"/>
                  </a:lnTo>
                  <a:lnTo>
                    <a:pt x="332" y="17"/>
                  </a:lnTo>
                  <a:lnTo>
                    <a:pt x="354" y="27"/>
                  </a:lnTo>
                  <a:lnTo>
                    <a:pt x="373" y="40"/>
                  </a:lnTo>
                  <a:lnTo>
                    <a:pt x="391" y="53"/>
                  </a:lnTo>
                  <a:lnTo>
                    <a:pt x="408" y="67"/>
                  </a:lnTo>
                  <a:lnTo>
                    <a:pt x="424" y="84"/>
                  </a:lnTo>
                  <a:lnTo>
                    <a:pt x="437" y="103"/>
                  </a:lnTo>
                  <a:lnTo>
                    <a:pt x="450" y="121"/>
                  </a:lnTo>
                  <a:lnTo>
                    <a:pt x="460" y="141"/>
                  </a:lnTo>
                  <a:lnTo>
                    <a:pt x="467" y="164"/>
                  </a:lnTo>
                  <a:lnTo>
                    <a:pt x="474" y="185"/>
                  </a:lnTo>
                  <a:lnTo>
                    <a:pt x="477" y="208"/>
                  </a:lnTo>
                  <a:lnTo>
                    <a:pt x="478" y="232"/>
                  </a:lnTo>
                  <a:lnTo>
                    <a:pt x="478" y="23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69" name="Line 20"/>
            <p:cNvSpPr>
              <a:spLocks noChangeShapeType="1"/>
            </p:cNvSpPr>
            <p:nvPr userDrawn="1"/>
          </p:nvSpPr>
          <p:spPr bwMode="auto">
            <a:xfrm>
              <a:off x="5670" y="737"/>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pic>
          <p:nvPicPr>
            <p:cNvPr id="70" name="Picture 21"/>
            <p:cNvPicPr>
              <a:picLocks noChangeAspect="1" noChangeArrowheads="1"/>
            </p:cNvPicPr>
            <p:nvPr userDrawn="1"/>
          </p:nvPicPr>
          <p:blipFill>
            <a:blip r:embed="rId7" cstate="hqprint">
              <a:extLst>
                <a:ext uri="{28A0092B-C50C-407E-A947-70E740481C1C}">
                  <a14:useLocalDpi xmlns:a14="http://schemas.microsoft.com/office/drawing/2010/main" val="0"/>
                </a:ext>
              </a:extLst>
            </a:blip>
            <a:srcRect/>
            <a:stretch>
              <a:fillRect/>
            </a:stretch>
          </p:blipFill>
          <p:spPr bwMode="auto">
            <a:xfrm>
              <a:off x="5478" y="637"/>
              <a:ext cx="282" cy="2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 name="Freeform 22"/>
            <p:cNvSpPr>
              <a:spLocks noEditPoints="1"/>
            </p:cNvSpPr>
            <p:nvPr userDrawn="1"/>
          </p:nvSpPr>
          <p:spPr bwMode="auto">
            <a:xfrm>
              <a:off x="5526" y="673"/>
              <a:ext cx="138" cy="139"/>
            </a:xfrm>
            <a:custGeom>
              <a:avLst/>
              <a:gdLst>
                <a:gd name="T0" fmla="*/ 415 w 415"/>
                <a:gd name="T1" fmla="*/ 209 h 417"/>
                <a:gd name="T2" fmla="*/ 411 w 415"/>
                <a:gd name="T3" fmla="*/ 251 h 417"/>
                <a:gd name="T4" fmla="*/ 400 w 415"/>
                <a:gd name="T5" fmla="*/ 291 h 417"/>
                <a:gd name="T6" fmla="*/ 379 w 415"/>
                <a:gd name="T7" fmla="*/ 325 h 417"/>
                <a:gd name="T8" fmla="*/ 355 w 415"/>
                <a:gd name="T9" fmla="*/ 356 h 417"/>
                <a:gd name="T10" fmla="*/ 324 w 415"/>
                <a:gd name="T11" fmla="*/ 382 h 417"/>
                <a:gd name="T12" fmla="*/ 289 w 415"/>
                <a:gd name="T13" fmla="*/ 400 h 417"/>
                <a:gd name="T14" fmla="*/ 249 w 415"/>
                <a:gd name="T15" fmla="*/ 413 h 417"/>
                <a:gd name="T16" fmla="*/ 208 w 415"/>
                <a:gd name="T17" fmla="*/ 417 h 417"/>
                <a:gd name="T18" fmla="*/ 186 w 415"/>
                <a:gd name="T19" fmla="*/ 416 h 417"/>
                <a:gd name="T20" fmla="*/ 146 w 415"/>
                <a:gd name="T21" fmla="*/ 407 h 417"/>
                <a:gd name="T22" fmla="*/ 109 w 415"/>
                <a:gd name="T23" fmla="*/ 392 h 417"/>
                <a:gd name="T24" fmla="*/ 76 w 415"/>
                <a:gd name="T25" fmla="*/ 370 h 417"/>
                <a:gd name="T26" fmla="*/ 47 w 415"/>
                <a:gd name="T27" fmla="*/ 342 h 417"/>
                <a:gd name="T28" fmla="*/ 26 w 415"/>
                <a:gd name="T29" fmla="*/ 308 h 417"/>
                <a:gd name="T30" fmla="*/ 10 w 415"/>
                <a:gd name="T31" fmla="*/ 271 h 417"/>
                <a:gd name="T32" fmla="*/ 2 w 415"/>
                <a:gd name="T33" fmla="*/ 229 h 417"/>
                <a:gd name="T34" fmla="*/ 0 w 415"/>
                <a:gd name="T35" fmla="*/ 209 h 417"/>
                <a:gd name="T36" fmla="*/ 4 w 415"/>
                <a:gd name="T37" fmla="*/ 167 h 417"/>
                <a:gd name="T38" fmla="*/ 16 w 415"/>
                <a:gd name="T39" fmla="*/ 128 h 417"/>
                <a:gd name="T40" fmla="*/ 36 w 415"/>
                <a:gd name="T41" fmla="*/ 93 h 417"/>
                <a:gd name="T42" fmla="*/ 62 w 415"/>
                <a:gd name="T43" fmla="*/ 61 h 417"/>
                <a:gd name="T44" fmla="*/ 92 w 415"/>
                <a:gd name="T45" fmla="*/ 36 h 417"/>
                <a:gd name="T46" fmla="*/ 128 w 415"/>
                <a:gd name="T47" fmla="*/ 17 h 417"/>
                <a:gd name="T48" fmla="*/ 166 w 415"/>
                <a:gd name="T49" fmla="*/ 4 h 417"/>
                <a:gd name="T50" fmla="*/ 208 w 415"/>
                <a:gd name="T51" fmla="*/ 0 h 417"/>
                <a:gd name="T52" fmla="*/ 229 w 415"/>
                <a:gd name="T53" fmla="*/ 1 h 417"/>
                <a:gd name="T54" fmla="*/ 269 w 415"/>
                <a:gd name="T55" fmla="*/ 10 h 417"/>
                <a:gd name="T56" fmla="*/ 306 w 415"/>
                <a:gd name="T57" fmla="*/ 26 h 417"/>
                <a:gd name="T58" fmla="*/ 339 w 415"/>
                <a:gd name="T59" fmla="*/ 48 h 417"/>
                <a:gd name="T60" fmla="*/ 368 w 415"/>
                <a:gd name="T61" fmla="*/ 75 h 417"/>
                <a:gd name="T62" fmla="*/ 391 w 415"/>
                <a:gd name="T63" fmla="*/ 110 h 417"/>
                <a:gd name="T64" fmla="*/ 407 w 415"/>
                <a:gd name="T65" fmla="*/ 147 h 417"/>
                <a:gd name="T66" fmla="*/ 414 w 415"/>
                <a:gd name="T67" fmla="*/ 188 h 417"/>
                <a:gd name="T68" fmla="*/ 415 w 415"/>
                <a:gd name="T69" fmla="*/ 209 h 417"/>
                <a:gd name="T70" fmla="*/ 415 w 415"/>
                <a:gd name="T71" fmla="*/ 209 h 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15" h="417">
                  <a:moveTo>
                    <a:pt x="415" y="209"/>
                  </a:moveTo>
                  <a:lnTo>
                    <a:pt x="415" y="209"/>
                  </a:lnTo>
                  <a:lnTo>
                    <a:pt x="414" y="229"/>
                  </a:lnTo>
                  <a:lnTo>
                    <a:pt x="411" y="251"/>
                  </a:lnTo>
                  <a:lnTo>
                    <a:pt x="407" y="271"/>
                  </a:lnTo>
                  <a:lnTo>
                    <a:pt x="400" y="291"/>
                  </a:lnTo>
                  <a:lnTo>
                    <a:pt x="391" y="308"/>
                  </a:lnTo>
                  <a:lnTo>
                    <a:pt x="379" y="325"/>
                  </a:lnTo>
                  <a:lnTo>
                    <a:pt x="368" y="342"/>
                  </a:lnTo>
                  <a:lnTo>
                    <a:pt x="355" y="356"/>
                  </a:lnTo>
                  <a:lnTo>
                    <a:pt x="339" y="370"/>
                  </a:lnTo>
                  <a:lnTo>
                    <a:pt x="324" y="382"/>
                  </a:lnTo>
                  <a:lnTo>
                    <a:pt x="306" y="392"/>
                  </a:lnTo>
                  <a:lnTo>
                    <a:pt x="289" y="400"/>
                  </a:lnTo>
                  <a:lnTo>
                    <a:pt x="269" y="407"/>
                  </a:lnTo>
                  <a:lnTo>
                    <a:pt x="249" y="413"/>
                  </a:lnTo>
                  <a:lnTo>
                    <a:pt x="229" y="416"/>
                  </a:lnTo>
                  <a:lnTo>
                    <a:pt x="208" y="417"/>
                  </a:lnTo>
                  <a:lnTo>
                    <a:pt x="208" y="417"/>
                  </a:lnTo>
                  <a:lnTo>
                    <a:pt x="186" y="416"/>
                  </a:lnTo>
                  <a:lnTo>
                    <a:pt x="166" y="413"/>
                  </a:lnTo>
                  <a:lnTo>
                    <a:pt x="146" y="407"/>
                  </a:lnTo>
                  <a:lnTo>
                    <a:pt x="128" y="400"/>
                  </a:lnTo>
                  <a:lnTo>
                    <a:pt x="109" y="392"/>
                  </a:lnTo>
                  <a:lnTo>
                    <a:pt x="92" y="382"/>
                  </a:lnTo>
                  <a:lnTo>
                    <a:pt x="76" y="370"/>
                  </a:lnTo>
                  <a:lnTo>
                    <a:pt x="62" y="356"/>
                  </a:lnTo>
                  <a:lnTo>
                    <a:pt x="47" y="342"/>
                  </a:lnTo>
                  <a:lnTo>
                    <a:pt x="36" y="325"/>
                  </a:lnTo>
                  <a:lnTo>
                    <a:pt x="26" y="308"/>
                  </a:lnTo>
                  <a:lnTo>
                    <a:pt x="16" y="291"/>
                  </a:lnTo>
                  <a:lnTo>
                    <a:pt x="10" y="271"/>
                  </a:lnTo>
                  <a:lnTo>
                    <a:pt x="4" y="251"/>
                  </a:lnTo>
                  <a:lnTo>
                    <a:pt x="2" y="229"/>
                  </a:lnTo>
                  <a:lnTo>
                    <a:pt x="0" y="209"/>
                  </a:lnTo>
                  <a:lnTo>
                    <a:pt x="0" y="209"/>
                  </a:lnTo>
                  <a:lnTo>
                    <a:pt x="2" y="188"/>
                  </a:lnTo>
                  <a:lnTo>
                    <a:pt x="4" y="167"/>
                  </a:lnTo>
                  <a:lnTo>
                    <a:pt x="10" y="147"/>
                  </a:lnTo>
                  <a:lnTo>
                    <a:pt x="16" y="128"/>
                  </a:lnTo>
                  <a:lnTo>
                    <a:pt x="26" y="110"/>
                  </a:lnTo>
                  <a:lnTo>
                    <a:pt x="36" y="93"/>
                  </a:lnTo>
                  <a:lnTo>
                    <a:pt x="47" y="75"/>
                  </a:lnTo>
                  <a:lnTo>
                    <a:pt x="62" y="61"/>
                  </a:lnTo>
                  <a:lnTo>
                    <a:pt x="76" y="48"/>
                  </a:lnTo>
                  <a:lnTo>
                    <a:pt x="92" y="36"/>
                  </a:lnTo>
                  <a:lnTo>
                    <a:pt x="109" y="26"/>
                  </a:lnTo>
                  <a:lnTo>
                    <a:pt x="128" y="17"/>
                  </a:lnTo>
                  <a:lnTo>
                    <a:pt x="146" y="10"/>
                  </a:lnTo>
                  <a:lnTo>
                    <a:pt x="166" y="4"/>
                  </a:lnTo>
                  <a:lnTo>
                    <a:pt x="186" y="1"/>
                  </a:lnTo>
                  <a:lnTo>
                    <a:pt x="208" y="0"/>
                  </a:lnTo>
                  <a:lnTo>
                    <a:pt x="208" y="0"/>
                  </a:lnTo>
                  <a:lnTo>
                    <a:pt x="229" y="1"/>
                  </a:lnTo>
                  <a:lnTo>
                    <a:pt x="249" y="4"/>
                  </a:lnTo>
                  <a:lnTo>
                    <a:pt x="269" y="10"/>
                  </a:lnTo>
                  <a:lnTo>
                    <a:pt x="289" y="17"/>
                  </a:lnTo>
                  <a:lnTo>
                    <a:pt x="306" y="26"/>
                  </a:lnTo>
                  <a:lnTo>
                    <a:pt x="324" y="36"/>
                  </a:lnTo>
                  <a:lnTo>
                    <a:pt x="339" y="48"/>
                  </a:lnTo>
                  <a:lnTo>
                    <a:pt x="355" y="61"/>
                  </a:lnTo>
                  <a:lnTo>
                    <a:pt x="368" y="75"/>
                  </a:lnTo>
                  <a:lnTo>
                    <a:pt x="379" y="93"/>
                  </a:lnTo>
                  <a:lnTo>
                    <a:pt x="391" y="110"/>
                  </a:lnTo>
                  <a:lnTo>
                    <a:pt x="400" y="128"/>
                  </a:lnTo>
                  <a:lnTo>
                    <a:pt x="407" y="147"/>
                  </a:lnTo>
                  <a:lnTo>
                    <a:pt x="411" y="167"/>
                  </a:lnTo>
                  <a:lnTo>
                    <a:pt x="414" y="188"/>
                  </a:lnTo>
                  <a:lnTo>
                    <a:pt x="415" y="209"/>
                  </a:lnTo>
                  <a:lnTo>
                    <a:pt x="415" y="209"/>
                  </a:lnTo>
                  <a:close/>
                  <a:moveTo>
                    <a:pt x="415" y="209"/>
                  </a:moveTo>
                  <a:lnTo>
                    <a:pt x="415" y="20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72" name="Freeform 23"/>
            <p:cNvSpPr>
              <a:spLocks/>
            </p:cNvSpPr>
            <p:nvPr userDrawn="1"/>
          </p:nvSpPr>
          <p:spPr bwMode="auto">
            <a:xfrm>
              <a:off x="5526" y="673"/>
              <a:ext cx="138" cy="139"/>
            </a:xfrm>
            <a:custGeom>
              <a:avLst/>
              <a:gdLst>
                <a:gd name="T0" fmla="*/ 415 w 415"/>
                <a:gd name="T1" fmla="*/ 209 h 417"/>
                <a:gd name="T2" fmla="*/ 411 w 415"/>
                <a:gd name="T3" fmla="*/ 251 h 417"/>
                <a:gd name="T4" fmla="*/ 400 w 415"/>
                <a:gd name="T5" fmla="*/ 291 h 417"/>
                <a:gd name="T6" fmla="*/ 379 w 415"/>
                <a:gd name="T7" fmla="*/ 325 h 417"/>
                <a:gd name="T8" fmla="*/ 355 w 415"/>
                <a:gd name="T9" fmla="*/ 356 h 417"/>
                <a:gd name="T10" fmla="*/ 324 w 415"/>
                <a:gd name="T11" fmla="*/ 382 h 417"/>
                <a:gd name="T12" fmla="*/ 289 w 415"/>
                <a:gd name="T13" fmla="*/ 400 h 417"/>
                <a:gd name="T14" fmla="*/ 249 w 415"/>
                <a:gd name="T15" fmla="*/ 413 h 417"/>
                <a:gd name="T16" fmla="*/ 208 w 415"/>
                <a:gd name="T17" fmla="*/ 417 h 417"/>
                <a:gd name="T18" fmla="*/ 186 w 415"/>
                <a:gd name="T19" fmla="*/ 416 h 417"/>
                <a:gd name="T20" fmla="*/ 146 w 415"/>
                <a:gd name="T21" fmla="*/ 407 h 417"/>
                <a:gd name="T22" fmla="*/ 109 w 415"/>
                <a:gd name="T23" fmla="*/ 392 h 417"/>
                <a:gd name="T24" fmla="*/ 76 w 415"/>
                <a:gd name="T25" fmla="*/ 370 h 417"/>
                <a:gd name="T26" fmla="*/ 47 w 415"/>
                <a:gd name="T27" fmla="*/ 342 h 417"/>
                <a:gd name="T28" fmla="*/ 26 w 415"/>
                <a:gd name="T29" fmla="*/ 308 h 417"/>
                <a:gd name="T30" fmla="*/ 10 w 415"/>
                <a:gd name="T31" fmla="*/ 271 h 417"/>
                <a:gd name="T32" fmla="*/ 2 w 415"/>
                <a:gd name="T33" fmla="*/ 229 h 417"/>
                <a:gd name="T34" fmla="*/ 0 w 415"/>
                <a:gd name="T35" fmla="*/ 209 h 417"/>
                <a:gd name="T36" fmla="*/ 4 w 415"/>
                <a:gd name="T37" fmla="*/ 167 h 417"/>
                <a:gd name="T38" fmla="*/ 16 w 415"/>
                <a:gd name="T39" fmla="*/ 128 h 417"/>
                <a:gd name="T40" fmla="*/ 36 w 415"/>
                <a:gd name="T41" fmla="*/ 93 h 417"/>
                <a:gd name="T42" fmla="*/ 62 w 415"/>
                <a:gd name="T43" fmla="*/ 61 h 417"/>
                <a:gd name="T44" fmla="*/ 92 w 415"/>
                <a:gd name="T45" fmla="*/ 36 h 417"/>
                <a:gd name="T46" fmla="*/ 128 w 415"/>
                <a:gd name="T47" fmla="*/ 17 h 417"/>
                <a:gd name="T48" fmla="*/ 166 w 415"/>
                <a:gd name="T49" fmla="*/ 4 h 417"/>
                <a:gd name="T50" fmla="*/ 208 w 415"/>
                <a:gd name="T51" fmla="*/ 0 h 417"/>
                <a:gd name="T52" fmla="*/ 229 w 415"/>
                <a:gd name="T53" fmla="*/ 1 h 417"/>
                <a:gd name="T54" fmla="*/ 269 w 415"/>
                <a:gd name="T55" fmla="*/ 10 h 417"/>
                <a:gd name="T56" fmla="*/ 306 w 415"/>
                <a:gd name="T57" fmla="*/ 26 h 417"/>
                <a:gd name="T58" fmla="*/ 339 w 415"/>
                <a:gd name="T59" fmla="*/ 48 h 417"/>
                <a:gd name="T60" fmla="*/ 368 w 415"/>
                <a:gd name="T61" fmla="*/ 75 h 417"/>
                <a:gd name="T62" fmla="*/ 391 w 415"/>
                <a:gd name="T63" fmla="*/ 110 h 417"/>
                <a:gd name="T64" fmla="*/ 407 w 415"/>
                <a:gd name="T65" fmla="*/ 147 h 417"/>
                <a:gd name="T66" fmla="*/ 414 w 415"/>
                <a:gd name="T67" fmla="*/ 188 h 417"/>
                <a:gd name="T68" fmla="*/ 415 w 415"/>
                <a:gd name="T69" fmla="*/ 209 h 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15" h="417">
                  <a:moveTo>
                    <a:pt x="415" y="209"/>
                  </a:moveTo>
                  <a:lnTo>
                    <a:pt x="415" y="209"/>
                  </a:lnTo>
                  <a:lnTo>
                    <a:pt x="414" y="229"/>
                  </a:lnTo>
                  <a:lnTo>
                    <a:pt x="411" y="251"/>
                  </a:lnTo>
                  <a:lnTo>
                    <a:pt x="407" y="271"/>
                  </a:lnTo>
                  <a:lnTo>
                    <a:pt x="400" y="291"/>
                  </a:lnTo>
                  <a:lnTo>
                    <a:pt x="391" y="308"/>
                  </a:lnTo>
                  <a:lnTo>
                    <a:pt x="379" y="325"/>
                  </a:lnTo>
                  <a:lnTo>
                    <a:pt x="368" y="342"/>
                  </a:lnTo>
                  <a:lnTo>
                    <a:pt x="355" y="356"/>
                  </a:lnTo>
                  <a:lnTo>
                    <a:pt x="339" y="370"/>
                  </a:lnTo>
                  <a:lnTo>
                    <a:pt x="324" y="382"/>
                  </a:lnTo>
                  <a:lnTo>
                    <a:pt x="306" y="392"/>
                  </a:lnTo>
                  <a:lnTo>
                    <a:pt x="289" y="400"/>
                  </a:lnTo>
                  <a:lnTo>
                    <a:pt x="269" y="407"/>
                  </a:lnTo>
                  <a:lnTo>
                    <a:pt x="249" y="413"/>
                  </a:lnTo>
                  <a:lnTo>
                    <a:pt x="229" y="416"/>
                  </a:lnTo>
                  <a:lnTo>
                    <a:pt x="208" y="417"/>
                  </a:lnTo>
                  <a:lnTo>
                    <a:pt x="208" y="417"/>
                  </a:lnTo>
                  <a:lnTo>
                    <a:pt x="186" y="416"/>
                  </a:lnTo>
                  <a:lnTo>
                    <a:pt x="166" y="413"/>
                  </a:lnTo>
                  <a:lnTo>
                    <a:pt x="146" y="407"/>
                  </a:lnTo>
                  <a:lnTo>
                    <a:pt x="128" y="400"/>
                  </a:lnTo>
                  <a:lnTo>
                    <a:pt x="109" y="392"/>
                  </a:lnTo>
                  <a:lnTo>
                    <a:pt x="92" y="382"/>
                  </a:lnTo>
                  <a:lnTo>
                    <a:pt x="76" y="370"/>
                  </a:lnTo>
                  <a:lnTo>
                    <a:pt x="62" y="356"/>
                  </a:lnTo>
                  <a:lnTo>
                    <a:pt x="47" y="342"/>
                  </a:lnTo>
                  <a:lnTo>
                    <a:pt x="36" y="325"/>
                  </a:lnTo>
                  <a:lnTo>
                    <a:pt x="26" y="308"/>
                  </a:lnTo>
                  <a:lnTo>
                    <a:pt x="16" y="291"/>
                  </a:lnTo>
                  <a:lnTo>
                    <a:pt x="10" y="271"/>
                  </a:lnTo>
                  <a:lnTo>
                    <a:pt x="4" y="251"/>
                  </a:lnTo>
                  <a:lnTo>
                    <a:pt x="2" y="229"/>
                  </a:lnTo>
                  <a:lnTo>
                    <a:pt x="0" y="209"/>
                  </a:lnTo>
                  <a:lnTo>
                    <a:pt x="0" y="209"/>
                  </a:lnTo>
                  <a:lnTo>
                    <a:pt x="2" y="188"/>
                  </a:lnTo>
                  <a:lnTo>
                    <a:pt x="4" y="167"/>
                  </a:lnTo>
                  <a:lnTo>
                    <a:pt x="10" y="147"/>
                  </a:lnTo>
                  <a:lnTo>
                    <a:pt x="16" y="128"/>
                  </a:lnTo>
                  <a:lnTo>
                    <a:pt x="26" y="110"/>
                  </a:lnTo>
                  <a:lnTo>
                    <a:pt x="36" y="93"/>
                  </a:lnTo>
                  <a:lnTo>
                    <a:pt x="47" y="75"/>
                  </a:lnTo>
                  <a:lnTo>
                    <a:pt x="62" y="61"/>
                  </a:lnTo>
                  <a:lnTo>
                    <a:pt x="76" y="48"/>
                  </a:lnTo>
                  <a:lnTo>
                    <a:pt x="92" y="36"/>
                  </a:lnTo>
                  <a:lnTo>
                    <a:pt x="109" y="26"/>
                  </a:lnTo>
                  <a:lnTo>
                    <a:pt x="128" y="17"/>
                  </a:lnTo>
                  <a:lnTo>
                    <a:pt x="146" y="10"/>
                  </a:lnTo>
                  <a:lnTo>
                    <a:pt x="166" y="4"/>
                  </a:lnTo>
                  <a:lnTo>
                    <a:pt x="186" y="1"/>
                  </a:lnTo>
                  <a:lnTo>
                    <a:pt x="208" y="0"/>
                  </a:lnTo>
                  <a:lnTo>
                    <a:pt x="208" y="0"/>
                  </a:lnTo>
                  <a:lnTo>
                    <a:pt x="229" y="1"/>
                  </a:lnTo>
                  <a:lnTo>
                    <a:pt x="249" y="4"/>
                  </a:lnTo>
                  <a:lnTo>
                    <a:pt x="269" y="10"/>
                  </a:lnTo>
                  <a:lnTo>
                    <a:pt x="289" y="17"/>
                  </a:lnTo>
                  <a:lnTo>
                    <a:pt x="306" y="26"/>
                  </a:lnTo>
                  <a:lnTo>
                    <a:pt x="324" y="36"/>
                  </a:lnTo>
                  <a:lnTo>
                    <a:pt x="339" y="48"/>
                  </a:lnTo>
                  <a:lnTo>
                    <a:pt x="355" y="61"/>
                  </a:lnTo>
                  <a:lnTo>
                    <a:pt x="368" y="75"/>
                  </a:lnTo>
                  <a:lnTo>
                    <a:pt x="379" y="93"/>
                  </a:lnTo>
                  <a:lnTo>
                    <a:pt x="391" y="110"/>
                  </a:lnTo>
                  <a:lnTo>
                    <a:pt x="400" y="128"/>
                  </a:lnTo>
                  <a:lnTo>
                    <a:pt x="407" y="147"/>
                  </a:lnTo>
                  <a:lnTo>
                    <a:pt x="411" y="167"/>
                  </a:lnTo>
                  <a:lnTo>
                    <a:pt x="414" y="188"/>
                  </a:lnTo>
                  <a:lnTo>
                    <a:pt x="415" y="209"/>
                  </a:lnTo>
                  <a:lnTo>
                    <a:pt x="415" y="20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73" name="Line 24"/>
            <p:cNvSpPr>
              <a:spLocks noChangeShapeType="1"/>
            </p:cNvSpPr>
            <p:nvPr userDrawn="1"/>
          </p:nvSpPr>
          <p:spPr bwMode="auto">
            <a:xfrm>
              <a:off x="5664" y="742"/>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pic>
          <p:nvPicPr>
            <p:cNvPr id="74" name="Picture 25"/>
            <p:cNvPicPr>
              <a:picLocks noChangeAspect="1" noChangeArrowheads="1"/>
            </p:cNvPicPr>
            <p:nvPr userDrawn="1"/>
          </p:nvPicPr>
          <p:blipFill>
            <a:blip r:embed="rId8" cstate="hqprint">
              <a:extLst>
                <a:ext uri="{28A0092B-C50C-407E-A947-70E740481C1C}">
                  <a14:useLocalDpi xmlns:a14="http://schemas.microsoft.com/office/drawing/2010/main" val="0"/>
                </a:ext>
              </a:extLst>
            </a:blip>
            <a:srcRect/>
            <a:stretch>
              <a:fillRect/>
            </a:stretch>
          </p:blipFill>
          <p:spPr bwMode="auto">
            <a:xfrm>
              <a:off x="5478" y="637"/>
              <a:ext cx="282" cy="2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5" name="Freeform 26"/>
            <p:cNvSpPr>
              <a:spLocks noEditPoints="1"/>
            </p:cNvSpPr>
            <p:nvPr userDrawn="1"/>
          </p:nvSpPr>
          <p:spPr bwMode="auto">
            <a:xfrm>
              <a:off x="5563" y="717"/>
              <a:ext cx="44" cy="62"/>
            </a:xfrm>
            <a:custGeom>
              <a:avLst/>
              <a:gdLst>
                <a:gd name="T0" fmla="*/ 6 w 133"/>
                <a:gd name="T1" fmla="*/ 187 h 187"/>
                <a:gd name="T2" fmla="*/ 1 w 133"/>
                <a:gd name="T3" fmla="*/ 179 h 187"/>
                <a:gd name="T4" fmla="*/ 1 w 133"/>
                <a:gd name="T5" fmla="*/ 151 h 187"/>
                <a:gd name="T6" fmla="*/ 6 w 133"/>
                <a:gd name="T7" fmla="*/ 143 h 187"/>
                <a:gd name="T8" fmla="*/ 61 w 133"/>
                <a:gd name="T9" fmla="*/ 144 h 187"/>
                <a:gd name="T10" fmla="*/ 73 w 133"/>
                <a:gd name="T11" fmla="*/ 144 h 187"/>
                <a:gd name="T12" fmla="*/ 87 w 133"/>
                <a:gd name="T13" fmla="*/ 143 h 187"/>
                <a:gd name="T14" fmla="*/ 91 w 133"/>
                <a:gd name="T15" fmla="*/ 136 h 187"/>
                <a:gd name="T16" fmla="*/ 93 w 133"/>
                <a:gd name="T17" fmla="*/ 130 h 187"/>
                <a:gd name="T18" fmla="*/ 90 w 133"/>
                <a:gd name="T19" fmla="*/ 124 h 187"/>
                <a:gd name="T20" fmla="*/ 66 w 133"/>
                <a:gd name="T21" fmla="*/ 114 h 187"/>
                <a:gd name="T22" fmla="*/ 51 w 133"/>
                <a:gd name="T23" fmla="*/ 107 h 187"/>
                <a:gd name="T24" fmla="*/ 30 w 133"/>
                <a:gd name="T25" fmla="*/ 96 h 187"/>
                <a:gd name="T26" fmla="*/ 17 w 133"/>
                <a:gd name="T27" fmla="*/ 83 h 187"/>
                <a:gd name="T28" fmla="*/ 11 w 133"/>
                <a:gd name="T29" fmla="*/ 76 h 187"/>
                <a:gd name="T30" fmla="*/ 7 w 133"/>
                <a:gd name="T31" fmla="*/ 60 h 187"/>
                <a:gd name="T32" fmla="*/ 6 w 133"/>
                <a:gd name="T33" fmla="*/ 52 h 187"/>
                <a:gd name="T34" fmla="*/ 10 w 133"/>
                <a:gd name="T35" fmla="*/ 27 h 187"/>
                <a:gd name="T36" fmla="*/ 24 w 133"/>
                <a:gd name="T37" fmla="*/ 10 h 187"/>
                <a:gd name="T38" fmla="*/ 28 w 133"/>
                <a:gd name="T39" fmla="*/ 8 h 187"/>
                <a:gd name="T40" fmla="*/ 44 w 133"/>
                <a:gd name="T41" fmla="*/ 2 h 187"/>
                <a:gd name="T42" fmla="*/ 73 w 133"/>
                <a:gd name="T43" fmla="*/ 0 h 187"/>
                <a:gd name="T44" fmla="*/ 121 w 133"/>
                <a:gd name="T45" fmla="*/ 0 h 187"/>
                <a:gd name="T46" fmla="*/ 126 w 133"/>
                <a:gd name="T47" fmla="*/ 9 h 187"/>
                <a:gd name="T48" fmla="*/ 126 w 133"/>
                <a:gd name="T49" fmla="*/ 33 h 187"/>
                <a:gd name="T50" fmla="*/ 121 w 133"/>
                <a:gd name="T51" fmla="*/ 42 h 187"/>
                <a:gd name="T52" fmla="*/ 79 w 133"/>
                <a:gd name="T53" fmla="*/ 42 h 187"/>
                <a:gd name="T54" fmla="*/ 54 w 133"/>
                <a:gd name="T55" fmla="*/ 43 h 187"/>
                <a:gd name="T56" fmla="*/ 47 w 133"/>
                <a:gd name="T57" fmla="*/ 46 h 187"/>
                <a:gd name="T58" fmla="*/ 44 w 133"/>
                <a:gd name="T59" fmla="*/ 53 h 187"/>
                <a:gd name="T60" fmla="*/ 46 w 133"/>
                <a:gd name="T61" fmla="*/ 59 h 187"/>
                <a:gd name="T62" fmla="*/ 57 w 133"/>
                <a:gd name="T63" fmla="*/ 69 h 187"/>
                <a:gd name="T64" fmla="*/ 79 w 133"/>
                <a:gd name="T65" fmla="*/ 79 h 187"/>
                <a:gd name="T66" fmla="*/ 86 w 133"/>
                <a:gd name="T67" fmla="*/ 80 h 187"/>
                <a:gd name="T68" fmla="*/ 116 w 133"/>
                <a:gd name="T69" fmla="*/ 93 h 187"/>
                <a:gd name="T70" fmla="*/ 121 w 133"/>
                <a:gd name="T71" fmla="*/ 99 h 187"/>
                <a:gd name="T72" fmla="*/ 130 w 133"/>
                <a:gd name="T73" fmla="*/ 113 h 187"/>
                <a:gd name="T74" fmla="*/ 133 w 133"/>
                <a:gd name="T75" fmla="*/ 132 h 187"/>
                <a:gd name="T76" fmla="*/ 131 w 133"/>
                <a:gd name="T77" fmla="*/ 143 h 187"/>
                <a:gd name="T78" fmla="*/ 123 w 133"/>
                <a:gd name="T79" fmla="*/ 164 h 187"/>
                <a:gd name="T80" fmla="*/ 114 w 133"/>
                <a:gd name="T81" fmla="*/ 173 h 187"/>
                <a:gd name="T82" fmla="*/ 94 w 133"/>
                <a:gd name="T83" fmla="*/ 184 h 187"/>
                <a:gd name="T84" fmla="*/ 69 w 133"/>
                <a:gd name="T85" fmla="*/ 187 h 187"/>
                <a:gd name="T86" fmla="*/ 6 w 133"/>
                <a:gd name="T87"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3" h="187">
                  <a:moveTo>
                    <a:pt x="6" y="187"/>
                  </a:moveTo>
                  <a:lnTo>
                    <a:pt x="6" y="187"/>
                  </a:lnTo>
                  <a:lnTo>
                    <a:pt x="3" y="184"/>
                  </a:lnTo>
                  <a:lnTo>
                    <a:pt x="1" y="179"/>
                  </a:lnTo>
                  <a:lnTo>
                    <a:pt x="0" y="166"/>
                  </a:lnTo>
                  <a:lnTo>
                    <a:pt x="1" y="151"/>
                  </a:lnTo>
                  <a:lnTo>
                    <a:pt x="3" y="147"/>
                  </a:lnTo>
                  <a:lnTo>
                    <a:pt x="6" y="143"/>
                  </a:lnTo>
                  <a:lnTo>
                    <a:pt x="6" y="143"/>
                  </a:lnTo>
                  <a:lnTo>
                    <a:pt x="61" y="144"/>
                  </a:lnTo>
                  <a:lnTo>
                    <a:pt x="61" y="144"/>
                  </a:lnTo>
                  <a:lnTo>
                    <a:pt x="73" y="144"/>
                  </a:lnTo>
                  <a:lnTo>
                    <a:pt x="83" y="144"/>
                  </a:lnTo>
                  <a:lnTo>
                    <a:pt x="87" y="143"/>
                  </a:lnTo>
                  <a:lnTo>
                    <a:pt x="90" y="140"/>
                  </a:lnTo>
                  <a:lnTo>
                    <a:pt x="91" y="136"/>
                  </a:lnTo>
                  <a:lnTo>
                    <a:pt x="93" y="130"/>
                  </a:lnTo>
                  <a:lnTo>
                    <a:pt x="93" y="130"/>
                  </a:lnTo>
                  <a:lnTo>
                    <a:pt x="91" y="127"/>
                  </a:lnTo>
                  <a:lnTo>
                    <a:pt x="90" y="124"/>
                  </a:lnTo>
                  <a:lnTo>
                    <a:pt x="84" y="122"/>
                  </a:lnTo>
                  <a:lnTo>
                    <a:pt x="66" y="114"/>
                  </a:lnTo>
                  <a:lnTo>
                    <a:pt x="51" y="107"/>
                  </a:lnTo>
                  <a:lnTo>
                    <a:pt x="51" y="107"/>
                  </a:lnTo>
                  <a:lnTo>
                    <a:pt x="40" y="102"/>
                  </a:lnTo>
                  <a:lnTo>
                    <a:pt x="30" y="96"/>
                  </a:lnTo>
                  <a:lnTo>
                    <a:pt x="23" y="89"/>
                  </a:lnTo>
                  <a:lnTo>
                    <a:pt x="17" y="83"/>
                  </a:lnTo>
                  <a:lnTo>
                    <a:pt x="17" y="83"/>
                  </a:lnTo>
                  <a:lnTo>
                    <a:pt x="11" y="76"/>
                  </a:lnTo>
                  <a:lnTo>
                    <a:pt x="8" y="69"/>
                  </a:lnTo>
                  <a:lnTo>
                    <a:pt x="7" y="60"/>
                  </a:lnTo>
                  <a:lnTo>
                    <a:pt x="6" y="52"/>
                  </a:lnTo>
                  <a:lnTo>
                    <a:pt x="6" y="52"/>
                  </a:lnTo>
                  <a:lnTo>
                    <a:pt x="7" y="39"/>
                  </a:lnTo>
                  <a:lnTo>
                    <a:pt x="10" y="27"/>
                  </a:lnTo>
                  <a:lnTo>
                    <a:pt x="16" y="19"/>
                  </a:lnTo>
                  <a:lnTo>
                    <a:pt x="24" y="10"/>
                  </a:lnTo>
                  <a:lnTo>
                    <a:pt x="24" y="10"/>
                  </a:lnTo>
                  <a:lnTo>
                    <a:pt x="28" y="8"/>
                  </a:lnTo>
                  <a:lnTo>
                    <a:pt x="33" y="5"/>
                  </a:lnTo>
                  <a:lnTo>
                    <a:pt x="44" y="2"/>
                  </a:lnTo>
                  <a:lnTo>
                    <a:pt x="58" y="0"/>
                  </a:lnTo>
                  <a:lnTo>
                    <a:pt x="73" y="0"/>
                  </a:lnTo>
                  <a:lnTo>
                    <a:pt x="121" y="0"/>
                  </a:lnTo>
                  <a:lnTo>
                    <a:pt x="121" y="0"/>
                  </a:lnTo>
                  <a:lnTo>
                    <a:pt x="124" y="3"/>
                  </a:lnTo>
                  <a:lnTo>
                    <a:pt x="126" y="9"/>
                  </a:lnTo>
                  <a:lnTo>
                    <a:pt x="127" y="20"/>
                  </a:lnTo>
                  <a:lnTo>
                    <a:pt x="126" y="33"/>
                  </a:lnTo>
                  <a:lnTo>
                    <a:pt x="124" y="39"/>
                  </a:lnTo>
                  <a:lnTo>
                    <a:pt x="121" y="42"/>
                  </a:lnTo>
                  <a:lnTo>
                    <a:pt x="79" y="42"/>
                  </a:lnTo>
                  <a:lnTo>
                    <a:pt x="79" y="42"/>
                  </a:lnTo>
                  <a:lnTo>
                    <a:pt x="66" y="42"/>
                  </a:lnTo>
                  <a:lnTo>
                    <a:pt x="54" y="43"/>
                  </a:lnTo>
                  <a:lnTo>
                    <a:pt x="50" y="45"/>
                  </a:lnTo>
                  <a:lnTo>
                    <a:pt x="47" y="46"/>
                  </a:lnTo>
                  <a:lnTo>
                    <a:pt x="46" y="49"/>
                  </a:lnTo>
                  <a:lnTo>
                    <a:pt x="44" y="53"/>
                  </a:lnTo>
                  <a:lnTo>
                    <a:pt x="44" y="53"/>
                  </a:lnTo>
                  <a:lnTo>
                    <a:pt x="46" y="59"/>
                  </a:lnTo>
                  <a:lnTo>
                    <a:pt x="51" y="63"/>
                  </a:lnTo>
                  <a:lnTo>
                    <a:pt x="57" y="69"/>
                  </a:lnTo>
                  <a:lnTo>
                    <a:pt x="64" y="72"/>
                  </a:lnTo>
                  <a:lnTo>
                    <a:pt x="79" y="79"/>
                  </a:lnTo>
                  <a:lnTo>
                    <a:pt x="86" y="80"/>
                  </a:lnTo>
                  <a:lnTo>
                    <a:pt x="86" y="80"/>
                  </a:lnTo>
                  <a:lnTo>
                    <a:pt x="109" y="89"/>
                  </a:lnTo>
                  <a:lnTo>
                    <a:pt x="116" y="93"/>
                  </a:lnTo>
                  <a:lnTo>
                    <a:pt x="121" y="99"/>
                  </a:lnTo>
                  <a:lnTo>
                    <a:pt x="121" y="99"/>
                  </a:lnTo>
                  <a:lnTo>
                    <a:pt x="127" y="104"/>
                  </a:lnTo>
                  <a:lnTo>
                    <a:pt x="130" y="113"/>
                  </a:lnTo>
                  <a:lnTo>
                    <a:pt x="133" y="122"/>
                  </a:lnTo>
                  <a:lnTo>
                    <a:pt x="133" y="132"/>
                  </a:lnTo>
                  <a:lnTo>
                    <a:pt x="133" y="132"/>
                  </a:lnTo>
                  <a:lnTo>
                    <a:pt x="131" y="143"/>
                  </a:lnTo>
                  <a:lnTo>
                    <a:pt x="129" y="154"/>
                  </a:lnTo>
                  <a:lnTo>
                    <a:pt x="123" y="164"/>
                  </a:lnTo>
                  <a:lnTo>
                    <a:pt x="114" y="173"/>
                  </a:lnTo>
                  <a:lnTo>
                    <a:pt x="114" y="173"/>
                  </a:lnTo>
                  <a:lnTo>
                    <a:pt x="104" y="180"/>
                  </a:lnTo>
                  <a:lnTo>
                    <a:pt x="94" y="184"/>
                  </a:lnTo>
                  <a:lnTo>
                    <a:pt x="83" y="187"/>
                  </a:lnTo>
                  <a:lnTo>
                    <a:pt x="69" y="187"/>
                  </a:lnTo>
                  <a:lnTo>
                    <a:pt x="6" y="187"/>
                  </a:lnTo>
                  <a:close/>
                  <a:moveTo>
                    <a:pt x="6" y="187"/>
                  </a:moveTo>
                  <a:lnTo>
                    <a:pt x="6" y="18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76" name="Freeform 27"/>
            <p:cNvSpPr>
              <a:spLocks/>
            </p:cNvSpPr>
            <p:nvPr userDrawn="1"/>
          </p:nvSpPr>
          <p:spPr bwMode="auto">
            <a:xfrm>
              <a:off x="5563" y="717"/>
              <a:ext cx="44" cy="62"/>
            </a:xfrm>
            <a:custGeom>
              <a:avLst/>
              <a:gdLst>
                <a:gd name="T0" fmla="*/ 6 w 133"/>
                <a:gd name="T1" fmla="*/ 187 h 187"/>
                <a:gd name="T2" fmla="*/ 1 w 133"/>
                <a:gd name="T3" fmla="*/ 179 h 187"/>
                <a:gd name="T4" fmla="*/ 1 w 133"/>
                <a:gd name="T5" fmla="*/ 151 h 187"/>
                <a:gd name="T6" fmla="*/ 6 w 133"/>
                <a:gd name="T7" fmla="*/ 143 h 187"/>
                <a:gd name="T8" fmla="*/ 61 w 133"/>
                <a:gd name="T9" fmla="*/ 144 h 187"/>
                <a:gd name="T10" fmla="*/ 73 w 133"/>
                <a:gd name="T11" fmla="*/ 144 h 187"/>
                <a:gd name="T12" fmla="*/ 87 w 133"/>
                <a:gd name="T13" fmla="*/ 143 h 187"/>
                <a:gd name="T14" fmla="*/ 91 w 133"/>
                <a:gd name="T15" fmla="*/ 136 h 187"/>
                <a:gd name="T16" fmla="*/ 93 w 133"/>
                <a:gd name="T17" fmla="*/ 130 h 187"/>
                <a:gd name="T18" fmla="*/ 90 w 133"/>
                <a:gd name="T19" fmla="*/ 124 h 187"/>
                <a:gd name="T20" fmla="*/ 66 w 133"/>
                <a:gd name="T21" fmla="*/ 114 h 187"/>
                <a:gd name="T22" fmla="*/ 51 w 133"/>
                <a:gd name="T23" fmla="*/ 107 h 187"/>
                <a:gd name="T24" fmla="*/ 30 w 133"/>
                <a:gd name="T25" fmla="*/ 96 h 187"/>
                <a:gd name="T26" fmla="*/ 17 w 133"/>
                <a:gd name="T27" fmla="*/ 83 h 187"/>
                <a:gd name="T28" fmla="*/ 11 w 133"/>
                <a:gd name="T29" fmla="*/ 76 h 187"/>
                <a:gd name="T30" fmla="*/ 7 w 133"/>
                <a:gd name="T31" fmla="*/ 60 h 187"/>
                <a:gd name="T32" fmla="*/ 6 w 133"/>
                <a:gd name="T33" fmla="*/ 52 h 187"/>
                <a:gd name="T34" fmla="*/ 10 w 133"/>
                <a:gd name="T35" fmla="*/ 27 h 187"/>
                <a:gd name="T36" fmla="*/ 24 w 133"/>
                <a:gd name="T37" fmla="*/ 10 h 187"/>
                <a:gd name="T38" fmla="*/ 28 w 133"/>
                <a:gd name="T39" fmla="*/ 8 h 187"/>
                <a:gd name="T40" fmla="*/ 44 w 133"/>
                <a:gd name="T41" fmla="*/ 2 h 187"/>
                <a:gd name="T42" fmla="*/ 73 w 133"/>
                <a:gd name="T43" fmla="*/ 0 h 187"/>
                <a:gd name="T44" fmla="*/ 121 w 133"/>
                <a:gd name="T45" fmla="*/ 0 h 187"/>
                <a:gd name="T46" fmla="*/ 126 w 133"/>
                <a:gd name="T47" fmla="*/ 9 h 187"/>
                <a:gd name="T48" fmla="*/ 126 w 133"/>
                <a:gd name="T49" fmla="*/ 33 h 187"/>
                <a:gd name="T50" fmla="*/ 121 w 133"/>
                <a:gd name="T51" fmla="*/ 42 h 187"/>
                <a:gd name="T52" fmla="*/ 79 w 133"/>
                <a:gd name="T53" fmla="*/ 42 h 187"/>
                <a:gd name="T54" fmla="*/ 54 w 133"/>
                <a:gd name="T55" fmla="*/ 43 h 187"/>
                <a:gd name="T56" fmla="*/ 47 w 133"/>
                <a:gd name="T57" fmla="*/ 46 h 187"/>
                <a:gd name="T58" fmla="*/ 44 w 133"/>
                <a:gd name="T59" fmla="*/ 53 h 187"/>
                <a:gd name="T60" fmla="*/ 46 w 133"/>
                <a:gd name="T61" fmla="*/ 59 h 187"/>
                <a:gd name="T62" fmla="*/ 57 w 133"/>
                <a:gd name="T63" fmla="*/ 69 h 187"/>
                <a:gd name="T64" fmla="*/ 79 w 133"/>
                <a:gd name="T65" fmla="*/ 79 h 187"/>
                <a:gd name="T66" fmla="*/ 86 w 133"/>
                <a:gd name="T67" fmla="*/ 80 h 187"/>
                <a:gd name="T68" fmla="*/ 116 w 133"/>
                <a:gd name="T69" fmla="*/ 93 h 187"/>
                <a:gd name="T70" fmla="*/ 121 w 133"/>
                <a:gd name="T71" fmla="*/ 99 h 187"/>
                <a:gd name="T72" fmla="*/ 130 w 133"/>
                <a:gd name="T73" fmla="*/ 113 h 187"/>
                <a:gd name="T74" fmla="*/ 133 w 133"/>
                <a:gd name="T75" fmla="*/ 132 h 187"/>
                <a:gd name="T76" fmla="*/ 131 w 133"/>
                <a:gd name="T77" fmla="*/ 143 h 187"/>
                <a:gd name="T78" fmla="*/ 123 w 133"/>
                <a:gd name="T79" fmla="*/ 164 h 187"/>
                <a:gd name="T80" fmla="*/ 114 w 133"/>
                <a:gd name="T81" fmla="*/ 173 h 187"/>
                <a:gd name="T82" fmla="*/ 94 w 133"/>
                <a:gd name="T83" fmla="*/ 184 h 187"/>
                <a:gd name="T84" fmla="*/ 69 w 133"/>
                <a:gd name="T85"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33" h="187">
                  <a:moveTo>
                    <a:pt x="6" y="187"/>
                  </a:moveTo>
                  <a:lnTo>
                    <a:pt x="6" y="187"/>
                  </a:lnTo>
                  <a:lnTo>
                    <a:pt x="3" y="184"/>
                  </a:lnTo>
                  <a:lnTo>
                    <a:pt x="1" y="179"/>
                  </a:lnTo>
                  <a:lnTo>
                    <a:pt x="0" y="166"/>
                  </a:lnTo>
                  <a:lnTo>
                    <a:pt x="1" y="151"/>
                  </a:lnTo>
                  <a:lnTo>
                    <a:pt x="3" y="147"/>
                  </a:lnTo>
                  <a:lnTo>
                    <a:pt x="6" y="143"/>
                  </a:lnTo>
                  <a:lnTo>
                    <a:pt x="6" y="143"/>
                  </a:lnTo>
                  <a:lnTo>
                    <a:pt x="61" y="144"/>
                  </a:lnTo>
                  <a:lnTo>
                    <a:pt x="61" y="144"/>
                  </a:lnTo>
                  <a:lnTo>
                    <a:pt x="73" y="144"/>
                  </a:lnTo>
                  <a:lnTo>
                    <a:pt x="83" y="144"/>
                  </a:lnTo>
                  <a:lnTo>
                    <a:pt x="87" y="143"/>
                  </a:lnTo>
                  <a:lnTo>
                    <a:pt x="90" y="140"/>
                  </a:lnTo>
                  <a:lnTo>
                    <a:pt x="91" y="136"/>
                  </a:lnTo>
                  <a:lnTo>
                    <a:pt x="93" y="130"/>
                  </a:lnTo>
                  <a:lnTo>
                    <a:pt x="93" y="130"/>
                  </a:lnTo>
                  <a:lnTo>
                    <a:pt x="91" y="127"/>
                  </a:lnTo>
                  <a:lnTo>
                    <a:pt x="90" y="124"/>
                  </a:lnTo>
                  <a:lnTo>
                    <a:pt x="84" y="122"/>
                  </a:lnTo>
                  <a:lnTo>
                    <a:pt x="66" y="114"/>
                  </a:lnTo>
                  <a:lnTo>
                    <a:pt x="51" y="107"/>
                  </a:lnTo>
                  <a:lnTo>
                    <a:pt x="51" y="107"/>
                  </a:lnTo>
                  <a:lnTo>
                    <a:pt x="40" y="102"/>
                  </a:lnTo>
                  <a:lnTo>
                    <a:pt x="30" y="96"/>
                  </a:lnTo>
                  <a:lnTo>
                    <a:pt x="23" y="89"/>
                  </a:lnTo>
                  <a:lnTo>
                    <a:pt x="17" y="83"/>
                  </a:lnTo>
                  <a:lnTo>
                    <a:pt x="17" y="83"/>
                  </a:lnTo>
                  <a:lnTo>
                    <a:pt x="11" y="76"/>
                  </a:lnTo>
                  <a:lnTo>
                    <a:pt x="8" y="69"/>
                  </a:lnTo>
                  <a:lnTo>
                    <a:pt x="7" y="60"/>
                  </a:lnTo>
                  <a:lnTo>
                    <a:pt x="6" y="52"/>
                  </a:lnTo>
                  <a:lnTo>
                    <a:pt x="6" y="52"/>
                  </a:lnTo>
                  <a:lnTo>
                    <a:pt x="7" y="39"/>
                  </a:lnTo>
                  <a:lnTo>
                    <a:pt x="10" y="27"/>
                  </a:lnTo>
                  <a:lnTo>
                    <a:pt x="16" y="19"/>
                  </a:lnTo>
                  <a:lnTo>
                    <a:pt x="24" y="10"/>
                  </a:lnTo>
                  <a:lnTo>
                    <a:pt x="24" y="10"/>
                  </a:lnTo>
                  <a:lnTo>
                    <a:pt x="28" y="8"/>
                  </a:lnTo>
                  <a:lnTo>
                    <a:pt x="33" y="5"/>
                  </a:lnTo>
                  <a:lnTo>
                    <a:pt x="44" y="2"/>
                  </a:lnTo>
                  <a:lnTo>
                    <a:pt x="58" y="0"/>
                  </a:lnTo>
                  <a:lnTo>
                    <a:pt x="73" y="0"/>
                  </a:lnTo>
                  <a:lnTo>
                    <a:pt x="121" y="0"/>
                  </a:lnTo>
                  <a:lnTo>
                    <a:pt x="121" y="0"/>
                  </a:lnTo>
                  <a:lnTo>
                    <a:pt x="124" y="3"/>
                  </a:lnTo>
                  <a:lnTo>
                    <a:pt x="126" y="9"/>
                  </a:lnTo>
                  <a:lnTo>
                    <a:pt x="127" y="20"/>
                  </a:lnTo>
                  <a:lnTo>
                    <a:pt x="126" y="33"/>
                  </a:lnTo>
                  <a:lnTo>
                    <a:pt x="124" y="39"/>
                  </a:lnTo>
                  <a:lnTo>
                    <a:pt x="121" y="42"/>
                  </a:lnTo>
                  <a:lnTo>
                    <a:pt x="79" y="42"/>
                  </a:lnTo>
                  <a:lnTo>
                    <a:pt x="79" y="42"/>
                  </a:lnTo>
                  <a:lnTo>
                    <a:pt x="66" y="42"/>
                  </a:lnTo>
                  <a:lnTo>
                    <a:pt x="54" y="43"/>
                  </a:lnTo>
                  <a:lnTo>
                    <a:pt x="50" y="45"/>
                  </a:lnTo>
                  <a:lnTo>
                    <a:pt x="47" y="46"/>
                  </a:lnTo>
                  <a:lnTo>
                    <a:pt x="46" y="49"/>
                  </a:lnTo>
                  <a:lnTo>
                    <a:pt x="44" y="53"/>
                  </a:lnTo>
                  <a:lnTo>
                    <a:pt x="44" y="53"/>
                  </a:lnTo>
                  <a:lnTo>
                    <a:pt x="46" y="59"/>
                  </a:lnTo>
                  <a:lnTo>
                    <a:pt x="51" y="63"/>
                  </a:lnTo>
                  <a:lnTo>
                    <a:pt x="57" y="69"/>
                  </a:lnTo>
                  <a:lnTo>
                    <a:pt x="64" y="72"/>
                  </a:lnTo>
                  <a:lnTo>
                    <a:pt x="79" y="79"/>
                  </a:lnTo>
                  <a:lnTo>
                    <a:pt x="86" y="80"/>
                  </a:lnTo>
                  <a:lnTo>
                    <a:pt x="86" y="80"/>
                  </a:lnTo>
                  <a:lnTo>
                    <a:pt x="109" y="89"/>
                  </a:lnTo>
                  <a:lnTo>
                    <a:pt x="116" y="93"/>
                  </a:lnTo>
                  <a:lnTo>
                    <a:pt x="121" y="99"/>
                  </a:lnTo>
                  <a:lnTo>
                    <a:pt x="121" y="99"/>
                  </a:lnTo>
                  <a:lnTo>
                    <a:pt x="127" y="104"/>
                  </a:lnTo>
                  <a:lnTo>
                    <a:pt x="130" y="113"/>
                  </a:lnTo>
                  <a:lnTo>
                    <a:pt x="133" y="122"/>
                  </a:lnTo>
                  <a:lnTo>
                    <a:pt x="133" y="132"/>
                  </a:lnTo>
                  <a:lnTo>
                    <a:pt x="133" y="132"/>
                  </a:lnTo>
                  <a:lnTo>
                    <a:pt x="131" y="143"/>
                  </a:lnTo>
                  <a:lnTo>
                    <a:pt x="129" y="154"/>
                  </a:lnTo>
                  <a:lnTo>
                    <a:pt x="123" y="164"/>
                  </a:lnTo>
                  <a:lnTo>
                    <a:pt x="114" y="173"/>
                  </a:lnTo>
                  <a:lnTo>
                    <a:pt x="114" y="173"/>
                  </a:lnTo>
                  <a:lnTo>
                    <a:pt x="104" y="180"/>
                  </a:lnTo>
                  <a:lnTo>
                    <a:pt x="94" y="184"/>
                  </a:lnTo>
                  <a:lnTo>
                    <a:pt x="83" y="187"/>
                  </a:lnTo>
                  <a:lnTo>
                    <a:pt x="69" y="187"/>
                  </a:lnTo>
                  <a:lnTo>
                    <a:pt x="6" y="18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77" name="Line 28"/>
            <p:cNvSpPr>
              <a:spLocks noChangeShapeType="1"/>
            </p:cNvSpPr>
            <p:nvPr userDrawn="1"/>
          </p:nvSpPr>
          <p:spPr bwMode="auto">
            <a:xfrm>
              <a:off x="5565" y="779"/>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78" name="Freeform 29"/>
            <p:cNvSpPr>
              <a:spLocks noEditPoints="1"/>
            </p:cNvSpPr>
            <p:nvPr userDrawn="1"/>
          </p:nvSpPr>
          <p:spPr bwMode="auto">
            <a:xfrm>
              <a:off x="5671" y="717"/>
              <a:ext cx="80" cy="63"/>
            </a:xfrm>
            <a:custGeom>
              <a:avLst/>
              <a:gdLst>
                <a:gd name="T0" fmla="*/ 0 w 242"/>
                <a:gd name="T1" fmla="*/ 0 h 191"/>
                <a:gd name="T2" fmla="*/ 198 w 242"/>
                <a:gd name="T3" fmla="*/ 0 h 191"/>
                <a:gd name="T4" fmla="*/ 218 w 242"/>
                <a:gd name="T5" fmla="*/ 3 h 191"/>
                <a:gd name="T6" fmla="*/ 231 w 242"/>
                <a:gd name="T7" fmla="*/ 12 h 191"/>
                <a:gd name="T8" fmla="*/ 239 w 242"/>
                <a:gd name="T9" fmla="*/ 27 h 191"/>
                <a:gd name="T10" fmla="*/ 242 w 242"/>
                <a:gd name="T11" fmla="*/ 52 h 191"/>
                <a:gd name="T12" fmla="*/ 242 w 242"/>
                <a:gd name="T13" fmla="*/ 186 h 191"/>
                <a:gd name="T14" fmla="*/ 234 w 242"/>
                <a:gd name="T15" fmla="*/ 190 h 191"/>
                <a:gd name="T16" fmla="*/ 221 w 242"/>
                <a:gd name="T17" fmla="*/ 191 h 191"/>
                <a:gd name="T18" fmla="*/ 209 w 242"/>
                <a:gd name="T19" fmla="*/ 190 h 191"/>
                <a:gd name="T20" fmla="*/ 201 w 242"/>
                <a:gd name="T21" fmla="*/ 186 h 191"/>
                <a:gd name="T22" fmla="*/ 201 w 242"/>
                <a:gd name="T23" fmla="*/ 66 h 191"/>
                <a:gd name="T24" fmla="*/ 198 w 242"/>
                <a:gd name="T25" fmla="*/ 55 h 191"/>
                <a:gd name="T26" fmla="*/ 191 w 242"/>
                <a:gd name="T27" fmla="*/ 46 h 191"/>
                <a:gd name="T28" fmla="*/ 182 w 242"/>
                <a:gd name="T29" fmla="*/ 42 h 191"/>
                <a:gd name="T30" fmla="*/ 161 w 242"/>
                <a:gd name="T31" fmla="*/ 40 h 191"/>
                <a:gd name="T32" fmla="*/ 142 w 242"/>
                <a:gd name="T33" fmla="*/ 43 h 191"/>
                <a:gd name="T34" fmla="*/ 142 w 242"/>
                <a:gd name="T35" fmla="*/ 186 h 191"/>
                <a:gd name="T36" fmla="*/ 133 w 242"/>
                <a:gd name="T37" fmla="*/ 190 h 191"/>
                <a:gd name="T38" fmla="*/ 122 w 242"/>
                <a:gd name="T39" fmla="*/ 191 h 191"/>
                <a:gd name="T40" fmla="*/ 109 w 242"/>
                <a:gd name="T41" fmla="*/ 190 h 191"/>
                <a:gd name="T42" fmla="*/ 101 w 242"/>
                <a:gd name="T43" fmla="*/ 186 h 191"/>
                <a:gd name="T44" fmla="*/ 101 w 242"/>
                <a:gd name="T45" fmla="*/ 67 h 191"/>
                <a:gd name="T46" fmla="*/ 98 w 242"/>
                <a:gd name="T47" fmla="*/ 55 h 191"/>
                <a:gd name="T48" fmla="*/ 92 w 242"/>
                <a:gd name="T49" fmla="*/ 46 h 191"/>
                <a:gd name="T50" fmla="*/ 82 w 242"/>
                <a:gd name="T51" fmla="*/ 42 h 191"/>
                <a:gd name="T52" fmla="*/ 60 w 242"/>
                <a:gd name="T53" fmla="*/ 40 h 191"/>
                <a:gd name="T54" fmla="*/ 43 w 242"/>
                <a:gd name="T55" fmla="*/ 43 h 191"/>
                <a:gd name="T56" fmla="*/ 43 w 242"/>
                <a:gd name="T57" fmla="*/ 186 h 191"/>
                <a:gd name="T58" fmla="*/ 33 w 242"/>
                <a:gd name="T59" fmla="*/ 190 h 191"/>
                <a:gd name="T60" fmla="*/ 22 w 242"/>
                <a:gd name="T61" fmla="*/ 191 h 191"/>
                <a:gd name="T62" fmla="*/ 9 w 242"/>
                <a:gd name="T63" fmla="*/ 190 h 191"/>
                <a:gd name="T64" fmla="*/ 0 w 242"/>
                <a:gd name="T65" fmla="*/ 186 h 191"/>
                <a:gd name="T66" fmla="*/ 0 w 242"/>
                <a:gd name="T67" fmla="*/ 186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42" h="191">
                  <a:moveTo>
                    <a:pt x="0" y="186"/>
                  </a:moveTo>
                  <a:lnTo>
                    <a:pt x="0" y="0"/>
                  </a:lnTo>
                  <a:lnTo>
                    <a:pt x="198" y="0"/>
                  </a:lnTo>
                  <a:lnTo>
                    <a:pt x="198" y="0"/>
                  </a:lnTo>
                  <a:lnTo>
                    <a:pt x="208" y="0"/>
                  </a:lnTo>
                  <a:lnTo>
                    <a:pt x="218" y="3"/>
                  </a:lnTo>
                  <a:lnTo>
                    <a:pt x="225" y="6"/>
                  </a:lnTo>
                  <a:lnTo>
                    <a:pt x="231" y="12"/>
                  </a:lnTo>
                  <a:lnTo>
                    <a:pt x="237" y="19"/>
                  </a:lnTo>
                  <a:lnTo>
                    <a:pt x="239" y="27"/>
                  </a:lnTo>
                  <a:lnTo>
                    <a:pt x="242" y="39"/>
                  </a:lnTo>
                  <a:lnTo>
                    <a:pt x="242" y="52"/>
                  </a:lnTo>
                  <a:lnTo>
                    <a:pt x="242" y="186"/>
                  </a:lnTo>
                  <a:lnTo>
                    <a:pt x="242" y="186"/>
                  </a:lnTo>
                  <a:lnTo>
                    <a:pt x="239" y="189"/>
                  </a:lnTo>
                  <a:lnTo>
                    <a:pt x="234" y="190"/>
                  </a:lnTo>
                  <a:lnTo>
                    <a:pt x="228" y="191"/>
                  </a:lnTo>
                  <a:lnTo>
                    <a:pt x="221" y="191"/>
                  </a:lnTo>
                  <a:lnTo>
                    <a:pt x="215" y="191"/>
                  </a:lnTo>
                  <a:lnTo>
                    <a:pt x="209" y="190"/>
                  </a:lnTo>
                  <a:lnTo>
                    <a:pt x="204" y="189"/>
                  </a:lnTo>
                  <a:lnTo>
                    <a:pt x="201" y="186"/>
                  </a:lnTo>
                  <a:lnTo>
                    <a:pt x="201" y="66"/>
                  </a:lnTo>
                  <a:lnTo>
                    <a:pt x="201" y="66"/>
                  </a:lnTo>
                  <a:lnTo>
                    <a:pt x="199" y="60"/>
                  </a:lnTo>
                  <a:lnTo>
                    <a:pt x="198" y="55"/>
                  </a:lnTo>
                  <a:lnTo>
                    <a:pt x="195" y="50"/>
                  </a:lnTo>
                  <a:lnTo>
                    <a:pt x="191" y="46"/>
                  </a:lnTo>
                  <a:lnTo>
                    <a:pt x="186" y="43"/>
                  </a:lnTo>
                  <a:lnTo>
                    <a:pt x="182" y="42"/>
                  </a:lnTo>
                  <a:lnTo>
                    <a:pt x="171" y="40"/>
                  </a:lnTo>
                  <a:lnTo>
                    <a:pt x="161" y="40"/>
                  </a:lnTo>
                  <a:lnTo>
                    <a:pt x="152" y="40"/>
                  </a:lnTo>
                  <a:lnTo>
                    <a:pt x="142" y="43"/>
                  </a:lnTo>
                  <a:lnTo>
                    <a:pt x="142" y="186"/>
                  </a:lnTo>
                  <a:lnTo>
                    <a:pt x="142" y="186"/>
                  </a:lnTo>
                  <a:lnTo>
                    <a:pt x="139" y="189"/>
                  </a:lnTo>
                  <a:lnTo>
                    <a:pt x="133" y="190"/>
                  </a:lnTo>
                  <a:lnTo>
                    <a:pt x="128" y="191"/>
                  </a:lnTo>
                  <a:lnTo>
                    <a:pt x="122" y="191"/>
                  </a:lnTo>
                  <a:lnTo>
                    <a:pt x="115" y="191"/>
                  </a:lnTo>
                  <a:lnTo>
                    <a:pt x="109" y="190"/>
                  </a:lnTo>
                  <a:lnTo>
                    <a:pt x="103" y="189"/>
                  </a:lnTo>
                  <a:lnTo>
                    <a:pt x="101" y="186"/>
                  </a:lnTo>
                  <a:lnTo>
                    <a:pt x="101" y="67"/>
                  </a:lnTo>
                  <a:lnTo>
                    <a:pt x="101" y="67"/>
                  </a:lnTo>
                  <a:lnTo>
                    <a:pt x="99" y="60"/>
                  </a:lnTo>
                  <a:lnTo>
                    <a:pt x="98" y="55"/>
                  </a:lnTo>
                  <a:lnTo>
                    <a:pt x="95" y="50"/>
                  </a:lnTo>
                  <a:lnTo>
                    <a:pt x="92" y="46"/>
                  </a:lnTo>
                  <a:lnTo>
                    <a:pt x="88" y="43"/>
                  </a:lnTo>
                  <a:lnTo>
                    <a:pt x="82" y="42"/>
                  </a:lnTo>
                  <a:lnTo>
                    <a:pt x="72" y="40"/>
                  </a:lnTo>
                  <a:lnTo>
                    <a:pt x="60" y="40"/>
                  </a:lnTo>
                  <a:lnTo>
                    <a:pt x="52" y="40"/>
                  </a:lnTo>
                  <a:lnTo>
                    <a:pt x="43" y="43"/>
                  </a:lnTo>
                  <a:lnTo>
                    <a:pt x="43" y="186"/>
                  </a:lnTo>
                  <a:lnTo>
                    <a:pt x="43" y="186"/>
                  </a:lnTo>
                  <a:lnTo>
                    <a:pt x="39" y="189"/>
                  </a:lnTo>
                  <a:lnTo>
                    <a:pt x="33" y="190"/>
                  </a:lnTo>
                  <a:lnTo>
                    <a:pt x="28" y="191"/>
                  </a:lnTo>
                  <a:lnTo>
                    <a:pt x="22" y="191"/>
                  </a:lnTo>
                  <a:lnTo>
                    <a:pt x="15" y="191"/>
                  </a:lnTo>
                  <a:lnTo>
                    <a:pt x="9" y="190"/>
                  </a:lnTo>
                  <a:lnTo>
                    <a:pt x="5" y="189"/>
                  </a:lnTo>
                  <a:lnTo>
                    <a:pt x="0" y="186"/>
                  </a:lnTo>
                  <a:lnTo>
                    <a:pt x="0" y="186"/>
                  </a:lnTo>
                  <a:close/>
                  <a:moveTo>
                    <a:pt x="0" y="186"/>
                  </a:moveTo>
                  <a:lnTo>
                    <a:pt x="0" y="18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79" name="Freeform 30"/>
            <p:cNvSpPr>
              <a:spLocks/>
            </p:cNvSpPr>
            <p:nvPr userDrawn="1"/>
          </p:nvSpPr>
          <p:spPr bwMode="auto">
            <a:xfrm>
              <a:off x="5671" y="717"/>
              <a:ext cx="80" cy="63"/>
            </a:xfrm>
            <a:custGeom>
              <a:avLst/>
              <a:gdLst>
                <a:gd name="T0" fmla="*/ 0 w 242"/>
                <a:gd name="T1" fmla="*/ 0 h 191"/>
                <a:gd name="T2" fmla="*/ 198 w 242"/>
                <a:gd name="T3" fmla="*/ 0 h 191"/>
                <a:gd name="T4" fmla="*/ 218 w 242"/>
                <a:gd name="T5" fmla="*/ 3 h 191"/>
                <a:gd name="T6" fmla="*/ 231 w 242"/>
                <a:gd name="T7" fmla="*/ 12 h 191"/>
                <a:gd name="T8" fmla="*/ 239 w 242"/>
                <a:gd name="T9" fmla="*/ 27 h 191"/>
                <a:gd name="T10" fmla="*/ 242 w 242"/>
                <a:gd name="T11" fmla="*/ 52 h 191"/>
                <a:gd name="T12" fmla="*/ 242 w 242"/>
                <a:gd name="T13" fmla="*/ 186 h 191"/>
                <a:gd name="T14" fmla="*/ 234 w 242"/>
                <a:gd name="T15" fmla="*/ 190 h 191"/>
                <a:gd name="T16" fmla="*/ 221 w 242"/>
                <a:gd name="T17" fmla="*/ 191 h 191"/>
                <a:gd name="T18" fmla="*/ 209 w 242"/>
                <a:gd name="T19" fmla="*/ 190 h 191"/>
                <a:gd name="T20" fmla="*/ 201 w 242"/>
                <a:gd name="T21" fmla="*/ 186 h 191"/>
                <a:gd name="T22" fmla="*/ 201 w 242"/>
                <a:gd name="T23" fmla="*/ 66 h 191"/>
                <a:gd name="T24" fmla="*/ 198 w 242"/>
                <a:gd name="T25" fmla="*/ 55 h 191"/>
                <a:gd name="T26" fmla="*/ 191 w 242"/>
                <a:gd name="T27" fmla="*/ 46 h 191"/>
                <a:gd name="T28" fmla="*/ 182 w 242"/>
                <a:gd name="T29" fmla="*/ 42 h 191"/>
                <a:gd name="T30" fmla="*/ 161 w 242"/>
                <a:gd name="T31" fmla="*/ 40 h 191"/>
                <a:gd name="T32" fmla="*/ 142 w 242"/>
                <a:gd name="T33" fmla="*/ 43 h 191"/>
                <a:gd name="T34" fmla="*/ 142 w 242"/>
                <a:gd name="T35" fmla="*/ 186 h 191"/>
                <a:gd name="T36" fmla="*/ 133 w 242"/>
                <a:gd name="T37" fmla="*/ 190 h 191"/>
                <a:gd name="T38" fmla="*/ 122 w 242"/>
                <a:gd name="T39" fmla="*/ 191 h 191"/>
                <a:gd name="T40" fmla="*/ 109 w 242"/>
                <a:gd name="T41" fmla="*/ 190 h 191"/>
                <a:gd name="T42" fmla="*/ 101 w 242"/>
                <a:gd name="T43" fmla="*/ 186 h 191"/>
                <a:gd name="T44" fmla="*/ 101 w 242"/>
                <a:gd name="T45" fmla="*/ 67 h 191"/>
                <a:gd name="T46" fmla="*/ 98 w 242"/>
                <a:gd name="T47" fmla="*/ 55 h 191"/>
                <a:gd name="T48" fmla="*/ 92 w 242"/>
                <a:gd name="T49" fmla="*/ 46 h 191"/>
                <a:gd name="T50" fmla="*/ 82 w 242"/>
                <a:gd name="T51" fmla="*/ 42 h 191"/>
                <a:gd name="T52" fmla="*/ 60 w 242"/>
                <a:gd name="T53" fmla="*/ 40 h 191"/>
                <a:gd name="T54" fmla="*/ 43 w 242"/>
                <a:gd name="T55" fmla="*/ 43 h 191"/>
                <a:gd name="T56" fmla="*/ 43 w 242"/>
                <a:gd name="T57" fmla="*/ 186 h 191"/>
                <a:gd name="T58" fmla="*/ 33 w 242"/>
                <a:gd name="T59" fmla="*/ 190 h 191"/>
                <a:gd name="T60" fmla="*/ 22 w 242"/>
                <a:gd name="T61" fmla="*/ 191 h 191"/>
                <a:gd name="T62" fmla="*/ 9 w 242"/>
                <a:gd name="T63" fmla="*/ 190 h 191"/>
                <a:gd name="T64" fmla="*/ 0 w 242"/>
                <a:gd name="T65" fmla="*/ 186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2" h="191">
                  <a:moveTo>
                    <a:pt x="0" y="186"/>
                  </a:moveTo>
                  <a:lnTo>
                    <a:pt x="0" y="0"/>
                  </a:lnTo>
                  <a:lnTo>
                    <a:pt x="198" y="0"/>
                  </a:lnTo>
                  <a:lnTo>
                    <a:pt x="198" y="0"/>
                  </a:lnTo>
                  <a:lnTo>
                    <a:pt x="208" y="0"/>
                  </a:lnTo>
                  <a:lnTo>
                    <a:pt x="218" y="3"/>
                  </a:lnTo>
                  <a:lnTo>
                    <a:pt x="225" y="6"/>
                  </a:lnTo>
                  <a:lnTo>
                    <a:pt x="231" y="12"/>
                  </a:lnTo>
                  <a:lnTo>
                    <a:pt x="237" y="19"/>
                  </a:lnTo>
                  <a:lnTo>
                    <a:pt x="239" y="27"/>
                  </a:lnTo>
                  <a:lnTo>
                    <a:pt x="242" y="39"/>
                  </a:lnTo>
                  <a:lnTo>
                    <a:pt x="242" y="52"/>
                  </a:lnTo>
                  <a:lnTo>
                    <a:pt x="242" y="186"/>
                  </a:lnTo>
                  <a:lnTo>
                    <a:pt x="242" y="186"/>
                  </a:lnTo>
                  <a:lnTo>
                    <a:pt x="239" y="189"/>
                  </a:lnTo>
                  <a:lnTo>
                    <a:pt x="234" y="190"/>
                  </a:lnTo>
                  <a:lnTo>
                    <a:pt x="228" y="191"/>
                  </a:lnTo>
                  <a:lnTo>
                    <a:pt x="221" y="191"/>
                  </a:lnTo>
                  <a:lnTo>
                    <a:pt x="215" y="191"/>
                  </a:lnTo>
                  <a:lnTo>
                    <a:pt x="209" y="190"/>
                  </a:lnTo>
                  <a:lnTo>
                    <a:pt x="204" y="189"/>
                  </a:lnTo>
                  <a:lnTo>
                    <a:pt x="201" y="186"/>
                  </a:lnTo>
                  <a:lnTo>
                    <a:pt x="201" y="66"/>
                  </a:lnTo>
                  <a:lnTo>
                    <a:pt x="201" y="66"/>
                  </a:lnTo>
                  <a:lnTo>
                    <a:pt x="199" y="60"/>
                  </a:lnTo>
                  <a:lnTo>
                    <a:pt x="198" y="55"/>
                  </a:lnTo>
                  <a:lnTo>
                    <a:pt x="195" y="50"/>
                  </a:lnTo>
                  <a:lnTo>
                    <a:pt x="191" y="46"/>
                  </a:lnTo>
                  <a:lnTo>
                    <a:pt x="186" y="43"/>
                  </a:lnTo>
                  <a:lnTo>
                    <a:pt x="182" y="42"/>
                  </a:lnTo>
                  <a:lnTo>
                    <a:pt x="171" y="40"/>
                  </a:lnTo>
                  <a:lnTo>
                    <a:pt x="161" y="40"/>
                  </a:lnTo>
                  <a:lnTo>
                    <a:pt x="152" y="40"/>
                  </a:lnTo>
                  <a:lnTo>
                    <a:pt x="142" y="43"/>
                  </a:lnTo>
                  <a:lnTo>
                    <a:pt x="142" y="186"/>
                  </a:lnTo>
                  <a:lnTo>
                    <a:pt x="142" y="186"/>
                  </a:lnTo>
                  <a:lnTo>
                    <a:pt x="139" y="189"/>
                  </a:lnTo>
                  <a:lnTo>
                    <a:pt x="133" y="190"/>
                  </a:lnTo>
                  <a:lnTo>
                    <a:pt x="128" y="191"/>
                  </a:lnTo>
                  <a:lnTo>
                    <a:pt x="122" y="191"/>
                  </a:lnTo>
                  <a:lnTo>
                    <a:pt x="115" y="191"/>
                  </a:lnTo>
                  <a:lnTo>
                    <a:pt x="109" y="190"/>
                  </a:lnTo>
                  <a:lnTo>
                    <a:pt x="103" y="189"/>
                  </a:lnTo>
                  <a:lnTo>
                    <a:pt x="101" y="186"/>
                  </a:lnTo>
                  <a:lnTo>
                    <a:pt x="101" y="67"/>
                  </a:lnTo>
                  <a:lnTo>
                    <a:pt x="101" y="67"/>
                  </a:lnTo>
                  <a:lnTo>
                    <a:pt x="99" y="60"/>
                  </a:lnTo>
                  <a:lnTo>
                    <a:pt x="98" y="55"/>
                  </a:lnTo>
                  <a:lnTo>
                    <a:pt x="95" y="50"/>
                  </a:lnTo>
                  <a:lnTo>
                    <a:pt x="92" y="46"/>
                  </a:lnTo>
                  <a:lnTo>
                    <a:pt x="88" y="43"/>
                  </a:lnTo>
                  <a:lnTo>
                    <a:pt x="82" y="42"/>
                  </a:lnTo>
                  <a:lnTo>
                    <a:pt x="72" y="40"/>
                  </a:lnTo>
                  <a:lnTo>
                    <a:pt x="60" y="40"/>
                  </a:lnTo>
                  <a:lnTo>
                    <a:pt x="52" y="40"/>
                  </a:lnTo>
                  <a:lnTo>
                    <a:pt x="43" y="43"/>
                  </a:lnTo>
                  <a:lnTo>
                    <a:pt x="43" y="186"/>
                  </a:lnTo>
                  <a:lnTo>
                    <a:pt x="43" y="186"/>
                  </a:lnTo>
                  <a:lnTo>
                    <a:pt x="39" y="189"/>
                  </a:lnTo>
                  <a:lnTo>
                    <a:pt x="33" y="190"/>
                  </a:lnTo>
                  <a:lnTo>
                    <a:pt x="28" y="191"/>
                  </a:lnTo>
                  <a:lnTo>
                    <a:pt x="22" y="191"/>
                  </a:lnTo>
                  <a:lnTo>
                    <a:pt x="15" y="191"/>
                  </a:lnTo>
                  <a:lnTo>
                    <a:pt x="9" y="190"/>
                  </a:lnTo>
                  <a:lnTo>
                    <a:pt x="5" y="189"/>
                  </a:lnTo>
                  <a:lnTo>
                    <a:pt x="0" y="186"/>
                  </a:lnTo>
                  <a:lnTo>
                    <a:pt x="0" y="18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80" name="Line 31"/>
            <p:cNvSpPr>
              <a:spLocks noChangeShapeType="1"/>
            </p:cNvSpPr>
            <p:nvPr userDrawn="1"/>
          </p:nvSpPr>
          <p:spPr bwMode="auto">
            <a:xfrm>
              <a:off x="5671" y="779"/>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81" name="Freeform 32"/>
            <p:cNvSpPr>
              <a:spLocks noEditPoints="1"/>
            </p:cNvSpPr>
            <p:nvPr userDrawn="1"/>
          </p:nvSpPr>
          <p:spPr bwMode="auto">
            <a:xfrm>
              <a:off x="5615" y="717"/>
              <a:ext cx="45" cy="63"/>
            </a:xfrm>
            <a:custGeom>
              <a:avLst/>
              <a:gdLst>
                <a:gd name="T0" fmla="*/ 93 w 135"/>
                <a:gd name="T1" fmla="*/ 109 h 191"/>
                <a:gd name="T2" fmla="*/ 93 w 135"/>
                <a:gd name="T3" fmla="*/ 42 h 191"/>
                <a:gd name="T4" fmla="*/ 93 w 135"/>
                <a:gd name="T5" fmla="*/ 42 h 191"/>
                <a:gd name="T6" fmla="*/ 86 w 135"/>
                <a:gd name="T7" fmla="*/ 40 h 191"/>
                <a:gd name="T8" fmla="*/ 78 w 135"/>
                <a:gd name="T9" fmla="*/ 39 h 191"/>
                <a:gd name="T10" fmla="*/ 68 w 135"/>
                <a:gd name="T11" fmla="*/ 37 h 191"/>
                <a:gd name="T12" fmla="*/ 59 w 135"/>
                <a:gd name="T13" fmla="*/ 40 h 191"/>
                <a:gd name="T14" fmla="*/ 55 w 135"/>
                <a:gd name="T15" fmla="*/ 42 h 191"/>
                <a:gd name="T16" fmla="*/ 50 w 135"/>
                <a:gd name="T17" fmla="*/ 45 h 191"/>
                <a:gd name="T18" fmla="*/ 48 w 135"/>
                <a:gd name="T19" fmla="*/ 49 h 191"/>
                <a:gd name="T20" fmla="*/ 45 w 135"/>
                <a:gd name="T21" fmla="*/ 53 h 191"/>
                <a:gd name="T22" fmla="*/ 43 w 135"/>
                <a:gd name="T23" fmla="*/ 59 h 191"/>
                <a:gd name="T24" fmla="*/ 42 w 135"/>
                <a:gd name="T25" fmla="*/ 67 h 191"/>
                <a:gd name="T26" fmla="*/ 42 w 135"/>
                <a:gd name="T27" fmla="*/ 109 h 191"/>
                <a:gd name="T28" fmla="*/ 93 w 135"/>
                <a:gd name="T29" fmla="*/ 109 h 191"/>
                <a:gd name="T30" fmla="*/ 42 w 135"/>
                <a:gd name="T31" fmla="*/ 144 h 191"/>
                <a:gd name="T32" fmla="*/ 42 w 135"/>
                <a:gd name="T33" fmla="*/ 186 h 191"/>
                <a:gd name="T34" fmla="*/ 42 w 135"/>
                <a:gd name="T35" fmla="*/ 186 h 191"/>
                <a:gd name="T36" fmla="*/ 39 w 135"/>
                <a:gd name="T37" fmla="*/ 189 h 191"/>
                <a:gd name="T38" fmla="*/ 35 w 135"/>
                <a:gd name="T39" fmla="*/ 190 h 191"/>
                <a:gd name="T40" fmla="*/ 27 w 135"/>
                <a:gd name="T41" fmla="*/ 191 h 191"/>
                <a:gd name="T42" fmla="*/ 22 w 135"/>
                <a:gd name="T43" fmla="*/ 191 h 191"/>
                <a:gd name="T44" fmla="*/ 15 w 135"/>
                <a:gd name="T45" fmla="*/ 191 h 191"/>
                <a:gd name="T46" fmla="*/ 9 w 135"/>
                <a:gd name="T47" fmla="*/ 190 h 191"/>
                <a:gd name="T48" fmla="*/ 3 w 135"/>
                <a:gd name="T49" fmla="*/ 189 h 191"/>
                <a:gd name="T50" fmla="*/ 0 w 135"/>
                <a:gd name="T51" fmla="*/ 186 h 191"/>
                <a:gd name="T52" fmla="*/ 0 w 135"/>
                <a:gd name="T53" fmla="*/ 0 h 191"/>
                <a:gd name="T54" fmla="*/ 102 w 135"/>
                <a:gd name="T55" fmla="*/ 0 h 191"/>
                <a:gd name="T56" fmla="*/ 102 w 135"/>
                <a:gd name="T57" fmla="*/ 0 h 191"/>
                <a:gd name="T58" fmla="*/ 110 w 135"/>
                <a:gd name="T59" fmla="*/ 0 h 191"/>
                <a:gd name="T60" fmla="*/ 118 w 135"/>
                <a:gd name="T61" fmla="*/ 3 h 191"/>
                <a:gd name="T62" fmla="*/ 123 w 135"/>
                <a:gd name="T63" fmla="*/ 6 h 191"/>
                <a:gd name="T64" fmla="*/ 128 w 135"/>
                <a:gd name="T65" fmla="*/ 12 h 191"/>
                <a:gd name="T66" fmla="*/ 132 w 135"/>
                <a:gd name="T67" fmla="*/ 19 h 191"/>
                <a:gd name="T68" fmla="*/ 133 w 135"/>
                <a:gd name="T69" fmla="*/ 27 h 191"/>
                <a:gd name="T70" fmla="*/ 135 w 135"/>
                <a:gd name="T71" fmla="*/ 39 h 191"/>
                <a:gd name="T72" fmla="*/ 135 w 135"/>
                <a:gd name="T73" fmla="*/ 52 h 191"/>
                <a:gd name="T74" fmla="*/ 135 w 135"/>
                <a:gd name="T75" fmla="*/ 186 h 191"/>
                <a:gd name="T76" fmla="*/ 135 w 135"/>
                <a:gd name="T77" fmla="*/ 186 h 191"/>
                <a:gd name="T78" fmla="*/ 132 w 135"/>
                <a:gd name="T79" fmla="*/ 189 h 191"/>
                <a:gd name="T80" fmla="*/ 128 w 135"/>
                <a:gd name="T81" fmla="*/ 190 h 191"/>
                <a:gd name="T82" fmla="*/ 121 w 135"/>
                <a:gd name="T83" fmla="*/ 191 h 191"/>
                <a:gd name="T84" fmla="*/ 115 w 135"/>
                <a:gd name="T85" fmla="*/ 191 h 191"/>
                <a:gd name="T86" fmla="*/ 108 w 135"/>
                <a:gd name="T87" fmla="*/ 191 h 191"/>
                <a:gd name="T88" fmla="*/ 102 w 135"/>
                <a:gd name="T89" fmla="*/ 190 h 191"/>
                <a:gd name="T90" fmla="*/ 96 w 135"/>
                <a:gd name="T91" fmla="*/ 189 h 191"/>
                <a:gd name="T92" fmla="*/ 93 w 135"/>
                <a:gd name="T93" fmla="*/ 186 h 191"/>
                <a:gd name="T94" fmla="*/ 93 w 135"/>
                <a:gd name="T95" fmla="*/ 144 h 191"/>
                <a:gd name="T96" fmla="*/ 110 w 135"/>
                <a:gd name="T97" fmla="*/ 144 h 191"/>
                <a:gd name="T98" fmla="*/ 42 w 135"/>
                <a:gd name="T99" fmla="*/ 144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35" h="191">
                  <a:moveTo>
                    <a:pt x="93" y="109"/>
                  </a:moveTo>
                  <a:lnTo>
                    <a:pt x="93" y="42"/>
                  </a:lnTo>
                  <a:lnTo>
                    <a:pt x="93" y="42"/>
                  </a:lnTo>
                  <a:lnTo>
                    <a:pt x="86" y="40"/>
                  </a:lnTo>
                  <a:lnTo>
                    <a:pt x="78" y="39"/>
                  </a:lnTo>
                  <a:lnTo>
                    <a:pt x="68" y="37"/>
                  </a:lnTo>
                  <a:lnTo>
                    <a:pt x="59" y="40"/>
                  </a:lnTo>
                  <a:lnTo>
                    <a:pt x="55" y="42"/>
                  </a:lnTo>
                  <a:lnTo>
                    <a:pt x="50" y="45"/>
                  </a:lnTo>
                  <a:lnTo>
                    <a:pt x="48" y="49"/>
                  </a:lnTo>
                  <a:lnTo>
                    <a:pt x="45" y="53"/>
                  </a:lnTo>
                  <a:lnTo>
                    <a:pt x="43" y="59"/>
                  </a:lnTo>
                  <a:lnTo>
                    <a:pt x="42" y="67"/>
                  </a:lnTo>
                  <a:lnTo>
                    <a:pt x="42" y="109"/>
                  </a:lnTo>
                  <a:lnTo>
                    <a:pt x="93" y="109"/>
                  </a:lnTo>
                  <a:close/>
                  <a:moveTo>
                    <a:pt x="42" y="144"/>
                  </a:moveTo>
                  <a:lnTo>
                    <a:pt x="42" y="186"/>
                  </a:lnTo>
                  <a:lnTo>
                    <a:pt x="42" y="186"/>
                  </a:lnTo>
                  <a:lnTo>
                    <a:pt x="39" y="189"/>
                  </a:lnTo>
                  <a:lnTo>
                    <a:pt x="35" y="190"/>
                  </a:lnTo>
                  <a:lnTo>
                    <a:pt x="27" y="191"/>
                  </a:lnTo>
                  <a:lnTo>
                    <a:pt x="22" y="191"/>
                  </a:lnTo>
                  <a:lnTo>
                    <a:pt x="15" y="191"/>
                  </a:lnTo>
                  <a:lnTo>
                    <a:pt x="9" y="190"/>
                  </a:lnTo>
                  <a:lnTo>
                    <a:pt x="3" y="189"/>
                  </a:lnTo>
                  <a:lnTo>
                    <a:pt x="0" y="186"/>
                  </a:lnTo>
                  <a:lnTo>
                    <a:pt x="0" y="0"/>
                  </a:lnTo>
                  <a:lnTo>
                    <a:pt x="102" y="0"/>
                  </a:lnTo>
                  <a:lnTo>
                    <a:pt x="102" y="0"/>
                  </a:lnTo>
                  <a:lnTo>
                    <a:pt x="110" y="0"/>
                  </a:lnTo>
                  <a:lnTo>
                    <a:pt x="118" y="3"/>
                  </a:lnTo>
                  <a:lnTo>
                    <a:pt x="123" y="6"/>
                  </a:lnTo>
                  <a:lnTo>
                    <a:pt x="128" y="12"/>
                  </a:lnTo>
                  <a:lnTo>
                    <a:pt x="132" y="19"/>
                  </a:lnTo>
                  <a:lnTo>
                    <a:pt x="133" y="27"/>
                  </a:lnTo>
                  <a:lnTo>
                    <a:pt x="135" y="39"/>
                  </a:lnTo>
                  <a:lnTo>
                    <a:pt x="135" y="52"/>
                  </a:lnTo>
                  <a:lnTo>
                    <a:pt x="135" y="186"/>
                  </a:lnTo>
                  <a:lnTo>
                    <a:pt x="135" y="186"/>
                  </a:lnTo>
                  <a:lnTo>
                    <a:pt x="132" y="189"/>
                  </a:lnTo>
                  <a:lnTo>
                    <a:pt x="128" y="190"/>
                  </a:lnTo>
                  <a:lnTo>
                    <a:pt x="121" y="191"/>
                  </a:lnTo>
                  <a:lnTo>
                    <a:pt x="115" y="191"/>
                  </a:lnTo>
                  <a:lnTo>
                    <a:pt x="108" y="191"/>
                  </a:lnTo>
                  <a:lnTo>
                    <a:pt x="102" y="190"/>
                  </a:lnTo>
                  <a:lnTo>
                    <a:pt x="96" y="189"/>
                  </a:lnTo>
                  <a:lnTo>
                    <a:pt x="93" y="186"/>
                  </a:lnTo>
                  <a:lnTo>
                    <a:pt x="93" y="144"/>
                  </a:lnTo>
                  <a:lnTo>
                    <a:pt x="110" y="144"/>
                  </a:lnTo>
                  <a:lnTo>
                    <a:pt x="42" y="14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82" name="Freeform 33"/>
            <p:cNvSpPr>
              <a:spLocks/>
            </p:cNvSpPr>
            <p:nvPr userDrawn="1"/>
          </p:nvSpPr>
          <p:spPr bwMode="auto">
            <a:xfrm>
              <a:off x="5629" y="729"/>
              <a:ext cx="17" cy="24"/>
            </a:xfrm>
            <a:custGeom>
              <a:avLst/>
              <a:gdLst>
                <a:gd name="T0" fmla="*/ 51 w 51"/>
                <a:gd name="T1" fmla="*/ 72 h 72"/>
                <a:gd name="T2" fmla="*/ 51 w 51"/>
                <a:gd name="T3" fmla="*/ 5 h 72"/>
                <a:gd name="T4" fmla="*/ 51 w 51"/>
                <a:gd name="T5" fmla="*/ 5 h 72"/>
                <a:gd name="T6" fmla="*/ 44 w 51"/>
                <a:gd name="T7" fmla="*/ 3 h 72"/>
                <a:gd name="T8" fmla="*/ 36 w 51"/>
                <a:gd name="T9" fmla="*/ 2 h 72"/>
                <a:gd name="T10" fmla="*/ 26 w 51"/>
                <a:gd name="T11" fmla="*/ 0 h 72"/>
                <a:gd name="T12" fmla="*/ 17 w 51"/>
                <a:gd name="T13" fmla="*/ 3 h 72"/>
                <a:gd name="T14" fmla="*/ 13 w 51"/>
                <a:gd name="T15" fmla="*/ 5 h 72"/>
                <a:gd name="T16" fmla="*/ 8 w 51"/>
                <a:gd name="T17" fmla="*/ 8 h 72"/>
                <a:gd name="T18" fmla="*/ 6 w 51"/>
                <a:gd name="T19" fmla="*/ 12 h 72"/>
                <a:gd name="T20" fmla="*/ 3 w 51"/>
                <a:gd name="T21" fmla="*/ 16 h 72"/>
                <a:gd name="T22" fmla="*/ 1 w 51"/>
                <a:gd name="T23" fmla="*/ 22 h 72"/>
                <a:gd name="T24" fmla="*/ 0 w 51"/>
                <a:gd name="T25" fmla="*/ 30 h 72"/>
                <a:gd name="T26" fmla="*/ 0 w 51"/>
                <a:gd name="T27"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1" h="72">
                  <a:moveTo>
                    <a:pt x="51" y="72"/>
                  </a:moveTo>
                  <a:lnTo>
                    <a:pt x="51" y="5"/>
                  </a:lnTo>
                  <a:lnTo>
                    <a:pt x="51" y="5"/>
                  </a:lnTo>
                  <a:lnTo>
                    <a:pt x="44" y="3"/>
                  </a:lnTo>
                  <a:lnTo>
                    <a:pt x="36" y="2"/>
                  </a:lnTo>
                  <a:lnTo>
                    <a:pt x="26" y="0"/>
                  </a:lnTo>
                  <a:lnTo>
                    <a:pt x="17" y="3"/>
                  </a:lnTo>
                  <a:lnTo>
                    <a:pt x="13" y="5"/>
                  </a:lnTo>
                  <a:lnTo>
                    <a:pt x="8" y="8"/>
                  </a:lnTo>
                  <a:lnTo>
                    <a:pt x="6" y="12"/>
                  </a:lnTo>
                  <a:lnTo>
                    <a:pt x="3" y="16"/>
                  </a:lnTo>
                  <a:lnTo>
                    <a:pt x="1" y="22"/>
                  </a:lnTo>
                  <a:lnTo>
                    <a:pt x="0" y="30"/>
                  </a:lnTo>
                  <a:lnTo>
                    <a:pt x="0" y="7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83" name="Freeform 34"/>
            <p:cNvSpPr>
              <a:spLocks/>
            </p:cNvSpPr>
            <p:nvPr userDrawn="1"/>
          </p:nvSpPr>
          <p:spPr bwMode="auto">
            <a:xfrm>
              <a:off x="5615" y="717"/>
              <a:ext cx="45" cy="63"/>
            </a:xfrm>
            <a:custGeom>
              <a:avLst/>
              <a:gdLst>
                <a:gd name="T0" fmla="*/ 42 w 135"/>
                <a:gd name="T1" fmla="*/ 144 h 191"/>
                <a:gd name="T2" fmla="*/ 42 w 135"/>
                <a:gd name="T3" fmla="*/ 186 h 191"/>
                <a:gd name="T4" fmla="*/ 42 w 135"/>
                <a:gd name="T5" fmla="*/ 186 h 191"/>
                <a:gd name="T6" fmla="*/ 39 w 135"/>
                <a:gd name="T7" fmla="*/ 189 h 191"/>
                <a:gd name="T8" fmla="*/ 35 w 135"/>
                <a:gd name="T9" fmla="*/ 190 h 191"/>
                <a:gd name="T10" fmla="*/ 27 w 135"/>
                <a:gd name="T11" fmla="*/ 191 h 191"/>
                <a:gd name="T12" fmla="*/ 22 w 135"/>
                <a:gd name="T13" fmla="*/ 191 h 191"/>
                <a:gd name="T14" fmla="*/ 15 w 135"/>
                <a:gd name="T15" fmla="*/ 191 h 191"/>
                <a:gd name="T16" fmla="*/ 9 w 135"/>
                <a:gd name="T17" fmla="*/ 190 h 191"/>
                <a:gd name="T18" fmla="*/ 3 w 135"/>
                <a:gd name="T19" fmla="*/ 189 h 191"/>
                <a:gd name="T20" fmla="*/ 0 w 135"/>
                <a:gd name="T21" fmla="*/ 186 h 191"/>
                <a:gd name="T22" fmla="*/ 0 w 135"/>
                <a:gd name="T23" fmla="*/ 0 h 191"/>
                <a:gd name="T24" fmla="*/ 102 w 135"/>
                <a:gd name="T25" fmla="*/ 0 h 191"/>
                <a:gd name="T26" fmla="*/ 102 w 135"/>
                <a:gd name="T27" fmla="*/ 0 h 191"/>
                <a:gd name="T28" fmla="*/ 110 w 135"/>
                <a:gd name="T29" fmla="*/ 0 h 191"/>
                <a:gd name="T30" fmla="*/ 118 w 135"/>
                <a:gd name="T31" fmla="*/ 3 h 191"/>
                <a:gd name="T32" fmla="*/ 123 w 135"/>
                <a:gd name="T33" fmla="*/ 6 h 191"/>
                <a:gd name="T34" fmla="*/ 128 w 135"/>
                <a:gd name="T35" fmla="*/ 12 h 191"/>
                <a:gd name="T36" fmla="*/ 132 w 135"/>
                <a:gd name="T37" fmla="*/ 19 h 191"/>
                <a:gd name="T38" fmla="*/ 133 w 135"/>
                <a:gd name="T39" fmla="*/ 27 h 191"/>
                <a:gd name="T40" fmla="*/ 135 w 135"/>
                <a:gd name="T41" fmla="*/ 39 h 191"/>
                <a:gd name="T42" fmla="*/ 135 w 135"/>
                <a:gd name="T43" fmla="*/ 52 h 191"/>
                <a:gd name="T44" fmla="*/ 135 w 135"/>
                <a:gd name="T45" fmla="*/ 186 h 191"/>
                <a:gd name="T46" fmla="*/ 135 w 135"/>
                <a:gd name="T47" fmla="*/ 186 h 191"/>
                <a:gd name="T48" fmla="*/ 132 w 135"/>
                <a:gd name="T49" fmla="*/ 189 h 191"/>
                <a:gd name="T50" fmla="*/ 128 w 135"/>
                <a:gd name="T51" fmla="*/ 190 h 191"/>
                <a:gd name="T52" fmla="*/ 121 w 135"/>
                <a:gd name="T53" fmla="*/ 191 h 191"/>
                <a:gd name="T54" fmla="*/ 115 w 135"/>
                <a:gd name="T55" fmla="*/ 191 h 191"/>
                <a:gd name="T56" fmla="*/ 108 w 135"/>
                <a:gd name="T57" fmla="*/ 191 h 191"/>
                <a:gd name="T58" fmla="*/ 102 w 135"/>
                <a:gd name="T59" fmla="*/ 190 h 191"/>
                <a:gd name="T60" fmla="*/ 96 w 135"/>
                <a:gd name="T61" fmla="*/ 189 h 191"/>
                <a:gd name="T62" fmla="*/ 93 w 135"/>
                <a:gd name="T63" fmla="*/ 186 h 191"/>
                <a:gd name="T64" fmla="*/ 93 w 135"/>
                <a:gd name="T65" fmla="*/ 144 h 191"/>
                <a:gd name="T66" fmla="*/ 110 w 135"/>
                <a:gd name="T67" fmla="*/ 144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5" h="191">
                  <a:moveTo>
                    <a:pt x="42" y="144"/>
                  </a:moveTo>
                  <a:lnTo>
                    <a:pt x="42" y="186"/>
                  </a:lnTo>
                  <a:lnTo>
                    <a:pt x="42" y="186"/>
                  </a:lnTo>
                  <a:lnTo>
                    <a:pt x="39" y="189"/>
                  </a:lnTo>
                  <a:lnTo>
                    <a:pt x="35" y="190"/>
                  </a:lnTo>
                  <a:lnTo>
                    <a:pt x="27" y="191"/>
                  </a:lnTo>
                  <a:lnTo>
                    <a:pt x="22" y="191"/>
                  </a:lnTo>
                  <a:lnTo>
                    <a:pt x="15" y="191"/>
                  </a:lnTo>
                  <a:lnTo>
                    <a:pt x="9" y="190"/>
                  </a:lnTo>
                  <a:lnTo>
                    <a:pt x="3" y="189"/>
                  </a:lnTo>
                  <a:lnTo>
                    <a:pt x="0" y="186"/>
                  </a:lnTo>
                  <a:lnTo>
                    <a:pt x="0" y="0"/>
                  </a:lnTo>
                  <a:lnTo>
                    <a:pt x="102" y="0"/>
                  </a:lnTo>
                  <a:lnTo>
                    <a:pt x="102" y="0"/>
                  </a:lnTo>
                  <a:lnTo>
                    <a:pt x="110" y="0"/>
                  </a:lnTo>
                  <a:lnTo>
                    <a:pt x="118" y="3"/>
                  </a:lnTo>
                  <a:lnTo>
                    <a:pt x="123" y="6"/>
                  </a:lnTo>
                  <a:lnTo>
                    <a:pt x="128" y="12"/>
                  </a:lnTo>
                  <a:lnTo>
                    <a:pt x="132" y="19"/>
                  </a:lnTo>
                  <a:lnTo>
                    <a:pt x="133" y="27"/>
                  </a:lnTo>
                  <a:lnTo>
                    <a:pt x="135" y="39"/>
                  </a:lnTo>
                  <a:lnTo>
                    <a:pt x="135" y="52"/>
                  </a:lnTo>
                  <a:lnTo>
                    <a:pt x="135" y="186"/>
                  </a:lnTo>
                  <a:lnTo>
                    <a:pt x="135" y="186"/>
                  </a:lnTo>
                  <a:lnTo>
                    <a:pt x="132" y="189"/>
                  </a:lnTo>
                  <a:lnTo>
                    <a:pt x="128" y="190"/>
                  </a:lnTo>
                  <a:lnTo>
                    <a:pt x="121" y="191"/>
                  </a:lnTo>
                  <a:lnTo>
                    <a:pt x="115" y="191"/>
                  </a:lnTo>
                  <a:lnTo>
                    <a:pt x="108" y="191"/>
                  </a:lnTo>
                  <a:lnTo>
                    <a:pt x="102" y="190"/>
                  </a:lnTo>
                  <a:lnTo>
                    <a:pt x="96" y="189"/>
                  </a:lnTo>
                  <a:lnTo>
                    <a:pt x="93" y="186"/>
                  </a:lnTo>
                  <a:lnTo>
                    <a:pt x="93" y="144"/>
                  </a:lnTo>
                  <a:lnTo>
                    <a:pt x="110" y="14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sp>
        <p:nvSpPr>
          <p:cNvPr id="117" name="Textfeld 116"/>
          <p:cNvSpPr txBox="1"/>
          <p:nvPr userDrawn="1"/>
        </p:nvSpPr>
        <p:spPr>
          <a:xfrm>
            <a:off x="10029282" y="1249779"/>
            <a:ext cx="1320124" cy="461665"/>
          </a:xfrm>
          <a:prstGeom prst="rect">
            <a:avLst/>
          </a:prstGeom>
          <a:noFill/>
        </p:spPr>
        <p:txBody>
          <a:bodyPr wrap="square" rtlCol="0">
            <a:spAutoFit/>
          </a:bodyPr>
          <a:lstStyle/>
          <a:p>
            <a:pPr algn="l">
              <a:lnSpc>
                <a:spcPct val="100000"/>
              </a:lnSpc>
              <a:spcAft>
                <a:spcPts val="167"/>
              </a:spcAft>
            </a:pPr>
            <a:r>
              <a:rPr lang="de-DE" sz="600" b="0" spc="0" baseline="0" dirty="0">
                <a:solidFill>
                  <a:schemeClr val="tx1"/>
                </a:solidFill>
                <a:latin typeface="+mj-lt"/>
              </a:rPr>
              <a:t>FACHGEBIET SYSTEMZUVERLÄSSIGKEIT, ADAPTRONIK UND MASCHINENAKUSTIK</a:t>
            </a:r>
          </a:p>
        </p:txBody>
      </p:sp>
      <p:pic>
        <p:nvPicPr>
          <p:cNvPr id="49" name="Picture 5"/>
          <p:cNvPicPr>
            <a:picLocks/>
          </p:cNvPicPr>
          <p:nvPr userDrawn="1"/>
        </p:nvPicPr>
        <p:blipFill>
          <a:blip r:embed="rId9" cstate="print">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a:xfrm flipH="1">
            <a:off x="680913" y="2604700"/>
            <a:ext cx="4407215" cy="2925377"/>
          </a:xfrm>
          <a:prstGeom prst="rect">
            <a:avLst/>
          </a:prstGeom>
          <a:noFill/>
          <a:ln w="19050">
            <a:noFill/>
            <a:miter lim="800000"/>
            <a:headEnd/>
            <a:tailEnd/>
          </a:ln>
          <a:effectLst/>
        </p:spPr>
      </p:pic>
      <p:pic>
        <p:nvPicPr>
          <p:cNvPr id="2" name="Grafik 1"/>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1170428" y="2364229"/>
            <a:ext cx="4177800" cy="3178055"/>
          </a:xfrm>
          <a:prstGeom prst="rect">
            <a:avLst/>
          </a:prstGeom>
        </p:spPr>
      </p:pic>
    </p:spTree>
    <p:extLst>
      <p:ext uri="{BB962C8B-B14F-4D97-AF65-F5344CB8AC3E}">
        <p14:creationId xmlns:p14="http://schemas.microsoft.com/office/powerpoint/2010/main" val="1891145839"/>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7_Titelfolie">
    <p:spTree>
      <p:nvGrpSpPr>
        <p:cNvPr id="1" name=""/>
        <p:cNvGrpSpPr/>
        <p:nvPr/>
      </p:nvGrpSpPr>
      <p:grpSpPr>
        <a:xfrm>
          <a:off x="0" y="0"/>
          <a:ext cx="0" cy="0"/>
          <a:chOff x="0" y="0"/>
          <a:chExt cx="0" cy="0"/>
        </a:xfrm>
      </p:grpSpPr>
      <p:sp>
        <p:nvSpPr>
          <p:cNvPr id="14" name="Rechteck 13"/>
          <p:cNvSpPr/>
          <p:nvPr/>
        </p:nvSpPr>
        <p:spPr>
          <a:xfrm>
            <a:off x="87" y="5141"/>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sp>
        <p:nvSpPr>
          <p:cNvPr id="12" name="Titel 11"/>
          <p:cNvSpPr>
            <a:spLocks noGrp="1"/>
          </p:cNvSpPr>
          <p:nvPr>
            <p:ph type="title" hasCustomPrompt="1"/>
          </p:nvPr>
        </p:nvSpPr>
        <p:spPr>
          <a:xfrm>
            <a:off x="672001" y="480000"/>
            <a:ext cx="9120000" cy="480000"/>
          </a:xfrm>
        </p:spPr>
        <p:txBody>
          <a:bodyPr/>
          <a:lstStyle>
            <a:lvl1pPr>
              <a:defRPr sz="3200">
                <a:solidFill>
                  <a:schemeClr val="tx2"/>
                </a:solidFill>
              </a:defRPr>
            </a:lvl1pPr>
          </a:lstStyle>
          <a:p>
            <a:r>
              <a:rPr lang="de-DE" dirty="0"/>
              <a:t>TITELMASTERFORMAT DURCH KLICKEN</a:t>
            </a:r>
          </a:p>
        </p:txBody>
      </p:sp>
      <p:pic>
        <p:nvPicPr>
          <p:cNvPr id="15" name="Bild 14"/>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676262" y="5747403"/>
            <a:ext cx="11192933" cy="609600"/>
          </a:xfrm>
          <a:prstGeom prst="rect">
            <a:avLst/>
          </a:prstGeom>
        </p:spPr>
      </p:pic>
      <p:sp>
        <p:nvSpPr>
          <p:cNvPr id="9" name="Titel 2"/>
          <p:cNvSpPr txBox="1">
            <a:spLocks/>
          </p:cNvSpPr>
          <p:nvPr/>
        </p:nvSpPr>
        <p:spPr bwMode="auto">
          <a:xfrm>
            <a:off x="2596318" y="5384375"/>
            <a:ext cx="1812295" cy="1117600"/>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lvl1pPr algn="l" rtl="0" eaLnBrk="1" fontAlgn="base" hangingPunct="1">
              <a:spcBef>
                <a:spcPct val="0"/>
              </a:spcBef>
              <a:spcAft>
                <a:spcPct val="0"/>
              </a:spcAft>
              <a:defRPr sz="2800" b="1" i="0">
                <a:solidFill>
                  <a:srgbClr val="FDCA00"/>
                </a:solidFill>
                <a:latin typeface="+mj-lt"/>
                <a:ea typeface="Verdana" charset="0"/>
                <a:cs typeface="Verdana" charset="0"/>
              </a:defRPr>
            </a:lvl1pPr>
            <a:lvl2pPr algn="l" rtl="0" eaLnBrk="1" fontAlgn="base" hangingPunct="1">
              <a:spcBef>
                <a:spcPct val="0"/>
              </a:spcBef>
              <a:spcAft>
                <a:spcPct val="0"/>
              </a:spcAft>
              <a:defRPr sz="2400" b="1">
                <a:solidFill>
                  <a:schemeClr val="tx1"/>
                </a:solidFill>
                <a:latin typeface="Arial" charset="0"/>
              </a:defRPr>
            </a:lvl2pPr>
            <a:lvl3pPr algn="l" rtl="0" eaLnBrk="1" fontAlgn="base" hangingPunct="1">
              <a:spcBef>
                <a:spcPct val="0"/>
              </a:spcBef>
              <a:spcAft>
                <a:spcPct val="0"/>
              </a:spcAft>
              <a:defRPr sz="2400" b="1">
                <a:solidFill>
                  <a:schemeClr val="tx1"/>
                </a:solidFill>
                <a:latin typeface="Arial" charset="0"/>
              </a:defRPr>
            </a:lvl3pPr>
            <a:lvl4pPr algn="l" rtl="0" eaLnBrk="1" fontAlgn="base" hangingPunct="1">
              <a:spcBef>
                <a:spcPct val="0"/>
              </a:spcBef>
              <a:spcAft>
                <a:spcPct val="0"/>
              </a:spcAft>
              <a:defRPr sz="2400" b="1">
                <a:solidFill>
                  <a:schemeClr val="tx1"/>
                </a:solidFill>
                <a:latin typeface="Arial" charset="0"/>
              </a:defRPr>
            </a:lvl4pPr>
            <a:lvl5pPr algn="l" rtl="0" eaLnBrk="1" fontAlgn="base" hangingPunct="1">
              <a:spcBef>
                <a:spcPct val="0"/>
              </a:spcBef>
              <a:spcAft>
                <a:spcPct val="0"/>
              </a:spcAft>
              <a:defRPr sz="2400" b="1">
                <a:solidFill>
                  <a:schemeClr val="tx1"/>
                </a:solidFill>
                <a:latin typeface="Arial" charset="0"/>
              </a:defRPr>
            </a:lvl5pPr>
            <a:lvl6pPr marL="457200" algn="l" rtl="0" eaLnBrk="1" fontAlgn="base" hangingPunct="1">
              <a:spcBef>
                <a:spcPct val="0"/>
              </a:spcBef>
              <a:spcAft>
                <a:spcPct val="0"/>
              </a:spcAft>
              <a:defRPr sz="2400" b="1">
                <a:solidFill>
                  <a:schemeClr val="tx1"/>
                </a:solidFill>
                <a:latin typeface="Arial" charset="0"/>
              </a:defRPr>
            </a:lvl6pPr>
            <a:lvl7pPr marL="914400" algn="l" rtl="0" eaLnBrk="1" fontAlgn="base" hangingPunct="1">
              <a:spcBef>
                <a:spcPct val="0"/>
              </a:spcBef>
              <a:spcAft>
                <a:spcPct val="0"/>
              </a:spcAft>
              <a:defRPr sz="2400" b="1">
                <a:solidFill>
                  <a:schemeClr val="tx1"/>
                </a:solidFill>
                <a:latin typeface="Arial" charset="0"/>
              </a:defRPr>
            </a:lvl7pPr>
            <a:lvl8pPr marL="1371600" algn="l" rtl="0" eaLnBrk="1" fontAlgn="base" hangingPunct="1">
              <a:spcBef>
                <a:spcPct val="0"/>
              </a:spcBef>
              <a:spcAft>
                <a:spcPct val="0"/>
              </a:spcAft>
              <a:defRPr sz="2400" b="1">
                <a:solidFill>
                  <a:schemeClr val="tx1"/>
                </a:solidFill>
                <a:latin typeface="Arial" charset="0"/>
              </a:defRPr>
            </a:lvl8pPr>
            <a:lvl9pPr marL="1828800" algn="l" rtl="0" eaLnBrk="1" fontAlgn="base" hangingPunct="1">
              <a:spcBef>
                <a:spcPct val="0"/>
              </a:spcBef>
              <a:spcAft>
                <a:spcPct val="0"/>
              </a:spcAft>
              <a:defRPr sz="2400" b="1">
                <a:solidFill>
                  <a:schemeClr val="tx1"/>
                </a:solidFill>
                <a:latin typeface="Arial" charset="0"/>
              </a:defRPr>
            </a:lvl9pPr>
          </a:lstStyle>
          <a:p>
            <a:endParaRPr lang="de-DE" sz="4533" b="0" kern="0" dirty="0">
              <a:solidFill>
                <a:schemeClr val="tx2"/>
              </a:solidFill>
              <a:latin typeface="+mj-lt"/>
            </a:endParaRPr>
          </a:p>
        </p:txBody>
      </p:sp>
      <p:sp>
        <p:nvSpPr>
          <p:cNvPr id="50" name="Rectangle 4"/>
          <p:cNvSpPr>
            <a:spLocks noGrp="1" noChangeArrowheads="1"/>
          </p:cNvSpPr>
          <p:nvPr>
            <p:ph type="subTitle" idx="1"/>
          </p:nvPr>
        </p:nvSpPr>
        <p:spPr>
          <a:xfrm>
            <a:off x="671076" y="1152001"/>
            <a:ext cx="9120000" cy="789519"/>
          </a:xfrm>
        </p:spPr>
        <p:txBody>
          <a:bodyPr lIns="0" tIns="0" rIns="0" bIns="0"/>
          <a:lstStyle>
            <a:lvl1pPr marL="0" indent="0">
              <a:spcBef>
                <a:spcPct val="0"/>
              </a:spcBef>
              <a:buFont typeface="Wingdings" pitchFamily="2" charset="2"/>
              <a:buNone/>
              <a:defRPr sz="2200" b="0" i="0">
                <a:solidFill>
                  <a:schemeClr val="tx2"/>
                </a:solidFill>
                <a:latin typeface="+mj-lt"/>
                <a:ea typeface="Verdana" charset="0"/>
                <a:cs typeface="Verdana" charset="0"/>
              </a:defRPr>
            </a:lvl1pPr>
          </a:lstStyle>
          <a:p>
            <a:r>
              <a:rPr lang="de-DE" dirty="0"/>
              <a:t>Master-Untertitelformat bearbeiten</a:t>
            </a:r>
          </a:p>
        </p:txBody>
      </p:sp>
      <p:sp>
        <p:nvSpPr>
          <p:cNvPr id="51" name="Textfeld 50"/>
          <p:cNvSpPr txBox="1"/>
          <p:nvPr userDrawn="1"/>
        </p:nvSpPr>
        <p:spPr>
          <a:xfrm>
            <a:off x="5375999" y="2838156"/>
            <a:ext cx="6144000" cy="2575770"/>
          </a:xfrm>
          <a:prstGeom prst="rect">
            <a:avLst/>
          </a:prstGeom>
          <a:noFill/>
        </p:spPr>
        <p:txBody>
          <a:bodyPr wrap="square" rtlCol="0">
            <a:spAutoFit/>
          </a:bodyPr>
          <a:lstStyle/>
          <a:p>
            <a:pPr marL="0" indent="0">
              <a:lnSpc>
                <a:spcPct val="100000"/>
              </a:lnSpc>
              <a:spcBef>
                <a:spcPts val="0"/>
              </a:spcBef>
              <a:spcAft>
                <a:spcPts val="0"/>
              </a:spcAft>
              <a:buNone/>
            </a:pPr>
            <a:r>
              <a:rPr lang="de-DE" sz="1467" dirty="0">
                <a:solidFill>
                  <a:schemeClr val="tx2"/>
                </a:solidFill>
              </a:rPr>
              <a:t>Prof. Tobias </a:t>
            </a:r>
            <a:r>
              <a:rPr lang="de-DE" sz="1467" dirty="0" err="1">
                <a:solidFill>
                  <a:schemeClr val="tx2"/>
                </a:solidFill>
              </a:rPr>
              <a:t>Melz</a:t>
            </a:r>
            <a:endParaRPr lang="de-DE" sz="1467" dirty="0">
              <a:solidFill>
                <a:schemeClr val="tx2"/>
              </a:solidFill>
            </a:endParaRPr>
          </a:p>
          <a:p>
            <a:pPr marL="0" indent="0">
              <a:lnSpc>
                <a:spcPct val="100000"/>
              </a:lnSpc>
              <a:spcBef>
                <a:spcPts val="0"/>
              </a:spcBef>
              <a:spcAft>
                <a:spcPts val="0"/>
              </a:spcAft>
              <a:buNone/>
            </a:pPr>
            <a:endParaRPr lang="de-DE" sz="1467" dirty="0">
              <a:solidFill>
                <a:schemeClr val="tx2"/>
              </a:solidFill>
            </a:endParaRPr>
          </a:p>
          <a:p>
            <a:pPr marL="0" indent="0">
              <a:lnSpc>
                <a:spcPct val="100000"/>
              </a:lnSpc>
              <a:spcBef>
                <a:spcPts val="0"/>
              </a:spcBef>
              <a:spcAft>
                <a:spcPts val="0"/>
              </a:spcAft>
              <a:buNone/>
            </a:pPr>
            <a:r>
              <a:rPr lang="de-DE" sz="1467" dirty="0">
                <a:solidFill>
                  <a:schemeClr val="tx2"/>
                </a:solidFill>
              </a:rPr>
              <a:t>Technische Universität Darmstadt</a:t>
            </a:r>
          </a:p>
          <a:p>
            <a:pPr marL="0" indent="0">
              <a:lnSpc>
                <a:spcPct val="100000"/>
              </a:lnSpc>
              <a:spcBef>
                <a:spcPts val="0"/>
              </a:spcBef>
              <a:spcAft>
                <a:spcPts val="0"/>
              </a:spcAft>
              <a:buNone/>
            </a:pPr>
            <a:r>
              <a:rPr lang="de-DE" sz="1467" dirty="0">
                <a:solidFill>
                  <a:schemeClr val="tx2"/>
                </a:solidFill>
              </a:rPr>
              <a:t>Fachgebiet Systemzuverlässigkeit, </a:t>
            </a:r>
            <a:r>
              <a:rPr lang="de-DE" sz="1467" dirty="0" err="1">
                <a:solidFill>
                  <a:schemeClr val="tx2"/>
                </a:solidFill>
              </a:rPr>
              <a:t>Adaptronik</a:t>
            </a:r>
            <a:r>
              <a:rPr lang="de-DE" sz="1467" dirty="0">
                <a:solidFill>
                  <a:schemeClr val="tx2"/>
                </a:solidFill>
              </a:rPr>
              <a:t> und Maschinenakustik SAM</a:t>
            </a:r>
          </a:p>
          <a:p>
            <a:pPr marL="0" indent="0">
              <a:lnSpc>
                <a:spcPct val="100000"/>
              </a:lnSpc>
              <a:spcBef>
                <a:spcPts val="0"/>
              </a:spcBef>
              <a:spcAft>
                <a:spcPts val="0"/>
              </a:spcAft>
              <a:buNone/>
            </a:pPr>
            <a:r>
              <a:rPr lang="de-DE" sz="1467" dirty="0">
                <a:solidFill>
                  <a:schemeClr val="tx2"/>
                </a:solidFill>
              </a:rPr>
              <a:t>Otto-Berndt-Straße 2, Gebäude L1|01</a:t>
            </a:r>
          </a:p>
          <a:p>
            <a:pPr marL="0" indent="0">
              <a:lnSpc>
                <a:spcPct val="100000"/>
              </a:lnSpc>
              <a:spcBef>
                <a:spcPts val="0"/>
              </a:spcBef>
              <a:spcAft>
                <a:spcPts val="0"/>
              </a:spcAft>
              <a:buNone/>
            </a:pPr>
            <a:r>
              <a:rPr lang="de-DE" sz="1467" dirty="0">
                <a:solidFill>
                  <a:schemeClr val="tx2"/>
                </a:solidFill>
              </a:rPr>
              <a:t>64287 Darmstadt</a:t>
            </a:r>
          </a:p>
          <a:p>
            <a:pPr marL="0" indent="0">
              <a:lnSpc>
                <a:spcPct val="100000"/>
              </a:lnSpc>
              <a:spcBef>
                <a:spcPts val="0"/>
              </a:spcBef>
              <a:spcAft>
                <a:spcPts val="0"/>
              </a:spcAft>
              <a:buNone/>
            </a:pPr>
            <a:r>
              <a:rPr lang="de-DE" sz="1467" dirty="0">
                <a:solidFill>
                  <a:schemeClr val="tx2"/>
                </a:solidFill>
              </a:rPr>
              <a:t>Tel.: 06151 16-23510</a:t>
            </a:r>
          </a:p>
          <a:p>
            <a:pPr marL="0" indent="0">
              <a:lnSpc>
                <a:spcPct val="100000"/>
              </a:lnSpc>
              <a:spcBef>
                <a:spcPts val="0"/>
              </a:spcBef>
              <a:spcAft>
                <a:spcPts val="0"/>
              </a:spcAft>
              <a:buNone/>
            </a:pPr>
            <a:r>
              <a:rPr lang="de-DE" sz="1467" dirty="0">
                <a:solidFill>
                  <a:schemeClr val="tx2"/>
                </a:solidFill>
              </a:rPr>
              <a:t>tobias.melz@lbf.fraunhofer.de</a:t>
            </a:r>
          </a:p>
          <a:p>
            <a:pPr marL="0" indent="0">
              <a:lnSpc>
                <a:spcPct val="100000"/>
              </a:lnSpc>
              <a:spcBef>
                <a:spcPts val="0"/>
              </a:spcBef>
              <a:spcAft>
                <a:spcPts val="0"/>
              </a:spcAft>
              <a:buNone/>
            </a:pPr>
            <a:r>
              <a:rPr lang="de-DE" sz="1467" dirty="0">
                <a:solidFill>
                  <a:schemeClr val="tx2"/>
                </a:solidFill>
              </a:rPr>
              <a:t>www.sam.tu-darmstadt.de </a:t>
            </a:r>
            <a:br>
              <a:rPr lang="de-DE" sz="1467" dirty="0">
                <a:solidFill>
                  <a:schemeClr val="tx2"/>
                </a:solidFill>
              </a:rPr>
            </a:br>
            <a:r>
              <a:rPr lang="de-DE" sz="1467" dirty="0">
                <a:solidFill>
                  <a:schemeClr val="tx2"/>
                </a:solidFill>
              </a:rPr>
              <a:t>www.lbf.fraunhofer.de</a:t>
            </a:r>
          </a:p>
        </p:txBody>
      </p:sp>
      <p:grpSp>
        <p:nvGrpSpPr>
          <p:cNvPr id="84" name="Gruppierung 9"/>
          <p:cNvGrpSpPr/>
          <p:nvPr userDrawn="1"/>
        </p:nvGrpSpPr>
        <p:grpSpPr>
          <a:xfrm>
            <a:off x="9887088" y="477223"/>
            <a:ext cx="2304912" cy="870205"/>
            <a:chOff x="7415316" y="357917"/>
            <a:chExt cx="1728684" cy="652654"/>
          </a:xfrm>
          <a:solidFill>
            <a:schemeClr val="bg1"/>
          </a:solidFill>
        </p:grpSpPr>
        <p:sp>
          <p:nvSpPr>
            <p:cNvPr id="85" name="Rechteck 84"/>
            <p:cNvSpPr/>
            <p:nvPr/>
          </p:nvSpPr>
          <p:spPr>
            <a:xfrm>
              <a:off x="7415316" y="357917"/>
              <a:ext cx="1728684" cy="65265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86" name="Picture 9" descr="tud_logo"/>
            <p:cNvPicPr>
              <a:picLocks noChangeAspect="1" noChangeArrowheads="1"/>
            </p:cNvPicPr>
            <p:nvPr/>
          </p:nvPicPr>
          <p:blipFill rotWithShape="1">
            <a:blip r:embed="rId3" cstate="print">
              <a:clrChange>
                <a:clrFrom>
                  <a:srgbClr val="FDFDFD"/>
                </a:clrFrom>
                <a:clrTo>
                  <a:srgbClr val="FDFDFD">
                    <a:alpha val="0"/>
                  </a:srgbClr>
                </a:clrTo>
              </a:clrChange>
              <a:extLst>
                <a:ext uri="{28A0092B-C50C-407E-A947-70E740481C1C}">
                  <a14:useLocalDpi xmlns:a14="http://schemas.microsoft.com/office/drawing/2010/main"/>
                </a:ext>
              </a:extLst>
            </a:blip>
            <a:srcRect l="7733" t="6878" r="5453" b="9546"/>
            <a:stretch/>
          </p:blipFill>
          <p:spPr bwMode="auto">
            <a:xfrm>
              <a:off x="7608875" y="407299"/>
              <a:ext cx="1404584" cy="540631"/>
            </a:xfrm>
            <a:prstGeom prst="rect">
              <a:avLst/>
            </a:prstGeom>
            <a:grpFill/>
            <a:ln w="9525">
              <a:noFill/>
              <a:miter lim="800000"/>
              <a:headEnd/>
              <a:tailEnd/>
            </a:ln>
          </p:spPr>
        </p:pic>
      </p:grpSp>
      <p:sp>
        <p:nvSpPr>
          <p:cNvPr id="46" name="Rechteck 45"/>
          <p:cNvSpPr/>
          <p:nvPr userDrawn="1"/>
        </p:nvSpPr>
        <p:spPr>
          <a:xfrm>
            <a:off x="9887088" y="1345096"/>
            <a:ext cx="2304912" cy="429605"/>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47" name="Group 4"/>
          <p:cNvGrpSpPr>
            <a:grpSpLocks noChangeAspect="1"/>
          </p:cNvGrpSpPr>
          <p:nvPr userDrawn="1"/>
        </p:nvGrpSpPr>
        <p:grpSpPr bwMode="auto">
          <a:xfrm>
            <a:off x="11268361" y="1286959"/>
            <a:ext cx="601441" cy="445749"/>
            <a:chOff x="5478" y="637"/>
            <a:chExt cx="282" cy="209"/>
          </a:xfrm>
        </p:grpSpPr>
        <p:sp>
          <p:nvSpPr>
            <p:cNvPr id="49" name="AutoShape 3"/>
            <p:cNvSpPr>
              <a:spLocks noChangeAspect="1" noChangeArrowheads="1" noTextEdit="1"/>
            </p:cNvSpPr>
            <p:nvPr userDrawn="1"/>
          </p:nvSpPr>
          <p:spPr bwMode="auto">
            <a:xfrm>
              <a:off x="5478" y="637"/>
              <a:ext cx="282" cy="2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pic>
          <p:nvPicPr>
            <p:cNvPr id="52" name="Picture 5"/>
            <p:cNvPicPr>
              <a:picLocks noChangeAspect="1" noChangeArrowheads="1"/>
            </p:cNvPicPr>
            <p:nvPr userDrawn="1"/>
          </p:nvPicPr>
          <p:blipFill>
            <a:blip r:embed="rId4" cstate="hqprint">
              <a:extLst>
                <a:ext uri="{28A0092B-C50C-407E-A947-70E740481C1C}">
                  <a14:useLocalDpi xmlns:a14="http://schemas.microsoft.com/office/drawing/2010/main" val="0"/>
                </a:ext>
              </a:extLst>
            </a:blip>
            <a:srcRect/>
            <a:stretch>
              <a:fillRect/>
            </a:stretch>
          </p:blipFill>
          <p:spPr bwMode="auto">
            <a:xfrm>
              <a:off x="5478" y="637"/>
              <a:ext cx="282" cy="2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3" name="Freeform 6"/>
            <p:cNvSpPr>
              <a:spLocks noEditPoints="1"/>
            </p:cNvSpPr>
            <p:nvPr userDrawn="1"/>
          </p:nvSpPr>
          <p:spPr bwMode="auto">
            <a:xfrm>
              <a:off x="5486" y="647"/>
              <a:ext cx="185" cy="183"/>
            </a:xfrm>
            <a:custGeom>
              <a:avLst/>
              <a:gdLst>
                <a:gd name="T0" fmla="*/ 554 w 554"/>
                <a:gd name="T1" fmla="*/ 275 h 550"/>
                <a:gd name="T2" fmla="*/ 549 w 554"/>
                <a:gd name="T3" fmla="*/ 331 h 550"/>
                <a:gd name="T4" fmla="*/ 533 w 554"/>
                <a:gd name="T5" fmla="*/ 382 h 550"/>
                <a:gd name="T6" fmla="*/ 507 w 554"/>
                <a:gd name="T7" fmla="*/ 429 h 550"/>
                <a:gd name="T8" fmla="*/ 473 w 554"/>
                <a:gd name="T9" fmla="*/ 470 h 550"/>
                <a:gd name="T10" fmla="*/ 433 w 554"/>
                <a:gd name="T11" fmla="*/ 503 h 550"/>
                <a:gd name="T12" fmla="*/ 385 w 554"/>
                <a:gd name="T13" fmla="*/ 529 h 550"/>
                <a:gd name="T14" fmla="*/ 334 w 554"/>
                <a:gd name="T15" fmla="*/ 544 h 550"/>
                <a:gd name="T16" fmla="*/ 278 w 554"/>
                <a:gd name="T17" fmla="*/ 550 h 550"/>
                <a:gd name="T18" fmla="*/ 249 w 554"/>
                <a:gd name="T19" fmla="*/ 549 h 550"/>
                <a:gd name="T20" fmla="*/ 195 w 554"/>
                <a:gd name="T21" fmla="*/ 539 h 550"/>
                <a:gd name="T22" fmla="*/ 145 w 554"/>
                <a:gd name="T23" fmla="*/ 517 h 550"/>
                <a:gd name="T24" fmla="*/ 102 w 554"/>
                <a:gd name="T25" fmla="*/ 487 h 550"/>
                <a:gd name="T26" fmla="*/ 63 w 554"/>
                <a:gd name="T27" fmla="*/ 450 h 550"/>
                <a:gd name="T28" fmla="*/ 33 w 554"/>
                <a:gd name="T29" fmla="*/ 406 h 550"/>
                <a:gd name="T30" fmla="*/ 13 w 554"/>
                <a:gd name="T31" fmla="*/ 358 h 550"/>
                <a:gd name="T32" fmla="*/ 2 w 554"/>
                <a:gd name="T33" fmla="*/ 303 h 550"/>
                <a:gd name="T34" fmla="*/ 0 w 554"/>
                <a:gd name="T35" fmla="*/ 275 h 550"/>
                <a:gd name="T36" fmla="*/ 6 w 554"/>
                <a:gd name="T37" fmla="*/ 219 h 550"/>
                <a:gd name="T38" fmla="*/ 22 w 554"/>
                <a:gd name="T39" fmla="*/ 168 h 550"/>
                <a:gd name="T40" fmla="*/ 48 w 554"/>
                <a:gd name="T41" fmla="*/ 121 h 550"/>
                <a:gd name="T42" fmla="*/ 82 w 554"/>
                <a:gd name="T43" fmla="*/ 80 h 550"/>
                <a:gd name="T44" fmla="*/ 122 w 554"/>
                <a:gd name="T45" fmla="*/ 47 h 550"/>
                <a:gd name="T46" fmla="*/ 169 w 554"/>
                <a:gd name="T47" fmla="*/ 21 h 550"/>
                <a:gd name="T48" fmla="*/ 222 w 554"/>
                <a:gd name="T49" fmla="*/ 6 h 550"/>
                <a:gd name="T50" fmla="*/ 278 w 554"/>
                <a:gd name="T51" fmla="*/ 0 h 550"/>
                <a:gd name="T52" fmla="*/ 305 w 554"/>
                <a:gd name="T53" fmla="*/ 1 h 550"/>
                <a:gd name="T54" fmla="*/ 360 w 554"/>
                <a:gd name="T55" fmla="*/ 11 h 550"/>
                <a:gd name="T56" fmla="*/ 410 w 554"/>
                <a:gd name="T57" fmla="*/ 33 h 550"/>
                <a:gd name="T58" fmla="*/ 454 w 554"/>
                <a:gd name="T59" fmla="*/ 63 h 550"/>
                <a:gd name="T60" fmla="*/ 491 w 554"/>
                <a:gd name="T61" fmla="*/ 100 h 550"/>
                <a:gd name="T62" fmla="*/ 521 w 554"/>
                <a:gd name="T63" fmla="*/ 144 h 550"/>
                <a:gd name="T64" fmla="*/ 541 w 554"/>
                <a:gd name="T65" fmla="*/ 192 h 550"/>
                <a:gd name="T66" fmla="*/ 553 w 554"/>
                <a:gd name="T67" fmla="*/ 246 h 550"/>
                <a:gd name="T68" fmla="*/ 554 w 554"/>
                <a:gd name="T69" fmla="*/ 275 h 550"/>
                <a:gd name="T70" fmla="*/ 554 w 554"/>
                <a:gd name="T71" fmla="*/ 275 h 5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54" h="550">
                  <a:moveTo>
                    <a:pt x="554" y="275"/>
                  </a:moveTo>
                  <a:lnTo>
                    <a:pt x="554" y="275"/>
                  </a:lnTo>
                  <a:lnTo>
                    <a:pt x="553" y="303"/>
                  </a:lnTo>
                  <a:lnTo>
                    <a:pt x="549" y="331"/>
                  </a:lnTo>
                  <a:lnTo>
                    <a:pt x="541" y="358"/>
                  </a:lnTo>
                  <a:lnTo>
                    <a:pt x="533" y="382"/>
                  </a:lnTo>
                  <a:lnTo>
                    <a:pt x="521" y="406"/>
                  </a:lnTo>
                  <a:lnTo>
                    <a:pt x="507" y="429"/>
                  </a:lnTo>
                  <a:lnTo>
                    <a:pt x="491" y="450"/>
                  </a:lnTo>
                  <a:lnTo>
                    <a:pt x="473" y="470"/>
                  </a:lnTo>
                  <a:lnTo>
                    <a:pt x="454" y="487"/>
                  </a:lnTo>
                  <a:lnTo>
                    <a:pt x="433" y="503"/>
                  </a:lnTo>
                  <a:lnTo>
                    <a:pt x="410" y="517"/>
                  </a:lnTo>
                  <a:lnTo>
                    <a:pt x="385" y="529"/>
                  </a:lnTo>
                  <a:lnTo>
                    <a:pt x="360" y="539"/>
                  </a:lnTo>
                  <a:lnTo>
                    <a:pt x="334" y="544"/>
                  </a:lnTo>
                  <a:lnTo>
                    <a:pt x="305" y="549"/>
                  </a:lnTo>
                  <a:lnTo>
                    <a:pt x="278" y="550"/>
                  </a:lnTo>
                  <a:lnTo>
                    <a:pt x="278" y="550"/>
                  </a:lnTo>
                  <a:lnTo>
                    <a:pt x="249" y="549"/>
                  </a:lnTo>
                  <a:lnTo>
                    <a:pt x="222" y="544"/>
                  </a:lnTo>
                  <a:lnTo>
                    <a:pt x="195" y="539"/>
                  </a:lnTo>
                  <a:lnTo>
                    <a:pt x="169" y="529"/>
                  </a:lnTo>
                  <a:lnTo>
                    <a:pt x="145" y="517"/>
                  </a:lnTo>
                  <a:lnTo>
                    <a:pt x="122" y="503"/>
                  </a:lnTo>
                  <a:lnTo>
                    <a:pt x="102" y="487"/>
                  </a:lnTo>
                  <a:lnTo>
                    <a:pt x="82" y="470"/>
                  </a:lnTo>
                  <a:lnTo>
                    <a:pt x="63" y="450"/>
                  </a:lnTo>
                  <a:lnTo>
                    <a:pt x="48" y="429"/>
                  </a:lnTo>
                  <a:lnTo>
                    <a:pt x="33" y="406"/>
                  </a:lnTo>
                  <a:lnTo>
                    <a:pt x="22" y="382"/>
                  </a:lnTo>
                  <a:lnTo>
                    <a:pt x="13" y="358"/>
                  </a:lnTo>
                  <a:lnTo>
                    <a:pt x="6" y="331"/>
                  </a:lnTo>
                  <a:lnTo>
                    <a:pt x="2" y="303"/>
                  </a:lnTo>
                  <a:lnTo>
                    <a:pt x="0" y="275"/>
                  </a:lnTo>
                  <a:lnTo>
                    <a:pt x="0" y="275"/>
                  </a:lnTo>
                  <a:lnTo>
                    <a:pt x="2" y="246"/>
                  </a:lnTo>
                  <a:lnTo>
                    <a:pt x="6" y="219"/>
                  </a:lnTo>
                  <a:lnTo>
                    <a:pt x="13" y="192"/>
                  </a:lnTo>
                  <a:lnTo>
                    <a:pt x="22" y="168"/>
                  </a:lnTo>
                  <a:lnTo>
                    <a:pt x="33" y="144"/>
                  </a:lnTo>
                  <a:lnTo>
                    <a:pt x="48" y="121"/>
                  </a:lnTo>
                  <a:lnTo>
                    <a:pt x="63" y="100"/>
                  </a:lnTo>
                  <a:lnTo>
                    <a:pt x="82" y="80"/>
                  </a:lnTo>
                  <a:lnTo>
                    <a:pt x="102" y="63"/>
                  </a:lnTo>
                  <a:lnTo>
                    <a:pt x="122" y="47"/>
                  </a:lnTo>
                  <a:lnTo>
                    <a:pt x="145" y="33"/>
                  </a:lnTo>
                  <a:lnTo>
                    <a:pt x="169" y="21"/>
                  </a:lnTo>
                  <a:lnTo>
                    <a:pt x="195" y="11"/>
                  </a:lnTo>
                  <a:lnTo>
                    <a:pt x="222" y="6"/>
                  </a:lnTo>
                  <a:lnTo>
                    <a:pt x="249" y="1"/>
                  </a:lnTo>
                  <a:lnTo>
                    <a:pt x="278" y="0"/>
                  </a:lnTo>
                  <a:lnTo>
                    <a:pt x="278" y="0"/>
                  </a:lnTo>
                  <a:lnTo>
                    <a:pt x="305" y="1"/>
                  </a:lnTo>
                  <a:lnTo>
                    <a:pt x="334" y="6"/>
                  </a:lnTo>
                  <a:lnTo>
                    <a:pt x="360" y="11"/>
                  </a:lnTo>
                  <a:lnTo>
                    <a:pt x="385" y="21"/>
                  </a:lnTo>
                  <a:lnTo>
                    <a:pt x="410" y="33"/>
                  </a:lnTo>
                  <a:lnTo>
                    <a:pt x="433" y="47"/>
                  </a:lnTo>
                  <a:lnTo>
                    <a:pt x="454" y="63"/>
                  </a:lnTo>
                  <a:lnTo>
                    <a:pt x="473" y="80"/>
                  </a:lnTo>
                  <a:lnTo>
                    <a:pt x="491" y="100"/>
                  </a:lnTo>
                  <a:lnTo>
                    <a:pt x="507" y="121"/>
                  </a:lnTo>
                  <a:lnTo>
                    <a:pt x="521" y="144"/>
                  </a:lnTo>
                  <a:lnTo>
                    <a:pt x="533" y="168"/>
                  </a:lnTo>
                  <a:lnTo>
                    <a:pt x="541" y="192"/>
                  </a:lnTo>
                  <a:lnTo>
                    <a:pt x="549" y="219"/>
                  </a:lnTo>
                  <a:lnTo>
                    <a:pt x="553" y="246"/>
                  </a:lnTo>
                  <a:lnTo>
                    <a:pt x="554" y="275"/>
                  </a:lnTo>
                  <a:lnTo>
                    <a:pt x="554" y="275"/>
                  </a:lnTo>
                  <a:close/>
                  <a:moveTo>
                    <a:pt x="554" y="275"/>
                  </a:moveTo>
                  <a:lnTo>
                    <a:pt x="554" y="275"/>
                  </a:lnTo>
                  <a:close/>
                </a:path>
              </a:pathLst>
            </a:custGeom>
            <a:solidFill>
              <a:srgbClr val="B61F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4" name="Freeform 7"/>
            <p:cNvSpPr>
              <a:spLocks/>
            </p:cNvSpPr>
            <p:nvPr userDrawn="1"/>
          </p:nvSpPr>
          <p:spPr bwMode="auto">
            <a:xfrm>
              <a:off x="5486" y="647"/>
              <a:ext cx="185" cy="183"/>
            </a:xfrm>
            <a:custGeom>
              <a:avLst/>
              <a:gdLst>
                <a:gd name="T0" fmla="*/ 554 w 554"/>
                <a:gd name="T1" fmla="*/ 275 h 550"/>
                <a:gd name="T2" fmla="*/ 549 w 554"/>
                <a:gd name="T3" fmla="*/ 331 h 550"/>
                <a:gd name="T4" fmla="*/ 533 w 554"/>
                <a:gd name="T5" fmla="*/ 382 h 550"/>
                <a:gd name="T6" fmla="*/ 507 w 554"/>
                <a:gd name="T7" fmla="*/ 429 h 550"/>
                <a:gd name="T8" fmla="*/ 473 w 554"/>
                <a:gd name="T9" fmla="*/ 470 h 550"/>
                <a:gd name="T10" fmla="*/ 433 w 554"/>
                <a:gd name="T11" fmla="*/ 503 h 550"/>
                <a:gd name="T12" fmla="*/ 385 w 554"/>
                <a:gd name="T13" fmla="*/ 529 h 550"/>
                <a:gd name="T14" fmla="*/ 334 w 554"/>
                <a:gd name="T15" fmla="*/ 544 h 550"/>
                <a:gd name="T16" fmla="*/ 278 w 554"/>
                <a:gd name="T17" fmla="*/ 550 h 550"/>
                <a:gd name="T18" fmla="*/ 249 w 554"/>
                <a:gd name="T19" fmla="*/ 549 h 550"/>
                <a:gd name="T20" fmla="*/ 195 w 554"/>
                <a:gd name="T21" fmla="*/ 539 h 550"/>
                <a:gd name="T22" fmla="*/ 145 w 554"/>
                <a:gd name="T23" fmla="*/ 517 h 550"/>
                <a:gd name="T24" fmla="*/ 102 w 554"/>
                <a:gd name="T25" fmla="*/ 487 h 550"/>
                <a:gd name="T26" fmla="*/ 63 w 554"/>
                <a:gd name="T27" fmla="*/ 450 h 550"/>
                <a:gd name="T28" fmla="*/ 33 w 554"/>
                <a:gd name="T29" fmla="*/ 406 h 550"/>
                <a:gd name="T30" fmla="*/ 13 w 554"/>
                <a:gd name="T31" fmla="*/ 358 h 550"/>
                <a:gd name="T32" fmla="*/ 2 w 554"/>
                <a:gd name="T33" fmla="*/ 303 h 550"/>
                <a:gd name="T34" fmla="*/ 0 w 554"/>
                <a:gd name="T35" fmla="*/ 275 h 550"/>
                <a:gd name="T36" fmla="*/ 6 w 554"/>
                <a:gd name="T37" fmla="*/ 219 h 550"/>
                <a:gd name="T38" fmla="*/ 22 w 554"/>
                <a:gd name="T39" fmla="*/ 168 h 550"/>
                <a:gd name="T40" fmla="*/ 48 w 554"/>
                <a:gd name="T41" fmla="*/ 121 h 550"/>
                <a:gd name="T42" fmla="*/ 82 w 554"/>
                <a:gd name="T43" fmla="*/ 80 h 550"/>
                <a:gd name="T44" fmla="*/ 122 w 554"/>
                <a:gd name="T45" fmla="*/ 47 h 550"/>
                <a:gd name="T46" fmla="*/ 169 w 554"/>
                <a:gd name="T47" fmla="*/ 21 h 550"/>
                <a:gd name="T48" fmla="*/ 222 w 554"/>
                <a:gd name="T49" fmla="*/ 6 h 550"/>
                <a:gd name="T50" fmla="*/ 278 w 554"/>
                <a:gd name="T51" fmla="*/ 0 h 550"/>
                <a:gd name="T52" fmla="*/ 305 w 554"/>
                <a:gd name="T53" fmla="*/ 1 h 550"/>
                <a:gd name="T54" fmla="*/ 360 w 554"/>
                <a:gd name="T55" fmla="*/ 11 h 550"/>
                <a:gd name="T56" fmla="*/ 410 w 554"/>
                <a:gd name="T57" fmla="*/ 33 h 550"/>
                <a:gd name="T58" fmla="*/ 454 w 554"/>
                <a:gd name="T59" fmla="*/ 63 h 550"/>
                <a:gd name="T60" fmla="*/ 491 w 554"/>
                <a:gd name="T61" fmla="*/ 100 h 550"/>
                <a:gd name="T62" fmla="*/ 521 w 554"/>
                <a:gd name="T63" fmla="*/ 144 h 550"/>
                <a:gd name="T64" fmla="*/ 541 w 554"/>
                <a:gd name="T65" fmla="*/ 192 h 550"/>
                <a:gd name="T66" fmla="*/ 553 w 554"/>
                <a:gd name="T67" fmla="*/ 246 h 550"/>
                <a:gd name="T68" fmla="*/ 554 w 554"/>
                <a:gd name="T69" fmla="*/ 275 h 5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54" h="550">
                  <a:moveTo>
                    <a:pt x="554" y="275"/>
                  </a:moveTo>
                  <a:lnTo>
                    <a:pt x="554" y="275"/>
                  </a:lnTo>
                  <a:lnTo>
                    <a:pt x="553" y="303"/>
                  </a:lnTo>
                  <a:lnTo>
                    <a:pt x="549" y="331"/>
                  </a:lnTo>
                  <a:lnTo>
                    <a:pt x="541" y="358"/>
                  </a:lnTo>
                  <a:lnTo>
                    <a:pt x="533" y="382"/>
                  </a:lnTo>
                  <a:lnTo>
                    <a:pt x="521" y="406"/>
                  </a:lnTo>
                  <a:lnTo>
                    <a:pt x="507" y="429"/>
                  </a:lnTo>
                  <a:lnTo>
                    <a:pt x="491" y="450"/>
                  </a:lnTo>
                  <a:lnTo>
                    <a:pt x="473" y="470"/>
                  </a:lnTo>
                  <a:lnTo>
                    <a:pt x="454" y="487"/>
                  </a:lnTo>
                  <a:lnTo>
                    <a:pt x="433" y="503"/>
                  </a:lnTo>
                  <a:lnTo>
                    <a:pt x="410" y="517"/>
                  </a:lnTo>
                  <a:lnTo>
                    <a:pt x="385" y="529"/>
                  </a:lnTo>
                  <a:lnTo>
                    <a:pt x="360" y="539"/>
                  </a:lnTo>
                  <a:lnTo>
                    <a:pt x="334" y="544"/>
                  </a:lnTo>
                  <a:lnTo>
                    <a:pt x="305" y="549"/>
                  </a:lnTo>
                  <a:lnTo>
                    <a:pt x="278" y="550"/>
                  </a:lnTo>
                  <a:lnTo>
                    <a:pt x="278" y="550"/>
                  </a:lnTo>
                  <a:lnTo>
                    <a:pt x="249" y="549"/>
                  </a:lnTo>
                  <a:lnTo>
                    <a:pt x="222" y="544"/>
                  </a:lnTo>
                  <a:lnTo>
                    <a:pt x="195" y="539"/>
                  </a:lnTo>
                  <a:lnTo>
                    <a:pt x="169" y="529"/>
                  </a:lnTo>
                  <a:lnTo>
                    <a:pt x="145" y="517"/>
                  </a:lnTo>
                  <a:lnTo>
                    <a:pt x="122" y="503"/>
                  </a:lnTo>
                  <a:lnTo>
                    <a:pt x="102" y="487"/>
                  </a:lnTo>
                  <a:lnTo>
                    <a:pt x="82" y="470"/>
                  </a:lnTo>
                  <a:lnTo>
                    <a:pt x="63" y="450"/>
                  </a:lnTo>
                  <a:lnTo>
                    <a:pt x="48" y="429"/>
                  </a:lnTo>
                  <a:lnTo>
                    <a:pt x="33" y="406"/>
                  </a:lnTo>
                  <a:lnTo>
                    <a:pt x="22" y="382"/>
                  </a:lnTo>
                  <a:lnTo>
                    <a:pt x="13" y="358"/>
                  </a:lnTo>
                  <a:lnTo>
                    <a:pt x="6" y="331"/>
                  </a:lnTo>
                  <a:lnTo>
                    <a:pt x="2" y="303"/>
                  </a:lnTo>
                  <a:lnTo>
                    <a:pt x="0" y="275"/>
                  </a:lnTo>
                  <a:lnTo>
                    <a:pt x="0" y="275"/>
                  </a:lnTo>
                  <a:lnTo>
                    <a:pt x="2" y="246"/>
                  </a:lnTo>
                  <a:lnTo>
                    <a:pt x="6" y="219"/>
                  </a:lnTo>
                  <a:lnTo>
                    <a:pt x="13" y="192"/>
                  </a:lnTo>
                  <a:lnTo>
                    <a:pt x="22" y="168"/>
                  </a:lnTo>
                  <a:lnTo>
                    <a:pt x="33" y="144"/>
                  </a:lnTo>
                  <a:lnTo>
                    <a:pt x="48" y="121"/>
                  </a:lnTo>
                  <a:lnTo>
                    <a:pt x="63" y="100"/>
                  </a:lnTo>
                  <a:lnTo>
                    <a:pt x="82" y="80"/>
                  </a:lnTo>
                  <a:lnTo>
                    <a:pt x="102" y="63"/>
                  </a:lnTo>
                  <a:lnTo>
                    <a:pt x="122" y="47"/>
                  </a:lnTo>
                  <a:lnTo>
                    <a:pt x="145" y="33"/>
                  </a:lnTo>
                  <a:lnTo>
                    <a:pt x="169" y="21"/>
                  </a:lnTo>
                  <a:lnTo>
                    <a:pt x="195" y="11"/>
                  </a:lnTo>
                  <a:lnTo>
                    <a:pt x="222" y="6"/>
                  </a:lnTo>
                  <a:lnTo>
                    <a:pt x="249" y="1"/>
                  </a:lnTo>
                  <a:lnTo>
                    <a:pt x="278" y="0"/>
                  </a:lnTo>
                  <a:lnTo>
                    <a:pt x="278" y="0"/>
                  </a:lnTo>
                  <a:lnTo>
                    <a:pt x="305" y="1"/>
                  </a:lnTo>
                  <a:lnTo>
                    <a:pt x="334" y="6"/>
                  </a:lnTo>
                  <a:lnTo>
                    <a:pt x="360" y="11"/>
                  </a:lnTo>
                  <a:lnTo>
                    <a:pt x="385" y="21"/>
                  </a:lnTo>
                  <a:lnTo>
                    <a:pt x="410" y="33"/>
                  </a:lnTo>
                  <a:lnTo>
                    <a:pt x="433" y="47"/>
                  </a:lnTo>
                  <a:lnTo>
                    <a:pt x="454" y="63"/>
                  </a:lnTo>
                  <a:lnTo>
                    <a:pt x="473" y="80"/>
                  </a:lnTo>
                  <a:lnTo>
                    <a:pt x="491" y="100"/>
                  </a:lnTo>
                  <a:lnTo>
                    <a:pt x="507" y="121"/>
                  </a:lnTo>
                  <a:lnTo>
                    <a:pt x="521" y="144"/>
                  </a:lnTo>
                  <a:lnTo>
                    <a:pt x="533" y="168"/>
                  </a:lnTo>
                  <a:lnTo>
                    <a:pt x="541" y="192"/>
                  </a:lnTo>
                  <a:lnTo>
                    <a:pt x="549" y="219"/>
                  </a:lnTo>
                  <a:lnTo>
                    <a:pt x="553" y="246"/>
                  </a:lnTo>
                  <a:lnTo>
                    <a:pt x="554" y="275"/>
                  </a:lnTo>
                  <a:lnTo>
                    <a:pt x="554" y="27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5" name="Line 8"/>
            <p:cNvSpPr>
              <a:spLocks noChangeShapeType="1"/>
            </p:cNvSpPr>
            <p:nvPr userDrawn="1"/>
          </p:nvSpPr>
          <p:spPr bwMode="auto">
            <a:xfrm>
              <a:off x="5671" y="739"/>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6" name="Freeform 9"/>
            <p:cNvSpPr>
              <a:spLocks/>
            </p:cNvSpPr>
            <p:nvPr userDrawn="1"/>
          </p:nvSpPr>
          <p:spPr bwMode="auto">
            <a:xfrm>
              <a:off x="5486" y="647"/>
              <a:ext cx="185" cy="183"/>
            </a:xfrm>
            <a:custGeom>
              <a:avLst/>
              <a:gdLst>
                <a:gd name="T0" fmla="*/ 554 w 554"/>
                <a:gd name="T1" fmla="*/ 275 h 550"/>
                <a:gd name="T2" fmla="*/ 549 w 554"/>
                <a:gd name="T3" fmla="*/ 331 h 550"/>
                <a:gd name="T4" fmla="*/ 533 w 554"/>
                <a:gd name="T5" fmla="*/ 382 h 550"/>
                <a:gd name="T6" fmla="*/ 507 w 554"/>
                <a:gd name="T7" fmla="*/ 429 h 550"/>
                <a:gd name="T8" fmla="*/ 473 w 554"/>
                <a:gd name="T9" fmla="*/ 470 h 550"/>
                <a:gd name="T10" fmla="*/ 433 w 554"/>
                <a:gd name="T11" fmla="*/ 503 h 550"/>
                <a:gd name="T12" fmla="*/ 385 w 554"/>
                <a:gd name="T13" fmla="*/ 529 h 550"/>
                <a:gd name="T14" fmla="*/ 334 w 554"/>
                <a:gd name="T15" fmla="*/ 544 h 550"/>
                <a:gd name="T16" fmla="*/ 278 w 554"/>
                <a:gd name="T17" fmla="*/ 550 h 550"/>
                <a:gd name="T18" fmla="*/ 249 w 554"/>
                <a:gd name="T19" fmla="*/ 549 h 550"/>
                <a:gd name="T20" fmla="*/ 195 w 554"/>
                <a:gd name="T21" fmla="*/ 539 h 550"/>
                <a:gd name="T22" fmla="*/ 145 w 554"/>
                <a:gd name="T23" fmla="*/ 517 h 550"/>
                <a:gd name="T24" fmla="*/ 102 w 554"/>
                <a:gd name="T25" fmla="*/ 487 h 550"/>
                <a:gd name="T26" fmla="*/ 63 w 554"/>
                <a:gd name="T27" fmla="*/ 450 h 550"/>
                <a:gd name="T28" fmla="*/ 33 w 554"/>
                <a:gd name="T29" fmla="*/ 406 h 550"/>
                <a:gd name="T30" fmla="*/ 13 w 554"/>
                <a:gd name="T31" fmla="*/ 358 h 550"/>
                <a:gd name="T32" fmla="*/ 2 w 554"/>
                <a:gd name="T33" fmla="*/ 303 h 550"/>
                <a:gd name="T34" fmla="*/ 0 w 554"/>
                <a:gd name="T35" fmla="*/ 275 h 550"/>
                <a:gd name="T36" fmla="*/ 6 w 554"/>
                <a:gd name="T37" fmla="*/ 219 h 550"/>
                <a:gd name="T38" fmla="*/ 22 w 554"/>
                <a:gd name="T39" fmla="*/ 168 h 550"/>
                <a:gd name="T40" fmla="*/ 48 w 554"/>
                <a:gd name="T41" fmla="*/ 121 h 550"/>
                <a:gd name="T42" fmla="*/ 82 w 554"/>
                <a:gd name="T43" fmla="*/ 80 h 550"/>
                <a:gd name="T44" fmla="*/ 122 w 554"/>
                <a:gd name="T45" fmla="*/ 47 h 550"/>
                <a:gd name="T46" fmla="*/ 169 w 554"/>
                <a:gd name="T47" fmla="*/ 21 h 550"/>
                <a:gd name="T48" fmla="*/ 222 w 554"/>
                <a:gd name="T49" fmla="*/ 6 h 550"/>
                <a:gd name="T50" fmla="*/ 278 w 554"/>
                <a:gd name="T51" fmla="*/ 0 h 550"/>
                <a:gd name="T52" fmla="*/ 305 w 554"/>
                <a:gd name="T53" fmla="*/ 1 h 550"/>
                <a:gd name="T54" fmla="*/ 360 w 554"/>
                <a:gd name="T55" fmla="*/ 11 h 550"/>
                <a:gd name="T56" fmla="*/ 410 w 554"/>
                <a:gd name="T57" fmla="*/ 33 h 550"/>
                <a:gd name="T58" fmla="*/ 454 w 554"/>
                <a:gd name="T59" fmla="*/ 63 h 550"/>
                <a:gd name="T60" fmla="*/ 491 w 554"/>
                <a:gd name="T61" fmla="*/ 100 h 550"/>
                <a:gd name="T62" fmla="*/ 521 w 554"/>
                <a:gd name="T63" fmla="*/ 144 h 550"/>
                <a:gd name="T64" fmla="*/ 541 w 554"/>
                <a:gd name="T65" fmla="*/ 192 h 550"/>
                <a:gd name="T66" fmla="*/ 553 w 554"/>
                <a:gd name="T67" fmla="*/ 246 h 550"/>
                <a:gd name="T68" fmla="*/ 554 w 554"/>
                <a:gd name="T69" fmla="*/ 275 h 5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54" h="550">
                  <a:moveTo>
                    <a:pt x="554" y="275"/>
                  </a:moveTo>
                  <a:lnTo>
                    <a:pt x="554" y="275"/>
                  </a:lnTo>
                  <a:lnTo>
                    <a:pt x="553" y="303"/>
                  </a:lnTo>
                  <a:lnTo>
                    <a:pt x="549" y="331"/>
                  </a:lnTo>
                  <a:lnTo>
                    <a:pt x="541" y="358"/>
                  </a:lnTo>
                  <a:lnTo>
                    <a:pt x="533" y="382"/>
                  </a:lnTo>
                  <a:lnTo>
                    <a:pt x="521" y="406"/>
                  </a:lnTo>
                  <a:lnTo>
                    <a:pt x="507" y="429"/>
                  </a:lnTo>
                  <a:lnTo>
                    <a:pt x="491" y="450"/>
                  </a:lnTo>
                  <a:lnTo>
                    <a:pt x="473" y="470"/>
                  </a:lnTo>
                  <a:lnTo>
                    <a:pt x="454" y="487"/>
                  </a:lnTo>
                  <a:lnTo>
                    <a:pt x="433" y="503"/>
                  </a:lnTo>
                  <a:lnTo>
                    <a:pt x="410" y="517"/>
                  </a:lnTo>
                  <a:lnTo>
                    <a:pt x="385" y="529"/>
                  </a:lnTo>
                  <a:lnTo>
                    <a:pt x="360" y="539"/>
                  </a:lnTo>
                  <a:lnTo>
                    <a:pt x="334" y="544"/>
                  </a:lnTo>
                  <a:lnTo>
                    <a:pt x="305" y="549"/>
                  </a:lnTo>
                  <a:lnTo>
                    <a:pt x="278" y="550"/>
                  </a:lnTo>
                  <a:lnTo>
                    <a:pt x="278" y="550"/>
                  </a:lnTo>
                  <a:lnTo>
                    <a:pt x="249" y="549"/>
                  </a:lnTo>
                  <a:lnTo>
                    <a:pt x="222" y="544"/>
                  </a:lnTo>
                  <a:lnTo>
                    <a:pt x="195" y="539"/>
                  </a:lnTo>
                  <a:lnTo>
                    <a:pt x="169" y="529"/>
                  </a:lnTo>
                  <a:lnTo>
                    <a:pt x="145" y="517"/>
                  </a:lnTo>
                  <a:lnTo>
                    <a:pt x="122" y="503"/>
                  </a:lnTo>
                  <a:lnTo>
                    <a:pt x="102" y="487"/>
                  </a:lnTo>
                  <a:lnTo>
                    <a:pt x="82" y="470"/>
                  </a:lnTo>
                  <a:lnTo>
                    <a:pt x="63" y="450"/>
                  </a:lnTo>
                  <a:lnTo>
                    <a:pt x="48" y="429"/>
                  </a:lnTo>
                  <a:lnTo>
                    <a:pt x="33" y="406"/>
                  </a:lnTo>
                  <a:lnTo>
                    <a:pt x="22" y="382"/>
                  </a:lnTo>
                  <a:lnTo>
                    <a:pt x="13" y="358"/>
                  </a:lnTo>
                  <a:lnTo>
                    <a:pt x="6" y="331"/>
                  </a:lnTo>
                  <a:lnTo>
                    <a:pt x="2" y="303"/>
                  </a:lnTo>
                  <a:lnTo>
                    <a:pt x="0" y="275"/>
                  </a:lnTo>
                  <a:lnTo>
                    <a:pt x="0" y="275"/>
                  </a:lnTo>
                  <a:lnTo>
                    <a:pt x="2" y="246"/>
                  </a:lnTo>
                  <a:lnTo>
                    <a:pt x="6" y="219"/>
                  </a:lnTo>
                  <a:lnTo>
                    <a:pt x="13" y="192"/>
                  </a:lnTo>
                  <a:lnTo>
                    <a:pt x="22" y="168"/>
                  </a:lnTo>
                  <a:lnTo>
                    <a:pt x="33" y="144"/>
                  </a:lnTo>
                  <a:lnTo>
                    <a:pt x="48" y="121"/>
                  </a:lnTo>
                  <a:lnTo>
                    <a:pt x="63" y="100"/>
                  </a:lnTo>
                  <a:lnTo>
                    <a:pt x="82" y="80"/>
                  </a:lnTo>
                  <a:lnTo>
                    <a:pt x="102" y="63"/>
                  </a:lnTo>
                  <a:lnTo>
                    <a:pt x="122" y="47"/>
                  </a:lnTo>
                  <a:lnTo>
                    <a:pt x="145" y="33"/>
                  </a:lnTo>
                  <a:lnTo>
                    <a:pt x="169" y="21"/>
                  </a:lnTo>
                  <a:lnTo>
                    <a:pt x="195" y="11"/>
                  </a:lnTo>
                  <a:lnTo>
                    <a:pt x="222" y="6"/>
                  </a:lnTo>
                  <a:lnTo>
                    <a:pt x="249" y="1"/>
                  </a:lnTo>
                  <a:lnTo>
                    <a:pt x="278" y="0"/>
                  </a:lnTo>
                  <a:lnTo>
                    <a:pt x="278" y="0"/>
                  </a:lnTo>
                  <a:lnTo>
                    <a:pt x="305" y="1"/>
                  </a:lnTo>
                  <a:lnTo>
                    <a:pt x="334" y="6"/>
                  </a:lnTo>
                  <a:lnTo>
                    <a:pt x="360" y="11"/>
                  </a:lnTo>
                  <a:lnTo>
                    <a:pt x="385" y="21"/>
                  </a:lnTo>
                  <a:lnTo>
                    <a:pt x="410" y="33"/>
                  </a:lnTo>
                  <a:lnTo>
                    <a:pt x="433" y="47"/>
                  </a:lnTo>
                  <a:lnTo>
                    <a:pt x="454" y="63"/>
                  </a:lnTo>
                  <a:lnTo>
                    <a:pt x="473" y="80"/>
                  </a:lnTo>
                  <a:lnTo>
                    <a:pt x="491" y="100"/>
                  </a:lnTo>
                  <a:lnTo>
                    <a:pt x="507" y="121"/>
                  </a:lnTo>
                  <a:lnTo>
                    <a:pt x="521" y="144"/>
                  </a:lnTo>
                  <a:lnTo>
                    <a:pt x="533" y="168"/>
                  </a:lnTo>
                  <a:lnTo>
                    <a:pt x="541" y="192"/>
                  </a:lnTo>
                  <a:lnTo>
                    <a:pt x="549" y="219"/>
                  </a:lnTo>
                  <a:lnTo>
                    <a:pt x="553" y="246"/>
                  </a:lnTo>
                  <a:lnTo>
                    <a:pt x="554" y="275"/>
                  </a:lnTo>
                  <a:lnTo>
                    <a:pt x="554" y="275"/>
                  </a:lnTo>
                </a:path>
              </a:pathLst>
            </a:custGeom>
            <a:noFill/>
            <a:ln w="1588">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57" name="Line 10"/>
            <p:cNvSpPr>
              <a:spLocks noChangeShapeType="1"/>
            </p:cNvSpPr>
            <p:nvPr userDrawn="1"/>
          </p:nvSpPr>
          <p:spPr bwMode="auto">
            <a:xfrm>
              <a:off x="5671" y="739"/>
              <a:ext cx="0" cy="0"/>
            </a:xfrm>
            <a:prstGeom prst="line">
              <a:avLst/>
            </a:prstGeom>
            <a:noFill/>
            <a:ln w="1588">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58" name="Freeform 11"/>
            <p:cNvSpPr>
              <a:spLocks noEditPoints="1"/>
            </p:cNvSpPr>
            <p:nvPr userDrawn="1"/>
          </p:nvSpPr>
          <p:spPr bwMode="auto">
            <a:xfrm>
              <a:off x="5497" y="659"/>
              <a:ext cx="170" cy="170"/>
            </a:xfrm>
            <a:custGeom>
              <a:avLst/>
              <a:gdLst>
                <a:gd name="T0" fmla="*/ 510 w 510"/>
                <a:gd name="T1" fmla="*/ 257 h 511"/>
                <a:gd name="T2" fmla="*/ 504 w 510"/>
                <a:gd name="T3" fmla="*/ 309 h 511"/>
                <a:gd name="T4" fmla="*/ 490 w 510"/>
                <a:gd name="T5" fmla="*/ 356 h 511"/>
                <a:gd name="T6" fmla="*/ 465 w 510"/>
                <a:gd name="T7" fmla="*/ 399 h 511"/>
                <a:gd name="T8" fmla="*/ 434 w 510"/>
                <a:gd name="T9" fmla="*/ 437 h 511"/>
                <a:gd name="T10" fmla="*/ 397 w 510"/>
                <a:gd name="T11" fmla="*/ 467 h 511"/>
                <a:gd name="T12" fmla="*/ 354 w 510"/>
                <a:gd name="T13" fmla="*/ 491 h 511"/>
                <a:gd name="T14" fmla="*/ 307 w 510"/>
                <a:gd name="T15" fmla="*/ 505 h 511"/>
                <a:gd name="T16" fmla="*/ 255 w 510"/>
                <a:gd name="T17" fmla="*/ 511 h 511"/>
                <a:gd name="T18" fmla="*/ 229 w 510"/>
                <a:gd name="T19" fmla="*/ 510 h 511"/>
                <a:gd name="T20" fmla="*/ 179 w 510"/>
                <a:gd name="T21" fmla="*/ 500 h 511"/>
                <a:gd name="T22" fmla="*/ 133 w 510"/>
                <a:gd name="T23" fmla="*/ 480 h 511"/>
                <a:gd name="T24" fmla="*/ 93 w 510"/>
                <a:gd name="T25" fmla="*/ 453 h 511"/>
                <a:gd name="T26" fmla="*/ 59 w 510"/>
                <a:gd name="T27" fmla="*/ 419 h 511"/>
                <a:gd name="T28" fmla="*/ 30 w 510"/>
                <a:gd name="T29" fmla="*/ 379 h 511"/>
                <a:gd name="T30" fmla="*/ 12 w 510"/>
                <a:gd name="T31" fmla="*/ 333 h 511"/>
                <a:gd name="T32" fmla="*/ 2 w 510"/>
                <a:gd name="T33" fmla="*/ 283 h 511"/>
                <a:gd name="T34" fmla="*/ 0 w 510"/>
                <a:gd name="T35" fmla="*/ 257 h 511"/>
                <a:gd name="T36" fmla="*/ 6 w 510"/>
                <a:gd name="T37" fmla="*/ 206 h 511"/>
                <a:gd name="T38" fmla="*/ 20 w 510"/>
                <a:gd name="T39" fmla="*/ 158 h 511"/>
                <a:gd name="T40" fmla="*/ 43 w 510"/>
                <a:gd name="T41" fmla="*/ 115 h 511"/>
                <a:gd name="T42" fmla="*/ 75 w 510"/>
                <a:gd name="T43" fmla="*/ 77 h 511"/>
                <a:gd name="T44" fmla="*/ 112 w 510"/>
                <a:gd name="T45" fmla="*/ 44 h 511"/>
                <a:gd name="T46" fmla="*/ 156 w 510"/>
                <a:gd name="T47" fmla="*/ 21 h 511"/>
                <a:gd name="T48" fmla="*/ 204 w 510"/>
                <a:gd name="T49" fmla="*/ 5 h 511"/>
                <a:gd name="T50" fmla="*/ 255 w 510"/>
                <a:gd name="T51" fmla="*/ 0 h 511"/>
                <a:gd name="T52" fmla="*/ 284 w 510"/>
                <a:gd name="T53" fmla="*/ 1 h 511"/>
                <a:gd name="T54" fmla="*/ 337 w 510"/>
                <a:gd name="T55" fmla="*/ 11 h 511"/>
                <a:gd name="T56" fmla="*/ 384 w 510"/>
                <a:gd name="T57" fmla="*/ 31 h 511"/>
                <a:gd name="T58" fmla="*/ 424 w 510"/>
                <a:gd name="T59" fmla="*/ 59 h 511"/>
                <a:gd name="T60" fmla="*/ 457 w 510"/>
                <a:gd name="T61" fmla="*/ 95 h 511"/>
                <a:gd name="T62" fmla="*/ 481 w 510"/>
                <a:gd name="T63" fmla="*/ 136 h 511"/>
                <a:gd name="T64" fmla="*/ 500 w 510"/>
                <a:gd name="T65" fmla="*/ 182 h 511"/>
                <a:gd name="T66" fmla="*/ 508 w 510"/>
                <a:gd name="T67" fmla="*/ 232 h 511"/>
                <a:gd name="T68" fmla="*/ 510 w 510"/>
                <a:gd name="T69" fmla="*/ 257 h 511"/>
                <a:gd name="T70" fmla="*/ 510 w 510"/>
                <a:gd name="T71" fmla="*/ 257 h 5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0" h="511">
                  <a:moveTo>
                    <a:pt x="510" y="257"/>
                  </a:moveTo>
                  <a:lnTo>
                    <a:pt x="510" y="257"/>
                  </a:lnTo>
                  <a:lnTo>
                    <a:pt x="508" y="283"/>
                  </a:lnTo>
                  <a:lnTo>
                    <a:pt x="504" y="309"/>
                  </a:lnTo>
                  <a:lnTo>
                    <a:pt x="498" y="333"/>
                  </a:lnTo>
                  <a:lnTo>
                    <a:pt x="490" y="356"/>
                  </a:lnTo>
                  <a:lnTo>
                    <a:pt x="478" y="379"/>
                  </a:lnTo>
                  <a:lnTo>
                    <a:pt x="465" y="399"/>
                  </a:lnTo>
                  <a:lnTo>
                    <a:pt x="451" y="419"/>
                  </a:lnTo>
                  <a:lnTo>
                    <a:pt x="434" y="437"/>
                  </a:lnTo>
                  <a:lnTo>
                    <a:pt x="417" y="453"/>
                  </a:lnTo>
                  <a:lnTo>
                    <a:pt x="397" y="467"/>
                  </a:lnTo>
                  <a:lnTo>
                    <a:pt x="377" y="480"/>
                  </a:lnTo>
                  <a:lnTo>
                    <a:pt x="354" y="491"/>
                  </a:lnTo>
                  <a:lnTo>
                    <a:pt x="331" y="500"/>
                  </a:lnTo>
                  <a:lnTo>
                    <a:pt x="307" y="505"/>
                  </a:lnTo>
                  <a:lnTo>
                    <a:pt x="281" y="510"/>
                  </a:lnTo>
                  <a:lnTo>
                    <a:pt x="255" y="511"/>
                  </a:lnTo>
                  <a:lnTo>
                    <a:pt x="255" y="511"/>
                  </a:lnTo>
                  <a:lnTo>
                    <a:pt x="229" y="510"/>
                  </a:lnTo>
                  <a:lnTo>
                    <a:pt x="204" y="505"/>
                  </a:lnTo>
                  <a:lnTo>
                    <a:pt x="179" y="500"/>
                  </a:lnTo>
                  <a:lnTo>
                    <a:pt x="156" y="491"/>
                  </a:lnTo>
                  <a:lnTo>
                    <a:pt x="133" y="480"/>
                  </a:lnTo>
                  <a:lnTo>
                    <a:pt x="112" y="467"/>
                  </a:lnTo>
                  <a:lnTo>
                    <a:pt x="93" y="453"/>
                  </a:lnTo>
                  <a:lnTo>
                    <a:pt x="75" y="437"/>
                  </a:lnTo>
                  <a:lnTo>
                    <a:pt x="59" y="419"/>
                  </a:lnTo>
                  <a:lnTo>
                    <a:pt x="43" y="399"/>
                  </a:lnTo>
                  <a:lnTo>
                    <a:pt x="30" y="379"/>
                  </a:lnTo>
                  <a:lnTo>
                    <a:pt x="20" y="356"/>
                  </a:lnTo>
                  <a:lnTo>
                    <a:pt x="12" y="333"/>
                  </a:lnTo>
                  <a:lnTo>
                    <a:pt x="6" y="309"/>
                  </a:lnTo>
                  <a:lnTo>
                    <a:pt x="2" y="283"/>
                  </a:lnTo>
                  <a:lnTo>
                    <a:pt x="0" y="257"/>
                  </a:lnTo>
                  <a:lnTo>
                    <a:pt x="0" y="257"/>
                  </a:lnTo>
                  <a:lnTo>
                    <a:pt x="2" y="232"/>
                  </a:lnTo>
                  <a:lnTo>
                    <a:pt x="6" y="206"/>
                  </a:lnTo>
                  <a:lnTo>
                    <a:pt x="12" y="182"/>
                  </a:lnTo>
                  <a:lnTo>
                    <a:pt x="20" y="158"/>
                  </a:lnTo>
                  <a:lnTo>
                    <a:pt x="30" y="136"/>
                  </a:lnTo>
                  <a:lnTo>
                    <a:pt x="43" y="115"/>
                  </a:lnTo>
                  <a:lnTo>
                    <a:pt x="59" y="95"/>
                  </a:lnTo>
                  <a:lnTo>
                    <a:pt x="75" y="77"/>
                  </a:lnTo>
                  <a:lnTo>
                    <a:pt x="93" y="59"/>
                  </a:lnTo>
                  <a:lnTo>
                    <a:pt x="112" y="44"/>
                  </a:lnTo>
                  <a:lnTo>
                    <a:pt x="133" y="31"/>
                  </a:lnTo>
                  <a:lnTo>
                    <a:pt x="156" y="21"/>
                  </a:lnTo>
                  <a:lnTo>
                    <a:pt x="179" y="11"/>
                  </a:lnTo>
                  <a:lnTo>
                    <a:pt x="204" y="5"/>
                  </a:lnTo>
                  <a:lnTo>
                    <a:pt x="229" y="1"/>
                  </a:lnTo>
                  <a:lnTo>
                    <a:pt x="255" y="0"/>
                  </a:lnTo>
                  <a:lnTo>
                    <a:pt x="255" y="0"/>
                  </a:lnTo>
                  <a:lnTo>
                    <a:pt x="284" y="1"/>
                  </a:lnTo>
                  <a:lnTo>
                    <a:pt x="311" y="5"/>
                  </a:lnTo>
                  <a:lnTo>
                    <a:pt x="337" y="11"/>
                  </a:lnTo>
                  <a:lnTo>
                    <a:pt x="361" y="21"/>
                  </a:lnTo>
                  <a:lnTo>
                    <a:pt x="384" y="31"/>
                  </a:lnTo>
                  <a:lnTo>
                    <a:pt x="404" y="44"/>
                  </a:lnTo>
                  <a:lnTo>
                    <a:pt x="424" y="59"/>
                  </a:lnTo>
                  <a:lnTo>
                    <a:pt x="441" y="77"/>
                  </a:lnTo>
                  <a:lnTo>
                    <a:pt x="457" y="95"/>
                  </a:lnTo>
                  <a:lnTo>
                    <a:pt x="470" y="115"/>
                  </a:lnTo>
                  <a:lnTo>
                    <a:pt x="481" y="136"/>
                  </a:lnTo>
                  <a:lnTo>
                    <a:pt x="491" y="158"/>
                  </a:lnTo>
                  <a:lnTo>
                    <a:pt x="500" y="182"/>
                  </a:lnTo>
                  <a:lnTo>
                    <a:pt x="504" y="206"/>
                  </a:lnTo>
                  <a:lnTo>
                    <a:pt x="508" y="232"/>
                  </a:lnTo>
                  <a:lnTo>
                    <a:pt x="510" y="257"/>
                  </a:lnTo>
                  <a:lnTo>
                    <a:pt x="510" y="257"/>
                  </a:lnTo>
                  <a:close/>
                  <a:moveTo>
                    <a:pt x="510" y="257"/>
                  </a:moveTo>
                  <a:lnTo>
                    <a:pt x="510" y="257"/>
                  </a:lnTo>
                  <a:close/>
                </a:path>
              </a:pathLst>
            </a:custGeom>
            <a:solidFill>
              <a:srgbClr val="00987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9" name="Freeform 12"/>
            <p:cNvSpPr>
              <a:spLocks/>
            </p:cNvSpPr>
            <p:nvPr userDrawn="1"/>
          </p:nvSpPr>
          <p:spPr bwMode="auto">
            <a:xfrm>
              <a:off x="5497" y="659"/>
              <a:ext cx="170" cy="170"/>
            </a:xfrm>
            <a:custGeom>
              <a:avLst/>
              <a:gdLst>
                <a:gd name="T0" fmla="*/ 510 w 510"/>
                <a:gd name="T1" fmla="*/ 257 h 511"/>
                <a:gd name="T2" fmla="*/ 504 w 510"/>
                <a:gd name="T3" fmla="*/ 309 h 511"/>
                <a:gd name="T4" fmla="*/ 490 w 510"/>
                <a:gd name="T5" fmla="*/ 356 h 511"/>
                <a:gd name="T6" fmla="*/ 465 w 510"/>
                <a:gd name="T7" fmla="*/ 399 h 511"/>
                <a:gd name="T8" fmla="*/ 434 w 510"/>
                <a:gd name="T9" fmla="*/ 437 h 511"/>
                <a:gd name="T10" fmla="*/ 397 w 510"/>
                <a:gd name="T11" fmla="*/ 467 h 511"/>
                <a:gd name="T12" fmla="*/ 354 w 510"/>
                <a:gd name="T13" fmla="*/ 491 h 511"/>
                <a:gd name="T14" fmla="*/ 307 w 510"/>
                <a:gd name="T15" fmla="*/ 505 h 511"/>
                <a:gd name="T16" fmla="*/ 255 w 510"/>
                <a:gd name="T17" fmla="*/ 511 h 511"/>
                <a:gd name="T18" fmla="*/ 229 w 510"/>
                <a:gd name="T19" fmla="*/ 510 h 511"/>
                <a:gd name="T20" fmla="*/ 179 w 510"/>
                <a:gd name="T21" fmla="*/ 500 h 511"/>
                <a:gd name="T22" fmla="*/ 133 w 510"/>
                <a:gd name="T23" fmla="*/ 480 h 511"/>
                <a:gd name="T24" fmla="*/ 93 w 510"/>
                <a:gd name="T25" fmla="*/ 453 h 511"/>
                <a:gd name="T26" fmla="*/ 59 w 510"/>
                <a:gd name="T27" fmla="*/ 419 h 511"/>
                <a:gd name="T28" fmla="*/ 30 w 510"/>
                <a:gd name="T29" fmla="*/ 379 h 511"/>
                <a:gd name="T30" fmla="*/ 12 w 510"/>
                <a:gd name="T31" fmla="*/ 333 h 511"/>
                <a:gd name="T32" fmla="*/ 2 w 510"/>
                <a:gd name="T33" fmla="*/ 283 h 511"/>
                <a:gd name="T34" fmla="*/ 0 w 510"/>
                <a:gd name="T35" fmla="*/ 257 h 511"/>
                <a:gd name="T36" fmla="*/ 6 w 510"/>
                <a:gd name="T37" fmla="*/ 206 h 511"/>
                <a:gd name="T38" fmla="*/ 20 w 510"/>
                <a:gd name="T39" fmla="*/ 158 h 511"/>
                <a:gd name="T40" fmla="*/ 43 w 510"/>
                <a:gd name="T41" fmla="*/ 115 h 511"/>
                <a:gd name="T42" fmla="*/ 75 w 510"/>
                <a:gd name="T43" fmla="*/ 77 h 511"/>
                <a:gd name="T44" fmla="*/ 112 w 510"/>
                <a:gd name="T45" fmla="*/ 44 h 511"/>
                <a:gd name="T46" fmla="*/ 156 w 510"/>
                <a:gd name="T47" fmla="*/ 21 h 511"/>
                <a:gd name="T48" fmla="*/ 204 w 510"/>
                <a:gd name="T49" fmla="*/ 5 h 511"/>
                <a:gd name="T50" fmla="*/ 255 w 510"/>
                <a:gd name="T51" fmla="*/ 0 h 511"/>
                <a:gd name="T52" fmla="*/ 284 w 510"/>
                <a:gd name="T53" fmla="*/ 1 h 511"/>
                <a:gd name="T54" fmla="*/ 337 w 510"/>
                <a:gd name="T55" fmla="*/ 11 h 511"/>
                <a:gd name="T56" fmla="*/ 384 w 510"/>
                <a:gd name="T57" fmla="*/ 31 h 511"/>
                <a:gd name="T58" fmla="*/ 424 w 510"/>
                <a:gd name="T59" fmla="*/ 59 h 511"/>
                <a:gd name="T60" fmla="*/ 457 w 510"/>
                <a:gd name="T61" fmla="*/ 95 h 511"/>
                <a:gd name="T62" fmla="*/ 481 w 510"/>
                <a:gd name="T63" fmla="*/ 136 h 511"/>
                <a:gd name="T64" fmla="*/ 500 w 510"/>
                <a:gd name="T65" fmla="*/ 182 h 511"/>
                <a:gd name="T66" fmla="*/ 508 w 510"/>
                <a:gd name="T67" fmla="*/ 232 h 511"/>
                <a:gd name="T68" fmla="*/ 510 w 510"/>
                <a:gd name="T69" fmla="*/ 257 h 5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0" h="511">
                  <a:moveTo>
                    <a:pt x="510" y="257"/>
                  </a:moveTo>
                  <a:lnTo>
                    <a:pt x="510" y="257"/>
                  </a:lnTo>
                  <a:lnTo>
                    <a:pt x="508" y="283"/>
                  </a:lnTo>
                  <a:lnTo>
                    <a:pt x="504" y="309"/>
                  </a:lnTo>
                  <a:lnTo>
                    <a:pt x="498" y="333"/>
                  </a:lnTo>
                  <a:lnTo>
                    <a:pt x="490" y="356"/>
                  </a:lnTo>
                  <a:lnTo>
                    <a:pt x="478" y="379"/>
                  </a:lnTo>
                  <a:lnTo>
                    <a:pt x="465" y="399"/>
                  </a:lnTo>
                  <a:lnTo>
                    <a:pt x="451" y="419"/>
                  </a:lnTo>
                  <a:lnTo>
                    <a:pt x="434" y="437"/>
                  </a:lnTo>
                  <a:lnTo>
                    <a:pt x="417" y="453"/>
                  </a:lnTo>
                  <a:lnTo>
                    <a:pt x="397" y="467"/>
                  </a:lnTo>
                  <a:lnTo>
                    <a:pt x="377" y="480"/>
                  </a:lnTo>
                  <a:lnTo>
                    <a:pt x="354" y="491"/>
                  </a:lnTo>
                  <a:lnTo>
                    <a:pt x="331" y="500"/>
                  </a:lnTo>
                  <a:lnTo>
                    <a:pt x="307" y="505"/>
                  </a:lnTo>
                  <a:lnTo>
                    <a:pt x="281" y="510"/>
                  </a:lnTo>
                  <a:lnTo>
                    <a:pt x="255" y="511"/>
                  </a:lnTo>
                  <a:lnTo>
                    <a:pt x="255" y="511"/>
                  </a:lnTo>
                  <a:lnTo>
                    <a:pt x="229" y="510"/>
                  </a:lnTo>
                  <a:lnTo>
                    <a:pt x="204" y="505"/>
                  </a:lnTo>
                  <a:lnTo>
                    <a:pt x="179" y="500"/>
                  </a:lnTo>
                  <a:lnTo>
                    <a:pt x="156" y="491"/>
                  </a:lnTo>
                  <a:lnTo>
                    <a:pt x="133" y="480"/>
                  </a:lnTo>
                  <a:lnTo>
                    <a:pt x="112" y="467"/>
                  </a:lnTo>
                  <a:lnTo>
                    <a:pt x="93" y="453"/>
                  </a:lnTo>
                  <a:lnTo>
                    <a:pt x="75" y="437"/>
                  </a:lnTo>
                  <a:lnTo>
                    <a:pt x="59" y="419"/>
                  </a:lnTo>
                  <a:lnTo>
                    <a:pt x="43" y="399"/>
                  </a:lnTo>
                  <a:lnTo>
                    <a:pt x="30" y="379"/>
                  </a:lnTo>
                  <a:lnTo>
                    <a:pt x="20" y="356"/>
                  </a:lnTo>
                  <a:lnTo>
                    <a:pt x="12" y="333"/>
                  </a:lnTo>
                  <a:lnTo>
                    <a:pt x="6" y="309"/>
                  </a:lnTo>
                  <a:lnTo>
                    <a:pt x="2" y="283"/>
                  </a:lnTo>
                  <a:lnTo>
                    <a:pt x="0" y="257"/>
                  </a:lnTo>
                  <a:lnTo>
                    <a:pt x="0" y="257"/>
                  </a:lnTo>
                  <a:lnTo>
                    <a:pt x="2" y="232"/>
                  </a:lnTo>
                  <a:lnTo>
                    <a:pt x="6" y="206"/>
                  </a:lnTo>
                  <a:lnTo>
                    <a:pt x="12" y="182"/>
                  </a:lnTo>
                  <a:lnTo>
                    <a:pt x="20" y="158"/>
                  </a:lnTo>
                  <a:lnTo>
                    <a:pt x="30" y="136"/>
                  </a:lnTo>
                  <a:lnTo>
                    <a:pt x="43" y="115"/>
                  </a:lnTo>
                  <a:lnTo>
                    <a:pt x="59" y="95"/>
                  </a:lnTo>
                  <a:lnTo>
                    <a:pt x="75" y="77"/>
                  </a:lnTo>
                  <a:lnTo>
                    <a:pt x="93" y="59"/>
                  </a:lnTo>
                  <a:lnTo>
                    <a:pt x="112" y="44"/>
                  </a:lnTo>
                  <a:lnTo>
                    <a:pt x="133" y="31"/>
                  </a:lnTo>
                  <a:lnTo>
                    <a:pt x="156" y="21"/>
                  </a:lnTo>
                  <a:lnTo>
                    <a:pt x="179" y="11"/>
                  </a:lnTo>
                  <a:lnTo>
                    <a:pt x="204" y="5"/>
                  </a:lnTo>
                  <a:lnTo>
                    <a:pt x="229" y="1"/>
                  </a:lnTo>
                  <a:lnTo>
                    <a:pt x="255" y="0"/>
                  </a:lnTo>
                  <a:lnTo>
                    <a:pt x="255" y="0"/>
                  </a:lnTo>
                  <a:lnTo>
                    <a:pt x="284" y="1"/>
                  </a:lnTo>
                  <a:lnTo>
                    <a:pt x="311" y="5"/>
                  </a:lnTo>
                  <a:lnTo>
                    <a:pt x="337" y="11"/>
                  </a:lnTo>
                  <a:lnTo>
                    <a:pt x="361" y="21"/>
                  </a:lnTo>
                  <a:lnTo>
                    <a:pt x="384" y="31"/>
                  </a:lnTo>
                  <a:lnTo>
                    <a:pt x="404" y="44"/>
                  </a:lnTo>
                  <a:lnTo>
                    <a:pt x="424" y="59"/>
                  </a:lnTo>
                  <a:lnTo>
                    <a:pt x="441" y="77"/>
                  </a:lnTo>
                  <a:lnTo>
                    <a:pt x="457" y="95"/>
                  </a:lnTo>
                  <a:lnTo>
                    <a:pt x="470" y="115"/>
                  </a:lnTo>
                  <a:lnTo>
                    <a:pt x="481" y="136"/>
                  </a:lnTo>
                  <a:lnTo>
                    <a:pt x="491" y="158"/>
                  </a:lnTo>
                  <a:lnTo>
                    <a:pt x="500" y="182"/>
                  </a:lnTo>
                  <a:lnTo>
                    <a:pt x="504" y="206"/>
                  </a:lnTo>
                  <a:lnTo>
                    <a:pt x="508" y="232"/>
                  </a:lnTo>
                  <a:lnTo>
                    <a:pt x="510" y="257"/>
                  </a:lnTo>
                  <a:lnTo>
                    <a:pt x="510" y="25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60" name="Line 13"/>
            <p:cNvSpPr>
              <a:spLocks noChangeShapeType="1"/>
            </p:cNvSpPr>
            <p:nvPr userDrawn="1"/>
          </p:nvSpPr>
          <p:spPr bwMode="auto">
            <a:xfrm>
              <a:off x="5667" y="745"/>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pic>
          <p:nvPicPr>
            <p:cNvPr id="61" name="Picture 14"/>
            <p:cNvPicPr>
              <a:picLocks noChangeAspect="1" noChangeArrowheads="1"/>
            </p:cNvPicPr>
            <p:nvPr userDrawn="1"/>
          </p:nvPicPr>
          <p:blipFill>
            <a:blip r:embed="rId5" cstate="hqprint">
              <a:extLst>
                <a:ext uri="{28A0092B-C50C-407E-A947-70E740481C1C}">
                  <a14:useLocalDpi xmlns:a14="http://schemas.microsoft.com/office/drawing/2010/main" val="0"/>
                </a:ext>
              </a:extLst>
            </a:blip>
            <a:srcRect/>
            <a:stretch>
              <a:fillRect/>
            </a:stretch>
          </p:blipFill>
          <p:spPr bwMode="auto">
            <a:xfrm>
              <a:off x="5478" y="637"/>
              <a:ext cx="282" cy="2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2" name="Freeform 15"/>
            <p:cNvSpPr>
              <a:spLocks/>
            </p:cNvSpPr>
            <p:nvPr userDrawn="1"/>
          </p:nvSpPr>
          <p:spPr bwMode="auto">
            <a:xfrm>
              <a:off x="5525" y="658"/>
              <a:ext cx="121" cy="25"/>
            </a:xfrm>
            <a:custGeom>
              <a:avLst/>
              <a:gdLst>
                <a:gd name="T0" fmla="*/ 0 w 364"/>
                <a:gd name="T1" fmla="*/ 75 h 75"/>
                <a:gd name="T2" fmla="*/ 0 w 364"/>
                <a:gd name="T3" fmla="*/ 75 h 75"/>
                <a:gd name="T4" fmla="*/ 19 w 364"/>
                <a:gd name="T5" fmla="*/ 58 h 75"/>
                <a:gd name="T6" fmla="*/ 40 w 364"/>
                <a:gd name="T7" fmla="*/ 44 h 75"/>
                <a:gd name="T8" fmla="*/ 62 w 364"/>
                <a:gd name="T9" fmla="*/ 31 h 75"/>
                <a:gd name="T10" fmla="*/ 85 w 364"/>
                <a:gd name="T11" fmla="*/ 20 h 75"/>
                <a:gd name="T12" fmla="*/ 108 w 364"/>
                <a:gd name="T13" fmla="*/ 11 h 75"/>
                <a:gd name="T14" fmla="*/ 132 w 364"/>
                <a:gd name="T15" fmla="*/ 5 h 75"/>
                <a:gd name="T16" fmla="*/ 156 w 364"/>
                <a:gd name="T17" fmla="*/ 1 h 75"/>
                <a:gd name="T18" fmla="*/ 182 w 364"/>
                <a:gd name="T19" fmla="*/ 0 h 75"/>
                <a:gd name="T20" fmla="*/ 206 w 364"/>
                <a:gd name="T21" fmla="*/ 1 h 75"/>
                <a:gd name="T22" fmla="*/ 231 w 364"/>
                <a:gd name="T23" fmla="*/ 4 h 75"/>
                <a:gd name="T24" fmla="*/ 255 w 364"/>
                <a:gd name="T25" fmla="*/ 10 h 75"/>
                <a:gd name="T26" fmla="*/ 278 w 364"/>
                <a:gd name="T27" fmla="*/ 18 h 75"/>
                <a:gd name="T28" fmla="*/ 301 w 364"/>
                <a:gd name="T29" fmla="*/ 28 h 75"/>
                <a:gd name="T30" fmla="*/ 324 w 364"/>
                <a:gd name="T31" fmla="*/ 41 h 75"/>
                <a:gd name="T32" fmla="*/ 344 w 364"/>
                <a:gd name="T33" fmla="*/ 55 h 75"/>
                <a:gd name="T34" fmla="*/ 364 w 364"/>
                <a:gd name="T35" fmla="*/ 72 h 75"/>
                <a:gd name="T36" fmla="*/ 0 w 364"/>
                <a:gd name="T37"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4" h="75">
                  <a:moveTo>
                    <a:pt x="0" y="75"/>
                  </a:moveTo>
                  <a:lnTo>
                    <a:pt x="0" y="75"/>
                  </a:lnTo>
                  <a:lnTo>
                    <a:pt x="19" y="58"/>
                  </a:lnTo>
                  <a:lnTo>
                    <a:pt x="40" y="44"/>
                  </a:lnTo>
                  <a:lnTo>
                    <a:pt x="62" y="31"/>
                  </a:lnTo>
                  <a:lnTo>
                    <a:pt x="85" y="20"/>
                  </a:lnTo>
                  <a:lnTo>
                    <a:pt x="108" y="11"/>
                  </a:lnTo>
                  <a:lnTo>
                    <a:pt x="132" y="5"/>
                  </a:lnTo>
                  <a:lnTo>
                    <a:pt x="156" y="1"/>
                  </a:lnTo>
                  <a:lnTo>
                    <a:pt x="182" y="0"/>
                  </a:lnTo>
                  <a:lnTo>
                    <a:pt x="206" y="1"/>
                  </a:lnTo>
                  <a:lnTo>
                    <a:pt x="231" y="4"/>
                  </a:lnTo>
                  <a:lnTo>
                    <a:pt x="255" y="10"/>
                  </a:lnTo>
                  <a:lnTo>
                    <a:pt x="278" y="18"/>
                  </a:lnTo>
                  <a:lnTo>
                    <a:pt x="301" y="28"/>
                  </a:lnTo>
                  <a:lnTo>
                    <a:pt x="324" y="41"/>
                  </a:lnTo>
                  <a:lnTo>
                    <a:pt x="344" y="55"/>
                  </a:lnTo>
                  <a:lnTo>
                    <a:pt x="364" y="72"/>
                  </a:lnTo>
                  <a:lnTo>
                    <a:pt x="0" y="75"/>
                  </a:lnTo>
                  <a:close/>
                </a:path>
              </a:pathLst>
            </a:custGeom>
            <a:solidFill>
              <a:srgbClr val="00987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63" name="Freeform 16"/>
            <p:cNvSpPr>
              <a:spLocks/>
            </p:cNvSpPr>
            <p:nvPr userDrawn="1"/>
          </p:nvSpPr>
          <p:spPr bwMode="auto">
            <a:xfrm>
              <a:off x="5525" y="658"/>
              <a:ext cx="121" cy="25"/>
            </a:xfrm>
            <a:custGeom>
              <a:avLst/>
              <a:gdLst>
                <a:gd name="T0" fmla="*/ 0 w 364"/>
                <a:gd name="T1" fmla="*/ 75 h 75"/>
                <a:gd name="T2" fmla="*/ 0 w 364"/>
                <a:gd name="T3" fmla="*/ 75 h 75"/>
                <a:gd name="T4" fmla="*/ 19 w 364"/>
                <a:gd name="T5" fmla="*/ 58 h 75"/>
                <a:gd name="T6" fmla="*/ 40 w 364"/>
                <a:gd name="T7" fmla="*/ 44 h 75"/>
                <a:gd name="T8" fmla="*/ 62 w 364"/>
                <a:gd name="T9" fmla="*/ 31 h 75"/>
                <a:gd name="T10" fmla="*/ 85 w 364"/>
                <a:gd name="T11" fmla="*/ 20 h 75"/>
                <a:gd name="T12" fmla="*/ 108 w 364"/>
                <a:gd name="T13" fmla="*/ 11 h 75"/>
                <a:gd name="T14" fmla="*/ 132 w 364"/>
                <a:gd name="T15" fmla="*/ 5 h 75"/>
                <a:gd name="T16" fmla="*/ 156 w 364"/>
                <a:gd name="T17" fmla="*/ 1 h 75"/>
                <a:gd name="T18" fmla="*/ 182 w 364"/>
                <a:gd name="T19" fmla="*/ 0 h 75"/>
                <a:gd name="T20" fmla="*/ 206 w 364"/>
                <a:gd name="T21" fmla="*/ 1 h 75"/>
                <a:gd name="T22" fmla="*/ 231 w 364"/>
                <a:gd name="T23" fmla="*/ 4 h 75"/>
                <a:gd name="T24" fmla="*/ 255 w 364"/>
                <a:gd name="T25" fmla="*/ 10 h 75"/>
                <a:gd name="T26" fmla="*/ 278 w 364"/>
                <a:gd name="T27" fmla="*/ 18 h 75"/>
                <a:gd name="T28" fmla="*/ 301 w 364"/>
                <a:gd name="T29" fmla="*/ 28 h 75"/>
                <a:gd name="T30" fmla="*/ 324 w 364"/>
                <a:gd name="T31" fmla="*/ 41 h 75"/>
                <a:gd name="T32" fmla="*/ 344 w 364"/>
                <a:gd name="T33" fmla="*/ 55 h 75"/>
                <a:gd name="T34" fmla="*/ 364 w 364"/>
                <a:gd name="T35" fmla="*/ 7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64" h="75">
                  <a:moveTo>
                    <a:pt x="0" y="75"/>
                  </a:moveTo>
                  <a:lnTo>
                    <a:pt x="0" y="75"/>
                  </a:lnTo>
                  <a:lnTo>
                    <a:pt x="19" y="58"/>
                  </a:lnTo>
                  <a:lnTo>
                    <a:pt x="40" y="44"/>
                  </a:lnTo>
                  <a:lnTo>
                    <a:pt x="62" y="31"/>
                  </a:lnTo>
                  <a:lnTo>
                    <a:pt x="85" y="20"/>
                  </a:lnTo>
                  <a:lnTo>
                    <a:pt x="108" y="11"/>
                  </a:lnTo>
                  <a:lnTo>
                    <a:pt x="132" y="5"/>
                  </a:lnTo>
                  <a:lnTo>
                    <a:pt x="156" y="1"/>
                  </a:lnTo>
                  <a:lnTo>
                    <a:pt x="182" y="0"/>
                  </a:lnTo>
                  <a:lnTo>
                    <a:pt x="206" y="1"/>
                  </a:lnTo>
                  <a:lnTo>
                    <a:pt x="231" y="4"/>
                  </a:lnTo>
                  <a:lnTo>
                    <a:pt x="255" y="10"/>
                  </a:lnTo>
                  <a:lnTo>
                    <a:pt x="278" y="18"/>
                  </a:lnTo>
                  <a:lnTo>
                    <a:pt x="301" y="28"/>
                  </a:lnTo>
                  <a:lnTo>
                    <a:pt x="324" y="41"/>
                  </a:lnTo>
                  <a:lnTo>
                    <a:pt x="344" y="55"/>
                  </a:lnTo>
                  <a:lnTo>
                    <a:pt x="364" y="7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pic>
          <p:nvPicPr>
            <p:cNvPr id="64" name="Picture 17"/>
            <p:cNvPicPr>
              <a:picLocks noChangeAspect="1" noChangeArrowheads="1"/>
            </p:cNvPicPr>
            <p:nvPr userDrawn="1"/>
          </p:nvPicPr>
          <p:blipFill>
            <a:blip r:embed="rId6" cstate="hqprint">
              <a:extLst>
                <a:ext uri="{28A0092B-C50C-407E-A947-70E740481C1C}">
                  <a14:useLocalDpi xmlns:a14="http://schemas.microsoft.com/office/drawing/2010/main" val="0"/>
                </a:ext>
              </a:extLst>
            </a:blip>
            <a:srcRect/>
            <a:stretch>
              <a:fillRect/>
            </a:stretch>
          </p:blipFill>
          <p:spPr bwMode="auto">
            <a:xfrm>
              <a:off x="5478" y="637"/>
              <a:ext cx="282" cy="2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5" name="Freeform 18"/>
            <p:cNvSpPr>
              <a:spLocks noEditPoints="1"/>
            </p:cNvSpPr>
            <p:nvPr userDrawn="1"/>
          </p:nvSpPr>
          <p:spPr bwMode="auto">
            <a:xfrm>
              <a:off x="5510" y="659"/>
              <a:ext cx="160" cy="156"/>
            </a:xfrm>
            <a:custGeom>
              <a:avLst/>
              <a:gdLst>
                <a:gd name="T0" fmla="*/ 478 w 478"/>
                <a:gd name="T1" fmla="*/ 232 h 466"/>
                <a:gd name="T2" fmla="*/ 474 w 478"/>
                <a:gd name="T3" fmla="*/ 279 h 466"/>
                <a:gd name="T4" fmla="*/ 460 w 478"/>
                <a:gd name="T5" fmla="*/ 323 h 466"/>
                <a:gd name="T6" fmla="*/ 437 w 478"/>
                <a:gd name="T7" fmla="*/ 363 h 466"/>
                <a:gd name="T8" fmla="*/ 408 w 478"/>
                <a:gd name="T9" fmla="*/ 398 h 466"/>
                <a:gd name="T10" fmla="*/ 373 w 478"/>
                <a:gd name="T11" fmla="*/ 426 h 466"/>
                <a:gd name="T12" fmla="*/ 332 w 478"/>
                <a:gd name="T13" fmla="*/ 447 h 466"/>
                <a:gd name="T14" fmla="*/ 288 w 478"/>
                <a:gd name="T15" fmla="*/ 460 h 466"/>
                <a:gd name="T16" fmla="*/ 239 w 478"/>
                <a:gd name="T17" fmla="*/ 466 h 466"/>
                <a:gd name="T18" fmla="*/ 215 w 478"/>
                <a:gd name="T19" fmla="*/ 465 h 466"/>
                <a:gd name="T20" fmla="*/ 168 w 478"/>
                <a:gd name="T21" fmla="*/ 455 h 466"/>
                <a:gd name="T22" fmla="*/ 125 w 478"/>
                <a:gd name="T23" fmla="*/ 437 h 466"/>
                <a:gd name="T24" fmla="*/ 88 w 478"/>
                <a:gd name="T25" fmla="*/ 412 h 466"/>
                <a:gd name="T26" fmla="*/ 55 w 478"/>
                <a:gd name="T27" fmla="*/ 380 h 466"/>
                <a:gd name="T28" fmla="*/ 29 w 478"/>
                <a:gd name="T29" fmla="*/ 343 h 466"/>
                <a:gd name="T30" fmla="*/ 12 w 478"/>
                <a:gd name="T31" fmla="*/ 302 h 466"/>
                <a:gd name="T32" fmla="*/ 2 w 478"/>
                <a:gd name="T33" fmla="*/ 256 h 466"/>
                <a:gd name="T34" fmla="*/ 0 w 478"/>
                <a:gd name="T35" fmla="*/ 232 h 466"/>
                <a:gd name="T36" fmla="*/ 5 w 478"/>
                <a:gd name="T37" fmla="*/ 185 h 466"/>
                <a:gd name="T38" fmla="*/ 19 w 478"/>
                <a:gd name="T39" fmla="*/ 141 h 466"/>
                <a:gd name="T40" fmla="*/ 42 w 478"/>
                <a:gd name="T41" fmla="*/ 103 h 466"/>
                <a:gd name="T42" fmla="*/ 70 w 478"/>
                <a:gd name="T43" fmla="*/ 68 h 466"/>
                <a:gd name="T44" fmla="*/ 106 w 478"/>
                <a:gd name="T45" fmla="*/ 40 h 466"/>
                <a:gd name="T46" fmla="*/ 146 w 478"/>
                <a:gd name="T47" fmla="*/ 17 h 466"/>
                <a:gd name="T48" fmla="*/ 191 w 478"/>
                <a:gd name="T49" fmla="*/ 4 h 466"/>
                <a:gd name="T50" fmla="*/ 239 w 478"/>
                <a:gd name="T51" fmla="*/ 0 h 466"/>
                <a:gd name="T52" fmla="*/ 264 w 478"/>
                <a:gd name="T53" fmla="*/ 0 h 466"/>
                <a:gd name="T54" fmla="*/ 311 w 478"/>
                <a:gd name="T55" fmla="*/ 10 h 466"/>
                <a:gd name="T56" fmla="*/ 354 w 478"/>
                <a:gd name="T57" fmla="*/ 27 h 466"/>
                <a:gd name="T58" fmla="*/ 391 w 478"/>
                <a:gd name="T59" fmla="*/ 53 h 466"/>
                <a:gd name="T60" fmla="*/ 424 w 478"/>
                <a:gd name="T61" fmla="*/ 84 h 466"/>
                <a:gd name="T62" fmla="*/ 450 w 478"/>
                <a:gd name="T63" fmla="*/ 121 h 466"/>
                <a:gd name="T64" fmla="*/ 467 w 478"/>
                <a:gd name="T65" fmla="*/ 164 h 466"/>
                <a:gd name="T66" fmla="*/ 477 w 478"/>
                <a:gd name="T67" fmla="*/ 208 h 466"/>
                <a:gd name="T68" fmla="*/ 478 w 478"/>
                <a:gd name="T69" fmla="*/ 232 h 466"/>
                <a:gd name="T70" fmla="*/ 478 w 478"/>
                <a:gd name="T71" fmla="*/ 232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78" h="466">
                  <a:moveTo>
                    <a:pt x="478" y="232"/>
                  </a:moveTo>
                  <a:lnTo>
                    <a:pt x="478" y="232"/>
                  </a:lnTo>
                  <a:lnTo>
                    <a:pt x="477" y="256"/>
                  </a:lnTo>
                  <a:lnTo>
                    <a:pt x="474" y="279"/>
                  </a:lnTo>
                  <a:lnTo>
                    <a:pt x="467" y="302"/>
                  </a:lnTo>
                  <a:lnTo>
                    <a:pt x="460" y="323"/>
                  </a:lnTo>
                  <a:lnTo>
                    <a:pt x="450" y="343"/>
                  </a:lnTo>
                  <a:lnTo>
                    <a:pt x="437" y="363"/>
                  </a:lnTo>
                  <a:lnTo>
                    <a:pt x="424" y="380"/>
                  </a:lnTo>
                  <a:lnTo>
                    <a:pt x="408" y="398"/>
                  </a:lnTo>
                  <a:lnTo>
                    <a:pt x="391" y="412"/>
                  </a:lnTo>
                  <a:lnTo>
                    <a:pt x="373" y="426"/>
                  </a:lnTo>
                  <a:lnTo>
                    <a:pt x="354" y="437"/>
                  </a:lnTo>
                  <a:lnTo>
                    <a:pt x="332" y="447"/>
                  </a:lnTo>
                  <a:lnTo>
                    <a:pt x="311" y="455"/>
                  </a:lnTo>
                  <a:lnTo>
                    <a:pt x="288" y="460"/>
                  </a:lnTo>
                  <a:lnTo>
                    <a:pt x="264" y="465"/>
                  </a:lnTo>
                  <a:lnTo>
                    <a:pt x="239" y="466"/>
                  </a:lnTo>
                  <a:lnTo>
                    <a:pt x="239" y="466"/>
                  </a:lnTo>
                  <a:lnTo>
                    <a:pt x="215" y="465"/>
                  </a:lnTo>
                  <a:lnTo>
                    <a:pt x="191" y="460"/>
                  </a:lnTo>
                  <a:lnTo>
                    <a:pt x="168" y="455"/>
                  </a:lnTo>
                  <a:lnTo>
                    <a:pt x="146" y="447"/>
                  </a:lnTo>
                  <a:lnTo>
                    <a:pt x="125" y="437"/>
                  </a:lnTo>
                  <a:lnTo>
                    <a:pt x="106" y="426"/>
                  </a:lnTo>
                  <a:lnTo>
                    <a:pt x="88" y="412"/>
                  </a:lnTo>
                  <a:lnTo>
                    <a:pt x="70" y="398"/>
                  </a:lnTo>
                  <a:lnTo>
                    <a:pt x="55" y="380"/>
                  </a:lnTo>
                  <a:lnTo>
                    <a:pt x="42" y="363"/>
                  </a:lnTo>
                  <a:lnTo>
                    <a:pt x="29" y="343"/>
                  </a:lnTo>
                  <a:lnTo>
                    <a:pt x="19" y="323"/>
                  </a:lnTo>
                  <a:lnTo>
                    <a:pt x="12" y="302"/>
                  </a:lnTo>
                  <a:lnTo>
                    <a:pt x="5" y="279"/>
                  </a:lnTo>
                  <a:lnTo>
                    <a:pt x="2" y="256"/>
                  </a:lnTo>
                  <a:lnTo>
                    <a:pt x="0" y="232"/>
                  </a:lnTo>
                  <a:lnTo>
                    <a:pt x="0" y="232"/>
                  </a:lnTo>
                  <a:lnTo>
                    <a:pt x="2" y="208"/>
                  </a:lnTo>
                  <a:lnTo>
                    <a:pt x="5" y="185"/>
                  </a:lnTo>
                  <a:lnTo>
                    <a:pt x="12" y="164"/>
                  </a:lnTo>
                  <a:lnTo>
                    <a:pt x="19" y="141"/>
                  </a:lnTo>
                  <a:lnTo>
                    <a:pt x="29" y="121"/>
                  </a:lnTo>
                  <a:lnTo>
                    <a:pt x="42" y="103"/>
                  </a:lnTo>
                  <a:lnTo>
                    <a:pt x="55" y="84"/>
                  </a:lnTo>
                  <a:lnTo>
                    <a:pt x="70" y="68"/>
                  </a:lnTo>
                  <a:lnTo>
                    <a:pt x="88" y="53"/>
                  </a:lnTo>
                  <a:lnTo>
                    <a:pt x="106" y="40"/>
                  </a:lnTo>
                  <a:lnTo>
                    <a:pt x="125" y="27"/>
                  </a:lnTo>
                  <a:lnTo>
                    <a:pt x="146" y="17"/>
                  </a:lnTo>
                  <a:lnTo>
                    <a:pt x="168" y="10"/>
                  </a:lnTo>
                  <a:lnTo>
                    <a:pt x="191" y="4"/>
                  </a:lnTo>
                  <a:lnTo>
                    <a:pt x="215" y="0"/>
                  </a:lnTo>
                  <a:lnTo>
                    <a:pt x="239" y="0"/>
                  </a:lnTo>
                  <a:lnTo>
                    <a:pt x="239" y="0"/>
                  </a:lnTo>
                  <a:lnTo>
                    <a:pt x="264" y="0"/>
                  </a:lnTo>
                  <a:lnTo>
                    <a:pt x="288" y="4"/>
                  </a:lnTo>
                  <a:lnTo>
                    <a:pt x="311" y="10"/>
                  </a:lnTo>
                  <a:lnTo>
                    <a:pt x="332" y="17"/>
                  </a:lnTo>
                  <a:lnTo>
                    <a:pt x="354" y="27"/>
                  </a:lnTo>
                  <a:lnTo>
                    <a:pt x="373" y="40"/>
                  </a:lnTo>
                  <a:lnTo>
                    <a:pt x="391" y="53"/>
                  </a:lnTo>
                  <a:lnTo>
                    <a:pt x="408" y="67"/>
                  </a:lnTo>
                  <a:lnTo>
                    <a:pt x="424" y="84"/>
                  </a:lnTo>
                  <a:lnTo>
                    <a:pt x="437" y="103"/>
                  </a:lnTo>
                  <a:lnTo>
                    <a:pt x="450" y="121"/>
                  </a:lnTo>
                  <a:lnTo>
                    <a:pt x="460" y="141"/>
                  </a:lnTo>
                  <a:lnTo>
                    <a:pt x="467" y="164"/>
                  </a:lnTo>
                  <a:lnTo>
                    <a:pt x="474" y="185"/>
                  </a:lnTo>
                  <a:lnTo>
                    <a:pt x="477" y="208"/>
                  </a:lnTo>
                  <a:lnTo>
                    <a:pt x="478" y="232"/>
                  </a:lnTo>
                  <a:lnTo>
                    <a:pt x="478" y="232"/>
                  </a:lnTo>
                  <a:close/>
                  <a:moveTo>
                    <a:pt x="478" y="232"/>
                  </a:moveTo>
                  <a:lnTo>
                    <a:pt x="478" y="23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66" name="Freeform 19"/>
            <p:cNvSpPr>
              <a:spLocks/>
            </p:cNvSpPr>
            <p:nvPr userDrawn="1"/>
          </p:nvSpPr>
          <p:spPr bwMode="auto">
            <a:xfrm>
              <a:off x="5510" y="659"/>
              <a:ext cx="160" cy="156"/>
            </a:xfrm>
            <a:custGeom>
              <a:avLst/>
              <a:gdLst>
                <a:gd name="T0" fmla="*/ 478 w 478"/>
                <a:gd name="T1" fmla="*/ 232 h 466"/>
                <a:gd name="T2" fmla="*/ 474 w 478"/>
                <a:gd name="T3" fmla="*/ 279 h 466"/>
                <a:gd name="T4" fmla="*/ 460 w 478"/>
                <a:gd name="T5" fmla="*/ 323 h 466"/>
                <a:gd name="T6" fmla="*/ 437 w 478"/>
                <a:gd name="T7" fmla="*/ 363 h 466"/>
                <a:gd name="T8" fmla="*/ 408 w 478"/>
                <a:gd name="T9" fmla="*/ 398 h 466"/>
                <a:gd name="T10" fmla="*/ 373 w 478"/>
                <a:gd name="T11" fmla="*/ 426 h 466"/>
                <a:gd name="T12" fmla="*/ 332 w 478"/>
                <a:gd name="T13" fmla="*/ 447 h 466"/>
                <a:gd name="T14" fmla="*/ 288 w 478"/>
                <a:gd name="T15" fmla="*/ 460 h 466"/>
                <a:gd name="T16" fmla="*/ 239 w 478"/>
                <a:gd name="T17" fmla="*/ 466 h 466"/>
                <a:gd name="T18" fmla="*/ 215 w 478"/>
                <a:gd name="T19" fmla="*/ 465 h 466"/>
                <a:gd name="T20" fmla="*/ 168 w 478"/>
                <a:gd name="T21" fmla="*/ 455 h 466"/>
                <a:gd name="T22" fmla="*/ 125 w 478"/>
                <a:gd name="T23" fmla="*/ 437 h 466"/>
                <a:gd name="T24" fmla="*/ 88 w 478"/>
                <a:gd name="T25" fmla="*/ 412 h 466"/>
                <a:gd name="T26" fmla="*/ 55 w 478"/>
                <a:gd name="T27" fmla="*/ 380 h 466"/>
                <a:gd name="T28" fmla="*/ 29 w 478"/>
                <a:gd name="T29" fmla="*/ 343 h 466"/>
                <a:gd name="T30" fmla="*/ 12 w 478"/>
                <a:gd name="T31" fmla="*/ 302 h 466"/>
                <a:gd name="T32" fmla="*/ 2 w 478"/>
                <a:gd name="T33" fmla="*/ 256 h 466"/>
                <a:gd name="T34" fmla="*/ 0 w 478"/>
                <a:gd name="T35" fmla="*/ 232 h 466"/>
                <a:gd name="T36" fmla="*/ 5 w 478"/>
                <a:gd name="T37" fmla="*/ 185 h 466"/>
                <a:gd name="T38" fmla="*/ 19 w 478"/>
                <a:gd name="T39" fmla="*/ 141 h 466"/>
                <a:gd name="T40" fmla="*/ 42 w 478"/>
                <a:gd name="T41" fmla="*/ 103 h 466"/>
                <a:gd name="T42" fmla="*/ 70 w 478"/>
                <a:gd name="T43" fmla="*/ 68 h 466"/>
                <a:gd name="T44" fmla="*/ 106 w 478"/>
                <a:gd name="T45" fmla="*/ 40 h 466"/>
                <a:gd name="T46" fmla="*/ 146 w 478"/>
                <a:gd name="T47" fmla="*/ 17 h 466"/>
                <a:gd name="T48" fmla="*/ 191 w 478"/>
                <a:gd name="T49" fmla="*/ 4 h 466"/>
                <a:gd name="T50" fmla="*/ 239 w 478"/>
                <a:gd name="T51" fmla="*/ 0 h 466"/>
                <a:gd name="T52" fmla="*/ 264 w 478"/>
                <a:gd name="T53" fmla="*/ 0 h 466"/>
                <a:gd name="T54" fmla="*/ 311 w 478"/>
                <a:gd name="T55" fmla="*/ 10 h 466"/>
                <a:gd name="T56" fmla="*/ 354 w 478"/>
                <a:gd name="T57" fmla="*/ 27 h 466"/>
                <a:gd name="T58" fmla="*/ 391 w 478"/>
                <a:gd name="T59" fmla="*/ 53 h 466"/>
                <a:gd name="T60" fmla="*/ 424 w 478"/>
                <a:gd name="T61" fmla="*/ 84 h 466"/>
                <a:gd name="T62" fmla="*/ 450 w 478"/>
                <a:gd name="T63" fmla="*/ 121 h 466"/>
                <a:gd name="T64" fmla="*/ 467 w 478"/>
                <a:gd name="T65" fmla="*/ 164 h 466"/>
                <a:gd name="T66" fmla="*/ 477 w 478"/>
                <a:gd name="T67" fmla="*/ 208 h 466"/>
                <a:gd name="T68" fmla="*/ 478 w 478"/>
                <a:gd name="T69" fmla="*/ 232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78" h="466">
                  <a:moveTo>
                    <a:pt x="478" y="232"/>
                  </a:moveTo>
                  <a:lnTo>
                    <a:pt x="478" y="232"/>
                  </a:lnTo>
                  <a:lnTo>
                    <a:pt x="477" y="256"/>
                  </a:lnTo>
                  <a:lnTo>
                    <a:pt x="474" y="279"/>
                  </a:lnTo>
                  <a:lnTo>
                    <a:pt x="467" y="302"/>
                  </a:lnTo>
                  <a:lnTo>
                    <a:pt x="460" y="323"/>
                  </a:lnTo>
                  <a:lnTo>
                    <a:pt x="450" y="343"/>
                  </a:lnTo>
                  <a:lnTo>
                    <a:pt x="437" y="363"/>
                  </a:lnTo>
                  <a:lnTo>
                    <a:pt x="424" y="380"/>
                  </a:lnTo>
                  <a:lnTo>
                    <a:pt x="408" y="398"/>
                  </a:lnTo>
                  <a:lnTo>
                    <a:pt x="391" y="412"/>
                  </a:lnTo>
                  <a:lnTo>
                    <a:pt x="373" y="426"/>
                  </a:lnTo>
                  <a:lnTo>
                    <a:pt x="354" y="437"/>
                  </a:lnTo>
                  <a:lnTo>
                    <a:pt x="332" y="447"/>
                  </a:lnTo>
                  <a:lnTo>
                    <a:pt x="311" y="455"/>
                  </a:lnTo>
                  <a:lnTo>
                    <a:pt x="288" y="460"/>
                  </a:lnTo>
                  <a:lnTo>
                    <a:pt x="264" y="465"/>
                  </a:lnTo>
                  <a:lnTo>
                    <a:pt x="239" y="466"/>
                  </a:lnTo>
                  <a:lnTo>
                    <a:pt x="239" y="466"/>
                  </a:lnTo>
                  <a:lnTo>
                    <a:pt x="215" y="465"/>
                  </a:lnTo>
                  <a:lnTo>
                    <a:pt x="191" y="460"/>
                  </a:lnTo>
                  <a:lnTo>
                    <a:pt x="168" y="455"/>
                  </a:lnTo>
                  <a:lnTo>
                    <a:pt x="146" y="447"/>
                  </a:lnTo>
                  <a:lnTo>
                    <a:pt x="125" y="437"/>
                  </a:lnTo>
                  <a:lnTo>
                    <a:pt x="106" y="426"/>
                  </a:lnTo>
                  <a:lnTo>
                    <a:pt x="88" y="412"/>
                  </a:lnTo>
                  <a:lnTo>
                    <a:pt x="70" y="398"/>
                  </a:lnTo>
                  <a:lnTo>
                    <a:pt x="55" y="380"/>
                  </a:lnTo>
                  <a:lnTo>
                    <a:pt x="42" y="363"/>
                  </a:lnTo>
                  <a:lnTo>
                    <a:pt x="29" y="343"/>
                  </a:lnTo>
                  <a:lnTo>
                    <a:pt x="19" y="323"/>
                  </a:lnTo>
                  <a:lnTo>
                    <a:pt x="12" y="302"/>
                  </a:lnTo>
                  <a:lnTo>
                    <a:pt x="5" y="279"/>
                  </a:lnTo>
                  <a:lnTo>
                    <a:pt x="2" y="256"/>
                  </a:lnTo>
                  <a:lnTo>
                    <a:pt x="0" y="232"/>
                  </a:lnTo>
                  <a:lnTo>
                    <a:pt x="0" y="232"/>
                  </a:lnTo>
                  <a:lnTo>
                    <a:pt x="2" y="208"/>
                  </a:lnTo>
                  <a:lnTo>
                    <a:pt x="5" y="185"/>
                  </a:lnTo>
                  <a:lnTo>
                    <a:pt x="12" y="164"/>
                  </a:lnTo>
                  <a:lnTo>
                    <a:pt x="19" y="141"/>
                  </a:lnTo>
                  <a:lnTo>
                    <a:pt x="29" y="121"/>
                  </a:lnTo>
                  <a:lnTo>
                    <a:pt x="42" y="103"/>
                  </a:lnTo>
                  <a:lnTo>
                    <a:pt x="55" y="84"/>
                  </a:lnTo>
                  <a:lnTo>
                    <a:pt x="70" y="68"/>
                  </a:lnTo>
                  <a:lnTo>
                    <a:pt x="88" y="53"/>
                  </a:lnTo>
                  <a:lnTo>
                    <a:pt x="106" y="40"/>
                  </a:lnTo>
                  <a:lnTo>
                    <a:pt x="125" y="27"/>
                  </a:lnTo>
                  <a:lnTo>
                    <a:pt x="146" y="17"/>
                  </a:lnTo>
                  <a:lnTo>
                    <a:pt x="168" y="10"/>
                  </a:lnTo>
                  <a:lnTo>
                    <a:pt x="191" y="4"/>
                  </a:lnTo>
                  <a:lnTo>
                    <a:pt x="215" y="0"/>
                  </a:lnTo>
                  <a:lnTo>
                    <a:pt x="239" y="0"/>
                  </a:lnTo>
                  <a:lnTo>
                    <a:pt x="239" y="0"/>
                  </a:lnTo>
                  <a:lnTo>
                    <a:pt x="264" y="0"/>
                  </a:lnTo>
                  <a:lnTo>
                    <a:pt x="288" y="4"/>
                  </a:lnTo>
                  <a:lnTo>
                    <a:pt x="311" y="10"/>
                  </a:lnTo>
                  <a:lnTo>
                    <a:pt x="332" y="17"/>
                  </a:lnTo>
                  <a:lnTo>
                    <a:pt x="354" y="27"/>
                  </a:lnTo>
                  <a:lnTo>
                    <a:pt x="373" y="40"/>
                  </a:lnTo>
                  <a:lnTo>
                    <a:pt x="391" y="53"/>
                  </a:lnTo>
                  <a:lnTo>
                    <a:pt x="408" y="67"/>
                  </a:lnTo>
                  <a:lnTo>
                    <a:pt x="424" y="84"/>
                  </a:lnTo>
                  <a:lnTo>
                    <a:pt x="437" y="103"/>
                  </a:lnTo>
                  <a:lnTo>
                    <a:pt x="450" y="121"/>
                  </a:lnTo>
                  <a:lnTo>
                    <a:pt x="460" y="141"/>
                  </a:lnTo>
                  <a:lnTo>
                    <a:pt x="467" y="164"/>
                  </a:lnTo>
                  <a:lnTo>
                    <a:pt x="474" y="185"/>
                  </a:lnTo>
                  <a:lnTo>
                    <a:pt x="477" y="208"/>
                  </a:lnTo>
                  <a:lnTo>
                    <a:pt x="478" y="232"/>
                  </a:lnTo>
                  <a:lnTo>
                    <a:pt x="478" y="23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67" name="Line 20"/>
            <p:cNvSpPr>
              <a:spLocks noChangeShapeType="1"/>
            </p:cNvSpPr>
            <p:nvPr userDrawn="1"/>
          </p:nvSpPr>
          <p:spPr bwMode="auto">
            <a:xfrm>
              <a:off x="5670" y="737"/>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pic>
          <p:nvPicPr>
            <p:cNvPr id="68" name="Picture 21"/>
            <p:cNvPicPr>
              <a:picLocks noChangeAspect="1" noChangeArrowheads="1"/>
            </p:cNvPicPr>
            <p:nvPr userDrawn="1"/>
          </p:nvPicPr>
          <p:blipFill>
            <a:blip r:embed="rId7" cstate="hqprint">
              <a:extLst>
                <a:ext uri="{28A0092B-C50C-407E-A947-70E740481C1C}">
                  <a14:useLocalDpi xmlns:a14="http://schemas.microsoft.com/office/drawing/2010/main" val="0"/>
                </a:ext>
              </a:extLst>
            </a:blip>
            <a:srcRect/>
            <a:stretch>
              <a:fillRect/>
            </a:stretch>
          </p:blipFill>
          <p:spPr bwMode="auto">
            <a:xfrm>
              <a:off x="5478" y="637"/>
              <a:ext cx="282" cy="2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9" name="Freeform 22"/>
            <p:cNvSpPr>
              <a:spLocks noEditPoints="1"/>
            </p:cNvSpPr>
            <p:nvPr userDrawn="1"/>
          </p:nvSpPr>
          <p:spPr bwMode="auto">
            <a:xfrm>
              <a:off x="5526" y="673"/>
              <a:ext cx="138" cy="139"/>
            </a:xfrm>
            <a:custGeom>
              <a:avLst/>
              <a:gdLst>
                <a:gd name="T0" fmla="*/ 415 w 415"/>
                <a:gd name="T1" fmla="*/ 209 h 417"/>
                <a:gd name="T2" fmla="*/ 411 w 415"/>
                <a:gd name="T3" fmla="*/ 251 h 417"/>
                <a:gd name="T4" fmla="*/ 400 w 415"/>
                <a:gd name="T5" fmla="*/ 291 h 417"/>
                <a:gd name="T6" fmla="*/ 379 w 415"/>
                <a:gd name="T7" fmla="*/ 325 h 417"/>
                <a:gd name="T8" fmla="*/ 355 w 415"/>
                <a:gd name="T9" fmla="*/ 356 h 417"/>
                <a:gd name="T10" fmla="*/ 324 w 415"/>
                <a:gd name="T11" fmla="*/ 382 h 417"/>
                <a:gd name="T12" fmla="*/ 289 w 415"/>
                <a:gd name="T13" fmla="*/ 400 h 417"/>
                <a:gd name="T14" fmla="*/ 249 w 415"/>
                <a:gd name="T15" fmla="*/ 413 h 417"/>
                <a:gd name="T16" fmla="*/ 208 w 415"/>
                <a:gd name="T17" fmla="*/ 417 h 417"/>
                <a:gd name="T18" fmla="*/ 186 w 415"/>
                <a:gd name="T19" fmla="*/ 416 h 417"/>
                <a:gd name="T20" fmla="*/ 146 w 415"/>
                <a:gd name="T21" fmla="*/ 407 h 417"/>
                <a:gd name="T22" fmla="*/ 109 w 415"/>
                <a:gd name="T23" fmla="*/ 392 h 417"/>
                <a:gd name="T24" fmla="*/ 76 w 415"/>
                <a:gd name="T25" fmla="*/ 370 h 417"/>
                <a:gd name="T26" fmla="*/ 47 w 415"/>
                <a:gd name="T27" fmla="*/ 342 h 417"/>
                <a:gd name="T28" fmla="*/ 26 w 415"/>
                <a:gd name="T29" fmla="*/ 308 h 417"/>
                <a:gd name="T30" fmla="*/ 10 w 415"/>
                <a:gd name="T31" fmla="*/ 271 h 417"/>
                <a:gd name="T32" fmla="*/ 2 w 415"/>
                <a:gd name="T33" fmla="*/ 229 h 417"/>
                <a:gd name="T34" fmla="*/ 0 w 415"/>
                <a:gd name="T35" fmla="*/ 209 h 417"/>
                <a:gd name="T36" fmla="*/ 4 w 415"/>
                <a:gd name="T37" fmla="*/ 167 h 417"/>
                <a:gd name="T38" fmla="*/ 16 w 415"/>
                <a:gd name="T39" fmla="*/ 128 h 417"/>
                <a:gd name="T40" fmla="*/ 36 w 415"/>
                <a:gd name="T41" fmla="*/ 93 h 417"/>
                <a:gd name="T42" fmla="*/ 62 w 415"/>
                <a:gd name="T43" fmla="*/ 61 h 417"/>
                <a:gd name="T44" fmla="*/ 92 w 415"/>
                <a:gd name="T45" fmla="*/ 36 h 417"/>
                <a:gd name="T46" fmla="*/ 128 w 415"/>
                <a:gd name="T47" fmla="*/ 17 h 417"/>
                <a:gd name="T48" fmla="*/ 166 w 415"/>
                <a:gd name="T49" fmla="*/ 4 h 417"/>
                <a:gd name="T50" fmla="*/ 208 w 415"/>
                <a:gd name="T51" fmla="*/ 0 h 417"/>
                <a:gd name="T52" fmla="*/ 229 w 415"/>
                <a:gd name="T53" fmla="*/ 1 h 417"/>
                <a:gd name="T54" fmla="*/ 269 w 415"/>
                <a:gd name="T55" fmla="*/ 10 h 417"/>
                <a:gd name="T56" fmla="*/ 306 w 415"/>
                <a:gd name="T57" fmla="*/ 26 h 417"/>
                <a:gd name="T58" fmla="*/ 339 w 415"/>
                <a:gd name="T59" fmla="*/ 48 h 417"/>
                <a:gd name="T60" fmla="*/ 368 w 415"/>
                <a:gd name="T61" fmla="*/ 75 h 417"/>
                <a:gd name="T62" fmla="*/ 391 w 415"/>
                <a:gd name="T63" fmla="*/ 110 h 417"/>
                <a:gd name="T64" fmla="*/ 407 w 415"/>
                <a:gd name="T65" fmla="*/ 147 h 417"/>
                <a:gd name="T66" fmla="*/ 414 w 415"/>
                <a:gd name="T67" fmla="*/ 188 h 417"/>
                <a:gd name="T68" fmla="*/ 415 w 415"/>
                <a:gd name="T69" fmla="*/ 209 h 417"/>
                <a:gd name="T70" fmla="*/ 415 w 415"/>
                <a:gd name="T71" fmla="*/ 209 h 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15" h="417">
                  <a:moveTo>
                    <a:pt x="415" y="209"/>
                  </a:moveTo>
                  <a:lnTo>
                    <a:pt x="415" y="209"/>
                  </a:lnTo>
                  <a:lnTo>
                    <a:pt x="414" y="229"/>
                  </a:lnTo>
                  <a:lnTo>
                    <a:pt x="411" y="251"/>
                  </a:lnTo>
                  <a:lnTo>
                    <a:pt x="407" y="271"/>
                  </a:lnTo>
                  <a:lnTo>
                    <a:pt x="400" y="291"/>
                  </a:lnTo>
                  <a:lnTo>
                    <a:pt x="391" y="308"/>
                  </a:lnTo>
                  <a:lnTo>
                    <a:pt x="379" y="325"/>
                  </a:lnTo>
                  <a:lnTo>
                    <a:pt x="368" y="342"/>
                  </a:lnTo>
                  <a:lnTo>
                    <a:pt x="355" y="356"/>
                  </a:lnTo>
                  <a:lnTo>
                    <a:pt x="339" y="370"/>
                  </a:lnTo>
                  <a:lnTo>
                    <a:pt x="324" y="382"/>
                  </a:lnTo>
                  <a:lnTo>
                    <a:pt x="306" y="392"/>
                  </a:lnTo>
                  <a:lnTo>
                    <a:pt x="289" y="400"/>
                  </a:lnTo>
                  <a:lnTo>
                    <a:pt x="269" y="407"/>
                  </a:lnTo>
                  <a:lnTo>
                    <a:pt x="249" y="413"/>
                  </a:lnTo>
                  <a:lnTo>
                    <a:pt x="229" y="416"/>
                  </a:lnTo>
                  <a:lnTo>
                    <a:pt x="208" y="417"/>
                  </a:lnTo>
                  <a:lnTo>
                    <a:pt x="208" y="417"/>
                  </a:lnTo>
                  <a:lnTo>
                    <a:pt x="186" y="416"/>
                  </a:lnTo>
                  <a:lnTo>
                    <a:pt x="166" y="413"/>
                  </a:lnTo>
                  <a:lnTo>
                    <a:pt x="146" y="407"/>
                  </a:lnTo>
                  <a:lnTo>
                    <a:pt x="128" y="400"/>
                  </a:lnTo>
                  <a:lnTo>
                    <a:pt x="109" y="392"/>
                  </a:lnTo>
                  <a:lnTo>
                    <a:pt x="92" y="382"/>
                  </a:lnTo>
                  <a:lnTo>
                    <a:pt x="76" y="370"/>
                  </a:lnTo>
                  <a:lnTo>
                    <a:pt x="62" y="356"/>
                  </a:lnTo>
                  <a:lnTo>
                    <a:pt x="47" y="342"/>
                  </a:lnTo>
                  <a:lnTo>
                    <a:pt x="36" y="325"/>
                  </a:lnTo>
                  <a:lnTo>
                    <a:pt x="26" y="308"/>
                  </a:lnTo>
                  <a:lnTo>
                    <a:pt x="16" y="291"/>
                  </a:lnTo>
                  <a:lnTo>
                    <a:pt x="10" y="271"/>
                  </a:lnTo>
                  <a:lnTo>
                    <a:pt x="4" y="251"/>
                  </a:lnTo>
                  <a:lnTo>
                    <a:pt x="2" y="229"/>
                  </a:lnTo>
                  <a:lnTo>
                    <a:pt x="0" y="209"/>
                  </a:lnTo>
                  <a:lnTo>
                    <a:pt x="0" y="209"/>
                  </a:lnTo>
                  <a:lnTo>
                    <a:pt x="2" y="188"/>
                  </a:lnTo>
                  <a:lnTo>
                    <a:pt x="4" y="167"/>
                  </a:lnTo>
                  <a:lnTo>
                    <a:pt x="10" y="147"/>
                  </a:lnTo>
                  <a:lnTo>
                    <a:pt x="16" y="128"/>
                  </a:lnTo>
                  <a:lnTo>
                    <a:pt x="26" y="110"/>
                  </a:lnTo>
                  <a:lnTo>
                    <a:pt x="36" y="93"/>
                  </a:lnTo>
                  <a:lnTo>
                    <a:pt x="47" y="75"/>
                  </a:lnTo>
                  <a:lnTo>
                    <a:pt x="62" y="61"/>
                  </a:lnTo>
                  <a:lnTo>
                    <a:pt x="76" y="48"/>
                  </a:lnTo>
                  <a:lnTo>
                    <a:pt x="92" y="36"/>
                  </a:lnTo>
                  <a:lnTo>
                    <a:pt x="109" y="26"/>
                  </a:lnTo>
                  <a:lnTo>
                    <a:pt x="128" y="17"/>
                  </a:lnTo>
                  <a:lnTo>
                    <a:pt x="146" y="10"/>
                  </a:lnTo>
                  <a:lnTo>
                    <a:pt x="166" y="4"/>
                  </a:lnTo>
                  <a:lnTo>
                    <a:pt x="186" y="1"/>
                  </a:lnTo>
                  <a:lnTo>
                    <a:pt x="208" y="0"/>
                  </a:lnTo>
                  <a:lnTo>
                    <a:pt x="208" y="0"/>
                  </a:lnTo>
                  <a:lnTo>
                    <a:pt x="229" y="1"/>
                  </a:lnTo>
                  <a:lnTo>
                    <a:pt x="249" y="4"/>
                  </a:lnTo>
                  <a:lnTo>
                    <a:pt x="269" y="10"/>
                  </a:lnTo>
                  <a:lnTo>
                    <a:pt x="289" y="17"/>
                  </a:lnTo>
                  <a:lnTo>
                    <a:pt x="306" y="26"/>
                  </a:lnTo>
                  <a:lnTo>
                    <a:pt x="324" y="36"/>
                  </a:lnTo>
                  <a:lnTo>
                    <a:pt x="339" y="48"/>
                  </a:lnTo>
                  <a:lnTo>
                    <a:pt x="355" y="61"/>
                  </a:lnTo>
                  <a:lnTo>
                    <a:pt x="368" y="75"/>
                  </a:lnTo>
                  <a:lnTo>
                    <a:pt x="379" y="93"/>
                  </a:lnTo>
                  <a:lnTo>
                    <a:pt x="391" y="110"/>
                  </a:lnTo>
                  <a:lnTo>
                    <a:pt x="400" y="128"/>
                  </a:lnTo>
                  <a:lnTo>
                    <a:pt x="407" y="147"/>
                  </a:lnTo>
                  <a:lnTo>
                    <a:pt x="411" y="167"/>
                  </a:lnTo>
                  <a:lnTo>
                    <a:pt x="414" y="188"/>
                  </a:lnTo>
                  <a:lnTo>
                    <a:pt x="415" y="209"/>
                  </a:lnTo>
                  <a:lnTo>
                    <a:pt x="415" y="209"/>
                  </a:lnTo>
                  <a:close/>
                  <a:moveTo>
                    <a:pt x="415" y="209"/>
                  </a:moveTo>
                  <a:lnTo>
                    <a:pt x="415" y="20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70" name="Freeform 23"/>
            <p:cNvSpPr>
              <a:spLocks/>
            </p:cNvSpPr>
            <p:nvPr userDrawn="1"/>
          </p:nvSpPr>
          <p:spPr bwMode="auto">
            <a:xfrm>
              <a:off x="5526" y="673"/>
              <a:ext cx="138" cy="139"/>
            </a:xfrm>
            <a:custGeom>
              <a:avLst/>
              <a:gdLst>
                <a:gd name="T0" fmla="*/ 415 w 415"/>
                <a:gd name="T1" fmla="*/ 209 h 417"/>
                <a:gd name="T2" fmla="*/ 411 w 415"/>
                <a:gd name="T3" fmla="*/ 251 h 417"/>
                <a:gd name="T4" fmla="*/ 400 w 415"/>
                <a:gd name="T5" fmla="*/ 291 h 417"/>
                <a:gd name="T6" fmla="*/ 379 w 415"/>
                <a:gd name="T7" fmla="*/ 325 h 417"/>
                <a:gd name="T8" fmla="*/ 355 w 415"/>
                <a:gd name="T9" fmla="*/ 356 h 417"/>
                <a:gd name="T10" fmla="*/ 324 w 415"/>
                <a:gd name="T11" fmla="*/ 382 h 417"/>
                <a:gd name="T12" fmla="*/ 289 w 415"/>
                <a:gd name="T13" fmla="*/ 400 h 417"/>
                <a:gd name="T14" fmla="*/ 249 w 415"/>
                <a:gd name="T15" fmla="*/ 413 h 417"/>
                <a:gd name="T16" fmla="*/ 208 w 415"/>
                <a:gd name="T17" fmla="*/ 417 h 417"/>
                <a:gd name="T18" fmla="*/ 186 w 415"/>
                <a:gd name="T19" fmla="*/ 416 h 417"/>
                <a:gd name="T20" fmla="*/ 146 w 415"/>
                <a:gd name="T21" fmla="*/ 407 h 417"/>
                <a:gd name="T22" fmla="*/ 109 w 415"/>
                <a:gd name="T23" fmla="*/ 392 h 417"/>
                <a:gd name="T24" fmla="*/ 76 w 415"/>
                <a:gd name="T25" fmla="*/ 370 h 417"/>
                <a:gd name="T26" fmla="*/ 47 w 415"/>
                <a:gd name="T27" fmla="*/ 342 h 417"/>
                <a:gd name="T28" fmla="*/ 26 w 415"/>
                <a:gd name="T29" fmla="*/ 308 h 417"/>
                <a:gd name="T30" fmla="*/ 10 w 415"/>
                <a:gd name="T31" fmla="*/ 271 h 417"/>
                <a:gd name="T32" fmla="*/ 2 w 415"/>
                <a:gd name="T33" fmla="*/ 229 h 417"/>
                <a:gd name="T34" fmla="*/ 0 w 415"/>
                <a:gd name="T35" fmla="*/ 209 h 417"/>
                <a:gd name="T36" fmla="*/ 4 w 415"/>
                <a:gd name="T37" fmla="*/ 167 h 417"/>
                <a:gd name="T38" fmla="*/ 16 w 415"/>
                <a:gd name="T39" fmla="*/ 128 h 417"/>
                <a:gd name="T40" fmla="*/ 36 w 415"/>
                <a:gd name="T41" fmla="*/ 93 h 417"/>
                <a:gd name="T42" fmla="*/ 62 w 415"/>
                <a:gd name="T43" fmla="*/ 61 h 417"/>
                <a:gd name="T44" fmla="*/ 92 w 415"/>
                <a:gd name="T45" fmla="*/ 36 h 417"/>
                <a:gd name="T46" fmla="*/ 128 w 415"/>
                <a:gd name="T47" fmla="*/ 17 h 417"/>
                <a:gd name="T48" fmla="*/ 166 w 415"/>
                <a:gd name="T49" fmla="*/ 4 h 417"/>
                <a:gd name="T50" fmla="*/ 208 w 415"/>
                <a:gd name="T51" fmla="*/ 0 h 417"/>
                <a:gd name="T52" fmla="*/ 229 w 415"/>
                <a:gd name="T53" fmla="*/ 1 h 417"/>
                <a:gd name="T54" fmla="*/ 269 w 415"/>
                <a:gd name="T55" fmla="*/ 10 h 417"/>
                <a:gd name="T56" fmla="*/ 306 w 415"/>
                <a:gd name="T57" fmla="*/ 26 h 417"/>
                <a:gd name="T58" fmla="*/ 339 w 415"/>
                <a:gd name="T59" fmla="*/ 48 h 417"/>
                <a:gd name="T60" fmla="*/ 368 w 415"/>
                <a:gd name="T61" fmla="*/ 75 h 417"/>
                <a:gd name="T62" fmla="*/ 391 w 415"/>
                <a:gd name="T63" fmla="*/ 110 h 417"/>
                <a:gd name="T64" fmla="*/ 407 w 415"/>
                <a:gd name="T65" fmla="*/ 147 h 417"/>
                <a:gd name="T66" fmla="*/ 414 w 415"/>
                <a:gd name="T67" fmla="*/ 188 h 417"/>
                <a:gd name="T68" fmla="*/ 415 w 415"/>
                <a:gd name="T69" fmla="*/ 209 h 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15" h="417">
                  <a:moveTo>
                    <a:pt x="415" y="209"/>
                  </a:moveTo>
                  <a:lnTo>
                    <a:pt x="415" y="209"/>
                  </a:lnTo>
                  <a:lnTo>
                    <a:pt x="414" y="229"/>
                  </a:lnTo>
                  <a:lnTo>
                    <a:pt x="411" y="251"/>
                  </a:lnTo>
                  <a:lnTo>
                    <a:pt x="407" y="271"/>
                  </a:lnTo>
                  <a:lnTo>
                    <a:pt x="400" y="291"/>
                  </a:lnTo>
                  <a:lnTo>
                    <a:pt x="391" y="308"/>
                  </a:lnTo>
                  <a:lnTo>
                    <a:pt x="379" y="325"/>
                  </a:lnTo>
                  <a:lnTo>
                    <a:pt x="368" y="342"/>
                  </a:lnTo>
                  <a:lnTo>
                    <a:pt x="355" y="356"/>
                  </a:lnTo>
                  <a:lnTo>
                    <a:pt x="339" y="370"/>
                  </a:lnTo>
                  <a:lnTo>
                    <a:pt x="324" y="382"/>
                  </a:lnTo>
                  <a:lnTo>
                    <a:pt x="306" y="392"/>
                  </a:lnTo>
                  <a:lnTo>
                    <a:pt x="289" y="400"/>
                  </a:lnTo>
                  <a:lnTo>
                    <a:pt x="269" y="407"/>
                  </a:lnTo>
                  <a:lnTo>
                    <a:pt x="249" y="413"/>
                  </a:lnTo>
                  <a:lnTo>
                    <a:pt x="229" y="416"/>
                  </a:lnTo>
                  <a:lnTo>
                    <a:pt x="208" y="417"/>
                  </a:lnTo>
                  <a:lnTo>
                    <a:pt x="208" y="417"/>
                  </a:lnTo>
                  <a:lnTo>
                    <a:pt x="186" y="416"/>
                  </a:lnTo>
                  <a:lnTo>
                    <a:pt x="166" y="413"/>
                  </a:lnTo>
                  <a:lnTo>
                    <a:pt x="146" y="407"/>
                  </a:lnTo>
                  <a:lnTo>
                    <a:pt x="128" y="400"/>
                  </a:lnTo>
                  <a:lnTo>
                    <a:pt x="109" y="392"/>
                  </a:lnTo>
                  <a:lnTo>
                    <a:pt x="92" y="382"/>
                  </a:lnTo>
                  <a:lnTo>
                    <a:pt x="76" y="370"/>
                  </a:lnTo>
                  <a:lnTo>
                    <a:pt x="62" y="356"/>
                  </a:lnTo>
                  <a:lnTo>
                    <a:pt x="47" y="342"/>
                  </a:lnTo>
                  <a:lnTo>
                    <a:pt x="36" y="325"/>
                  </a:lnTo>
                  <a:lnTo>
                    <a:pt x="26" y="308"/>
                  </a:lnTo>
                  <a:lnTo>
                    <a:pt x="16" y="291"/>
                  </a:lnTo>
                  <a:lnTo>
                    <a:pt x="10" y="271"/>
                  </a:lnTo>
                  <a:lnTo>
                    <a:pt x="4" y="251"/>
                  </a:lnTo>
                  <a:lnTo>
                    <a:pt x="2" y="229"/>
                  </a:lnTo>
                  <a:lnTo>
                    <a:pt x="0" y="209"/>
                  </a:lnTo>
                  <a:lnTo>
                    <a:pt x="0" y="209"/>
                  </a:lnTo>
                  <a:lnTo>
                    <a:pt x="2" y="188"/>
                  </a:lnTo>
                  <a:lnTo>
                    <a:pt x="4" y="167"/>
                  </a:lnTo>
                  <a:lnTo>
                    <a:pt x="10" y="147"/>
                  </a:lnTo>
                  <a:lnTo>
                    <a:pt x="16" y="128"/>
                  </a:lnTo>
                  <a:lnTo>
                    <a:pt x="26" y="110"/>
                  </a:lnTo>
                  <a:lnTo>
                    <a:pt x="36" y="93"/>
                  </a:lnTo>
                  <a:lnTo>
                    <a:pt x="47" y="75"/>
                  </a:lnTo>
                  <a:lnTo>
                    <a:pt x="62" y="61"/>
                  </a:lnTo>
                  <a:lnTo>
                    <a:pt x="76" y="48"/>
                  </a:lnTo>
                  <a:lnTo>
                    <a:pt x="92" y="36"/>
                  </a:lnTo>
                  <a:lnTo>
                    <a:pt x="109" y="26"/>
                  </a:lnTo>
                  <a:lnTo>
                    <a:pt x="128" y="17"/>
                  </a:lnTo>
                  <a:lnTo>
                    <a:pt x="146" y="10"/>
                  </a:lnTo>
                  <a:lnTo>
                    <a:pt x="166" y="4"/>
                  </a:lnTo>
                  <a:lnTo>
                    <a:pt x="186" y="1"/>
                  </a:lnTo>
                  <a:lnTo>
                    <a:pt x="208" y="0"/>
                  </a:lnTo>
                  <a:lnTo>
                    <a:pt x="208" y="0"/>
                  </a:lnTo>
                  <a:lnTo>
                    <a:pt x="229" y="1"/>
                  </a:lnTo>
                  <a:lnTo>
                    <a:pt x="249" y="4"/>
                  </a:lnTo>
                  <a:lnTo>
                    <a:pt x="269" y="10"/>
                  </a:lnTo>
                  <a:lnTo>
                    <a:pt x="289" y="17"/>
                  </a:lnTo>
                  <a:lnTo>
                    <a:pt x="306" y="26"/>
                  </a:lnTo>
                  <a:lnTo>
                    <a:pt x="324" y="36"/>
                  </a:lnTo>
                  <a:lnTo>
                    <a:pt x="339" y="48"/>
                  </a:lnTo>
                  <a:lnTo>
                    <a:pt x="355" y="61"/>
                  </a:lnTo>
                  <a:lnTo>
                    <a:pt x="368" y="75"/>
                  </a:lnTo>
                  <a:lnTo>
                    <a:pt x="379" y="93"/>
                  </a:lnTo>
                  <a:lnTo>
                    <a:pt x="391" y="110"/>
                  </a:lnTo>
                  <a:lnTo>
                    <a:pt x="400" y="128"/>
                  </a:lnTo>
                  <a:lnTo>
                    <a:pt x="407" y="147"/>
                  </a:lnTo>
                  <a:lnTo>
                    <a:pt x="411" y="167"/>
                  </a:lnTo>
                  <a:lnTo>
                    <a:pt x="414" y="188"/>
                  </a:lnTo>
                  <a:lnTo>
                    <a:pt x="415" y="209"/>
                  </a:lnTo>
                  <a:lnTo>
                    <a:pt x="415" y="20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71" name="Line 24"/>
            <p:cNvSpPr>
              <a:spLocks noChangeShapeType="1"/>
            </p:cNvSpPr>
            <p:nvPr userDrawn="1"/>
          </p:nvSpPr>
          <p:spPr bwMode="auto">
            <a:xfrm>
              <a:off x="5664" y="742"/>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pic>
          <p:nvPicPr>
            <p:cNvPr id="72" name="Picture 25"/>
            <p:cNvPicPr>
              <a:picLocks noChangeAspect="1" noChangeArrowheads="1"/>
            </p:cNvPicPr>
            <p:nvPr userDrawn="1"/>
          </p:nvPicPr>
          <p:blipFill>
            <a:blip r:embed="rId8" cstate="hqprint">
              <a:extLst>
                <a:ext uri="{28A0092B-C50C-407E-A947-70E740481C1C}">
                  <a14:useLocalDpi xmlns:a14="http://schemas.microsoft.com/office/drawing/2010/main" val="0"/>
                </a:ext>
              </a:extLst>
            </a:blip>
            <a:srcRect/>
            <a:stretch>
              <a:fillRect/>
            </a:stretch>
          </p:blipFill>
          <p:spPr bwMode="auto">
            <a:xfrm>
              <a:off x="5478" y="637"/>
              <a:ext cx="282" cy="2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3" name="Freeform 26"/>
            <p:cNvSpPr>
              <a:spLocks noEditPoints="1"/>
            </p:cNvSpPr>
            <p:nvPr userDrawn="1"/>
          </p:nvSpPr>
          <p:spPr bwMode="auto">
            <a:xfrm>
              <a:off x="5563" y="717"/>
              <a:ext cx="44" cy="62"/>
            </a:xfrm>
            <a:custGeom>
              <a:avLst/>
              <a:gdLst>
                <a:gd name="T0" fmla="*/ 6 w 133"/>
                <a:gd name="T1" fmla="*/ 187 h 187"/>
                <a:gd name="T2" fmla="*/ 1 w 133"/>
                <a:gd name="T3" fmla="*/ 179 h 187"/>
                <a:gd name="T4" fmla="*/ 1 w 133"/>
                <a:gd name="T5" fmla="*/ 151 h 187"/>
                <a:gd name="T6" fmla="*/ 6 w 133"/>
                <a:gd name="T7" fmla="*/ 143 h 187"/>
                <a:gd name="T8" fmla="*/ 61 w 133"/>
                <a:gd name="T9" fmla="*/ 144 h 187"/>
                <a:gd name="T10" fmla="*/ 73 w 133"/>
                <a:gd name="T11" fmla="*/ 144 h 187"/>
                <a:gd name="T12" fmla="*/ 87 w 133"/>
                <a:gd name="T13" fmla="*/ 143 h 187"/>
                <a:gd name="T14" fmla="*/ 91 w 133"/>
                <a:gd name="T15" fmla="*/ 136 h 187"/>
                <a:gd name="T16" fmla="*/ 93 w 133"/>
                <a:gd name="T17" fmla="*/ 130 h 187"/>
                <a:gd name="T18" fmla="*/ 90 w 133"/>
                <a:gd name="T19" fmla="*/ 124 h 187"/>
                <a:gd name="T20" fmla="*/ 66 w 133"/>
                <a:gd name="T21" fmla="*/ 114 h 187"/>
                <a:gd name="T22" fmla="*/ 51 w 133"/>
                <a:gd name="T23" fmla="*/ 107 h 187"/>
                <a:gd name="T24" fmla="*/ 30 w 133"/>
                <a:gd name="T25" fmla="*/ 96 h 187"/>
                <a:gd name="T26" fmla="*/ 17 w 133"/>
                <a:gd name="T27" fmla="*/ 83 h 187"/>
                <a:gd name="T28" fmla="*/ 11 w 133"/>
                <a:gd name="T29" fmla="*/ 76 h 187"/>
                <a:gd name="T30" fmla="*/ 7 w 133"/>
                <a:gd name="T31" fmla="*/ 60 h 187"/>
                <a:gd name="T32" fmla="*/ 6 w 133"/>
                <a:gd name="T33" fmla="*/ 52 h 187"/>
                <a:gd name="T34" fmla="*/ 10 w 133"/>
                <a:gd name="T35" fmla="*/ 27 h 187"/>
                <a:gd name="T36" fmla="*/ 24 w 133"/>
                <a:gd name="T37" fmla="*/ 10 h 187"/>
                <a:gd name="T38" fmla="*/ 28 w 133"/>
                <a:gd name="T39" fmla="*/ 8 h 187"/>
                <a:gd name="T40" fmla="*/ 44 w 133"/>
                <a:gd name="T41" fmla="*/ 2 h 187"/>
                <a:gd name="T42" fmla="*/ 73 w 133"/>
                <a:gd name="T43" fmla="*/ 0 h 187"/>
                <a:gd name="T44" fmla="*/ 121 w 133"/>
                <a:gd name="T45" fmla="*/ 0 h 187"/>
                <a:gd name="T46" fmla="*/ 126 w 133"/>
                <a:gd name="T47" fmla="*/ 9 h 187"/>
                <a:gd name="T48" fmla="*/ 126 w 133"/>
                <a:gd name="T49" fmla="*/ 33 h 187"/>
                <a:gd name="T50" fmla="*/ 121 w 133"/>
                <a:gd name="T51" fmla="*/ 42 h 187"/>
                <a:gd name="T52" fmla="*/ 79 w 133"/>
                <a:gd name="T53" fmla="*/ 42 h 187"/>
                <a:gd name="T54" fmla="*/ 54 w 133"/>
                <a:gd name="T55" fmla="*/ 43 h 187"/>
                <a:gd name="T56" fmla="*/ 47 w 133"/>
                <a:gd name="T57" fmla="*/ 46 h 187"/>
                <a:gd name="T58" fmla="*/ 44 w 133"/>
                <a:gd name="T59" fmla="*/ 53 h 187"/>
                <a:gd name="T60" fmla="*/ 46 w 133"/>
                <a:gd name="T61" fmla="*/ 59 h 187"/>
                <a:gd name="T62" fmla="*/ 57 w 133"/>
                <a:gd name="T63" fmla="*/ 69 h 187"/>
                <a:gd name="T64" fmla="*/ 79 w 133"/>
                <a:gd name="T65" fmla="*/ 79 h 187"/>
                <a:gd name="T66" fmla="*/ 86 w 133"/>
                <a:gd name="T67" fmla="*/ 80 h 187"/>
                <a:gd name="T68" fmla="*/ 116 w 133"/>
                <a:gd name="T69" fmla="*/ 93 h 187"/>
                <a:gd name="T70" fmla="*/ 121 w 133"/>
                <a:gd name="T71" fmla="*/ 99 h 187"/>
                <a:gd name="T72" fmla="*/ 130 w 133"/>
                <a:gd name="T73" fmla="*/ 113 h 187"/>
                <a:gd name="T74" fmla="*/ 133 w 133"/>
                <a:gd name="T75" fmla="*/ 132 h 187"/>
                <a:gd name="T76" fmla="*/ 131 w 133"/>
                <a:gd name="T77" fmla="*/ 143 h 187"/>
                <a:gd name="T78" fmla="*/ 123 w 133"/>
                <a:gd name="T79" fmla="*/ 164 h 187"/>
                <a:gd name="T80" fmla="*/ 114 w 133"/>
                <a:gd name="T81" fmla="*/ 173 h 187"/>
                <a:gd name="T82" fmla="*/ 94 w 133"/>
                <a:gd name="T83" fmla="*/ 184 h 187"/>
                <a:gd name="T84" fmla="*/ 69 w 133"/>
                <a:gd name="T85" fmla="*/ 187 h 187"/>
                <a:gd name="T86" fmla="*/ 6 w 133"/>
                <a:gd name="T87"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3" h="187">
                  <a:moveTo>
                    <a:pt x="6" y="187"/>
                  </a:moveTo>
                  <a:lnTo>
                    <a:pt x="6" y="187"/>
                  </a:lnTo>
                  <a:lnTo>
                    <a:pt x="3" y="184"/>
                  </a:lnTo>
                  <a:lnTo>
                    <a:pt x="1" y="179"/>
                  </a:lnTo>
                  <a:lnTo>
                    <a:pt x="0" y="166"/>
                  </a:lnTo>
                  <a:lnTo>
                    <a:pt x="1" y="151"/>
                  </a:lnTo>
                  <a:lnTo>
                    <a:pt x="3" y="147"/>
                  </a:lnTo>
                  <a:lnTo>
                    <a:pt x="6" y="143"/>
                  </a:lnTo>
                  <a:lnTo>
                    <a:pt x="6" y="143"/>
                  </a:lnTo>
                  <a:lnTo>
                    <a:pt x="61" y="144"/>
                  </a:lnTo>
                  <a:lnTo>
                    <a:pt x="61" y="144"/>
                  </a:lnTo>
                  <a:lnTo>
                    <a:pt x="73" y="144"/>
                  </a:lnTo>
                  <a:lnTo>
                    <a:pt x="83" y="144"/>
                  </a:lnTo>
                  <a:lnTo>
                    <a:pt x="87" y="143"/>
                  </a:lnTo>
                  <a:lnTo>
                    <a:pt x="90" y="140"/>
                  </a:lnTo>
                  <a:lnTo>
                    <a:pt x="91" y="136"/>
                  </a:lnTo>
                  <a:lnTo>
                    <a:pt x="93" y="130"/>
                  </a:lnTo>
                  <a:lnTo>
                    <a:pt x="93" y="130"/>
                  </a:lnTo>
                  <a:lnTo>
                    <a:pt x="91" y="127"/>
                  </a:lnTo>
                  <a:lnTo>
                    <a:pt x="90" y="124"/>
                  </a:lnTo>
                  <a:lnTo>
                    <a:pt x="84" y="122"/>
                  </a:lnTo>
                  <a:lnTo>
                    <a:pt x="66" y="114"/>
                  </a:lnTo>
                  <a:lnTo>
                    <a:pt x="51" y="107"/>
                  </a:lnTo>
                  <a:lnTo>
                    <a:pt x="51" y="107"/>
                  </a:lnTo>
                  <a:lnTo>
                    <a:pt x="40" y="102"/>
                  </a:lnTo>
                  <a:lnTo>
                    <a:pt x="30" y="96"/>
                  </a:lnTo>
                  <a:lnTo>
                    <a:pt x="23" y="89"/>
                  </a:lnTo>
                  <a:lnTo>
                    <a:pt x="17" y="83"/>
                  </a:lnTo>
                  <a:lnTo>
                    <a:pt x="17" y="83"/>
                  </a:lnTo>
                  <a:lnTo>
                    <a:pt x="11" y="76"/>
                  </a:lnTo>
                  <a:lnTo>
                    <a:pt x="8" y="69"/>
                  </a:lnTo>
                  <a:lnTo>
                    <a:pt x="7" y="60"/>
                  </a:lnTo>
                  <a:lnTo>
                    <a:pt x="6" y="52"/>
                  </a:lnTo>
                  <a:lnTo>
                    <a:pt x="6" y="52"/>
                  </a:lnTo>
                  <a:lnTo>
                    <a:pt x="7" y="39"/>
                  </a:lnTo>
                  <a:lnTo>
                    <a:pt x="10" y="27"/>
                  </a:lnTo>
                  <a:lnTo>
                    <a:pt x="16" y="19"/>
                  </a:lnTo>
                  <a:lnTo>
                    <a:pt x="24" y="10"/>
                  </a:lnTo>
                  <a:lnTo>
                    <a:pt x="24" y="10"/>
                  </a:lnTo>
                  <a:lnTo>
                    <a:pt x="28" y="8"/>
                  </a:lnTo>
                  <a:lnTo>
                    <a:pt x="33" y="5"/>
                  </a:lnTo>
                  <a:lnTo>
                    <a:pt x="44" y="2"/>
                  </a:lnTo>
                  <a:lnTo>
                    <a:pt x="58" y="0"/>
                  </a:lnTo>
                  <a:lnTo>
                    <a:pt x="73" y="0"/>
                  </a:lnTo>
                  <a:lnTo>
                    <a:pt x="121" y="0"/>
                  </a:lnTo>
                  <a:lnTo>
                    <a:pt x="121" y="0"/>
                  </a:lnTo>
                  <a:lnTo>
                    <a:pt x="124" y="3"/>
                  </a:lnTo>
                  <a:lnTo>
                    <a:pt x="126" y="9"/>
                  </a:lnTo>
                  <a:lnTo>
                    <a:pt x="127" y="20"/>
                  </a:lnTo>
                  <a:lnTo>
                    <a:pt x="126" y="33"/>
                  </a:lnTo>
                  <a:lnTo>
                    <a:pt x="124" y="39"/>
                  </a:lnTo>
                  <a:lnTo>
                    <a:pt x="121" y="42"/>
                  </a:lnTo>
                  <a:lnTo>
                    <a:pt x="79" y="42"/>
                  </a:lnTo>
                  <a:lnTo>
                    <a:pt x="79" y="42"/>
                  </a:lnTo>
                  <a:lnTo>
                    <a:pt x="66" y="42"/>
                  </a:lnTo>
                  <a:lnTo>
                    <a:pt x="54" y="43"/>
                  </a:lnTo>
                  <a:lnTo>
                    <a:pt x="50" y="45"/>
                  </a:lnTo>
                  <a:lnTo>
                    <a:pt x="47" y="46"/>
                  </a:lnTo>
                  <a:lnTo>
                    <a:pt x="46" y="49"/>
                  </a:lnTo>
                  <a:lnTo>
                    <a:pt x="44" y="53"/>
                  </a:lnTo>
                  <a:lnTo>
                    <a:pt x="44" y="53"/>
                  </a:lnTo>
                  <a:lnTo>
                    <a:pt x="46" y="59"/>
                  </a:lnTo>
                  <a:lnTo>
                    <a:pt x="51" y="63"/>
                  </a:lnTo>
                  <a:lnTo>
                    <a:pt x="57" y="69"/>
                  </a:lnTo>
                  <a:lnTo>
                    <a:pt x="64" y="72"/>
                  </a:lnTo>
                  <a:lnTo>
                    <a:pt x="79" y="79"/>
                  </a:lnTo>
                  <a:lnTo>
                    <a:pt x="86" y="80"/>
                  </a:lnTo>
                  <a:lnTo>
                    <a:pt x="86" y="80"/>
                  </a:lnTo>
                  <a:lnTo>
                    <a:pt x="109" y="89"/>
                  </a:lnTo>
                  <a:lnTo>
                    <a:pt x="116" y="93"/>
                  </a:lnTo>
                  <a:lnTo>
                    <a:pt x="121" y="99"/>
                  </a:lnTo>
                  <a:lnTo>
                    <a:pt x="121" y="99"/>
                  </a:lnTo>
                  <a:lnTo>
                    <a:pt x="127" y="104"/>
                  </a:lnTo>
                  <a:lnTo>
                    <a:pt x="130" y="113"/>
                  </a:lnTo>
                  <a:lnTo>
                    <a:pt x="133" y="122"/>
                  </a:lnTo>
                  <a:lnTo>
                    <a:pt x="133" y="132"/>
                  </a:lnTo>
                  <a:lnTo>
                    <a:pt x="133" y="132"/>
                  </a:lnTo>
                  <a:lnTo>
                    <a:pt x="131" y="143"/>
                  </a:lnTo>
                  <a:lnTo>
                    <a:pt x="129" y="154"/>
                  </a:lnTo>
                  <a:lnTo>
                    <a:pt x="123" y="164"/>
                  </a:lnTo>
                  <a:lnTo>
                    <a:pt x="114" y="173"/>
                  </a:lnTo>
                  <a:lnTo>
                    <a:pt x="114" y="173"/>
                  </a:lnTo>
                  <a:lnTo>
                    <a:pt x="104" y="180"/>
                  </a:lnTo>
                  <a:lnTo>
                    <a:pt x="94" y="184"/>
                  </a:lnTo>
                  <a:lnTo>
                    <a:pt x="83" y="187"/>
                  </a:lnTo>
                  <a:lnTo>
                    <a:pt x="69" y="187"/>
                  </a:lnTo>
                  <a:lnTo>
                    <a:pt x="6" y="187"/>
                  </a:lnTo>
                  <a:close/>
                  <a:moveTo>
                    <a:pt x="6" y="187"/>
                  </a:moveTo>
                  <a:lnTo>
                    <a:pt x="6" y="18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74" name="Freeform 27"/>
            <p:cNvSpPr>
              <a:spLocks/>
            </p:cNvSpPr>
            <p:nvPr userDrawn="1"/>
          </p:nvSpPr>
          <p:spPr bwMode="auto">
            <a:xfrm>
              <a:off x="5563" y="717"/>
              <a:ext cx="44" cy="62"/>
            </a:xfrm>
            <a:custGeom>
              <a:avLst/>
              <a:gdLst>
                <a:gd name="T0" fmla="*/ 6 w 133"/>
                <a:gd name="T1" fmla="*/ 187 h 187"/>
                <a:gd name="T2" fmla="*/ 1 w 133"/>
                <a:gd name="T3" fmla="*/ 179 h 187"/>
                <a:gd name="T4" fmla="*/ 1 w 133"/>
                <a:gd name="T5" fmla="*/ 151 h 187"/>
                <a:gd name="T6" fmla="*/ 6 w 133"/>
                <a:gd name="T7" fmla="*/ 143 h 187"/>
                <a:gd name="T8" fmla="*/ 61 w 133"/>
                <a:gd name="T9" fmla="*/ 144 h 187"/>
                <a:gd name="T10" fmla="*/ 73 w 133"/>
                <a:gd name="T11" fmla="*/ 144 h 187"/>
                <a:gd name="T12" fmla="*/ 87 w 133"/>
                <a:gd name="T13" fmla="*/ 143 h 187"/>
                <a:gd name="T14" fmla="*/ 91 w 133"/>
                <a:gd name="T15" fmla="*/ 136 h 187"/>
                <a:gd name="T16" fmla="*/ 93 w 133"/>
                <a:gd name="T17" fmla="*/ 130 h 187"/>
                <a:gd name="T18" fmla="*/ 90 w 133"/>
                <a:gd name="T19" fmla="*/ 124 h 187"/>
                <a:gd name="T20" fmla="*/ 66 w 133"/>
                <a:gd name="T21" fmla="*/ 114 h 187"/>
                <a:gd name="T22" fmla="*/ 51 w 133"/>
                <a:gd name="T23" fmla="*/ 107 h 187"/>
                <a:gd name="T24" fmla="*/ 30 w 133"/>
                <a:gd name="T25" fmla="*/ 96 h 187"/>
                <a:gd name="T26" fmla="*/ 17 w 133"/>
                <a:gd name="T27" fmla="*/ 83 h 187"/>
                <a:gd name="T28" fmla="*/ 11 w 133"/>
                <a:gd name="T29" fmla="*/ 76 h 187"/>
                <a:gd name="T30" fmla="*/ 7 w 133"/>
                <a:gd name="T31" fmla="*/ 60 h 187"/>
                <a:gd name="T32" fmla="*/ 6 w 133"/>
                <a:gd name="T33" fmla="*/ 52 h 187"/>
                <a:gd name="T34" fmla="*/ 10 w 133"/>
                <a:gd name="T35" fmla="*/ 27 h 187"/>
                <a:gd name="T36" fmla="*/ 24 w 133"/>
                <a:gd name="T37" fmla="*/ 10 h 187"/>
                <a:gd name="T38" fmla="*/ 28 w 133"/>
                <a:gd name="T39" fmla="*/ 8 h 187"/>
                <a:gd name="T40" fmla="*/ 44 w 133"/>
                <a:gd name="T41" fmla="*/ 2 h 187"/>
                <a:gd name="T42" fmla="*/ 73 w 133"/>
                <a:gd name="T43" fmla="*/ 0 h 187"/>
                <a:gd name="T44" fmla="*/ 121 w 133"/>
                <a:gd name="T45" fmla="*/ 0 h 187"/>
                <a:gd name="T46" fmla="*/ 126 w 133"/>
                <a:gd name="T47" fmla="*/ 9 h 187"/>
                <a:gd name="T48" fmla="*/ 126 w 133"/>
                <a:gd name="T49" fmla="*/ 33 h 187"/>
                <a:gd name="T50" fmla="*/ 121 w 133"/>
                <a:gd name="T51" fmla="*/ 42 h 187"/>
                <a:gd name="T52" fmla="*/ 79 w 133"/>
                <a:gd name="T53" fmla="*/ 42 h 187"/>
                <a:gd name="T54" fmla="*/ 54 w 133"/>
                <a:gd name="T55" fmla="*/ 43 h 187"/>
                <a:gd name="T56" fmla="*/ 47 w 133"/>
                <a:gd name="T57" fmla="*/ 46 h 187"/>
                <a:gd name="T58" fmla="*/ 44 w 133"/>
                <a:gd name="T59" fmla="*/ 53 h 187"/>
                <a:gd name="T60" fmla="*/ 46 w 133"/>
                <a:gd name="T61" fmla="*/ 59 h 187"/>
                <a:gd name="T62" fmla="*/ 57 w 133"/>
                <a:gd name="T63" fmla="*/ 69 h 187"/>
                <a:gd name="T64" fmla="*/ 79 w 133"/>
                <a:gd name="T65" fmla="*/ 79 h 187"/>
                <a:gd name="T66" fmla="*/ 86 w 133"/>
                <a:gd name="T67" fmla="*/ 80 h 187"/>
                <a:gd name="T68" fmla="*/ 116 w 133"/>
                <a:gd name="T69" fmla="*/ 93 h 187"/>
                <a:gd name="T70" fmla="*/ 121 w 133"/>
                <a:gd name="T71" fmla="*/ 99 h 187"/>
                <a:gd name="T72" fmla="*/ 130 w 133"/>
                <a:gd name="T73" fmla="*/ 113 h 187"/>
                <a:gd name="T74" fmla="*/ 133 w 133"/>
                <a:gd name="T75" fmla="*/ 132 h 187"/>
                <a:gd name="T76" fmla="*/ 131 w 133"/>
                <a:gd name="T77" fmla="*/ 143 h 187"/>
                <a:gd name="T78" fmla="*/ 123 w 133"/>
                <a:gd name="T79" fmla="*/ 164 h 187"/>
                <a:gd name="T80" fmla="*/ 114 w 133"/>
                <a:gd name="T81" fmla="*/ 173 h 187"/>
                <a:gd name="T82" fmla="*/ 94 w 133"/>
                <a:gd name="T83" fmla="*/ 184 h 187"/>
                <a:gd name="T84" fmla="*/ 69 w 133"/>
                <a:gd name="T85"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33" h="187">
                  <a:moveTo>
                    <a:pt x="6" y="187"/>
                  </a:moveTo>
                  <a:lnTo>
                    <a:pt x="6" y="187"/>
                  </a:lnTo>
                  <a:lnTo>
                    <a:pt x="3" y="184"/>
                  </a:lnTo>
                  <a:lnTo>
                    <a:pt x="1" y="179"/>
                  </a:lnTo>
                  <a:lnTo>
                    <a:pt x="0" y="166"/>
                  </a:lnTo>
                  <a:lnTo>
                    <a:pt x="1" y="151"/>
                  </a:lnTo>
                  <a:lnTo>
                    <a:pt x="3" y="147"/>
                  </a:lnTo>
                  <a:lnTo>
                    <a:pt x="6" y="143"/>
                  </a:lnTo>
                  <a:lnTo>
                    <a:pt x="6" y="143"/>
                  </a:lnTo>
                  <a:lnTo>
                    <a:pt x="61" y="144"/>
                  </a:lnTo>
                  <a:lnTo>
                    <a:pt x="61" y="144"/>
                  </a:lnTo>
                  <a:lnTo>
                    <a:pt x="73" y="144"/>
                  </a:lnTo>
                  <a:lnTo>
                    <a:pt x="83" y="144"/>
                  </a:lnTo>
                  <a:lnTo>
                    <a:pt x="87" y="143"/>
                  </a:lnTo>
                  <a:lnTo>
                    <a:pt x="90" y="140"/>
                  </a:lnTo>
                  <a:lnTo>
                    <a:pt x="91" y="136"/>
                  </a:lnTo>
                  <a:lnTo>
                    <a:pt x="93" y="130"/>
                  </a:lnTo>
                  <a:lnTo>
                    <a:pt x="93" y="130"/>
                  </a:lnTo>
                  <a:lnTo>
                    <a:pt x="91" y="127"/>
                  </a:lnTo>
                  <a:lnTo>
                    <a:pt x="90" y="124"/>
                  </a:lnTo>
                  <a:lnTo>
                    <a:pt x="84" y="122"/>
                  </a:lnTo>
                  <a:lnTo>
                    <a:pt x="66" y="114"/>
                  </a:lnTo>
                  <a:lnTo>
                    <a:pt x="51" y="107"/>
                  </a:lnTo>
                  <a:lnTo>
                    <a:pt x="51" y="107"/>
                  </a:lnTo>
                  <a:lnTo>
                    <a:pt x="40" y="102"/>
                  </a:lnTo>
                  <a:lnTo>
                    <a:pt x="30" y="96"/>
                  </a:lnTo>
                  <a:lnTo>
                    <a:pt x="23" y="89"/>
                  </a:lnTo>
                  <a:lnTo>
                    <a:pt x="17" y="83"/>
                  </a:lnTo>
                  <a:lnTo>
                    <a:pt x="17" y="83"/>
                  </a:lnTo>
                  <a:lnTo>
                    <a:pt x="11" y="76"/>
                  </a:lnTo>
                  <a:lnTo>
                    <a:pt x="8" y="69"/>
                  </a:lnTo>
                  <a:lnTo>
                    <a:pt x="7" y="60"/>
                  </a:lnTo>
                  <a:lnTo>
                    <a:pt x="6" y="52"/>
                  </a:lnTo>
                  <a:lnTo>
                    <a:pt x="6" y="52"/>
                  </a:lnTo>
                  <a:lnTo>
                    <a:pt x="7" y="39"/>
                  </a:lnTo>
                  <a:lnTo>
                    <a:pt x="10" y="27"/>
                  </a:lnTo>
                  <a:lnTo>
                    <a:pt x="16" y="19"/>
                  </a:lnTo>
                  <a:lnTo>
                    <a:pt x="24" y="10"/>
                  </a:lnTo>
                  <a:lnTo>
                    <a:pt x="24" y="10"/>
                  </a:lnTo>
                  <a:lnTo>
                    <a:pt x="28" y="8"/>
                  </a:lnTo>
                  <a:lnTo>
                    <a:pt x="33" y="5"/>
                  </a:lnTo>
                  <a:lnTo>
                    <a:pt x="44" y="2"/>
                  </a:lnTo>
                  <a:lnTo>
                    <a:pt x="58" y="0"/>
                  </a:lnTo>
                  <a:lnTo>
                    <a:pt x="73" y="0"/>
                  </a:lnTo>
                  <a:lnTo>
                    <a:pt x="121" y="0"/>
                  </a:lnTo>
                  <a:lnTo>
                    <a:pt x="121" y="0"/>
                  </a:lnTo>
                  <a:lnTo>
                    <a:pt x="124" y="3"/>
                  </a:lnTo>
                  <a:lnTo>
                    <a:pt x="126" y="9"/>
                  </a:lnTo>
                  <a:lnTo>
                    <a:pt x="127" y="20"/>
                  </a:lnTo>
                  <a:lnTo>
                    <a:pt x="126" y="33"/>
                  </a:lnTo>
                  <a:lnTo>
                    <a:pt x="124" y="39"/>
                  </a:lnTo>
                  <a:lnTo>
                    <a:pt x="121" y="42"/>
                  </a:lnTo>
                  <a:lnTo>
                    <a:pt x="79" y="42"/>
                  </a:lnTo>
                  <a:lnTo>
                    <a:pt x="79" y="42"/>
                  </a:lnTo>
                  <a:lnTo>
                    <a:pt x="66" y="42"/>
                  </a:lnTo>
                  <a:lnTo>
                    <a:pt x="54" y="43"/>
                  </a:lnTo>
                  <a:lnTo>
                    <a:pt x="50" y="45"/>
                  </a:lnTo>
                  <a:lnTo>
                    <a:pt x="47" y="46"/>
                  </a:lnTo>
                  <a:lnTo>
                    <a:pt x="46" y="49"/>
                  </a:lnTo>
                  <a:lnTo>
                    <a:pt x="44" y="53"/>
                  </a:lnTo>
                  <a:lnTo>
                    <a:pt x="44" y="53"/>
                  </a:lnTo>
                  <a:lnTo>
                    <a:pt x="46" y="59"/>
                  </a:lnTo>
                  <a:lnTo>
                    <a:pt x="51" y="63"/>
                  </a:lnTo>
                  <a:lnTo>
                    <a:pt x="57" y="69"/>
                  </a:lnTo>
                  <a:lnTo>
                    <a:pt x="64" y="72"/>
                  </a:lnTo>
                  <a:lnTo>
                    <a:pt x="79" y="79"/>
                  </a:lnTo>
                  <a:lnTo>
                    <a:pt x="86" y="80"/>
                  </a:lnTo>
                  <a:lnTo>
                    <a:pt x="86" y="80"/>
                  </a:lnTo>
                  <a:lnTo>
                    <a:pt x="109" y="89"/>
                  </a:lnTo>
                  <a:lnTo>
                    <a:pt x="116" y="93"/>
                  </a:lnTo>
                  <a:lnTo>
                    <a:pt x="121" y="99"/>
                  </a:lnTo>
                  <a:lnTo>
                    <a:pt x="121" y="99"/>
                  </a:lnTo>
                  <a:lnTo>
                    <a:pt x="127" y="104"/>
                  </a:lnTo>
                  <a:lnTo>
                    <a:pt x="130" y="113"/>
                  </a:lnTo>
                  <a:lnTo>
                    <a:pt x="133" y="122"/>
                  </a:lnTo>
                  <a:lnTo>
                    <a:pt x="133" y="132"/>
                  </a:lnTo>
                  <a:lnTo>
                    <a:pt x="133" y="132"/>
                  </a:lnTo>
                  <a:lnTo>
                    <a:pt x="131" y="143"/>
                  </a:lnTo>
                  <a:lnTo>
                    <a:pt x="129" y="154"/>
                  </a:lnTo>
                  <a:lnTo>
                    <a:pt x="123" y="164"/>
                  </a:lnTo>
                  <a:lnTo>
                    <a:pt x="114" y="173"/>
                  </a:lnTo>
                  <a:lnTo>
                    <a:pt x="114" y="173"/>
                  </a:lnTo>
                  <a:lnTo>
                    <a:pt x="104" y="180"/>
                  </a:lnTo>
                  <a:lnTo>
                    <a:pt x="94" y="184"/>
                  </a:lnTo>
                  <a:lnTo>
                    <a:pt x="83" y="187"/>
                  </a:lnTo>
                  <a:lnTo>
                    <a:pt x="69" y="187"/>
                  </a:lnTo>
                  <a:lnTo>
                    <a:pt x="6" y="18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75" name="Line 28"/>
            <p:cNvSpPr>
              <a:spLocks noChangeShapeType="1"/>
            </p:cNvSpPr>
            <p:nvPr userDrawn="1"/>
          </p:nvSpPr>
          <p:spPr bwMode="auto">
            <a:xfrm>
              <a:off x="5565" y="779"/>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76" name="Freeform 29"/>
            <p:cNvSpPr>
              <a:spLocks noEditPoints="1"/>
            </p:cNvSpPr>
            <p:nvPr userDrawn="1"/>
          </p:nvSpPr>
          <p:spPr bwMode="auto">
            <a:xfrm>
              <a:off x="5671" y="717"/>
              <a:ext cx="80" cy="63"/>
            </a:xfrm>
            <a:custGeom>
              <a:avLst/>
              <a:gdLst>
                <a:gd name="T0" fmla="*/ 0 w 242"/>
                <a:gd name="T1" fmla="*/ 0 h 191"/>
                <a:gd name="T2" fmla="*/ 198 w 242"/>
                <a:gd name="T3" fmla="*/ 0 h 191"/>
                <a:gd name="T4" fmla="*/ 218 w 242"/>
                <a:gd name="T5" fmla="*/ 3 h 191"/>
                <a:gd name="T6" fmla="*/ 231 w 242"/>
                <a:gd name="T7" fmla="*/ 12 h 191"/>
                <a:gd name="T8" fmla="*/ 239 w 242"/>
                <a:gd name="T9" fmla="*/ 27 h 191"/>
                <a:gd name="T10" fmla="*/ 242 w 242"/>
                <a:gd name="T11" fmla="*/ 52 h 191"/>
                <a:gd name="T12" fmla="*/ 242 w 242"/>
                <a:gd name="T13" fmla="*/ 186 h 191"/>
                <a:gd name="T14" fmla="*/ 234 w 242"/>
                <a:gd name="T15" fmla="*/ 190 h 191"/>
                <a:gd name="T16" fmla="*/ 221 w 242"/>
                <a:gd name="T17" fmla="*/ 191 h 191"/>
                <a:gd name="T18" fmla="*/ 209 w 242"/>
                <a:gd name="T19" fmla="*/ 190 h 191"/>
                <a:gd name="T20" fmla="*/ 201 w 242"/>
                <a:gd name="T21" fmla="*/ 186 h 191"/>
                <a:gd name="T22" fmla="*/ 201 w 242"/>
                <a:gd name="T23" fmla="*/ 66 h 191"/>
                <a:gd name="T24" fmla="*/ 198 w 242"/>
                <a:gd name="T25" fmla="*/ 55 h 191"/>
                <a:gd name="T26" fmla="*/ 191 w 242"/>
                <a:gd name="T27" fmla="*/ 46 h 191"/>
                <a:gd name="T28" fmla="*/ 182 w 242"/>
                <a:gd name="T29" fmla="*/ 42 h 191"/>
                <a:gd name="T30" fmla="*/ 161 w 242"/>
                <a:gd name="T31" fmla="*/ 40 h 191"/>
                <a:gd name="T32" fmla="*/ 142 w 242"/>
                <a:gd name="T33" fmla="*/ 43 h 191"/>
                <a:gd name="T34" fmla="*/ 142 w 242"/>
                <a:gd name="T35" fmla="*/ 186 h 191"/>
                <a:gd name="T36" fmla="*/ 133 w 242"/>
                <a:gd name="T37" fmla="*/ 190 h 191"/>
                <a:gd name="T38" fmla="*/ 122 w 242"/>
                <a:gd name="T39" fmla="*/ 191 h 191"/>
                <a:gd name="T40" fmla="*/ 109 w 242"/>
                <a:gd name="T41" fmla="*/ 190 h 191"/>
                <a:gd name="T42" fmla="*/ 101 w 242"/>
                <a:gd name="T43" fmla="*/ 186 h 191"/>
                <a:gd name="T44" fmla="*/ 101 w 242"/>
                <a:gd name="T45" fmla="*/ 67 h 191"/>
                <a:gd name="T46" fmla="*/ 98 w 242"/>
                <a:gd name="T47" fmla="*/ 55 h 191"/>
                <a:gd name="T48" fmla="*/ 92 w 242"/>
                <a:gd name="T49" fmla="*/ 46 h 191"/>
                <a:gd name="T50" fmla="*/ 82 w 242"/>
                <a:gd name="T51" fmla="*/ 42 h 191"/>
                <a:gd name="T52" fmla="*/ 60 w 242"/>
                <a:gd name="T53" fmla="*/ 40 h 191"/>
                <a:gd name="T54" fmla="*/ 43 w 242"/>
                <a:gd name="T55" fmla="*/ 43 h 191"/>
                <a:gd name="T56" fmla="*/ 43 w 242"/>
                <a:gd name="T57" fmla="*/ 186 h 191"/>
                <a:gd name="T58" fmla="*/ 33 w 242"/>
                <a:gd name="T59" fmla="*/ 190 h 191"/>
                <a:gd name="T60" fmla="*/ 22 w 242"/>
                <a:gd name="T61" fmla="*/ 191 h 191"/>
                <a:gd name="T62" fmla="*/ 9 w 242"/>
                <a:gd name="T63" fmla="*/ 190 h 191"/>
                <a:gd name="T64" fmla="*/ 0 w 242"/>
                <a:gd name="T65" fmla="*/ 186 h 191"/>
                <a:gd name="T66" fmla="*/ 0 w 242"/>
                <a:gd name="T67" fmla="*/ 186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42" h="191">
                  <a:moveTo>
                    <a:pt x="0" y="186"/>
                  </a:moveTo>
                  <a:lnTo>
                    <a:pt x="0" y="0"/>
                  </a:lnTo>
                  <a:lnTo>
                    <a:pt x="198" y="0"/>
                  </a:lnTo>
                  <a:lnTo>
                    <a:pt x="198" y="0"/>
                  </a:lnTo>
                  <a:lnTo>
                    <a:pt x="208" y="0"/>
                  </a:lnTo>
                  <a:lnTo>
                    <a:pt x="218" y="3"/>
                  </a:lnTo>
                  <a:lnTo>
                    <a:pt x="225" y="6"/>
                  </a:lnTo>
                  <a:lnTo>
                    <a:pt x="231" y="12"/>
                  </a:lnTo>
                  <a:lnTo>
                    <a:pt x="237" y="19"/>
                  </a:lnTo>
                  <a:lnTo>
                    <a:pt x="239" y="27"/>
                  </a:lnTo>
                  <a:lnTo>
                    <a:pt x="242" y="39"/>
                  </a:lnTo>
                  <a:lnTo>
                    <a:pt x="242" y="52"/>
                  </a:lnTo>
                  <a:lnTo>
                    <a:pt x="242" y="186"/>
                  </a:lnTo>
                  <a:lnTo>
                    <a:pt x="242" y="186"/>
                  </a:lnTo>
                  <a:lnTo>
                    <a:pt x="239" y="189"/>
                  </a:lnTo>
                  <a:lnTo>
                    <a:pt x="234" y="190"/>
                  </a:lnTo>
                  <a:lnTo>
                    <a:pt x="228" y="191"/>
                  </a:lnTo>
                  <a:lnTo>
                    <a:pt x="221" y="191"/>
                  </a:lnTo>
                  <a:lnTo>
                    <a:pt x="215" y="191"/>
                  </a:lnTo>
                  <a:lnTo>
                    <a:pt x="209" y="190"/>
                  </a:lnTo>
                  <a:lnTo>
                    <a:pt x="204" y="189"/>
                  </a:lnTo>
                  <a:lnTo>
                    <a:pt x="201" y="186"/>
                  </a:lnTo>
                  <a:lnTo>
                    <a:pt x="201" y="66"/>
                  </a:lnTo>
                  <a:lnTo>
                    <a:pt x="201" y="66"/>
                  </a:lnTo>
                  <a:lnTo>
                    <a:pt x="199" y="60"/>
                  </a:lnTo>
                  <a:lnTo>
                    <a:pt x="198" y="55"/>
                  </a:lnTo>
                  <a:lnTo>
                    <a:pt x="195" y="50"/>
                  </a:lnTo>
                  <a:lnTo>
                    <a:pt x="191" y="46"/>
                  </a:lnTo>
                  <a:lnTo>
                    <a:pt x="186" y="43"/>
                  </a:lnTo>
                  <a:lnTo>
                    <a:pt x="182" y="42"/>
                  </a:lnTo>
                  <a:lnTo>
                    <a:pt x="171" y="40"/>
                  </a:lnTo>
                  <a:lnTo>
                    <a:pt x="161" y="40"/>
                  </a:lnTo>
                  <a:lnTo>
                    <a:pt x="152" y="40"/>
                  </a:lnTo>
                  <a:lnTo>
                    <a:pt x="142" y="43"/>
                  </a:lnTo>
                  <a:lnTo>
                    <a:pt x="142" y="186"/>
                  </a:lnTo>
                  <a:lnTo>
                    <a:pt x="142" y="186"/>
                  </a:lnTo>
                  <a:lnTo>
                    <a:pt x="139" y="189"/>
                  </a:lnTo>
                  <a:lnTo>
                    <a:pt x="133" y="190"/>
                  </a:lnTo>
                  <a:lnTo>
                    <a:pt x="128" y="191"/>
                  </a:lnTo>
                  <a:lnTo>
                    <a:pt x="122" y="191"/>
                  </a:lnTo>
                  <a:lnTo>
                    <a:pt x="115" y="191"/>
                  </a:lnTo>
                  <a:lnTo>
                    <a:pt x="109" y="190"/>
                  </a:lnTo>
                  <a:lnTo>
                    <a:pt x="103" y="189"/>
                  </a:lnTo>
                  <a:lnTo>
                    <a:pt x="101" y="186"/>
                  </a:lnTo>
                  <a:lnTo>
                    <a:pt x="101" y="67"/>
                  </a:lnTo>
                  <a:lnTo>
                    <a:pt x="101" y="67"/>
                  </a:lnTo>
                  <a:lnTo>
                    <a:pt x="99" y="60"/>
                  </a:lnTo>
                  <a:lnTo>
                    <a:pt x="98" y="55"/>
                  </a:lnTo>
                  <a:lnTo>
                    <a:pt x="95" y="50"/>
                  </a:lnTo>
                  <a:lnTo>
                    <a:pt x="92" y="46"/>
                  </a:lnTo>
                  <a:lnTo>
                    <a:pt x="88" y="43"/>
                  </a:lnTo>
                  <a:lnTo>
                    <a:pt x="82" y="42"/>
                  </a:lnTo>
                  <a:lnTo>
                    <a:pt x="72" y="40"/>
                  </a:lnTo>
                  <a:lnTo>
                    <a:pt x="60" y="40"/>
                  </a:lnTo>
                  <a:lnTo>
                    <a:pt x="52" y="40"/>
                  </a:lnTo>
                  <a:lnTo>
                    <a:pt x="43" y="43"/>
                  </a:lnTo>
                  <a:lnTo>
                    <a:pt x="43" y="186"/>
                  </a:lnTo>
                  <a:lnTo>
                    <a:pt x="43" y="186"/>
                  </a:lnTo>
                  <a:lnTo>
                    <a:pt x="39" y="189"/>
                  </a:lnTo>
                  <a:lnTo>
                    <a:pt x="33" y="190"/>
                  </a:lnTo>
                  <a:lnTo>
                    <a:pt x="28" y="191"/>
                  </a:lnTo>
                  <a:lnTo>
                    <a:pt x="22" y="191"/>
                  </a:lnTo>
                  <a:lnTo>
                    <a:pt x="15" y="191"/>
                  </a:lnTo>
                  <a:lnTo>
                    <a:pt x="9" y="190"/>
                  </a:lnTo>
                  <a:lnTo>
                    <a:pt x="5" y="189"/>
                  </a:lnTo>
                  <a:lnTo>
                    <a:pt x="0" y="186"/>
                  </a:lnTo>
                  <a:lnTo>
                    <a:pt x="0" y="186"/>
                  </a:lnTo>
                  <a:close/>
                  <a:moveTo>
                    <a:pt x="0" y="186"/>
                  </a:moveTo>
                  <a:lnTo>
                    <a:pt x="0" y="18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77" name="Freeform 30"/>
            <p:cNvSpPr>
              <a:spLocks/>
            </p:cNvSpPr>
            <p:nvPr userDrawn="1"/>
          </p:nvSpPr>
          <p:spPr bwMode="auto">
            <a:xfrm>
              <a:off x="5671" y="717"/>
              <a:ext cx="80" cy="63"/>
            </a:xfrm>
            <a:custGeom>
              <a:avLst/>
              <a:gdLst>
                <a:gd name="T0" fmla="*/ 0 w 242"/>
                <a:gd name="T1" fmla="*/ 0 h 191"/>
                <a:gd name="T2" fmla="*/ 198 w 242"/>
                <a:gd name="T3" fmla="*/ 0 h 191"/>
                <a:gd name="T4" fmla="*/ 218 w 242"/>
                <a:gd name="T5" fmla="*/ 3 h 191"/>
                <a:gd name="T6" fmla="*/ 231 w 242"/>
                <a:gd name="T7" fmla="*/ 12 h 191"/>
                <a:gd name="T8" fmla="*/ 239 w 242"/>
                <a:gd name="T9" fmla="*/ 27 h 191"/>
                <a:gd name="T10" fmla="*/ 242 w 242"/>
                <a:gd name="T11" fmla="*/ 52 h 191"/>
                <a:gd name="T12" fmla="*/ 242 w 242"/>
                <a:gd name="T13" fmla="*/ 186 h 191"/>
                <a:gd name="T14" fmla="*/ 234 w 242"/>
                <a:gd name="T15" fmla="*/ 190 h 191"/>
                <a:gd name="T16" fmla="*/ 221 w 242"/>
                <a:gd name="T17" fmla="*/ 191 h 191"/>
                <a:gd name="T18" fmla="*/ 209 w 242"/>
                <a:gd name="T19" fmla="*/ 190 h 191"/>
                <a:gd name="T20" fmla="*/ 201 w 242"/>
                <a:gd name="T21" fmla="*/ 186 h 191"/>
                <a:gd name="T22" fmla="*/ 201 w 242"/>
                <a:gd name="T23" fmla="*/ 66 h 191"/>
                <a:gd name="T24" fmla="*/ 198 w 242"/>
                <a:gd name="T25" fmla="*/ 55 h 191"/>
                <a:gd name="T26" fmla="*/ 191 w 242"/>
                <a:gd name="T27" fmla="*/ 46 h 191"/>
                <a:gd name="T28" fmla="*/ 182 w 242"/>
                <a:gd name="T29" fmla="*/ 42 h 191"/>
                <a:gd name="T30" fmla="*/ 161 w 242"/>
                <a:gd name="T31" fmla="*/ 40 h 191"/>
                <a:gd name="T32" fmla="*/ 142 w 242"/>
                <a:gd name="T33" fmla="*/ 43 h 191"/>
                <a:gd name="T34" fmla="*/ 142 w 242"/>
                <a:gd name="T35" fmla="*/ 186 h 191"/>
                <a:gd name="T36" fmla="*/ 133 w 242"/>
                <a:gd name="T37" fmla="*/ 190 h 191"/>
                <a:gd name="T38" fmla="*/ 122 w 242"/>
                <a:gd name="T39" fmla="*/ 191 h 191"/>
                <a:gd name="T40" fmla="*/ 109 w 242"/>
                <a:gd name="T41" fmla="*/ 190 h 191"/>
                <a:gd name="T42" fmla="*/ 101 w 242"/>
                <a:gd name="T43" fmla="*/ 186 h 191"/>
                <a:gd name="T44" fmla="*/ 101 w 242"/>
                <a:gd name="T45" fmla="*/ 67 h 191"/>
                <a:gd name="T46" fmla="*/ 98 w 242"/>
                <a:gd name="T47" fmla="*/ 55 h 191"/>
                <a:gd name="T48" fmla="*/ 92 w 242"/>
                <a:gd name="T49" fmla="*/ 46 h 191"/>
                <a:gd name="T50" fmla="*/ 82 w 242"/>
                <a:gd name="T51" fmla="*/ 42 h 191"/>
                <a:gd name="T52" fmla="*/ 60 w 242"/>
                <a:gd name="T53" fmla="*/ 40 h 191"/>
                <a:gd name="T54" fmla="*/ 43 w 242"/>
                <a:gd name="T55" fmla="*/ 43 h 191"/>
                <a:gd name="T56" fmla="*/ 43 w 242"/>
                <a:gd name="T57" fmla="*/ 186 h 191"/>
                <a:gd name="T58" fmla="*/ 33 w 242"/>
                <a:gd name="T59" fmla="*/ 190 h 191"/>
                <a:gd name="T60" fmla="*/ 22 w 242"/>
                <a:gd name="T61" fmla="*/ 191 h 191"/>
                <a:gd name="T62" fmla="*/ 9 w 242"/>
                <a:gd name="T63" fmla="*/ 190 h 191"/>
                <a:gd name="T64" fmla="*/ 0 w 242"/>
                <a:gd name="T65" fmla="*/ 186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2" h="191">
                  <a:moveTo>
                    <a:pt x="0" y="186"/>
                  </a:moveTo>
                  <a:lnTo>
                    <a:pt x="0" y="0"/>
                  </a:lnTo>
                  <a:lnTo>
                    <a:pt x="198" y="0"/>
                  </a:lnTo>
                  <a:lnTo>
                    <a:pt x="198" y="0"/>
                  </a:lnTo>
                  <a:lnTo>
                    <a:pt x="208" y="0"/>
                  </a:lnTo>
                  <a:lnTo>
                    <a:pt x="218" y="3"/>
                  </a:lnTo>
                  <a:lnTo>
                    <a:pt x="225" y="6"/>
                  </a:lnTo>
                  <a:lnTo>
                    <a:pt x="231" y="12"/>
                  </a:lnTo>
                  <a:lnTo>
                    <a:pt x="237" y="19"/>
                  </a:lnTo>
                  <a:lnTo>
                    <a:pt x="239" y="27"/>
                  </a:lnTo>
                  <a:lnTo>
                    <a:pt x="242" y="39"/>
                  </a:lnTo>
                  <a:lnTo>
                    <a:pt x="242" y="52"/>
                  </a:lnTo>
                  <a:lnTo>
                    <a:pt x="242" y="186"/>
                  </a:lnTo>
                  <a:lnTo>
                    <a:pt x="242" y="186"/>
                  </a:lnTo>
                  <a:lnTo>
                    <a:pt x="239" y="189"/>
                  </a:lnTo>
                  <a:lnTo>
                    <a:pt x="234" y="190"/>
                  </a:lnTo>
                  <a:lnTo>
                    <a:pt x="228" y="191"/>
                  </a:lnTo>
                  <a:lnTo>
                    <a:pt x="221" y="191"/>
                  </a:lnTo>
                  <a:lnTo>
                    <a:pt x="215" y="191"/>
                  </a:lnTo>
                  <a:lnTo>
                    <a:pt x="209" y="190"/>
                  </a:lnTo>
                  <a:lnTo>
                    <a:pt x="204" y="189"/>
                  </a:lnTo>
                  <a:lnTo>
                    <a:pt x="201" y="186"/>
                  </a:lnTo>
                  <a:lnTo>
                    <a:pt x="201" y="66"/>
                  </a:lnTo>
                  <a:lnTo>
                    <a:pt x="201" y="66"/>
                  </a:lnTo>
                  <a:lnTo>
                    <a:pt x="199" y="60"/>
                  </a:lnTo>
                  <a:lnTo>
                    <a:pt x="198" y="55"/>
                  </a:lnTo>
                  <a:lnTo>
                    <a:pt x="195" y="50"/>
                  </a:lnTo>
                  <a:lnTo>
                    <a:pt x="191" y="46"/>
                  </a:lnTo>
                  <a:lnTo>
                    <a:pt x="186" y="43"/>
                  </a:lnTo>
                  <a:lnTo>
                    <a:pt x="182" y="42"/>
                  </a:lnTo>
                  <a:lnTo>
                    <a:pt x="171" y="40"/>
                  </a:lnTo>
                  <a:lnTo>
                    <a:pt x="161" y="40"/>
                  </a:lnTo>
                  <a:lnTo>
                    <a:pt x="152" y="40"/>
                  </a:lnTo>
                  <a:lnTo>
                    <a:pt x="142" y="43"/>
                  </a:lnTo>
                  <a:lnTo>
                    <a:pt x="142" y="186"/>
                  </a:lnTo>
                  <a:lnTo>
                    <a:pt x="142" y="186"/>
                  </a:lnTo>
                  <a:lnTo>
                    <a:pt x="139" y="189"/>
                  </a:lnTo>
                  <a:lnTo>
                    <a:pt x="133" y="190"/>
                  </a:lnTo>
                  <a:lnTo>
                    <a:pt x="128" y="191"/>
                  </a:lnTo>
                  <a:lnTo>
                    <a:pt x="122" y="191"/>
                  </a:lnTo>
                  <a:lnTo>
                    <a:pt x="115" y="191"/>
                  </a:lnTo>
                  <a:lnTo>
                    <a:pt x="109" y="190"/>
                  </a:lnTo>
                  <a:lnTo>
                    <a:pt x="103" y="189"/>
                  </a:lnTo>
                  <a:lnTo>
                    <a:pt x="101" y="186"/>
                  </a:lnTo>
                  <a:lnTo>
                    <a:pt x="101" y="67"/>
                  </a:lnTo>
                  <a:lnTo>
                    <a:pt x="101" y="67"/>
                  </a:lnTo>
                  <a:lnTo>
                    <a:pt x="99" y="60"/>
                  </a:lnTo>
                  <a:lnTo>
                    <a:pt x="98" y="55"/>
                  </a:lnTo>
                  <a:lnTo>
                    <a:pt x="95" y="50"/>
                  </a:lnTo>
                  <a:lnTo>
                    <a:pt x="92" y="46"/>
                  </a:lnTo>
                  <a:lnTo>
                    <a:pt x="88" y="43"/>
                  </a:lnTo>
                  <a:lnTo>
                    <a:pt x="82" y="42"/>
                  </a:lnTo>
                  <a:lnTo>
                    <a:pt x="72" y="40"/>
                  </a:lnTo>
                  <a:lnTo>
                    <a:pt x="60" y="40"/>
                  </a:lnTo>
                  <a:lnTo>
                    <a:pt x="52" y="40"/>
                  </a:lnTo>
                  <a:lnTo>
                    <a:pt x="43" y="43"/>
                  </a:lnTo>
                  <a:lnTo>
                    <a:pt x="43" y="186"/>
                  </a:lnTo>
                  <a:lnTo>
                    <a:pt x="43" y="186"/>
                  </a:lnTo>
                  <a:lnTo>
                    <a:pt x="39" y="189"/>
                  </a:lnTo>
                  <a:lnTo>
                    <a:pt x="33" y="190"/>
                  </a:lnTo>
                  <a:lnTo>
                    <a:pt x="28" y="191"/>
                  </a:lnTo>
                  <a:lnTo>
                    <a:pt x="22" y="191"/>
                  </a:lnTo>
                  <a:lnTo>
                    <a:pt x="15" y="191"/>
                  </a:lnTo>
                  <a:lnTo>
                    <a:pt x="9" y="190"/>
                  </a:lnTo>
                  <a:lnTo>
                    <a:pt x="5" y="189"/>
                  </a:lnTo>
                  <a:lnTo>
                    <a:pt x="0" y="186"/>
                  </a:lnTo>
                  <a:lnTo>
                    <a:pt x="0" y="18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78" name="Line 31"/>
            <p:cNvSpPr>
              <a:spLocks noChangeShapeType="1"/>
            </p:cNvSpPr>
            <p:nvPr userDrawn="1"/>
          </p:nvSpPr>
          <p:spPr bwMode="auto">
            <a:xfrm>
              <a:off x="5671" y="779"/>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79" name="Freeform 32"/>
            <p:cNvSpPr>
              <a:spLocks noEditPoints="1"/>
            </p:cNvSpPr>
            <p:nvPr userDrawn="1"/>
          </p:nvSpPr>
          <p:spPr bwMode="auto">
            <a:xfrm>
              <a:off x="5615" y="717"/>
              <a:ext cx="45" cy="63"/>
            </a:xfrm>
            <a:custGeom>
              <a:avLst/>
              <a:gdLst>
                <a:gd name="T0" fmla="*/ 93 w 135"/>
                <a:gd name="T1" fmla="*/ 109 h 191"/>
                <a:gd name="T2" fmla="*/ 93 w 135"/>
                <a:gd name="T3" fmla="*/ 42 h 191"/>
                <a:gd name="T4" fmla="*/ 93 w 135"/>
                <a:gd name="T5" fmla="*/ 42 h 191"/>
                <a:gd name="T6" fmla="*/ 86 w 135"/>
                <a:gd name="T7" fmla="*/ 40 h 191"/>
                <a:gd name="T8" fmla="*/ 78 w 135"/>
                <a:gd name="T9" fmla="*/ 39 h 191"/>
                <a:gd name="T10" fmla="*/ 68 w 135"/>
                <a:gd name="T11" fmla="*/ 37 h 191"/>
                <a:gd name="T12" fmla="*/ 59 w 135"/>
                <a:gd name="T13" fmla="*/ 40 h 191"/>
                <a:gd name="T14" fmla="*/ 55 w 135"/>
                <a:gd name="T15" fmla="*/ 42 h 191"/>
                <a:gd name="T16" fmla="*/ 50 w 135"/>
                <a:gd name="T17" fmla="*/ 45 h 191"/>
                <a:gd name="T18" fmla="*/ 48 w 135"/>
                <a:gd name="T19" fmla="*/ 49 h 191"/>
                <a:gd name="T20" fmla="*/ 45 w 135"/>
                <a:gd name="T21" fmla="*/ 53 h 191"/>
                <a:gd name="T22" fmla="*/ 43 w 135"/>
                <a:gd name="T23" fmla="*/ 59 h 191"/>
                <a:gd name="T24" fmla="*/ 42 w 135"/>
                <a:gd name="T25" fmla="*/ 67 h 191"/>
                <a:gd name="T26" fmla="*/ 42 w 135"/>
                <a:gd name="T27" fmla="*/ 109 h 191"/>
                <a:gd name="T28" fmla="*/ 93 w 135"/>
                <a:gd name="T29" fmla="*/ 109 h 191"/>
                <a:gd name="T30" fmla="*/ 42 w 135"/>
                <a:gd name="T31" fmla="*/ 144 h 191"/>
                <a:gd name="T32" fmla="*/ 42 w 135"/>
                <a:gd name="T33" fmla="*/ 186 h 191"/>
                <a:gd name="T34" fmla="*/ 42 w 135"/>
                <a:gd name="T35" fmla="*/ 186 h 191"/>
                <a:gd name="T36" fmla="*/ 39 w 135"/>
                <a:gd name="T37" fmla="*/ 189 h 191"/>
                <a:gd name="T38" fmla="*/ 35 w 135"/>
                <a:gd name="T39" fmla="*/ 190 h 191"/>
                <a:gd name="T40" fmla="*/ 27 w 135"/>
                <a:gd name="T41" fmla="*/ 191 h 191"/>
                <a:gd name="T42" fmla="*/ 22 w 135"/>
                <a:gd name="T43" fmla="*/ 191 h 191"/>
                <a:gd name="T44" fmla="*/ 15 w 135"/>
                <a:gd name="T45" fmla="*/ 191 h 191"/>
                <a:gd name="T46" fmla="*/ 9 w 135"/>
                <a:gd name="T47" fmla="*/ 190 h 191"/>
                <a:gd name="T48" fmla="*/ 3 w 135"/>
                <a:gd name="T49" fmla="*/ 189 h 191"/>
                <a:gd name="T50" fmla="*/ 0 w 135"/>
                <a:gd name="T51" fmla="*/ 186 h 191"/>
                <a:gd name="T52" fmla="*/ 0 w 135"/>
                <a:gd name="T53" fmla="*/ 0 h 191"/>
                <a:gd name="T54" fmla="*/ 102 w 135"/>
                <a:gd name="T55" fmla="*/ 0 h 191"/>
                <a:gd name="T56" fmla="*/ 102 w 135"/>
                <a:gd name="T57" fmla="*/ 0 h 191"/>
                <a:gd name="T58" fmla="*/ 110 w 135"/>
                <a:gd name="T59" fmla="*/ 0 h 191"/>
                <a:gd name="T60" fmla="*/ 118 w 135"/>
                <a:gd name="T61" fmla="*/ 3 h 191"/>
                <a:gd name="T62" fmla="*/ 123 w 135"/>
                <a:gd name="T63" fmla="*/ 6 h 191"/>
                <a:gd name="T64" fmla="*/ 128 w 135"/>
                <a:gd name="T65" fmla="*/ 12 h 191"/>
                <a:gd name="T66" fmla="*/ 132 w 135"/>
                <a:gd name="T67" fmla="*/ 19 h 191"/>
                <a:gd name="T68" fmla="*/ 133 w 135"/>
                <a:gd name="T69" fmla="*/ 27 h 191"/>
                <a:gd name="T70" fmla="*/ 135 w 135"/>
                <a:gd name="T71" fmla="*/ 39 h 191"/>
                <a:gd name="T72" fmla="*/ 135 w 135"/>
                <a:gd name="T73" fmla="*/ 52 h 191"/>
                <a:gd name="T74" fmla="*/ 135 w 135"/>
                <a:gd name="T75" fmla="*/ 186 h 191"/>
                <a:gd name="T76" fmla="*/ 135 w 135"/>
                <a:gd name="T77" fmla="*/ 186 h 191"/>
                <a:gd name="T78" fmla="*/ 132 w 135"/>
                <a:gd name="T79" fmla="*/ 189 h 191"/>
                <a:gd name="T80" fmla="*/ 128 w 135"/>
                <a:gd name="T81" fmla="*/ 190 h 191"/>
                <a:gd name="T82" fmla="*/ 121 w 135"/>
                <a:gd name="T83" fmla="*/ 191 h 191"/>
                <a:gd name="T84" fmla="*/ 115 w 135"/>
                <a:gd name="T85" fmla="*/ 191 h 191"/>
                <a:gd name="T86" fmla="*/ 108 w 135"/>
                <a:gd name="T87" fmla="*/ 191 h 191"/>
                <a:gd name="T88" fmla="*/ 102 w 135"/>
                <a:gd name="T89" fmla="*/ 190 h 191"/>
                <a:gd name="T90" fmla="*/ 96 w 135"/>
                <a:gd name="T91" fmla="*/ 189 h 191"/>
                <a:gd name="T92" fmla="*/ 93 w 135"/>
                <a:gd name="T93" fmla="*/ 186 h 191"/>
                <a:gd name="T94" fmla="*/ 93 w 135"/>
                <a:gd name="T95" fmla="*/ 144 h 191"/>
                <a:gd name="T96" fmla="*/ 110 w 135"/>
                <a:gd name="T97" fmla="*/ 144 h 191"/>
                <a:gd name="T98" fmla="*/ 42 w 135"/>
                <a:gd name="T99" fmla="*/ 144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35" h="191">
                  <a:moveTo>
                    <a:pt x="93" y="109"/>
                  </a:moveTo>
                  <a:lnTo>
                    <a:pt x="93" y="42"/>
                  </a:lnTo>
                  <a:lnTo>
                    <a:pt x="93" y="42"/>
                  </a:lnTo>
                  <a:lnTo>
                    <a:pt x="86" y="40"/>
                  </a:lnTo>
                  <a:lnTo>
                    <a:pt x="78" y="39"/>
                  </a:lnTo>
                  <a:lnTo>
                    <a:pt x="68" y="37"/>
                  </a:lnTo>
                  <a:lnTo>
                    <a:pt x="59" y="40"/>
                  </a:lnTo>
                  <a:lnTo>
                    <a:pt x="55" y="42"/>
                  </a:lnTo>
                  <a:lnTo>
                    <a:pt x="50" y="45"/>
                  </a:lnTo>
                  <a:lnTo>
                    <a:pt x="48" y="49"/>
                  </a:lnTo>
                  <a:lnTo>
                    <a:pt x="45" y="53"/>
                  </a:lnTo>
                  <a:lnTo>
                    <a:pt x="43" y="59"/>
                  </a:lnTo>
                  <a:lnTo>
                    <a:pt x="42" y="67"/>
                  </a:lnTo>
                  <a:lnTo>
                    <a:pt x="42" y="109"/>
                  </a:lnTo>
                  <a:lnTo>
                    <a:pt x="93" y="109"/>
                  </a:lnTo>
                  <a:close/>
                  <a:moveTo>
                    <a:pt x="42" y="144"/>
                  </a:moveTo>
                  <a:lnTo>
                    <a:pt x="42" y="186"/>
                  </a:lnTo>
                  <a:lnTo>
                    <a:pt x="42" y="186"/>
                  </a:lnTo>
                  <a:lnTo>
                    <a:pt x="39" y="189"/>
                  </a:lnTo>
                  <a:lnTo>
                    <a:pt x="35" y="190"/>
                  </a:lnTo>
                  <a:lnTo>
                    <a:pt x="27" y="191"/>
                  </a:lnTo>
                  <a:lnTo>
                    <a:pt x="22" y="191"/>
                  </a:lnTo>
                  <a:lnTo>
                    <a:pt x="15" y="191"/>
                  </a:lnTo>
                  <a:lnTo>
                    <a:pt x="9" y="190"/>
                  </a:lnTo>
                  <a:lnTo>
                    <a:pt x="3" y="189"/>
                  </a:lnTo>
                  <a:lnTo>
                    <a:pt x="0" y="186"/>
                  </a:lnTo>
                  <a:lnTo>
                    <a:pt x="0" y="0"/>
                  </a:lnTo>
                  <a:lnTo>
                    <a:pt x="102" y="0"/>
                  </a:lnTo>
                  <a:lnTo>
                    <a:pt x="102" y="0"/>
                  </a:lnTo>
                  <a:lnTo>
                    <a:pt x="110" y="0"/>
                  </a:lnTo>
                  <a:lnTo>
                    <a:pt x="118" y="3"/>
                  </a:lnTo>
                  <a:lnTo>
                    <a:pt x="123" y="6"/>
                  </a:lnTo>
                  <a:lnTo>
                    <a:pt x="128" y="12"/>
                  </a:lnTo>
                  <a:lnTo>
                    <a:pt x="132" y="19"/>
                  </a:lnTo>
                  <a:lnTo>
                    <a:pt x="133" y="27"/>
                  </a:lnTo>
                  <a:lnTo>
                    <a:pt x="135" y="39"/>
                  </a:lnTo>
                  <a:lnTo>
                    <a:pt x="135" y="52"/>
                  </a:lnTo>
                  <a:lnTo>
                    <a:pt x="135" y="186"/>
                  </a:lnTo>
                  <a:lnTo>
                    <a:pt x="135" y="186"/>
                  </a:lnTo>
                  <a:lnTo>
                    <a:pt x="132" y="189"/>
                  </a:lnTo>
                  <a:lnTo>
                    <a:pt x="128" y="190"/>
                  </a:lnTo>
                  <a:lnTo>
                    <a:pt x="121" y="191"/>
                  </a:lnTo>
                  <a:lnTo>
                    <a:pt x="115" y="191"/>
                  </a:lnTo>
                  <a:lnTo>
                    <a:pt x="108" y="191"/>
                  </a:lnTo>
                  <a:lnTo>
                    <a:pt x="102" y="190"/>
                  </a:lnTo>
                  <a:lnTo>
                    <a:pt x="96" y="189"/>
                  </a:lnTo>
                  <a:lnTo>
                    <a:pt x="93" y="186"/>
                  </a:lnTo>
                  <a:lnTo>
                    <a:pt x="93" y="144"/>
                  </a:lnTo>
                  <a:lnTo>
                    <a:pt x="110" y="144"/>
                  </a:lnTo>
                  <a:lnTo>
                    <a:pt x="42" y="14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80" name="Freeform 33"/>
            <p:cNvSpPr>
              <a:spLocks/>
            </p:cNvSpPr>
            <p:nvPr userDrawn="1"/>
          </p:nvSpPr>
          <p:spPr bwMode="auto">
            <a:xfrm>
              <a:off x="5629" y="729"/>
              <a:ext cx="17" cy="24"/>
            </a:xfrm>
            <a:custGeom>
              <a:avLst/>
              <a:gdLst>
                <a:gd name="T0" fmla="*/ 51 w 51"/>
                <a:gd name="T1" fmla="*/ 72 h 72"/>
                <a:gd name="T2" fmla="*/ 51 w 51"/>
                <a:gd name="T3" fmla="*/ 5 h 72"/>
                <a:gd name="T4" fmla="*/ 51 w 51"/>
                <a:gd name="T5" fmla="*/ 5 h 72"/>
                <a:gd name="T6" fmla="*/ 44 w 51"/>
                <a:gd name="T7" fmla="*/ 3 h 72"/>
                <a:gd name="T8" fmla="*/ 36 w 51"/>
                <a:gd name="T9" fmla="*/ 2 h 72"/>
                <a:gd name="T10" fmla="*/ 26 w 51"/>
                <a:gd name="T11" fmla="*/ 0 h 72"/>
                <a:gd name="T12" fmla="*/ 17 w 51"/>
                <a:gd name="T13" fmla="*/ 3 h 72"/>
                <a:gd name="T14" fmla="*/ 13 w 51"/>
                <a:gd name="T15" fmla="*/ 5 h 72"/>
                <a:gd name="T16" fmla="*/ 8 w 51"/>
                <a:gd name="T17" fmla="*/ 8 h 72"/>
                <a:gd name="T18" fmla="*/ 6 w 51"/>
                <a:gd name="T19" fmla="*/ 12 h 72"/>
                <a:gd name="T20" fmla="*/ 3 w 51"/>
                <a:gd name="T21" fmla="*/ 16 h 72"/>
                <a:gd name="T22" fmla="*/ 1 w 51"/>
                <a:gd name="T23" fmla="*/ 22 h 72"/>
                <a:gd name="T24" fmla="*/ 0 w 51"/>
                <a:gd name="T25" fmla="*/ 30 h 72"/>
                <a:gd name="T26" fmla="*/ 0 w 51"/>
                <a:gd name="T27"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1" h="72">
                  <a:moveTo>
                    <a:pt x="51" y="72"/>
                  </a:moveTo>
                  <a:lnTo>
                    <a:pt x="51" y="5"/>
                  </a:lnTo>
                  <a:lnTo>
                    <a:pt x="51" y="5"/>
                  </a:lnTo>
                  <a:lnTo>
                    <a:pt x="44" y="3"/>
                  </a:lnTo>
                  <a:lnTo>
                    <a:pt x="36" y="2"/>
                  </a:lnTo>
                  <a:lnTo>
                    <a:pt x="26" y="0"/>
                  </a:lnTo>
                  <a:lnTo>
                    <a:pt x="17" y="3"/>
                  </a:lnTo>
                  <a:lnTo>
                    <a:pt x="13" y="5"/>
                  </a:lnTo>
                  <a:lnTo>
                    <a:pt x="8" y="8"/>
                  </a:lnTo>
                  <a:lnTo>
                    <a:pt x="6" y="12"/>
                  </a:lnTo>
                  <a:lnTo>
                    <a:pt x="3" y="16"/>
                  </a:lnTo>
                  <a:lnTo>
                    <a:pt x="1" y="22"/>
                  </a:lnTo>
                  <a:lnTo>
                    <a:pt x="0" y="30"/>
                  </a:lnTo>
                  <a:lnTo>
                    <a:pt x="0" y="7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81" name="Freeform 34"/>
            <p:cNvSpPr>
              <a:spLocks/>
            </p:cNvSpPr>
            <p:nvPr userDrawn="1"/>
          </p:nvSpPr>
          <p:spPr bwMode="auto">
            <a:xfrm>
              <a:off x="5615" y="717"/>
              <a:ext cx="45" cy="63"/>
            </a:xfrm>
            <a:custGeom>
              <a:avLst/>
              <a:gdLst>
                <a:gd name="T0" fmla="*/ 42 w 135"/>
                <a:gd name="T1" fmla="*/ 144 h 191"/>
                <a:gd name="T2" fmla="*/ 42 w 135"/>
                <a:gd name="T3" fmla="*/ 186 h 191"/>
                <a:gd name="T4" fmla="*/ 42 w 135"/>
                <a:gd name="T5" fmla="*/ 186 h 191"/>
                <a:gd name="T6" fmla="*/ 39 w 135"/>
                <a:gd name="T7" fmla="*/ 189 h 191"/>
                <a:gd name="T8" fmla="*/ 35 w 135"/>
                <a:gd name="T9" fmla="*/ 190 h 191"/>
                <a:gd name="T10" fmla="*/ 27 w 135"/>
                <a:gd name="T11" fmla="*/ 191 h 191"/>
                <a:gd name="T12" fmla="*/ 22 w 135"/>
                <a:gd name="T13" fmla="*/ 191 h 191"/>
                <a:gd name="T14" fmla="*/ 15 w 135"/>
                <a:gd name="T15" fmla="*/ 191 h 191"/>
                <a:gd name="T16" fmla="*/ 9 w 135"/>
                <a:gd name="T17" fmla="*/ 190 h 191"/>
                <a:gd name="T18" fmla="*/ 3 w 135"/>
                <a:gd name="T19" fmla="*/ 189 h 191"/>
                <a:gd name="T20" fmla="*/ 0 w 135"/>
                <a:gd name="T21" fmla="*/ 186 h 191"/>
                <a:gd name="T22" fmla="*/ 0 w 135"/>
                <a:gd name="T23" fmla="*/ 0 h 191"/>
                <a:gd name="T24" fmla="*/ 102 w 135"/>
                <a:gd name="T25" fmla="*/ 0 h 191"/>
                <a:gd name="T26" fmla="*/ 102 w 135"/>
                <a:gd name="T27" fmla="*/ 0 h 191"/>
                <a:gd name="T28" fmla="*/ 110 w 135"/>
                <a:gd name="T29" fmla="*/ 0 h 191"/>
                <a:gd name="T30" fmla="*/ 118 w 135"/>
                <a:gd name="T31" fmla="*/ 3 h 191"/>
                <a:gd name="T32" fmla="*/ 123 w 135"/>
                <a:gd name="T33" fmla="*/ 6 h 191"/>
                <a:gd name="T34" fmla="*/ 128 w 135"/>
                <a:gd name="T35" fmla="*/ 12 h 191"/>
                <a:gd name="T36" fmla="*/ 132 w 135"/>
                <a:gd name="T37" fmla="*/ 19 h 191"/>
                <a:gd name="T38" fmla="*/ 133 w 135"/>
                <a:gd name="T39" fmla="*/ 27 h 191"/>
                <a:gd name="T40" fmla="*/ 135 w 135"/>
                <a:gd name="T41" fmla="*/ 39 h 191"/>
                <a:gd name="T42" fmla="*/ 135 w 135"/>
                <a:gd name="T43" fmla="*/ 52 h 191"/>
                <a:gd name="T44" fmla="*/ 135 w 135"/>
                <a:gd name="T45" fmla="*/ 186 h 191"/>
                <a:gd name="T46" fmla="*/ 135 w 135"/>
                <a:gd name="T47" fmla="*/ 186 h 191"/>
                <a:gd name="T48" fmla="*/ 132 w 135"/>
                <a:gd name="T49" fmla="*/ 189 h 191"/>
                <a:gd name="T50" fmla="*/ 128 w 135"/>
                <a:gd name="T51" fmla="*/ 190 h 191"/>
                <a:gd name="T52" fmla="*/ 121 w 135"/>
                <a:gd name="T53" fmla="*/ 191 h 191"/>
                <a:gd name="T54" fmla="*/ 115 w 135"/>
                <a:gd name="T55" fmla="*/ 191 h 191"/>
                <a:gd name="T56" fmla="*/ 108 w 135"/>
                <a:gd name="T57" fmla="*/ 191 h 191"/>
                <a:gd name="T58" fmla="*/ 102 w 135"/>
                <a:gd name="T59" fmla="*/ 190 h 191"/>
                <a:gd name="T60" fmla="*/ 96 w 135"/>
                <a:gd name="T61" fmla="*/ 189 h 191"/>
                <a:gd name="T62" fmla="*/ 93 w 135"/>
                <a:gd name="T63" fmla="*/ 186 h 191"/>
                <a:gd name="T64" fmla="*/ 93 w 135"/>
                <a:gd name="T65" fmla="*/ 144 h 191"/>
                <a:gd name="T66" fmla="*/ 110 w 135"/>
                <a:gd name="T67" fmla="*/ 144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5" h="191">
                  <a:moveTo>
                    <a:pt x="42" y="144"/>
                  </a:moveTo>
                  <a:lnTo>
                    <a:pt x="42" y="186"/>
                  </a:lnTo>
                  <a:lnTo>
                    <a:pt x="42" y="186"/>
                  </a:lnTo>
                  <a:lnTo>
                    <a:pt x="39" y="189"/>
                  </a:lnTo>
                  <a:lnTo>
                    <a:pt x="35" y="190"/>
                  </a:lnTo>
                  <a:lnTo>
                    <a:pt x="27" y="191"/>
                  </a:lnTo>
                  <a:lnTo>
                    <a:pt x="22" y="191"/>
                  </a:lnTo>
                  <a:lnTo>
                    <a:pt x="15" y="191"/>
                  </a:lnTo>
                  <a:lnTo>
                    <a:pt x="9" y="190"/>
                  </a:lnTo>
                  <a:lnTo>
                    <a:pt x="3" y="189"/>
                  </a:lnTo>
                  <a:lnTo>
                    <a:pt x="0" y="186"/>
                  </a:lnTo>
                  <a:lnTo>
                    <a:pt x="0" y="0"/>
                  </a:lnTo>
                  <a:lnTo>
                    <a:pt x="102" y="0"/>
                  </a:lnTo>
                  <a:lnTo>
                    <a:pt x="102" y="0"/>
                  </a:lnTo>
                  <a:lnTo>
                    <a:pt x="110" y="0"/>
                  </a:lnTo>
                  <a:lnTo>
                    <a:pt x="118" y="3"/>
                  </a:lnTo>
                  <a:lnTo>
                    <a:pt x="123" y="6"/>
                  </a:lnTo>
                  <a:lnTo>
                    <a:pt x="128" y="12"/>
                  </a:lnTo>
                  <a:lnTo>
                    <a:pt x="132" y="19"/>
                  </a:lnTo>
                  <a:lnTo>
                    <a:pt x="133" y="27"/>
                  </a:lnTo>
                  <a:lnTo>
                    <a:pt x="135" y="39"/>
                  </a:lnTo>
                  <a:lnTo>
                    <a:pt x="135" y="52"/>
                  </a:lnTo>
                  <a:lnTo>
                    <a:pt x="135" y="186"/>
                  </a:lnTo>
                  <a:lnTo>
                    <a:pt x="135" y="186"/>
                  </a:lnTo>
                  <a:lnTo>
                    <a:pt x="132" y="189"/>
                  </a:lnTo>
                  <a:lnTo>
                    <a:pt x="128" y="190"/>
                  </a:lnTo>
                  <a:lnTo>
                    <a:pt x="121" y="191"/>
                  </a:lnTo>
                  <a:lnTo>
                    <a:pt x="115" y="191"/>
                  </a:lnTo>
                  <a:lnTo>
                    <a:pt x="108" y="191"/>
                  </a:lnTo>
                  <a:lnTo>
                    <a:pt x="102" y="190"/>
                  </a:lnTo>
                  <a:lnTo>
                    <a:pt x="96" y="189"/>
                  </a:lnTo>
                  <a:lnTo>
                    <a:pt x="93" y="186"/>
                  </a:lnTo>
                  <a:lnTo>
                    <a:pt x="93" y="144"/>
                  </a:lnTo>
                  <a:lnTo>
                    <a:pt x="110" y="14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sp>
        <p:nvSpPr>
          <p:cNvPr id="82" name="Textfeld 81"/>
          <p:cNvSpPr txBox="1"/>
          <p:nvPr userDrawn="1"/>
        </p:nvSpPr>
        <p:spPr>
          <a:xfrm>
            <a:off x="10029282" y="1249779"/>
            <a:ext cx="1320124" cy="461665"/>
          </a:xfrm>
          <a:prstGeom prst="rect">
            <a:avLst/>
          </a:prstGeom>
          <a:noFill/>
        </p:spPr>
        <p:txBody>
          <a:bodyPr wrap="square" rtlCol="0">
            <a:spAutoFit/>
          </a:bodyPr>
          <a:lstStyle/>
          <a:p>
            <a:pPr algn="l">
              <a:lnSpc>
                <a:spcPct val="100000"/>
              </a:lnSpc>
              <a:spcAft>
                <a:spcPts val="167"/>
              </a:spcAft>
            </a:pPr>
            <a:r>
              <a:rPr lang="de-DE" sz="600" b="0" spc="0" baseline="0" dirty="0">
                <a:solidFill>
                  <a:schemeClr val="tx1"/>
                </a:solidFill>
                <a:latin typeface="+mj-lt"/>
              </a:rPr>
              <a:t>FACHGEBIET SYSTEMZUVERLÄSSIGKEIT, ADAPTRONIK UND MASCHINENAKUSTIK</a:t>
            </a:r>
          </a:p>
        </p:txBody>
      </p:sp>
      <p:pic>
        <p:nvPicPr>
          <p:cNvPr id="48" name="Picture 5"/>
          <p:cNvPicPr>
            <a:picLocks/>
          </p:cNvPicPr>
          <p:nvPr userDrawn="1"/>
        </p:nvPicPr>
        <p:blipFill>
          <a:blip r:embed="rId9" cstate="print">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a:xfrm flipH="1">
            <a:off x="680914" y="2604700"/>
            <a:ext cx="4407215" cy="2925377"/>
          </a:xfrm>
          <a:prstGeom prst="rect">
            <a:avLst/>
          </a:prstGeom>
          <a:noFill/>
          <a:ln w="19050">
            <a:noFill/>
            <a:miter lim="800000"/>
            <a:headEnd/>
            <a:tailEnd/>
          </a:ln>
          <a:effectLst/>
        </p:spPr>
      </p:pic>
      <p:pic>
        <p:nvPicPr>
          <p:cNvPr id="2" name="Grafik 1"/>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1168357" y="2366993"/>
            <a:ext cx="4177800" cy="3173991"/>
          </a:xfrm>
          <a:prstGeom prst="rect">
            <a:avLst/>
          </a:prstGeom>
        </p:spPr>
      </p:pic>
    </p:spTree>
    <p:extLst>
      <p:ext uri="{BB962C8B-B14F-4D97-AF65-F5344CB8AC3E}">
        <p14:creationId xmlns:p14="http://schemas.microsoft.com/office/powerpoint/2010/main" val="1916042943"/>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Abschnittsüberschrift">
    <p:spTree>
      <p:nvGrpSpPr>
        <p:cNvPr id="1" name=""/>
        <p:cNvGrpSpPr/>
        <p:nvPr/>
      </p:nvGrpSpPr>
      <p:grpSpPr>
        <a:xfrm>
          <a:off x="0" y="0"/>
          <a:ext cx="0" cy="0"/>
          <a:chOff x="0" y="0"/>
          <a:chExt cx="0" cy="0"/>
        </a:xfrm>
      </p:grpSpPr>
      <p:sp>
        <p:nvSpPr>
          <p:cNvPr id="9" name="Rechteck 8"/>
          <p:cNvSpPr/>
          <p:nvPr/>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2"/>
              </a:solidFill>
            </a:endParaRPr>
          </a:p>
        </p:txBody>
      </p:sp>
      <p:sp>
        <p:nvSpPr>
          <p:cNvPr id="17" name="Titel 11"/>
          <p:cNvSpPr>
            <a:spLocks noGrp="1"/>
          </p:cNvSpPr>
          <p:nvPr>
            <p:ph type="title" hasCustomPrompt="1"/>
          </p:nvPr>
        </p:nvSpPr>
        <p:spPr>
          <a:xfrm>
            <a:off x="672001" y="480000"/>
            <a:ext cx="9120000" cy="480000"/>
          </a:xfrm>
        </p:spPr>
        <p:txBody>
          <a:bodyPr/>
          <a:lstStyle>
            <a:lvl1pPr>
              <a:defRPr>
                <a:solidFill>
                  <a:schemeClr val="accent1"/>
                </a:solidFill>
              </a:defRPr>
            </a:lvl1pPr>
          </a:lstStyle>
          <a:p>
            <a:r>
              <a:rPr lang="de-DE" dirty="0"/>
              <a:t>TITELMASTERFORMAT DURCH KLICKEN</a:t>
            </a:r>
          </a:p>
        </p:txBody>
      </p:sp>
      <p:pic>
        <p:nvPicPr>
          <p:cNvPr id="13" name="Bild 12"/>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687712" y="6204469"/>
            <a:ext cx="11192933" cy="508000"/>
          </a:xfrm>
          <a:prstGeom prst="rect">
            <a:avLst/>
          </a:prstGeom>
        </p:spPr>
      </p:pic>
      <p:sp>
        <p:nvSpPr>
          <p:cNvPr id="8" name="Titel 2"/>
          <p:cNvSpPr txBox="1">
            <a:spLocks/>
          </p:cNvSpPr>
          <p:nvPr/>
        </p:nvSpPr>
        <p:spPr bwMode="auto">
          <a:xfrm>
            <a:off x="1962782" y="5988089"/>
            <a:ext cx="1812295" cy="1117600"/>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lvl1pPr algn="l" rtl="0" eaLnBrk="1" fontAlgn="base" hangingPunct="1">
              <a:spcBef>
                <a:spcPct val="0"/>
              </a:spcBef>
              <a:spcAft>
                <a:spcPct val="0"/>
              </a:spcAft>
              <a:defRPr sz="2800" b="1" i="0">
                <a:solidFill>
                  <a:srgbClr val="FDCA00"/>
                </a:solidFill>
                <a:latin typeface="+mj-lt"/>
                <a:ea typeface="Verdana" charset="0"/>
                <a:cs typeface="Verdana" charset="0"/>
              </a:defRPr>
            </a:lvl1pPr>
            <a:lvl2pPr algn="l" rtl="0" eaLnBrk="1" fontAlgn="base" hangingPunct="1">
              <a:spcBef>
                <a:spcPct val="0"/>
              </a:spcBef>
              <a:spcAft>
                <a:spcPct val="0"/>
              </a:spcAft>
              <a:defRPr sz="2400" b="1">
                <a:solidFill>
                  <a:schemeClr val="tx1"/>
                </a:solidFill>
                <a:latin typeface="Arial" charset="0"/>
              </a:defRPr>
            </a:lvl2pPr>
            <a:lvl3pPr algn="l" rtl="0" eaLnBrk="1" fontAlgn="base" hangingPunct="1">
              <a:spcBef>
                <a:spcPct val="0"/>
              </a:spcBef>
              <a:spcAft>
                <a:spcPct val="0"/>
              </a:spcAft>
              <a:defRPr sz="2400" b="1">
                <a:solidFill>
                  <a:schemeClr val="tx1"/>
                </a:solidFill>
                <a:latin typeface="Arial" charset="0"/>
              </a:defRPr>
            </a:lvl3pPr>
            <a:lvl4pPr algn="l" rtl="0" eaLnBrk="1" fontAlgn="base" hangingPunct="1">
              <a:spcBef>
                <a:spcPct val="0"/>
              </a:spcBef>
              <a:spcAft>
                <a:spcPct val="0"/>
              </a:spcAft>
              <a:defRPr sz="2400" b="1">
                <a:solidFill>
                  <a:schemeClr val="tx1"/>
                </a:solidFill>
                <a:latin typeface="Arial" charset="0"/>
              </a:defRPr>
            </a:lvl4pPr>
            <a:lvl5pPr algn="l" rtl="0" eaLnBrk="1" fontAlgn="base" hangingPunct="1">
              <a:spcBef>
                <a:spcPct val="0"/>
              </a:spcBef>
              <a:spcAft>
                <a:spcPct val="0"/>
              </a:spcAft>
              <a:defRPr sz="2400" b="1">
                <a:solidFill>
                  <a:schemeClr val="tx1"/>
                </a:solidFill>
                <a:latin typeface="Arial" charset="0"/>
              </a:defRPr>
            </a:lvl5pPr>
            <a:lvl6pPr marL="457200" algn="l" rtl="0" eaLnBrk="1" fontAlgn="base" hangingPunct="1">
              <a:spcBef>
                <a:spcPct val="0"/>
              </a:spcBef>
              <a:spcAft>
                <a:spcPct val="0"/>
              </a:spcAft>
              <a:defRPr sz="2400" b="1">
                <a:solidFill>
                  <a:schemeClr val="tx1"/>
                </a:solidFill>
                <a:latin typeface="Arial" charset="0"/>
              </a:defRPr>
            </a:lvl6pPr>
            <a:lvl7pPr marL="914400" algn="l" rtl="0" eaLnBrk="1" fontAlgn="base" hangingPunct="1">
              <a:spcBef>
                <a:spcPct val="0"/>
              </a:spcBef>
              <a:spcAft>
                <a:spcPct val="0"/>
              </a:spcAft>
              <a:defRPr sz="2400" b="1">
                <a:solidFill>
                  <a:schemeClr val="tx1"/>
                </a:solidFill>
                <a:latin typeface="Arial" charset="0"/>
              </a:defRPr>
            </a:lvl7pPr>
            <a:lvl8pPr marL="1371600" algn="l" rtl="0" eaLnBrk="1" fontAlgn="base" hangingPunct="1">
              <a:spcBef>
                <a:spcPct val="0"/>
              </a:spcBef>
              <a:spcAft>
                <a:spcPct val="0"/>
              </a:spcAft>
              <a:defRPr sz="2400" b="1">
                <a:solidFill>
                  <a:schemeClr val="tx1"/>
                </a:solidFill>
                <a:latin typeface="Arial" charset="0"/>
              </a:defRPr>
            </a:lvl8pPr>
            <a:lvl9pPr marL="1828800" algn="l" rtl="0" eaLnBrk="1" fontAlgn="base" hangingPunct="1">
              <a:spcBef>
                <a:spcPct val="0"/>
              </a:spcBef>
              <a:spcAft>
                <a:spcPct val="0"/>
              </a:spcAft>
              <a:defRPr sz="2400" b="1">
                <a:solidFill>
                  <a:schemeClr val="tx1"/>
                </a:solidFill>
                <a:latin typeface="Arial" charset="0"/>
              </a:defRPr>
            </a:lvl9pPr>
          </a:lstStyle>
          <a:p>
            <a:endParaRPr lang="de-DE" sz="2933" b="0" kern="0" dirty="0">
              <a:solidFill>
                <a:schemeClr val="accent1"/>
              </a:solidFill>
              <a:latin typeface="+mj-lt"/>
            </a:endParaRPr>
          </a:p>
        </p:txBody>
      </p:sp>
      <p:sp>
        <p:nvSpPr>
          <p:cNvPr id="47" name="Rectangle 4"/>
          <p:cNvSpPr>
            <a:spLocks noGrp="1" noChangeArrowheads="1"/>
          </p:cNvSpPr>
          <p:nvPr>
            <p:ph type="subTitle" idx="1"/>
          </p:nvPr>
        </p:nvSpPr>
        <p:spPr>
          <a:xfrm>
            <a:off x="671076" y="1152001"/>
            <a:ext cx="9120000" cy="789519"/>
          </a:xfrm>
        </p:spPr>
        <p:txBody>
          <a:bodyPr lIns="0" tIns="0" rIns="0" bIns="0"/>
          <a:lstStyle>
            <a:lvl1pPr marL="0" indent="0">
              <a:spcBef>
                <a:spcPct val="0"/>
              </a:spcBef>
              <a:buFont typeface="Wingdings" pitchFamily="2" charset="2"/>
              <a:buNone/>
              <a:defRPr sz="2200" b="0" i="0">
                <a:solidFill>
                  <a:srgbClr val="FDCA00"/>
                </a:solidFill>
                <a:latin typeface="+mj-lt"/>
                <a:ea typeface="Verdana" charset="0"/>
                <a:cs typeface="Verdana" charset="0"/>
              </a:defRPr>
            </a:lvl1pPr>
          </a:lstStyle>
          <a:p>
            <a:r>
              <a:rPr lang="de-DE" dirty="0"/>
              <a:t>Master-Untertitelformat bearbeiten</a:t>
            </a:r>
          </a:p>
        </p:txBody>
      </p:sp>
      <p:grpSp>
        <p:nvGrpSpPr>
          <p:cNvPr id="48" name="Gruppierung 9"/>
          <p:cNvGrpSpPr/>
          <p:nvPr userDrawn="1"/>
        </p:nvGrpSpPr>
        <p:grpSpPr>
          <a:xfrm>
            <a:off x="9887088" y="477223"/>
            <a:ext cx="2304912" cy="870205"/>
            <a:chOff x="7415316" y="357917"/>
            <a:chExt cx="1728684" cy="652654"/>
          </a:xfrm>
          <a:solidFill>
            <a:schemeClr val="bg1"/>
          </a:solidFill>
        </p:grpSpPr>
        <p:sp>
          <p:nvSpPr>
            <p:cNvPr id="49" name="Rechteck 48"/>
            <p:cNvSpPr/>
            <p:nvPr/>
          </p:nvSpPr>
          <p:spPr>
            <a:xfrm>
              <a:off x="7415316" y="357917"/>
              <a:ext cx="1728684" cy="65265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50" name="Picture 9" descr="tud_logo"/>
            <p:cNvPicPr>
              <a:picLocks noChangeAspect="1" noChangeArrowheads="1"/>
            </p:cNvPicPr>
            <p:nvPr/>
          </p:nvPicPr>
          <p:blipFill rotWithShape="1">
            <a:blip r:embed="rId3" cstate="print">
              <a:clrChange>
                <a:clrFrom>
                  <a:srgbClr val="FDFDFD"/>
                </a:clrFrom>
                <a:clrTo>
                  <a:srgbClr val="FDFDFD">
                    <a:alpha val="0"/>
                  </a:srgbClr>
                </a:clrTo>
              </a:clrChange>
              <a:extLst>
                <a:ext uri="{28A0092B-C50C-407E-A947-70E740481C1C}">
                  <a14:useLocalDpi xmlns:a14="http://schemas.microsoft.com/office/drawing/2010/main"/>
                </a:ext>
              </a:extLst>
            </a:blip>
            <a:srcRect l="7733" t="6878" r="5453" b="9546"/>
            <a:stretch/>
          </p:blipFill>
          <p:spPr bwMode="auto">
            <a:xfrm>
              <a:off x="7608875" y="407299"/>
              <a:ext cx="1404584" cy="540631"/>
            </a:xfrm>
            <a:prstGeom prst="rect">
              <a:avLst/>
            </a:prstGeom>
            <a:grpFill/>
            <a:ln w="9525">
              <a:noFill/>
              <a:miter lim="800000"/>
              <a:headEnd/>
              <a:tailEnd/>
            </a:ln>
          </p:spPr>
        </p:pic>
      </p:grpSp>
      <p:sp>
        <p:nvSpPr>
          <p:cNvPr id="43" name="Rechteck 42"/>
          <p:cNvSpPr/>
          <p:nvPr userDrawn="1"/>
        </p:nvSpPr>
        <p:spPr>
          <a:xfrm>
            <a:off x="9887088" y="1345096"/>
            <a:ext cx="2304912" cy="429605"/>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44" name="Group 4"/>
          <p:cNvGrpSpPr>
            <a:grpSpLocks noChangeAspect="1"/>
          </p:cNvGrpSpPr>
          <p:nvPr userDrawn="1"/>
        </p:nvGrpSpPr>
        <p:grpSpPr bwMode="auto">
          <a:xfrm>
            <a:off x="11268361" y="1286959"/>
            <a:ext cx="601441" cy="445749"/>
            <a:chOff x="5478" y="637"/>
            <a:chExt cx="282" cy="209"/>
          </a:xfrm>
        </p:grpSpPr>
        <p:sp>
          <p:nvSpPr>
            <p:cNvPr id="45" name="AutoShape 3"/>
            <p:cNvSpPr>
              <a:spLocks noChangeAspect="1" noChangeArrowheads="1" noTextEdit="1"/>
            </p:cNvSpPr>
            <p:nvPr userDrawn="1"/>
          </p:nvSpPr>
          <p:spPr bwMode="auto">
            <a:xfrm>
              <a:off x="5478" y="637"/>
              <a:ext cx="282" cy="2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pic>
          <p:nvPicPr>
            <p:cNvPr id="46" name="Picture 5"/>
            <p:cNvPicPr>
              <a:picLocks noChangeAspect="1" noChangeArrowheads="1"/>
            </p:cNvPicPr>
            <p:nvPr userDrawn="1"/>
          </p:nvPicPr>
          <p:blipFill>
            <a:blip r:embed="rId4" cstate="hqprint">
              <a:extLst>
                <a:ext uri="{28A0092B-C50C-407E-A947-70E740481C1C}">
                  <a14:useLocalDpi xmlns:a14="http://schemas.microsoft.com/office/drawing/2010/main" val="0"/>
                </a:ext>
              </a:extLst>
            </a:blip>
            <a:srcRect/>
            <a:stretch>
              <a:fillRect/>
            </a:stretch>
          </p:blipFill>
          <p:spPr bwMode="auto">
            <a:xfrm>
              <a:off x="5478" y="637"/>
              <a:ext cx="282" cy="2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4" name="Freeform 6"/>
            <p:cNvSpPr>
              <a:spLocks noEditPoints="1"/>
            </p:cNvSpPr>
            <p:nvPr userDrawn="1"/>
          </p:nvSpPr>
          <p:spPr bwMode="auto">
            <a:xfrm>
              <a:off x="5486" y="647"/>
              <a:ext cx="185" cy="183"/>
            </a:xfrm>
            <a:custGeom>
              <a:avLst/>
              <a:gdLst>
                <a:gd name="T0" fmla="*/ 554 w 554"/>
                <a:gd name="T1" fmla="*/ 275 h 550"/>
                <a:gd name="T2" fmla="*/ 549 w 554"/>
                <a:gd name="T3" fmla="*/ 331 h 550"/>
                <a:gd name="T4" fmla="*/ 533 w 554"/>
                <a:gd name="T5" fmla="*/ 382 h 550"/>
                <a:gd name="T6" fmla="*/ 507 w 554"/>
                <a:gd name="T7" fmla="*/ 429 h 550"/>
                <a:gd name="T8" fmla="*/ 473 w 554"/>
                <a:gd name="T9" fmla="*/ 470 h 550"/>
                <a:gd name="T10" fmla="*/ 433 w 554"/>
                <a:gd name="T11" fmla="*/ 503 h 550"/>
                <a:gd name="T12" fmla="*/ 385 w 554"/>
                <a:gd name="T13" fmla="*/ 529 h 550"/>
                <a:gd name="T14" fmla="*/ 334 w 554"/>
                <a:gd name="T15" fmla="*/ 544 h 550"/>
                <a:gd name="T16" fmla="*/ 278 w 554"/>
                <a:gd name="T17" fmla="*/ 550 h 550"/>
                <a:gd name="T18" fmla="*/ 249 w 554"/>
                <a:gd name="T19" fmla="*/ 549 h 550"/>
                <a:gd name="T20" fmla="*/ 195 w 554"/>
                <a:gd name="T21" fmla="*/ 539 h 550"/>
                <a:gd name="T22" fmla="*/ 145 w 554"/>
                <a:gd name="T23" fmla="*/ 517 h 550"/>
                <a:gd name="T24" fmla="*/ 102 w 554"/>
                <a:gd name="T25" fmla="*/ 487 h 550"/>
                <a:gd name="T26" fmla="*/ 63 w 554"/>
                <a:gd name="T27" fmla="*/ 450 h 550"/>
                <a:gd name="T28" fmla="*/ 33 w 554"/>
                <a:gd name="T29" fmla="*/ 406 h 550"/>
                <a:gd name="T30" fmla="*/ 13 w 554"/>
                <a:gd name="T31" fmla="*/ 358 h 550"/>
                <a:gd name="T32" fmla="*/ 2 w 554"/>
                <a:gd name="T33" fmla="*/ 303 h 550"/>
                <a:gd name="T34" fmla="*/ 0 w 554"/>
                <a:gd name="T35" fmla="*/ 275 h 550"/>
                <a:gd name="T36" fmla="*/ 6 w 554"/>
                <a:gd name="T37" fmla="*/ 219 h 550"/>
                <a:gd name="T38" fmla="*/ 22 w 554"/>
                <a:gd name="T39" fmla="*/ 168 h 550"/>
                <a:gd name="T40" fmla="*/ 48 w 554"/>
                <a:gd name="T41" fmla="*/ 121 h 550"/>
                <a:gd name="T42" fmla="*/ 82 w 554"/>
                <a:gd name="T43" fmla="*/ 80 h 550"/>
                <a:gd name="T44" fmla="*/ 122 w 554"/>
                <a:gd name="T45" fmla="*/ 47 h 550"/>
                <a:gd name="T46" fmla="*/ 169 w 554"/>
                <a:gd name="T47" fmla="*/ 21 h 550"/>
                <a:gd name="T48" fmla="*/ 222 w 554"/>
                <a:gd name="T49" fmla="*/ 6 h 550"/>
                <a:gd name="T50" fmla="*/ 278 w 554"/>
                <a:gd name="T51" fmla="*/ 0 h 550"/>
                <a:gd name="T52" fmla="*/ 305 w 554"/>
                <a:gd name="T53" fmla="*/ 1 h 550"/>
                <a:gd name="T54" fmla="*/ 360 w 554"/>
                <a:gd name="T55" fmla="*/ 11 h 550"/>
                <a:gd name="T56" fmla="*/ 410 w 554"/>
                <a:gd name="T57" fmla="*/ 33 h 550"/>
                <a:gd name="T58" fmla="*/ 454 w 554"/>
                <a:gd name="T59" fmla="*/ 63 h 550"/>
                <a:gd name="T60" fmla="*/ 491 w 554"/>
                <a:gd name="T61" fmla="*/ 100 h 550"/>
                <a:gd name="T62" fmla="*/ 521 w 554"/>
                <a:gd name="T63" fmla="*/ 144 h 550"/>
                <a:gd name="T64" fmla="*/ 541 w 554"/>
                <a:gd name="T65" fmla="*/ 192 h 550"/>
                <a:gd name="T66" fmla="*/ 553 w 554"/>
                <a:gd name="T67" fmla="*/ 246 h 550"/>
                <a:gd name="T68" fmla="*/ 554 w 554"/>
                <a:gd name="T69" fmla="*/ 275 h 550"/>
                <a:gd name="T70" fmla="*/ 554 w 554"/>
                <a:gd name="T71" fmla="*/ 275 h 5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54" h="550">
                  <a:moveTo>
                    <a:pt x="554" y="275"/>
                  </a:moveTo>
                  <a:lnTo>
                    <a:pt x="554" y="275"/>
                  </a:lnTo>
                  <a:lnTo>
                    <a:pt x="553" y="303"/>
                  </a:lnTo>
                  <a:lnTo>
                    <a:pt x="549" y="331"/>
                  </a:lnTo>
                  <a:lnTo>
                    <a:pt x="541" y="358"/>
                  </a:lnTo>
                  <a:lnTo>
                    <a:pt x="533" y="382"/>
                  </a:lnTo>
                  <a:lnTo>
                    <a:pt x="521" y="406"/>
                  </a:lnTo>
                  <a:lnTo>
                    <a:pt x="507" y="429"/>
                  </a:lnTo>
                  <a:lnTo>
                    <a:pt x="491" y="450"/>
                  </a:lnTo>
                  <a:lnTo>
                    <a:pt x="473" y="470"/>
                  </a:lnTo>
                  <a:lnTo>
                    <a:pt x="454" y="487"/>
                  </a:lnTo>
                  <a:lnTo>
                    <a:pt x="433" y="503"/>
                  </a:lnTo>
                  <a:lnTo>
                    <a:pt x="410" y="517"/>
                  </a:lnTo>
                  <a:lnTo>
                    <a:pt x="385" y="529"/>
                  </a:lnTo>
                  <a:lnTo>
                    <a:pt x="360" y="539"/>
                  </a:lnTo>
                  <a:lnTo>
                    <a:pt x="334" y="544"/>
                  </a:lnTo>
                  <a:lnTo>
                    <a:pt x="305" y="549"/>
                  </a:lnTo>
                  <a:lnTo>
                    <a:pt x="278" y="550"/>
                  </a:lnTo>
                  <a:lnTo>
                    <a:pt x="278" y="550"/>
                  </a:lnTo>
                  <a:lnTo>
                    <a:pt x="249" y="549"/>
                  </a:lnTo>
                  <a:lnTo>
                    <a:pt x="222" y="544"/>
                  </a:lnTo>
                  <a:lnTo>
                    <a:pt x="195" y="539"/>
                  </a:lnTo>
                  <a:lnTo>
                    <a:pt x="169" y="529"/>
                  </a:lnTo>
                  <a:lnTo>
                    <a:pt x="145" y="517"/>
                  </a:lnTo>
                  <a:lnTo>
                    <a:pt x="122" y="503"/>
                  </a:lnTo>
                  <a:lnTo>
                    <a:pt x="102" y="487"/>
                  </a:lnTo>
                  <a:lnTo>
                    <a:pt x="82" y="470"/>
                  </a:lnTo>
                  <a:lnTo>
                    <a:pt x="63" y="450"/>
                  </a:lnTo>
                  <a:lnTo>
                    <a:pt x="48" y="429"/>
                  </a:lnTo>
                  <a:lnTo>
                    <a:pt x="33" y="406"/>
                  </a:lnTo>
                  <a:lnTo>
                    <a:pt x="22" y="382"/>
                  </a:lnTo>
                  <a:lnTo>
                    <a:pt x="13" y="358"/>
                  </a:lnTo>
                  <a:lnTo>
                    <a:pt x="6" y="331"/>
                  </a:lnTo>
                  <a:lnTo>
                    <a:pt x="2" y="303"/>
                  </a:lnTo>
                  <a:lnTo>
                    <a:pt x="0" y="275"/>
                  </a:lnTo>
                  <a:lnTo>
                    <a:pt x="0" y="275"/>
                  </a:lnTo>
                  <a:lnTo>
                    <a:pt x="2" y="246"/>
                  </a:lnTo>
                  <a:lnTo>
                    <a:pt x="6" y="219"/>
                  </a:lnTo>
                  <a:lnTo>
                    <a:pt x="13" y="192"/>
                  </a:lnTo>
                  <a:lnTo>
                    <a:pt x="22" y="168"/>
                  </a:lnTo>
                  <a:lnTo>
                    <a:pt x="33" y="144"/>
                  </a:lnTo>
                  <a:lnTo>
                    <a:pt x="48" y="121"/>
                  </a:lnTo>
                  <a:lnTo>
                    <a:pt x="63" y="100"/>
                  </a:lnTo>
                  <a:lnTo>
                    <a:pt x="82" y="80"/>
                  </a:lnTo>
                  <a:lnTo>
                    <a:pt x="102" y="63"/>
                  </a:lnTo>
                  <a:lnTo>
                    <a:pt x="122" y="47"/>
                  </a:lnTo>
                  <a:lnTo>
                    <a:pt x="145" y="33"/>
                  </a:lnTo>
                  <a:lnTo>
                    <a:pt x="169" y="21"/>
                  </a:lnTo>
                  <a:lnTo>
                    <a:pt x="195" y="11"/>
                  </a:lnTo>
                  <a:lnTo>
                    <a:pt x="222" y="6"/>
                  </a:lnTo>
                  <a:lnTo>
                    <a:pt x="249" y="1"/>
                  </a:lnTo>
                  <a:lnTo>
                    <a:pt x="278" y="0"/>
                  </a:lnTo>
                  <a:lnTo>
                    <a:pt x="278" y="0"/>
                  </a:lnTo>
                  <a:lnTo>
                    <a:pt x="305" y="1"/>
                  </a:lnTo>
                  <a:lnTo>
                    <a:pt x="334" y="6"/>
                  </a:lnTo>
                  <a:lnTo>
                    <a:pt x="360" y="11"/>
                  </a:lnTo>
                  <a:lnTo>
                    <a:pt x="385" y="21"/>
                  </a:lnTo>
                  <a:lnTo>
                    <a:pt x="410" y="33"/>
                  </a:lnTo>
                  <a:lnTo>
                    <a:pt x="433" y="47"/>
                  </a:lnTo>
                  <a:lnTo>
                    <a:pt x="454" y="63"/>
                  </a:lnTo>
                  <a:lnTo>
                    <a:pt x="473" y="80"/>
                  </a:lnTo>
                  <a:lnTo>
                    <a:pt x="491" y="100"/>
                  </a:lnTo>
                  <a:lnTo>
                    <a:pt x="507" y="121"/>
                  </a:lnTo>
                  <a:lnTo>
                    <a:pt x="521" y="144"/>
                  </a:lnTo>
                  <a:lnTo>
                    <a:pt x="533" y="168"/>
                  </a:lnTo>
                  <a:lnTo>
                    <a:pt x="541" y="192"/>
                  </a:lnTo>
                  <a:lnTo>
                    <a:pt x="549" y="219"/>
                  </a:lnTo>
                  <a:lnTo>
                    <a:pt x="553" y="246"/>
                  </a:lnTo>
                  <a:lnTo>
                    <a:pt x="554" y="275"/>
                  </a:lnTo>
                  <a:lnTo>
                    <a:pt x="554" y="275"/>
                  </a:lnTo>
                  <a:close/>
                  <a:moveTo>
                    <a:pt x="554" y="275"/>
                  </a:moveTo>
                  <a:lnTo>
                    <a:pt x="554" y="275"/>
                  </a:lnTo>
                  <a:close/>
                </a:path>
              </a:pathLst>
            </a:custGeom>
            <a:solidFill>
              <a:srgbClr val="B61F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85" name="Freeform 7"/>
            <p:cNvSpPr>
              <a:spLocks/>
            </p:cNvSpPr>
            <p:nvPr userDrawn="1"/>
          </p:nvSpPr>
          <p:spPr bwMode="auto">
            <a:xfrm>
              <a:off x="5486" y="647"/>
              <a:ext cx="185" cy="183"/>
            </a:xfrm>
            <a:custGeom>
              <a:avLst/>
              <a:gdLst>
                <a:gd name="T0" fmla="*/ 554 w 554"/>
                <a:gd name="T1" fmla="*/ 275 h 550"/>
                <a:gd name="T2" fmla="*/ 549 w 554"/>
                <a:gd name="T3" fmla="*/ 331 h 550"/>
                <a:gd name="T4" fmla="*/ 533 w 554"/>
                <a:gd name="T5" fmla="*/ 382 h 550"/>
                <a:gd name="T6" fmla="*/ 507 w 554"/>
                <a:gd name="T7" fmla="*/ 429 h 550"/>
                <a:gd name="T8" fmla="*/ 473 w 554"/>
                <a:gd name="T9" fmla="*/ 470 h 550"/>
                <a:gd name="T10" fmla="*/ 433 w 554"/>
                <a:gd name="T11" fmla="*/ 503 h 550"/>
                <a:gd name="T12" fmla="*/ 385 w 554"/>
                <a:gd name="T13" fmla="*/ 529 h 550"/>
                <a:gd name="T14" fmla="*/ 334 w 554"/>
                <a:gd name="T15" fmla="*/ 544 h 550"/>
                <a:gd name="T16" fmla="*/ 278 w 554"/>
                <a:gd name="T17" fmla="*/ 550 h 550"/>
                <a:gd name="T18" fmla="*/ 249 w 554"/>
                <a:gd name="T19" fmla="*/ 549 h 550"/>
                <a:gd name="T20" fmla="*/ 195 w 554"/>
                <a:gd name="T21" fmla="*/ 539 h 550"/>
                <a:gd name="T22" fmla="*/ 145 w 554"/>
                <a:gd name="T23" fmla="*/ 517 h 550"/>
                <a:gd name="T24" fmla="*/ 102 w 554"/>
                <a:gd name="T25" fmla="*/ 487 h 550"/>
                <a:gd name="T26" fmla="*/ 63 w 554"/>
                <a:gd name="T27" fmla="*/ 450 h 550"/>
                <a:gd name="T28" fmla="*/ 33 w 554"/>
                <a:gd name="T29" fmla="*/ 406 h 550"/>
                <a:gd name="T30" fmla="*/ 13 w 554"/>
                <a:gd name="T31" fmla="*/ 358 h 550"/>
                <a:gd name="T32" fmla="*/ 2 w 554"/>
                <a:gd name="T33" fmla="*/ 303 h 550"/>
                <a:gd name="T34" fmla="*/ 0 w 554"/>
                <a:gd name="T35" fmla="*/ 275 h 550"/>
                <a:gd name="T36" fmla="*/ 6 w 554"/>
                <a:gd name="T37" fmla="*/ 219 h 550"/>
                <a:gd name="T38" fmla="*/ 22 w 554"/>
                <a:gd name="T39" fmla="*/ 168 h 550"/>
                <a:gd name="T40" fmla="*/ 48 w 554"/>
                <a:gd name="T41" fmla="*/ 121 h 550"/>
                <a:gd name="T42" fmla="*/ 82 w 554"/>
                <a:gd name="T43" fmla="*/ 80 h 550"/>
                <a:gd name="T44" fmla="*/ 122 w 554"/>
                <a:gd name="T45" fmla="*/ 47 h 550"/>
                <a:gd name="T46" fmla="*/ 169 w 554"/>
                <a:gd name="T47" fmla="*/ 21 h 550"/>
                <a:gd name="T48" fmla="*/ 222 w 554"/>
                <a:gd name="T49" fmla="*/ 6 h 550"/>
                <a:gd name="T50" fmla="*/ 278 w 554"/>
                <a:gd name="T51" fmla="*/ 0 h 550"/>
                <a:gd name="T52" fmla="*/ 305 w 554"/>
                <a:gd name="T53" fmla="*/ 1 h 550"/>
                <a:gd name="T54" fmla="*/ 360 w 554"/>
                <a:gd name="T55" fmla="*/ 11 h 550"/>
                <a:gd name="T56" fmla="*/ 410 w 554"/>
                <a:gd name="T57" fmla="*/ 33 h 550"/>
                <a:gd name="T58" fmla="*/ 454 w 554"/>
                <a:gd name="T59" fmla="*/ 63 h 550"/>
                <a:gd name="T60" fmla="*/ 491 w 554"/>
                <a:gd name="T61" fmla="*/ 100 h 550"/>
                <a:gd name="T62" fmla="*/ 521 w 554"/>
                <a:gd name="T63" fmla="*/ 144 h 550"/>
                <a:gd name="T64" fmla="*/ 541 w 554"/>
                <a:gd name="T65" fmla="*/ 192 h 550"/>
                <a:gd name="T66" fmla="*/ 553 w 554"/>
                <a:gd name="T67" fmla="*/ 246 h 550"/>
                <a:gd name="T68" fmla="*/ 554 w 554"/>
                <a:gd name="T69" fmla="*/ 275 h 5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54" h="550">
                  <a:moveTo>
                    <a:pt x="554" y="275"/>
                  </a:moveTo>
                  <a:lnTo>
                    <a:pt x="554" y="275"/>
                  </a:lnTo>
                  <a:lnTo>
                    <a:pt x="553" y="303"/>
                  </a:lnTo>
                  <a:lnTo>
                    <a:pt x="549" y="331"/>
                  </a:lnTo>
                  <a:lnTo>
                    <a:pt x="541" y="358"/>
                  </a:lnTo>
                  <a:lnTo>
                    <a:pt x="533" y="382"/>
                  </a:lnTo>
                  <a:lnTo>
                    <a:pt x="521" y="406"/>
                  </a:lnTo>
                  <a:lnTo>
                    <a:pt x="507" y="429"/>
                  </a:lnTo>
                  <a:lnTo>
                    <a:pt x="491" y="450"/>
                  </a:lnTo>
                  <a:lnTo>
                    <a:pt x="473" y="470"/>
                  </a:lnTo>
                  <a:lnTo>
                    <a:pt x="454" y="487"/>
                  </a:lnTo>
                  <a:lnTo>
                    <a:pt x="433" y="503"/>
                  </a:lnTo>
                  <a:lnTo>
                    <a:pt x="410" y="517"/>
                  </a:lnTo>
                  <a:lnTo>
                    <a:pt x="385" y="529"/>
                  </a:lnTo>
                  <a:lnTo>
                    <a:pt x="360" y="539"/>
                  </a:lnTo>
                  <a:lnTo>
                    <a:pt x="334" y="544"/>
                  </a:lnTo>
                  <a:lnTo>
                    <a:pt x="305" y="549"/>
                  </a:lnTo>
                  <a:lnTo>
                    <a:pt x="278" y="550"/>
                  </a:lnTo>
                  <a:lnTo>
                    <a:pt x="278" y="550"/>
                  </a:lnTo>
                  <a:lnTo>
                    <a:pt x="249" y="549"/>
                  </a:lnTo>
                  <a:lnTo>
                    <a:pt x="222" y="544"/>
                  </a:lnTo>
                  <a:lnTo>
                    <a:pt x="195" y="539"/>
                  </a:lnTo>
                  <a:lnTo>
                    <a:pt x="169" y="529"/>
                  </a:lnTo>
                  <a:lnTo>
                    <a:pt x="145" y="517"/>
                  </a:lnTo>
                  <a:lnTo>
                    <a:pt x="122" y="503"/>
                  </a:lnTo>
                  <a:lnTo>
                    <a:pt x="102" y="487"/>
                  </a:lnTo>
                  <a:lnTo>
                    <a:pt x="82" y="470"/>
                  </a:lnTo>
                  <a:lnTo>
                    <a:pt x="63" y="450"/>
                  </a:lnTo>
                  <a:lnTo>
                    <a:pt x="48" y="429"/>
                  </a:lnTo>
                  <a:lnTo>
                    <a:pt x="33" y="406"/>
                  </a:lnTo>
                  <a:lnTo>
                    <a:pt x="22" y="382"/>
                  </a:lnTo>
                  <a:lnTo>
                    <a:pt x="13" y="358"/>
                  </a:lnTo>
                  <a:lnTo>
                    <a:pt x="6" y="331"/>
                  </a:lnTo>
                  <a:lnTo>
                    <a:pt x="2" y="303"/>
                  </a:lnTo>
                  <a:lnTo>
                    <a:pt x="0" y="275"/>
                  </a:lnTo>
                  <a:lnTo>
                    <a:pt x="0" y="275"/>
                  </a:lnTo>
                  <a:lnTo>
                    <a:pt x="2" y="246"/>
                  </a:lnTo>
                  <a:lnTo>
                    <a:pt x="6" y="219"/>
                  </a:lnTo>
                  <a:lnTo>
                    <a:pt x="13" y="192"/>
                  </a:lnTo>
                  <a:lnTo>
                    <a:pt x="22" y="168"/>
                  </a:lnTo>
                  <a:lnTo>
                    <a:pt x="33" y="144"/>
                  </a:lnTo>
                  <a:lnTo>
                    <a:pt x="48" y="121"/>
                  </a:lnTo>
                  <a:lnTo>
                    <a:pt x="63" y="100"/>
                  </a:lnTo>
                  <a:lnTo>
                    <a:pt x="82" y="80"/>
                  </a:lnTo>
                  <a:lnTo>
                    <a:pt x="102" y="63"/>
                  </a:lnTo>
                  <a:lnTo>
                    <a:pt x="122" y="47"/>
                  </a:lnTo>
                  <a:lnTo>
                    <a:pt x="145" y="33"/>
                  </a:lnTo>
                  <a:lnTo>
                    <a:pt x="169" y="21"/>
                  </a:lnTo>
                  <a:lnTo>
                    <a:pt x="195" y="11"/>
                  </a:lnTo>
                  <a:lnTo>
                    <a:pt x="222" y="6"/>
                  </a:lnTo>
                  <a:lnTo>
                    <a:pt x="249" y="1"/>
                  </a:lnTo>
                  <a:lnTo>
                    <a:pt x="278" y="0"/>
                  </a:lnTo>
                  <a:lnTo>
                    <a:pt x="278" y="0"/>
                  </a:lnTo>
                  <a:lnTo>
                    <a:pt x="305" y="1"/>
                  </a:lnTo>
                  <a:lnTo>
                    <a:pt x="334" y="6"/>
                  </a:lnTo>
                  <a:lnTo>
                    <a:pt x="360" y="11"/>
                  </a:lnTo>
                  <a:lnTo>
                    <a:pt x="385" y="21"/>
                  </a:lnTo>
                  <a:lnTo>
                    <a:pt x="410" y="33"/>
                  </a:lnTo>
                  <a:lnTo>
                    <a:pt x="433" y="47"/>
                  </a:lnTo>
                  <a:lnTo>
                    <a:pt x="454" y="63"/>
                  </a:lnTo>
                  <a:lnTo>
                    <a:pt x="473" y="80"/>
                  </a:lnTo>
                  <a:lnTo>
                    <a:pt x="491" y="100"/>
                  </a:lnTo>
                  <a:lnTo>
                    <a:pt x="507" y="121"/>
                  </a:lnTo>
                  <a:lnTo>
                    <a:pt x="521" y="144"/>
                  </a:lnTo>
                  <a:lnTo>
                    <a:pt x="533" y="168"/>
                  </a:lnTo>
                  <a:lnTo>
                    <a:pt x="541" y="192"/>
                  </a:lnTo>
                  <a:lnTo>
                    <a:pt x="549" y="219"/>
                  </a:lnTo>
                  <a:lnTo>
                    <a:pt x="553" y="246"/>
                  </a:lnTo>
                  <a:lnTo>
                    <a:pt x="554" y="275"/>
                  </a:lnTo>
                  <a:lnTo>
                    <a:pt x="554" y="27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86" name="Line 8"/>
            <p:cNvSpPr>
              <a:spLocks noChangeShapeType="1"/>
            </p:cNvSpPr>
            <p:nvPr userDrawn="1"/>
          </p:nvSpPr>
          <p:spPr bwMode="auto">
            <a:xfrm>
              <a:off x="5671" y="739"/>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87" name="Freeform 9"/>
            <p:cNvSpPr>
              <a:spLocks/>
            </p:cNvSpPr>
            <p:nvPr userDrawn="1"/>
          </p:nvSpPr>
          <p:spPr bwMode="auto">
            <a:xfrm>
              <a:off x="5486" y="647"/>
              <a:ext cx="185" cy="183"/>
            </a:xfrm>
            <a:custGeom>
              <a:avLst/>
              <a:gdLst>
                <a:gd name="T0" fmla="*/ 554 w 554"/>
                <a:gd name="T1" fmla="*/ 275 h 550"/>
                <a:gd name="T2" fmla="*/ 549 w 554"/>
                <a:gd name="T3" fmla="*/ 331 h 550"/>
                <a:gd name="T4" fmla="*/ 533 w 554"/>
                <a:gd name="T5" fmla="*/ 382 h 550"/>
                <a:gd name="T6" fmla="*/ 507 w 554"/>
                <a:gd name="T7" fmla="*/ 429 h 550"/>
                <a:gd name="T8" fmla="*/ 473 w 554"/>
                <a:gd name="T9" fmla="*/ 470 h 550"/>
                <a:gd name="T10" fmla="*/ 433 w 554"/>
                <a:gd name="T11" fmla="*/ 503 h 550"/>
                <a:gd name="T12" fmla="*/ 385 w 554"/>
                <a:gd name="T13" fmla="*/ 529 h 550"/>
                <a:gd name="T14" fmla="*/ 334 w 554"/>
                <a:gd name="T15" fmla="*/ 544 h 550"/>
                <a:gd name="T16" fmla="*/ 278 w 554"/>
                <a:gd name="T17" fmla="*/ 550 h 550"/>
                <a:gd name="T18" fmla="*/ 249 w 554"/>
                <a:gd name="T19" fmla="*/ 549 h 550"/>
                <a:gd name="T20" fmla="*/ 195 w 554"/>
                <a:gd name="T21" fmla="*/ 539 h 550"/>
                <a:gd name="T22" fmla="*/ 145 w 554"/>
                <a:gd name="T23" fmla="*/ 517 h 550"/>
                <a:gd name="T24" fmla="*/ 102 w 554"/>
                <a:gd name="T25" fmla="*/ 487 h 550"/>
                <a:gd name="T26" fmla="*/ 63 w 554"/>
                <a:gd name="T27" fmla="*/ 450 h 550"/>
                <a:gd name="T28" fmla="*/ 33 w 554"/>
                <a:gd name="T29" fmla="*/ 406 h 550"/>
                <a:gd name="T30" fmla="*/ 13 w 554"/>
                <a:gd name="T31" fmla="*/ 358 h 550"/>
                <a:gd name="T32" fmla="*/ 2 w 554"/>
                <a:gd name="T33" fmla="*/ 303 h 550"/>
                <a:gd name="T34" fmla="*/ 0 w 554"/>
                <a:gd name="T35" fmla="*/ 275 h 550"/>
                <a:gd name="T36" fmla="*/ 6 w 554"/>
                <a:gd name="T37" fmla="*/ 219 h 550"/>
                <a:gd name="T38" fmla="*/ 22 w 554"/>
                <a:gd name="T39" fmla="*/ 168 h 550"/>
                <a:gd name="T40" fmla="*/ 48 w 554"/>
                <a:gd name="T41" fmla="*/ 121 h 550"/>
                <a:gd name="T42" fmla="*/ 82 w 554"/>
                <a:gd name="T43" fmla="*/ 80 h 550"/>
                <a:gd name="T44" fmla="*/ 122 w 554"/>
                <a:gd name="T45" fmla="*/ 47 h 550"/>
                <a:gd name="T46" fmla="*/ 169 w 554"/>
                <a:gd name="T47" fmla="*/ 21 h 550"/>
                <a:gd name="T48" fmla="*/ 222 w 554"/>
                <a:gd name="T49" fmla="*/ 6 h 550"/>
                <a:gd name="T50" fmla="*/ 278 w 554"/>
                <a:gd name="T51" fmla="*/ 0 h 550"/>
                <a:gd name="T52" fmla="*/ 305 w 554"/>
                <a:gd name="T53" fmla="*/ 1 h 550"/>
                <a:gd name="T54" fmla="*/ 360 w 554"/>
                <a:gd name="T55" fmla="*/ 11 h 550"/>
                <a:gd name="T56" fmla="*/ 410 w 554"/>
                <a:gd name="T57" fmla="*/ 33 h 550"/>
                <a:gd name="T58" fmla="*/ 454 w 554"/>
                <a:gd name="T59" fmla="*/ 63 h 550"/>
                <a:gd name="T60" fmla="*/ 491 w 554"/>
                <a:gd name="T61" fmla="*/ 100 h 550"/>
                <a:gd name="T62" fmla="*/ 521 w 554"/>
                <a:gd name="T63" fmla="*/ 144 h 550"/>
                <a:gd name="T64" fmla="*/ 541 w 554"/>
                <a:gd name="T65" fmla="*/ 192 h 550"/>
                <a:gd name="T66" fmla="*/ 553 w 554"/>
                <a:gd name="T67" fmla="*/ 246 h 550"/>
                <a:gd name="T68" fmla="*/ 554 w 554"/>
                <a:gd name="T69" fmla="*/ 275 h 5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54" h="550">
                  <a:moveTo>
                    <a:pt x="554" y="275"/>
                  </a:moveTo>
                  <a:lnTo>
                    <a:pt x="554" y="275"/>
                  </a:lnTo>
                  <a:lnTo>
                    <a:pt x="553" y="303"/>
                  </a:lnTo>
                  <a:lnTo>
                    <a:pt x="549" y="331"/>
                  </a:lnTo>
                  <a:lnTo>
                    <a:pt x="541" y="358"/>
                  </a:lnTo>
                  <a:lnTo>
                    <a:pt x="533" y="382"/>
                  </a:lnTo>
                  <a:lnTo>
                    <a:pt x="521" y="406"/>
                  </a:lnTo>
                  <a:lnTo>
                    <a:pt x="507" y="429"/>
                  </a:lnTo>
                  <a:lnTo>
                    <a:pt x="491" y="450"/>
                  </a:lnTo>
                  <a:lnTo>
                    <a:pt x="473" y="470"/>
                  </a:lnTo>
                  <a:lnTo>
                    <a:pt x="454" y="487"/>
                  </a:lnTo>
                  <a:lnTo>
                    <a:pt x="433" y="503"/>
                  </a:lnTo>
                  <a:lnTo>
                    <a:pt x="410" y="517"/>
                  </a:lnTo>
                  <a:lnTo>
                    <a:pt x="385" y="529"/>
                  </a:lnTo>
                  <a:lnTo>
                    <a:pt x="360" y="539"/>
                  </a:lnTo>
                  <a:lnTo>
                    <a:pt x="334" y="544"/>
                  </a:lnTo>
                  <a:lnTo>
                    <a:pt x="305" y="549"/>
                  </a:lnTo>
                  <a:lnTo>
                    <a:pt x="278" y="550"/>
                  </a:lnTo>
                  <a:lnTo>
                    <a:pt x="278" y="550"/>
                  </a:lnTo>
                  <a:lnTo>
                    <a:pt x="249" y="549"/>
                  </a:lnTo>
                  <a:lnTo>
                    <a:pt x="222" y="544"/>
                  </a:lnTo>
                  <a:lnTo>
                    <a:pt x="195" y="539"/>
                  </a:lnTo>
                  <a:lnTo>
                    <a:pt x="169" y="529"/>
                  </a:lnTo>
                  <a:lnTo>
                    <a:pt x="145" y="517"/>
                  </a:lnTo>
                  <a:lnTo>
                    <a:pt x="122" y="503"/>
                  </a:lnTo>
                  <a:lnTo>
                    <a:pt x="102" y="487"/>
                  </a:lnTo>
                  <a:lnTo>
                    <a:pt x="82" y="470"/>
                  </a:lnTo>
                  <a:lnTo>
                    <a:pt x="63" y="450"/>
                  </a:lnTo>
                  <a:lnTo>
                    <a:pt x="48" y="429"/>
                  </a:lnTo>
                  <a:lnTo>
                    <a:pt x="33" y="406"/>
                  </a:lnTo>
                  <a:lnTo>
                    <a:pt x="22" y="382"/>
                  </a:lnTo>
                  <a:lnTo>
                    <a:pt x="13" y="358"/>
                  </a:lnTo>
                  <a:lnTo>
                    <a:pt x="6" y="331"/>
                  </a:lnTo>
                  <a:lnTo>
                    <a:pt x="2" y="303"/>
                  </a:lnTo>
                  <a:lnTo>
                    <a:pt x="0" y="275"/>
                  </a:lnTo>
                  <a:lnTo>
                    <a:pt x="0" y="275"/>
                  </a:lnTo>
                  <a:lnTo>
                    <a:pt x="2" y="246"/>
                  </a:lnTo>
                  <a:lnTo>
                    <a:pt x="6" y="219"/>
                  </a:lnTo>
                  <a:lnTo>
                    <a:pt x="13" y="192"/>
                  </a:lnTo>
                  <a:lnTo>
                    <a:pt x="22" y="168"/>
                  </a:lnTo>
                  <a:lnTo>
                    <a:pt x="33" y="144"/>
                  </a:lnTo>
                  <a:lnTo>
                    <a:pt x="48" y="121"/>
                  </a:lnTo>
                  <a:lnTo>
                    <a:pt x="63" y="100"/>
                  </a:lnTo>
                  <a:lnTo>
                    <a:pt x="82" y="80"/>
                  </a:lnTo>
                  <a:lnTo>
                    <a:pt x="102" y="63"/>
                  </a:lnTo>
                  <a:lnTo>
                    <a:pt x="122" y="47"/>
                  </a:lnTo>
                  <a:lnTo>
                    <a:pt x="145" y="33"/>
                  </a:lnTo>
                  <a:lnTo>
                    <a:pt x="169" y="21"/>
                  </a:lnTo>
                  <a:lnTo>
                    <a:pt x="195" y="11"/>
                  </a:lnTo>
                  <a:lnTo>
                    <a:pt x="222" y="6"/>
                  </a:lnTo>
                  <a:lnTo>
                    <a:pt x="249" y="1"/>
                  </a:lnTo>
                  <a:lnTo>
                    <a:pt x="278" y="0"/>
                  </a:lnTo>
                  <a:lnTo>
                    <a:pt x="278" y="0"/>
                  </a:lnTo>
                  <a:lnTo>
                    <a:pt x="305" y="1"/>
                  </a:lnTo>
                  <a:lnTo>
                    <a:pt x="334" y="6"/>
                  </a:lnTo>
                  <a:lnTo>
                    <a:pt x="360" y="11"/>
                  </a:lnTo>
                  <a:lnTo>
                    <a:pt x="385" y="21"/>
                  </a:lnTo>
                  <a:lnTo>
                    <a:pt x="410" y="33"/>
                  </a:lnTo>
                  <a:lnTo>
                    <a:pt x="433" y="47"/>
                  </a:lnTo>
                  <a:lnTo>
                    <a:pt x="454" y="63"/>
                  </a:lnTo>
                  <a:lnTo>
                    <a:pt x="473" y="80"/>
                  </a:lnTo>
                  <a:lnTo>
                    <a:pt x="491" y="100"/>
                  </a:lnTo>
                  <a:lnTo>
                    <a:pt x="507" y="121"/>
                  </a:lnTo>
                  <a:lnTo>
                    <a:pt x="521" y="144"/>
                  </a:lnTo>
                  <a:lnTo>
                    <a:pt x="533" y="168"/>
                  </a:lnTo>
                  <a:lnTo>
                    <a:pt x="541" y="192"/>
                  </a:lnTo>
                  <a:lnTo>
                    <a:pt x="549" y="219"/>
                  </a:lnTo>
                  <a:lnTo>
                    <a:pt x="553" y="246"/>
                  </a:lnTo>
                  <a:lnTo>
                    <a:pt x="554" y="275"/>
                  </a:lnTo>
                  <a:lnTo>
                    <a:pt x="554" y="275"/>
                  </a:lnTo>
                </a:path>
              </a:pathLst>
            </a:custGeom>
            <a:noFill/>
            <a:ln w="1588">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88" name="Line 10"/>
            <p:cNvSpPr>
              <a:spLocks noChangeShapeType="1"/>
            </p:cNvSpPr>
            <p:nvPr userDrawn="1"/>
          </p:nvSpPr>
          <p:spPr bwMode="auto">
            <a:xfrm>
              <a:off x="5671" y="739"/>
              <a:ext cx="0" cy="0"/>
            </a:xfrm>
            <a:prstGeom prst="line">
              <a:avLst/>
            </a:prstGeom>
            <a:noFill/>
            <a:ln w="1588">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89" name="Freeform 11"/>
            <p:cNvSpPr>
              <a:spLocks noEditPoints="1"/>
            </p:cNvSpPr>
            <p:nvPr userDrawn="1"/>
          </p:nvSpPr>
          <p:spPr bwMode="auto">
            <a:xfrm>
              <a:off x="5497" y="659"/>
              <a:ext cx="170" cy="170"/>
            </a:xfrm>
            <a:custGeom>
              <a:avLst/>
              <a:gdLst>
                <a:gd name="T0" fmla="*/ 510 w 510"/>
                <a:gd name="T1" fmla="*/ 257 h 511"/>
                <a:gd name="T2" fmla="*/ 504 w 510"/>
                <a:gd name="T3" fmla="*/ 309 h 511"/>
                <a:gd name="T4" fmla="*/ 490 w 510"/>
                <a:gd name="T5" fmla="*/ 356 h 511"/>
                <a:gd name="T6" fmla="*/ 465 w 510"/>
                <a:gd name="T7" fmla="*/ 399 h 511"/>
                <a:gd name="T8" fmla="*/ 434 w 510"/>
                <a:gd name="T9" fmla="*/ 437 h 511"/>
                <a:gd name="T10" fmla="*/ 397 w 510"/>
                <a:gd name="T11" fmla="*/ 467 h 511"/>
                <a:gd name="T12" fmla="*/ 354 w 510"/>
                <a:gd name="T13" fmla="*/ 491 h 511"/>
                <a:gd name="T14" fmla="*/ 307 w 510"/>
                <a:gd name="T15" fmla="*/ 505 h 511"/>
                <a:gd name="T16" fmla="*/ 255 w 510"/>
                <a:gd name="T17" fmla="*/ 511 h 511"/>
                <a:gd name="T18" fmla="*/ 229 w 510"/>
                <a:gd name="T19" fmla="*/ 510 h 511"/>
                <a:gd name="T20" fmla="*/ 179 w 510"/>
                <a:gd name="T21" fmla="*/ 500 h 511"/>
                <a:gd name="T22" fmla="*/ 133 w 510"/>
                <a:gd name="T23" fmla="*/ 480 h 511"/>
                <a:gd name="T24" fmla="*/ 93 w 510"/>
                <a:gd name="T25" fmla="*/ 453 h 511"/>
                <a:gd name="T26" fmla="*/ 59 w 510"/>
                <a:gd name="T27" fmla="*/ 419 h 511"/>
                <a:gd name="T28" fmla="*/ 30 w 510"/>
                <a:gd name="T29" fmla="*/ 379 h 511"/>
                <a:gd name="T30" fmla="*/ 12 w 510"/>
                <a:gd name="T31" fmla="*/ 333 h 511"/>
                <a:gd name="T32" fmla="*/ 2 w 510"/>
                <a:gd name="T33" fmla="*/ 283 h 511"/>
                <a:gd name="T34" fmla="*/ 0 w 510"/>
                <a:gd name="T35" fmla="*/ 257 h 511"/>
                <a:gd name="T36" fmla="*/ 6 w 510"/>
                <a:gd name="T37" fmla="*/ 206 h 511"/>
                <a:gd name="T38" fmla="*/ 20 w 510"/>
                <a:gd name="T39" fmla="*/ 158 h 511"/>
                <a:gd name="T40" fmla="*/ 43 w 510"/>
                <a:gd name="T41" fmla="*/ 115 h 511"/>
                <a:gd name="T42" fmla="*/ 75 w 510"/>
                <a:gd name="T43" fmla="*/ 77 h 511"/>
                <a:gd name="T44" fmla="*/ 112 w 510"/>
                <a:gd name="T45" fmla="*/ 44 h 511"/>
                <a:gd name="T46" fmla="*/ 156 w 510"/>
                <a:gd name="T47" fmla="*/ 21 h 511"/>
                <a:gd name="T48" fmla="*/ 204 w 510"/>
                <a:gd name="T49" fmla="*/ 5 h 511"/>
                <a:gd name="T50" fmla="*/ 255 w 510"/>
                <a:gd name="T51" fmla="*/ 0 h 511"/>
                <a:gd name="T52" fmla="*/ 284 w 510"/>
                <a:gd name="T53" fmla="*/ 1 h 511"/>
                <a:gd name="T54" fmla="*/ 337 w 510"/>
                <a:gd name="T55" fmla="*/ 11 h 511"/>
                <a:gd name="T56" fmla="*/ 384 w 510"/>
                <a:gd name="T57" fmla="*/ 31 h 511"/>
                <a:gd name="T58" fmla="*/ 424 w 510"/>
                <a:gd name="T59" fmla="*/ 59 h 511"/>
                <a:gd name="T60" fmla="*/ 457 w 510"/>
                <a:gd name="T61" fmla="*/ 95 h 511"/>
                <a:gd name="T62" fmla="*/ 481 w 510"/>
                <a:gd name="T63" fmla="*/ 136 h 511"/>
                <a:gd name="T64" fmla="*/ 500 w 510"/>
                <a:gd name="T65" fmla="*/ 182 h 511"/>
                <a:gd name="T66" fmla="*/ 508 w 510"/>
                <a:gd name="T67" fmla="*/ 232 h 511"/>
                <a:gd name="T68" fmla="*/ 510 w 510"/>
                <a:gd name="T69" fmla="*/ 257 h 511"/>
                <a:gd name="T70" fmla="*/ 510 w 510"/>
                <a:gd name="T71" fmla="*/ 257 h 5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0" h="511">
                  <a:moveTo>
                    <a:pt x="510" y="257"/>
                  </a:moveTo>
                  <a:lnTo>
                    <a:pt x="510" y="257"/>
                  </a:lnTo>
                  <a:lnTo>
                    <a:pt x="508" y="283"/>
                  </a:lnTo>
                  <a:lnTo>
                    <a:pt x="504" y="309"/>
                  </a:lnTo>
                  <a:lnTo>
                    <a:pt x="498" y="333"/>
                  </a:lnTo>
                  <a:lnTo>
                    <a:pt x="490" y="356"/>
                  </a:lnTo>
                  <a:lnTo>
                    <a:pt x="478" y="379"/>
                  </a:lnTo>
                  <a:lnTo>
                    <a:pt x="465" y="399"/>
                  </a:lnTo>
                  <a:lnTo>
                    <a:pt x="451" y="419"/>
                  </a:lnTo>
                  <a:lnTo>
                    <a:pt x="434" y="437"/>
                  </a:lnTo>
                  <a:lnTo>
                    <a:pt x="417" y="453"/>
                  </a:lnTo>
                  <a:lnTo>
                    <a:pt x="397" y="467"/>
                  </a:lnTo>
                  <a:lnTo>
                    <a:pt x="377" y="480"/>
                  </a:lnTo>
                  <a:lnTo>
                    <a:pt x="354" y="491"/>
                  </a:lnTo>
                  <a:lnTo>
                    <a:pt x="331" y="500"/>
                  </a:lnTo>
                  <a:lnTo>
                    <a:pt x="307" y="505"/>
                  </a:lnTo>
                  <a:lnTo>
                    <a:pt x="281" y="510"/>
                  </a:lnTo>
                  <a:lnTo>
                    <a:pt x="255" y="511"/>
                  </a:lnTo>
                  <a:lnTo>
                    <a:pt x="255" y="511"/>
                  </a:lnTo>
                  <a:lnTo>
                    <a:pt x="229" y="510"/>
                  </a:lnTo>
                  <a:lnTo>
                    <a:pt x="204" y="505"/>
                  </a:lnTo>
                  <a:lnTo>
                    <a:pt x="179" y="500"/>
                  </a:lnTo>
                  <a:lnTo>
                    <a:pt x="156" y="491"/>
                  </a:lnTo>
                  <a:lnTo>
                    <a:pt x="133" y="480"/>
                  </a:lnTo>
                  <a:lnTo>
                    <a:pt x="112" y="467"/>
                  </a:lnTo>
                  <a:lnTo>
                    <a:pt x="93" y="453"/>
                  </a:lnTo>
                  <a:lnTo>
                    <a:pt x="75" y="437"/>
                  </a:lnTo>
                  <a:lnTo>
                    <a:pt x="59" y="419"/>
                  </a:lnTo>
                  <a:lnTo>
                    <a:pt x="43" y="399"/>
                  </a:lnTo>
                  <a:lnTo>
                    <a:pt x="30" y="379"/>
                  </a:lnTo>
                  <a:lnTo>
                    <a:pt x="20" y="356"/>
                  </a:lnTo>
                  <a:lnTo>
                    <a:pt x="12" y="333"/>
                  </a:lnTo>
                  <a:lnTo>
                    <a:pt x="6" y="309"/>
                  </a:lnTo>
                  <a:lnTo>
                    <a:pt x="2" y="283"/>
                  </a:lnTo>
                  <a:lnTo>
                    <a:pt x="0" y="257"/>
                  </a:lnTo>
                  <a:lnTo>
                    <a:pt x="0" y="257"/>
                  </a:lnTo>
                  <a:lnTo>
                    <a:pt x="2" y="232"/>
                  </a:lnTo>
                  <a:lnTo>
                    <a:pt x="6" y="206"/>
                  </a:lnTo>
                  <a:lnTo>
                    <a:pt x="12" y="182"/>
                  </a:lnTo>
                  <a:lnTo>
                    <a:pt x="20" y="158"/>
                  </a:lnTo>
                  <a:lnTo>
                    <a:pt x="30" y="136"/>
                  </a:lnTo>
                  <a:lnTo>
                    <a:pt x="43" y="115"/>
                  </a:lnTo>
                  <a:lnTo>
                    <a:pt x="59" y="95"/>
                  </a:lnTo>
                  <a:lnTo>
                    <a:pt x="75" y="77"/>
                  </a:lnTo>
                  <a:lnTo>
                    <a:pt x="93" y="59"/>
                  </a:lnTo>
                  <a:lnTo>
                    <a:pt x="112" y="44"/>
                  </a:lnTo>
                  <a:lnTo>
                    <a:pt x="133" y="31"/>
                  </a:lnTo>
                  <a:lnTo>
                    <a:pt x="156" y="21"/>
                  </a:lnTo>
                  <a:lnTo>
                    <a:pt x="179" y="11"/>
                  </a:lnTo>
                  <a:lnTo>
                    <a:pt x="204" y="5"/>
                  </a:lnTo>
                  <a:lnTo>
                    <a:pt x="229" y="1"/>
                  </a:lnTo>
                  <a:lnTo>
                    <a:pt x="255" y="0"/>
                  </a:lnTo>
                  <a:lnTo>
                    <a:pt x="255" y="0"/>
                  </a:lnTo>
                  <a:lnTo>
                    <a:pt x="284" y="1"/>
                  </a:lnTo>
                  <a:lnTo>
                    <a:pt x="311" y="5"/>
                  </a:lnTo>
                  <a:lnTo>
                    <a:pt x="337" y="11"/>
                  </a:lnTo>
                  <a:lnTo>
                    <a:pt x="361" y="21"/>
                  </a:lnTo>
                  <a:lnTo>
                    <a:pt x="384" y="31"/>
                  </a:lnTo>
                  <a:lnTo>
                    <a:pt x="404" y="44"/>
                  </a:lnTo>
                  <a:lnTo>
                    <a:pt x="424" y="59"/>
                  </a:lnTo>
                  <a:lnTo>
                    <a:pt x="441" y="77"/>
                  </a:lnTo>
                  <a:lnTo>
                    <a:pt x="457" y="95"/>
                  </a:lnTo>
                  <a:lnTo>
                    <a:pt x="470" y="115"/>
                  </a:lnTo>
                  <a:lnTo>
                    <a:pt x="481" y="136"/>
                  </a:lnTo>
                  <a:lnTo>
                    <a:pt x="491" y="158"/>
                  </a:lnTo>
                  <a:lnTo>
                    <a:pt x="500" y="182"/>
                  </a:lnTo>
                  <a:lnTo>
                    <a:pt x="504" y="206"/>
                  </a:lnTo>
                  <a:lnTo>
                    <a:pt x="508" y="232"/>
                  </a:lnTo>
                  <a:lnTo>
                    <a:pt x="510" y="257"/>
                  </a:lnTo>
                  <a:lnTo>
                    <a:pt x="510" y="257"/>
                  </a:lnTo>
                  <a:close/>
                  <a:moveTo>
                    <a:pt x="510" y="257"/>
                  </a:moveTo>
                  <a:lnTo>
                    <a:pt x="510" y="257"/>
                  </a:lnTo>
                  <a:close/>
                </a:path>
              </a:pathLst>
            </a:custGeom>
            <a:solidFill>
              <a:srgbClr val="00987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90" name="Freeform 12"/>
            <p:cNvSpPr>
              <a:spLocks/>
            </p:cNvSpPr>
            <p:nvPr userDrawn="1"/>
          </p:nvSpPr>
          <p:spPr bwMode="auto">
            <a:xfrm>
              <a:off x="5497" y="659"/>
              <a:ext cx="170" cy="170"/>
            </a:xfrm>
            <a:custGeom>
              <a:avLst/>
              <a:gdLst>
                <a:gd name="T0" fmla="*/ 510 w 510"/>
                <a:gd name="T1" fmla="*/ 257 h 511"/>
                <a:gd name="T2" fmla="*/ 504 w 510"/>
                <a:gd name="T3" fmla="*/ 309 h 511"/>
                <a:gd name="T4" fmla="*/ 490 w 510"/>
                <a:gd name="T5" fmla="*/ 356 h 511"/>
                <a:gd name="T6" fmla="*/ 465 w 510"/>
                <a:gd name="T7" fmla="*/ 399 h 511"/>
                <a:gd name="T8" fmla="*/ 434 w 510"/>
                <a:gd name="T9" fmla="*/ 437 h 511"/>
                <a:gd name="T10" fmla="*/ 397 w 510"/>
                <a:gd name="T11" fmla="*/ 467 h 511"/>
                <a:gd name="T12" fmla="*/ 354 w 510"/>
                <a:gd name="T13" fmla="*/ 491 h 511"/>
                <a:gd name="T14" fmla="*/ 307 w 510"/>
                <a:gd name="T15" fmla="*/ 505 h 511"/>
                <a:gd name="T16" fmla="*/ 255 w 510"/>
                <a:gd name="T17" fmla="*/ 511 h 511"/>
                <a:gd name="T18" fmla="*/ 229 w 510"/>
                <a:gd name="T19" fmla="*/ 510 h 511"/>
                <a:gd name="T20" fmla="*/ 179 w 510"/>
                <a:gd name="T21" fmla="*/ 500 h 511"/>
                <a:gd name="T22" fmla="*/ 133 w 510"/>
                <a:gd name="T23" fmla="*/ 480 h 511"/>
                <a:gd name="T24" fmla="*/ 93 w 510"/>
                <a:gd name="T25" fmla="*/ 453 h 511"/>
                <a:gd name="T26" fmla="*/ 59 w 510"/>
                <a:gd name="T27" fmla="*/ 419 h 511"/>
                <a:gd name="T28" fmla="*/ 30 w 510"/>
                <a:gd name="T29" fmla="*/ 379 h 511"/>
                <a:gd name="T30" fmla="*/ 12 w 510"/>
                <a:gd name="T31" fmla="*/ 333 h 511"/>
                <a:gd name="T32" fmla="*/ 2 w 510"/>
                <a:gd name="T33" fmla="*/ 283 h 511"/>
                <a:gd name="T34" fmla="*/ 0 w 510"/>
                <a:gd name="T35" fmla="*/ 257 h 511"/>
                <a:gd name="T36" fmla="*/ 6 w 510"/>
                <a:gd name="T37" fmla="*/ 206 h 511"/>
                <a:gd name="T38" fmla="*/ 20 w 510"/>
                <a:gd name="T39" fmla="*/ 158 h 511"/>
                <a:gd name="T40" fmla="*/ 43 w 510"/>
                <a:gd name="T41" fmla="*/ 115 h 511"/>
                <a:gd name="T42" fmla="*/ 75 w 510"/>
                <a:gd name="T43" fmla="*/ 77 h 511"/>
                <a:gd name="T44" fmla="*/ 112 w 510"/>
                <a:gd name="T45" fmla="*/ 44 h 511"/>
                <a:gd name="T46" fmla="*/ 156 w 510"/>
                <a:gd name="T47" fmla="*/ 21 h 511"/>
                <a:gd name="T48" fmla="*/ 204 w 510"/>
                <a:gd name="T49" fmla="*/ 5 h 511"/>
                <a:gd name="T50" fmla="*/ 255 w 510"/>
                <a:gd name="T51" fmla="*/ 0 h 511"/>
                <a:gd name="T52" fmla="*/ 284 w 510"/>
                <a:gd name="T53" fmla="*/ 1 h 511"/>
                <a:gd name="T54" fmla="*/ 337 w 510"/>
                <a:gd name="T55" fmla="*/ 11 h 511"/>
                <a:gd name="T56" fmla="*/ 384 w 510"/>
                <a:gd name="T57" fmla="*/ 31 h 511"/>
                <a:gd name="T58" fmla="*/ 424 w 510"/>
                <a:gd name="T59" fmla="*/ 59 h 511"/>
                <a:gd name="T60" fmla="*/ 457 w 510"/>
                <a:gd name="T61" fmla="*/ 95 h 511"/>
                <a:gd name="T62" fmla="*/ 481 w 510"/>
                <a:gd name="T63" fmla="*/ 136 h 511"/>
                <a:gd name="T64" fmla="*/ 500 w 510"/>
                <a:gd name="T65" fmla="*/ 182 h 511"/>
                <a:gd name="T66" fmla="*/ 508 w 510"/>
                <a:gd name="T67" fmla="*/ 232 h 511"/>
                <a:gd name="T68" fmla="*/ 510 w 510"/>
                <a:gd name="T69" fmla="*/ 257 h 5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0" h="511">
                  <a:moveTo>
                    <a:pt x="510" y="257"/>
                  </a:moveTo>
                  <a:lnTo>
                    <a:pt x="510" y="257"/>
                  </a:lnTo>
                  <a:lnTo>
                    <a:pt x="508" y="283"/>
                  </a:lnTo>
                  <a:lnTo>
                    <a:pt x="504" y="309"/>
                  </a:lnTo>
                  <a:lnTo>
                    <a:pt x="498" y="333"/>
                  </a:lnTo>
                  <a:lnTo>
                    <a:pt x="490" y="356"/>
                  </a:lnTo>
                  <a:lnTo>
                    <a:pt x="478" y="379"/>
                  </a:lnTo>
                  <a:lnTo>
                    <a:pt x="465" y="399"/>
                  </a:lnTo>
                  <a:lnTo>
                    <a:pt x="451" y="419"/>
                  </a:lnTo>
                  <a:lnTo>
                    <a:pt x="434" y="437"/>
                  </a:lnTo>
                  <a:lnTo>
                    <a:pt x="417" y="453"/>
                  </a:lnTo>
                  <a:lnTo>
                    <a:pt x="397" y="467"/>
                  </a:lnTo>
                  <a:lnTo>
                    <a:pt x="377" y="480"/>
                  </a:lnTo>
                  <a:lnTo>
                    <a:pt x="354" y="491"/>
                  </a:lnTo>
                  <a:lnTo>
                    <a:pt x="331" y="500"/>
                  </a:lnTo>
                  <a:lnTo>
                    <a:pt x="307" y="505"/>
                  </a:lnTo>
                  <a:lnTo>
                    <a:pt x="281" y="510"/>
                  </a:lnTo>
                  <a:lnTo>
                    <a:pt x="255" y="511"/>
                  </a:lnTo>
                  <a:lnTo>
                    <a:pt x="255" y="511"/>
                  </a:lnTo>
                  <a:lnTo>
                    <a:pt x="229" y="510"/>
                  </a:lnTo>
                  <a:lnTo>
                    <a:pt x="204" y="505"/>
                  </a:lnTo>
                  <a:lnTo>
                    <a:pt x="179" y="500"/>
                  </a:lnTo>
                  <a:lnTo>
                    <a:pt x="156" y="491"/>
                  </a:lnTo>
                  <a:lnTo>
                    <a:pt x="133" y="480"/>
                  </a:lnTo>
                  <a:lnTo>
                    <a:pt x="112" y="467"/>
                  </a:lnTo>
                  <a:lnTo>
                    <a:pt x="93" y="453"/>
                  </a:lnTo>
                  <a:lnTo>
                    <a:pt x="75" y="437"/>
                  </a:lnTo>
                  <a:lnTo>
                    <a:pt x="59" y="419"/>
                  </a:lnTo>
                  <a:lnTo>
                    <a:pt x="43" y="399"/>
                  </a:lnTo>
                  <a:lnTo>
                    <a:pt x="30" y="379"/>
                  </a:lnTo>
                  <a:lnTo>
                    <a:pt x="20" y="356"/>
                  </a:lnTo>
                  <a:lnTo>
                    <a:pt x="12" y="333"/>
                  </a:lnTo>
                  <a:lnTo>
                    <a:pt x="6" y="309"/>
                  </a:lnTo>
                  <a:lnTo>
                    <a:pt x="2" y="283"/>
                  </a:lnTo>
                  <a:lnTo>
                    <a:pt x="0" y="257"/>
                  </a:lnTo>
                  <a:lnTo>
                    <a:pt x="0" y="257"/>
                  </a:lnTo>
                  <a:lnTo>
                    <a:pt x="2" y="232"/>
                  </a:lnTo>
                  <a:lnTo>
                    <a:pt x="6" y="206"/>
                  </a:lnTo>
                  <a:lnTo>
                    <a:pt x="12" y="182"/>
                  </a:lnTo>
                  <a:lnTo>
                    <a:pt x="20" y="158"/>
                  </a:lnTo>
                  <a:lnTo>
                    <a:pt x="30" y="136"/>
                  </a:lnTo>
                  <a:lnTo>
                    <a:pt x="43" y="115"/>
                  </a:lnTo>
                  <a:lnTo>
                    <a:pt x="59" y="95"/>
                  </a:lnTo>
                  <a:lnTo>
                    <a:pt x="75" y="77"/>
                  </a:lnTo>
                  <a:lnTo>
                    <a:pt x="93" y="59"/>
                  </a:lnTo>
                  <a:lnTo>
                    <a:pt x="112" y="44"/>
                  </a:lnTo>
                  <a:lnTo>
                    <a:pt x="133" y="31"/>
                  </a:lnTo>
                  <a:lnTo>
                    <a:pt x="156" y="21"/>
                  </a:lnTo>
                  <a:lnTo>
                    <a:pt x="179" y="11"/>
                  </a:lnTo>
                  <a:lnTo>
                    <a:pt x="204" y="5"/>
                  </a:lnTo>
                  <a:lnTo>
                    <a:pt x="229" y="1"/>
                  </a:lnTo>
                  <a:lnTo>
                    <a:pt x="255" y="0"/>
                  </a:lnTo>
                  <a:lnTo>
                    <a:pt x="255" y="0"/>
                  </a:lnTo>
                  <a:lnTo>
                    <a:pt x="284" y="1"/>
                  </a:lnTo>
                  <a:lnTo>
                    <a:pt x="311" y="5"/>
                  </a:lnTo>
                  <a:lnTo>
                    <a:pt x="337" y="11"/>
                  </a:lnTo>
                  <a:lnTo>
                    <a:pt x="361" y="21"/>
                  </a:lnTo>
                  <a:lnTo>
                    <a:pt x="384" y="31"/>
                  </a:lnTo>
                  <a:lnTo>
                    <a:pt x="404" y="44"/>
                  </a:lnTo>
                  <a:lnTo>
                    <a:pt x="424" y="59"/>
                  </a:lnTo>
                  <a:lnTo>
                    <a:pt x="441" y="77"/>
                  </a:lnTo>
                  <a:lnTo>
                    <a:pt x="457" y="95"/>
                  </a:lnTo>
                  <a:lnTo>
                    <a:pt x="470" y="115"/>
                  </a:lnTo>
                  <a:lnTo>
                    <a:pt x="481" y="136"/>
                  </a:lnTo>
                  <a:lnTo>
                    <a:pt x="491" y="158"/>
                  </a:lnTo>
                  <a:lnTo>
                    <a:pt x="500" y="182"/>
                  </a:lnTo>
                  <a:lnTo>
                    <a:pt x="504" y="206"/>
                  </a:lnTo>
                  <a:lnTo>
                    <a:pt x="508" y="232"/>
                  </a:lnTo>
                  <a:lnTo>
                    <a:pt x="510" y="257"/>
                  </a:lnTo>
                  <a:lnTo>
                    <a:pt x="510" y="25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91" name="Line 13"/>
            <p:cNvSpPr>
              <a:spLocks noChangeShapeType="1"/>
            </p:cNvSpPr>
            <p:nvPr userDrawn="1"/>
          </p:nvSpPr>
          <p:spPr bwMode="auto">
            <a:xfrm>
              <a:off x="5667" y="745"/>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pic>
          <p:nvPicPr>
            <p:cNvPr id="92" name="Picture 14"/>
            <p:cNvPicPr>
              <a:picLocks noChangeAspect="1" noChangeArrowheads="1"/>
            </p:cNvPicPr>
            <p:nvPr userDrawn="1"/>
          </p:nvPicPr>
          <p:blipFill>
            <a:blip r:embed="rId5" cstate="hqprint">
              <a:extLst>
                <a:ext uri="{28A0092B-C50C-407E-A947-70E740481C1C}">
                  <a14:useLocalDpi xmlns:a14="http://schemas.microsoft.com/office/drawing/2010/main" val="0"/>
                </a:ext>
              </a:extLst>
            </a:blip>
            <a:srcRect/>
            <a:stretch>
              <a:fillRect/>
            </a:stretch>
          </p:blipFill>
          <p:spPr bwMode="auto">
            <a:xfrm>
              <a:off x="5478" y="637"/>
              <a:ext cx="282" cy="2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3" name="Freeform 15"/>
            <p:cNvSpPr>
              <a:spLocks/>
            </p:cNvSpPr>
            <p:nvPr userDrawn="1"/>
          </p:nvSpPr>
          <p:spPr bwMode="auto">
            <a:xfrm>
              <a:off x="5525" y="658"/>
              <a:ext cx="121" cy="25"/>
            </a:xfrm>
            <a:custGeom>
              <a:avLst/>
              <a:gdLst>
                <a:gd name="T0" fmla="*/ 0 w 364"/>
                <a:gd name="T1" fmla="*/ 75 h 75"/>
                <a:gd name="T2" fmla="*/ 0 w 364"/>
                <a:gd name="T3" fmla="*/ 75 h 75"/>
                <a:gd name="T4" fmla="*/ 19 w 364"/>
                <a:gd name="T5" fmla="*/ 58 h 75"/>
                <a:gd name="T6" fmla="*/ 40 w 364"/>
                <a:gd name="T7" fmla="*/ 44 h 75"/>
                <a:gd name="T8" fmla="*/ 62 w 364"/>
                <a:gd name="T9" fmla="*/ 31 h 75"/>
                <a:gd name="T10" fmla="*/ 85 w 364"/>
                <a:gd name="T11" fmla="*/ 20 h 75"/>
                <a:gd name="T12" fmla="*/ 108 w 364"/>
                <a:gd name="T13" fmla="*/ 11 h 75"/>
                <a:gd name="T14" fmla="*/ 132 w 364"/>
                <a:gd name="T15" fmla="*/ 5 h 75"/>
                <a:gd name="T16" fmla="*/ 156 w 364"/>
                <a:gd name="T17" fmla="*/ 1 h 75"/>
                <a:gd name="T18" fmla="*/ 182 w 364"/>
                <a:gd name="T19" fmla="*/ 0 h 75"/>
                <a:gd name="T20" fmla="*/ 206 w 364"/>
                <a:gd name="T21" fmla="*/ 1 h 75"/>
                <a:gd name="T22" fmla="*/ 231 w 364"/>
                <a:gd name="T23" fmla="*/ 4 h 75"/>
                <a:gd name="T24" fmla="*/ 255 w 364"/>
                <a:gd name="T25" fmla="*/ 10 h 75"/>
                <a:gd name="T26" fmla="*/ 278 w 364"/>
                <a:gd name="T27" fmla="*/ 18 h 75"/>
                <a:gd name="T28" fmla="*/ 301 w 364"/>
                <a:gd name="T29" fmla="*/ 28 h 75"/>
                <a:gd name="T30" fmla="*/ 324 w 364"/>
                <a:gd name="T31" fmla="*/ 41 h 75"/>
                <a:gd name="T32" fmla="*/ 344 w 364"/>
                <a:gd name="T33" fmla="*/ 55 h 75"/>
                <a:gd name="T34" fmla="*/ 364 w 364"/>
                <a:gd name="T35" fmla="*/ 72 h 75"/>
                <a:gd name="T36" fmla="*/ 0 w 364"/>
                <a:gd name="T37"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4" h="75">
                  <a:moveTo>
                    <a:pt x="0" y="75"/>
                  </a:moveTo>
                  <a:lnTo>
                    <a:pt x="0" y="75"/>
                  </a:lnTo>
                  <a:lnTo>
                    <a:pt x="19" y="58"/>
                  </a:lnTo>
                  <a:lnTo>
                    <a:pt x="40" y="44"/>
                  </a:lnTo>
                  <a:lnTo>
                    <a:pt x="62" y="31"/>
                  </a:lnTo>
                  <a:lnTo>
                    <a:pt x="85" y="20"/>
                  </a:lnTo>
                  <a:lnTo>
                    <a:pt x="108" y="11"/>
                  </a:lnTo>
                  <a:lnTo>
                    <a:pt x="132" y="5"/>
                  </a:lnTo>
                  <a:lnTo>
                    <a:pt x="156" y="1"/>
                  </a:lnTo>
                  <a:lnTo>
                    <a:pt x="182" y="0"/>
                  </a:lnTo>
                  <a:lnTo>
                    <a:pt x="206" y="1"/>
                  </a:lnTo>
                  <a:lnTo>
                    <a:pt x="231" y="4"/>
                  </a:lnTo>
                  <a:lnTo>
                    <a:pt x="255" y="10"/>
                  </a:lnTo>
                  <a:lnTo>
                    <a:pt x="278" y="18"/>
                  </a:lnTo>
                  <a:lnTo>
                    <a:pt x="301" y="28"/>
                  </a:lnTo>
                  <a:lnTo>
                    <a:pt x="324" y="41"/>
                  </a:lnTo>
                  <a:lnTo>
                    <a:pt x="344" y="55"/>
                  </a:lnTo>
                  <a:lnTo>
                    <a:pt x="364" y="72"/>
                  </a:lnTo>
                  <a:lnTo>
                    <a:pt x="0" y="75"/>
                  </a:lnTo>
                  <a:close/>
                </a:path>
              </a:pathLst>
            </a:custGeom>
            <a:solidFill>
              <a:srgbClr val="00987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94" name="Freeform 16"/>
            <p:cNvSpPr>
              <a:spLocks/>
            </p:cNvSpPr>
            <p:nvPr userDrawn="1"/>
          </p:nvSpPr>
          <p:spPr bwMode="auto">
            <a:xfrm>
              <a:off x="5525" y="658"/>
              <a:ext cx="121" cy="25"/>
            </a:xfrm>
            <a:custGeom>
              <a:avLst/>
              <a:gdLst>
                <a:gd name="T0" fmla="*/ 0 w 364"/>
                <a:gd name="T1" fmla="*/ 75 h 75"/>
                <a:gd name="T2" fmla="*/ 0 w 364"/>
                <a:gd name="T3" fmla="*/ 75 h 75"/>
                <a:gd name="T4" fmla="*/ 19 w 364"/>
                <a:gd name="T5" fmla="*/ 58 h 75"/>
                <a:gd name="T6" fmla="*/ 40 w 364"/>
                <a:gd name="T7" fmla="*/ 44 h 75"/>
                <a:gd name="T8" fmla="*/ 62 w 364"/>
                <a:gd name="T9" fmla="*/ 31 h 75"/>
                <a:gd name="T10" fmla="*/ 85 w 364"/>
                <a:gd name="T11" fmla="*/ 20 h 75"/>
                <a:gd name="T12" fmla="*/ 108 w 364"/>
                <a:gd name="T13" fmla="*/ 11 h 75"/>
                <a:gd name="T14" fmla="*/ 132 w 364"/>
                <a:gd name="T15" fmla="*/ 5 h 75"/>
                <a:gd name="T16" fmla="*/ 156 w 364"/>
                <a:gd name="T17" fmla="*/ 1 h 75"/>
                <a:gd name="T18" fmla="*/ 182 w 364"/>
                <a:gd name="T19" fmla="*/ 0 h 75"/>
                <a:gd name="T20" fmla="*/ 206 w 364"/>
                <a:gd name="T21" fmla="*/ 1 h 75"/>
                <a:gd name="T22" fmla="*/ 231 w 364"/>
                <a:gd name="T23" fmla="*/ 4 h 75"/>
                <a:gd name="T24" fmla="*/ 255 w 364"/>
                <a:gd name="T25" fmla="*/ 10 h 75"/>
                <a:gd name="T26" fmla="*/ 278 w 364"/>
                <a:gd name="T27" fmla="*/ 18 h 75"/>
                <a:gd name="T28" fmla="*/ 301 w 364"/>
                <a:gd name="T29" fmla="*/ 28 h 75"/>
                <a:gd name="T30" fmla="*/ 324 w 364"/>
                <a:gd name="T31" fmla="*/ 41 h 75"/>
                <a:gd name="T32" fmla="*/ 344 w 364"/>
                <a:gd name="T33" fmla="*/ 55 h 75"/>
                <a:gd name="T34" fmla="*/ 364 w 364"/>
                <a:gd name="T35" fmla="*/ 7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64" h="75">
                  <a:moveTo>
                    <a:pt x="0" y="75"/>
                  </a:moveTo>
                  <a:lnTo>
                    <a:pt x="0" y="75"/>
                  </a:lnTo>
                  <a:lnTo>
                    <a:pt x="19" y="58"/>
                  </a:lnTo>
                  <a:lnTo>
                    <a:pt x="40" y="44"/>
                  </a:lnTo>
                  <a:lnTo>
                    <a:pt x="62" y="31"/>
                  </a:lnTo>
                  <a:lnTo>
                    <a:pt x="85" y="20"/>
                  </a:lnTo>
                  <a:lnTo>
                    <a:pt x="108" y="11"/>
                  </a:lnTo>
                  <a:lnTo>
                    <a:pt x="132" y="5"/>
                  </a:lnTo>
                  <a:lnTo>
                    <a:pt x="156" y="1"/>
                  </a:lnTo>
                  <a:lnTo>
                    <a:pt x="182" y="0"/>
                  </a:lnTo>
                  <a:lnTo>
                    <a:pt x="206" y="1"/>
                  </a:lnTo>
                  <a:lnTo>
                    <a:pt x="231" y="4"/>
                  </a:lnTo>
                  <a:lnTo>
                    <a:pt x="255" y="10"/>
                  </a:lnTo>
                  <a:lnTo>
                    <a:pt x="278" y="18"/>
                  </a:lnTo>
                  <a:lnTo>
                    <a:pt x="301" y="28"/>
                  </a:lnTo>
                  <a:lnTo>
                    <a:pt x="324" y="41"/>
                  </a:lnTo>
                  <a:lnTo>
                    <a:pt x="344" y="55"/>
                  </a:lnTo>
                  <a:lnTo>
                    <a:pt x="364" y="7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pic>
          <p:nvPicPr>
            <p:cNvPr id="95" name="Picture 17"/>
            <p:cNvPicPr>
              <a:picLocks noChangeAspect="1" noChangeArrowheads="1"/>
            </p:cNvPicPr>
            <p:nvPr userDrawn="1"/>
          </p:nvPicPr>
          <p:blipFill>
            <a:blip r:embed="rId6" cstate="hqprint">
              <a:extLst>
                <a:ext uri="{28A0092B-C50C-407E-A947-70E740481C1C}">
                  <a14:useLocalDpi xmlns:a14="http://schemas.microsoft.com/office/drawing/2010/main" val="0"/>
                </a:ext>
              </a:extLst>
            </a:blip>
            <a:srcRect/>
            <a:stretch>
              <a:fillRect/>
            </a:stretch>
          </p:blipFill>
          <p:spPr bwMode="auto">
            <a:xfrm>
              <a:off x="5478" y="637"/>
              <a:ext cx="282" cy="2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6" name="Freeform 18"/>
            <p:cNvSpPr>
              <a:spLocks noEditPoints="1"/>
            </p:cNvSpPr>
            <p:nvPr userDrawn="1"/>
          </p:nvSpPr>
          <p:spPr bwMode="auto">
            <a:xfrm>
              <a:off x="5510" y="659"/>
              <a:ext cx="160" cy="156"/>
            </a:xfrm>
            <a:custGeom>
              <a:avLst/>
              <a:gdLst>
                <a:gd name="T0" fmla="*/ 478 w 478"/>
                <a:gd name="T1" fmla="*/ 232 h 466"/>
                <a:gd name="T2" fmla="*/ 474 w 478"/>
                <a:gd name="T3" fmla="*/ 279 h 466"/>
                <a:gd name="T4" fmla="*/ 460 w 478"/>
                <a:gd name="T5" fmla="*/ 323 h 466"/>
                <a:gd name="T6" fmla="*/ 437 w 478"/>
                <a:gd name="T7" fmla="*/ 363 h 466"/>
                <a:gd name="T8" fmla="*/ 408 w 478"/>
                <a:gd name="T9" fmla="*/ 398 h 466"/>
                <a:gd name="T10" fmla="*/ 373 w 478"/>
                <a:gd name="T11" fmla="*/ 426 h 466"/>
                <a:gd name="T12" fmla="*/ 332 w 478"/>
                <a:gd name="T13" fmla="*/ 447 h 466"/>
                <a:gd name="T14" fmla="*/ 288 w 478"/>
                <a:gd name="T15" fmla="*/ 460 h 466"/>
                <a:gd name="T16" fmla="*/ 239 w 478"/>
                <a:gd name="T17" fmla="*/ 466 h 466"/>
                <a:gd name="T18" fmla="*/ 215 w 478"/>
                <a:gd name="T19" fmla="*/ 465 h 466"/>
                <a:gd name="T20" fmla="*/ 168 w 478"/>
                <a:gd name="T21" fmla="*/ 455 h 466"/>
                <a:gd name="T22" fmla="*/ 125 w 478"/>
                <a:gd name="T23" fmla="*/ 437 h 466"/>
                <a:gd name="T24" fmla="*/ 88 w 478"/>
                <a:gd name="T25" fmla="*/ 412 h 466"/>
                <a:gd name="T26" fmla="*/ 55 w 478"/>
                <a:gd name="T27" fmla="*/ 380 h 466"/>
                <a:gd name="T28" fmla="*/ 29 w 478"/>
                <a:gd name="T29" fmla="*/ 343 h 466"/>
                <a:gd name="T30" fmla="*/ 12 w 478"/>
                <a:gd name="T31" fmla="*/ 302 h 466"/>
                <a:gd name="T32" fmla="*/ 2 w 478"/>
                <a:gd name="T33" fmla="*/ 256 h 466"/>
                <a:gd name="T34" fmla="*/ 0 w 478"/>
                <a:gd name="T35" fmla="*/ 232 h 466"/>
                <a:gd name="T36" fmla="*/ 5 w 478"/>
                <a:gd name="T37" fmla="*/ 185 h 466"/>
                <a:gd name="T38" fmla="*/ 19 w 478"/>
                <a:gd name="T39" fmla="*/ 141 h 466"/>
                <a:gd name="T40" fmla="*/ 42 w 478"/>
                <a:gd name="T41" fmla="*/ 103 h 466"/>
                <a:gd name="T42" fmla="*/ 70 w 478"/>
                <a:gd name="T43" fmla="*/ 68 h 466"/>
                <a:gd name="T44" fmla="*/ 106 w 478"/>
                <a:gd name="T45" fmla="*/ 40 h 466"/>
                <a:gd name="T46" fmla="*/ 146 w 478"/>
                <a:gd name="T47" fmla="*/ 17 h 466"/>
                <a:gd name="T48" fmla="*/ 191 w 478"/>
                <a:gd name="T49" fmla="*/ 4 h 466"/>
                <a:gd name="T50" fmla="*/ 239 w 478"/>
                <a:gd name="T51" fmla="*/ 0 h 466"/>
                <a:gd name="T52" fmla="*/ 264 w 478"/>
                <a:gd name="T53" fmla="*/ 0 h 466"/>
                <a:gd name="T54" fmla="*/ 311 w 478"/>
                <a:gd name="T55" fmla="*/ 10 h 466"/>
                <a:gd name="T56" fmla="*/ 354 w 478"/>
                <a:gd name="T57" fmla="*/ 27 h 466"/>
                <a:gd name="T58" fmla="*/ 391 w 478"/>
                <a:gd name="T59" fmla="*/ 53 h 466"/>
                <a:gd name="T60" fmla="*/ 424 w 478"/>
                <a:gd name="T61" fmla="*/ 84 h 466"/>
                <a:gd name="T62" fmla="*/ 450 w 478"/>
                <a:gd name="T63" fmla="*/ 121 h 466"/>
                <a:gd name="T64" fmla="*/ 467 w 478"/>
                <a:gd name="T65" fmla="*/ 164 h 466"/>
                <a:gd name="T66" fmla="*/ 477 w 478"/>
                <a:gd name="T67" fmla="*/ 208 h 466"/>
                <a:gd name="T68" fmla="*/ 478 w 478"/>
                <a:gd name="T69" fmla="*/ 232 h 466"/>
                <a:gd name="T70" fmla="*/ 478 w 478"/>
                <a:gd name="T71" fmla="*/ 232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78" h="466">
                  <a:moveTo>
                    <a:pt x="478" y="232"/>
                  </a:moveTo>
                  <a:lnTo>
                    <a:pt x="478" y="232"/>
                  </a:lnTo>
                  <a:lnTo>
                    <a:pt x="477" y="256"/>
                  </a:lnTo>
                  <a:lnTo>
                    <a:pt x="474" y="279"/>
                  </a:lnTo>
                  <a:lnTo>
                    <a:pt x="467" y="302"/>
                  </a:lnTo>
                  <a:lnTo>
                    <a:pt x="460" y="323"/>
                  </a:lnTo>
                  <a:lnTo>
                    <a:pt x="450" y="343"/>
                  </a:lnTo>
                  <a:lnTo>
                    <a:pt x="437" y="363"/>
                  </a:lnTo>
                  <a:lnTo>
                    <a:pt x="424" y="380"/>
                  </a:lnTo>
                  <a:lnTo>
                    <a:pt x="408" y="398"/>
                  </a:lnTo>
                  <a:lnTo>
                    <a:pt x="391" y="412"/>
                  </a:lnTo>
                  <a:lnTo>
                    <a:pt x="373" y="426"/>
                  </a:lnTo>
                  <a:lnTo>
                    <a:pt x="354" y="437"/>
                  </a:lnTo>
                  <a:lnTo>
                    <a:pt x="332" y="447"/>
                  </a:lnTo>
                  <a:lnTo>
                    <a:pt x="311" y="455"/>
                  </a:lnTo>
                  <a:lnTo>
                    <a:pt x="288" y="460"/>
                  </a:lnTo>
                  <a:lnTo>
                    <a:pt x="264" y="465"/>
                  </a:lnTo>
                  <a:lnTo>
                    <a:pt x="239" y="466"/>
                  </a:lnTo>
                  <a:lnTo>
                    <a:pt x="239" y="466"/>
                  </a:lnTo>
                  <a:lnTo>
                    <a:pt x="215" y="465"/>
                  </a:lnTo>
                  <a:lnTo>
                    <a:pt x="191" y="460"/>
                  </a:lnTo>
                  <a:lnTo>
                    <a:pt x="168" y="455"/>
                  </a:lnTo>
                  <a:lnTo>
                    <a:pt x="146" y="447"/>
                  </a:lnTo>
                  <a:lnTo>
                    <a:pt x="125" y="437"/>
                  </a:lnTo>
                  <a:lnTo>
                    <a:pt x="106" y="426"/>
                  </a:lnTo>
                  <a:lnTo>
                    <a:pt x="88" y="412"/>
                  </a:lnTo>
                  <a:lnTo>
                    <a:pt x="70" y="398"/>
                  </a:lnTo>
                  <a:lnTo>
                    <a:pt x="55" y="380"/>
                  </a:lnTo>
                  <a:lnTo>
                    <a:pt x="42" y="363"/>
                  </a:lnTo>
                  <a:lnTo>
                    <a:pt x="29" y="343"/>
                  </a:lnTo>
                  <a:lnTo>
                    <a:pt x="19" y="323"/>
                  </a:lnTo>
                  <a:lnTo>
                    <a:pt x="12" y="302"/>
                  </a:lnTo>
                  <a:lnTo>
                    <a:pt x="5" y="279"/>
                  </a:lnTo>
                  <a:lnTo>
                    <a:pt x="2" y="256"/>
                  </a:lnTo>
                  <a:lnTo>
                    <a:pt x="0" y="232"/>
                  </a:lnTo>
                  <a:lnTo>
                    <a:pt x="0" y="232"/>
                  </a:lnTo>
                  <a:lnTo>
                    <a:pt x="2" y="208"/>
                  </a:lnTo>
                  <a:lnTo>
                    <a:pt x="5" y="185"/>
                  </a:lnTo>
                  <a:lnTo>
                    <a:pt x="12" y="164"/>
                  </a:lnTo>
                  <a:lnTo>
                    <a:pt x="19" y="141"/>
                  </a:lnTo>
                  <a:lnTo>
                    <a:pt x="29" y="121"/>
                  </a:lnTo>
                  <a:lnTo>
                    <a:pt x="42" y="103"/>
                  </a:lnTo>
                  <a:lnTo>
                    <a:pt x="55" y="84"/>
                  </a:lnTo>
                  <a:lnTo>
                    <a:pt x="70" y="68"/>
                  </a:lnTo>
                  <a:lnTo>
                    <a:pt x="88" y="53"/>
                  </a:lnTo>
                  <a:lnTo>
                    <a:pt x="106" y="40"/>
                  </a:lnTo>
                  <a:lnTo>
                    <a:pt x="125" y="27"/>
                  </a:lnTo>
                  <a:lnTo>
                    <a:pt x="146" y="17"/>
                  </a:lnTo>
                  <a:lnTo>
                    <a:pt x="168" y="10"/>
                  </a:lnTo>
                  <a:lnTo>
                    <a:pt x="191" y="4"/>
                  </a:lnTo>
                  <a:lnTo>
                    <a:pt x="215" y="0"/>
                  </a:lnTo>
                  <a:lnTo>
                    <a:pt x="239" y="0"/>
                  </a:lnTo>
                  <a:lnTo>
                    <a:pt x="239" y="0"/>
                  </a:lnTo>
                  <a:lnTo>
                    <a:pt x="264" y="0"/>
                  </a:lnTo>
                  <a:lnTo>
                    <a:pt x="288" y="4"/>
                  </a:lnTo>
                  <a:lnTo>
                    <a:pt x="311" y="10"/>
                  </a:lnTo>
                  <a:lnTo>
                    <a:pt x="332" y="17"/>
                  </a:lnTo>
                  <a:lnTo>
                    <a:pt x="354" y="27"/>
                  </a:lnTo>
                  <a:lnTo>
                    <a:pt x="373" y="40"/>
                  </a:lnTo>
                  <a:lnTo>
                    <a:pt x="391" y="53"/>
                  </a:lnTo>
                  <a:lnTo>
                    <a:pt x="408" y="67"/>
                  </a:lnTo>
                  <a:lnTo>
                    <a:pt x="424" y="84"/>
                  </a:lnTo>
                  <a:lnTo>
                    <a:pt x="437" y="103"/>
                  </a:lnTo>
                  <a:lnTo>
                    <a:pt x="450" y="121"/>
                  </a:lnTo>
                  <a:lnTo>
                    <a:pt x="460" y="141"/>
                  </a:lnTo>
                  <a:lnTo>
                    <a:pt x="467" y="164"/>
                  </a:lnTo>
                  <a:lnTo>
                    <a:pt x="474" y="185"/>
                  </a:lnTo>
                  <a:lnTo>
                    <a:pt x="477" y="208"/>
                  </a:lnTo>
                  <a:lnTo>
                    <a:pt x="478" y="232"/>
                  </a:lnTo>
                  <a:lnTo>
                    <a:pt x="478" y="232"/>
                  </a:lnTo>
                  <a:close/>
                  <a:moveTo>
                    <a:pt x="478" y="232"/>
                  </a:moveTo>
                  <a:lnTo>
                    <a:pt x="478" y="23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97" name="Freeform 19"/>
            <p:cNvSpPr>
              <a:spLocks/>
            </p:cNvSpPr>
            <p:nvPr userDrawn="1"/>
          </p:nvSpPr>
          <p:spPr bwMode="auto">
            <a:xfrm>
              <a:off x="5510" y="659"/>
              <a:ext cx="160" cy="156"/>
            </a:xfrm>
            <a:custGeom>
              <a:avLst/>
              <a:gdLst>
                <a:gd name="T0" fmla="*/ 478 w 478"/>
                <a:gd name="T1" fmla="*/ 232 h 466"/>
                <a:gd name="T2" fmla="*/ 474 w 478"/>
                <a:gd name="T3" fmla="*/ 279 h 466"/>
                <a:gd name="T4" fmla="*/ 460 w 478"/>
                <a:gd name="T5" fmla="*/ 323 h 466"/>
                <a:gd name="T6" fmla="*/ 437 w 478"/>
                <a:gd name="T7" fmla="*/ 363 h 466"/>
                <a:gd name="T8" fmla="*/ 408 w 478"/>
                <a:gd name="T9" fmla="*/ 398 h 466"/>
                <a:gd name="T10" fmla="*/ 373 w 478"/>
                <a:gd name="T11" fmla="*/ 426 h 466"/>
                <a:gd name="T12" fmla="*/ 332 w 478"/>
                <a:gd name="T13" fmla="*/ 447 h 466"/>
                <a:gd name="T14" fmla="*/ 288 w 478"/>
                <a:gd name="T15" fmla="*/ 460 h 466"/>
                <a:gd name="T16" fmla="*/ 239 w 478"/>
                <a:gd name="T17" fmla="*/ 466 h 466"/>
                <a:gd name="T18" fmla="*/ 215 w 478"/>
                <a:gd name="T19" fmla="*/ 465 h 466"/>
                <a:gd name="T20" fmla="*/ 168 w 478"/>
                <a:gd name="T21" fmla="*/ 455 h 466"/>
                <a:gd name="T22" fmla="*/ 125 w 478"/>
                <a:gd name="T23" fmla="*/ 437 h 466"/>
                <a:gd name="T24" fmla="*/ 88 w 478"/>
                <a:gd name="T25" fmla="*/ 412 h 466"/>
                <a:gd name="T26" fmla="*/ 55 w 478"/>
                <a:gd name="T27" fmla="*/ 380 h 466"/>
                <a:gd name="T28" fmla="*/ 29 w 478"/>
                <a:gd name="T29" fmla="*/ 343 h 466"/>
                <a:gd name="T30" fmla="*/ 12 w 478"/>
                <a:gd name="T31" fmla="*/ 302 h 466"/>
                <a:gd name="T32" fmla="*/ 2 w 478"/>
                <a:gd name="T33" fmla="*/ 256 h 466"/>
                <a:gd name="T34" fmla="*/ 0 w 478"/>
                <a:gd name="T35" fmla="*/ 232 h 466"/>
                <a:gd name="T36" fmla="*/ 5 w 478"/>
                <a:gd name="T37" fmla="*/ 185 h 466"/>
                <a:gd name="T38" fmla="*/ 19 w 478"/>
                <a:gd name="T39" fmla="*/ 141 h 466"/>
                <a:gd name="T40" fmla="*/ 42 w 478"/>
                <a:gd name="T41" fmla="*/ 103 h 466"/>
                <a:gd name="T42" fmla="*/ 70 w 478"/>
                <a:gd name="T43" fmla="*/ 68 h 466"/>
                <a:gd name="T44" fmla="*/ 106 w 478"/>
                <a:gd name="T45" fmla="*/ 40 h 466"/>
                <a:gd name="T46" fmla="*/ 146 w 478"/>
                <a:gd name="T47" fmla="*/ 17 h 466"/>
                <a:gd name="T48" fmla="*/ 191 w 478"/>
                <a:gd name="T49" fmla="*/ 4 h 466"/>
                <a:gd name="T50" fmla="*/ 239 w 478"/>
                <a:gd name="T51" fmla="*/ 0 h 466"/>
                <a:gd name="T52" fmla="*/ 264 w 478"/>
                <a:gd name="T53" fmla="*/ 0 h 466"/>
                <a:gd name="T54" fmla="*/ 311 w 478"/>
                <a:gd name="T55" fmla="*/ 10 h 466"/>
                <a:gd name="T56" fmla="*/ 354 w 478"/>
                <a:gd name="T57" fmla="*/ 27 h 466"/>
                <a:gd name="T58" fmla="*/ 391 w 478"/>
                <a:gd name="T59" fmla="*/ 53 h 466"/>
                <a:gd name="T60" fmla="*/ 424 w 478"/>
                <a:gd name="T61" fmla="*/ 84 h 466"/>
                <a:gd name="T62" fmla="*/ 450 w 478"/>
                <a:gd name="T63" fmla="*/ 121 h 466"/>
                <a:gd name="T64" fmla="*/ 467 w 478"/>
                <a:gd name="T65" fmla="*/ 164 h 466"/>
                <a:gd name="T66" fmla="*/ 477 w 478"/>
                <a:gd name="T67" fmla="*/ 208 h 466"/>
                <a:gd name="T68" fmla="*/ 478 w 478"/>
                <a:gd name="T69" fmla="*/ 232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78" h="466">
                  <a:moveTo>
                    <a:pt x="478" y="232"/>
                  </a:moveTo>
                  <a:lnTo>
                    <a:pt x="478" y="232"/>
                  </a:lnTo>
                  <a:lnTo>
                    <a:pt x="477" y="256"/>
                  </a:lnTo>
                  <a:lnTo>
                    <a:pt x="474" y="279"/>
                  </a:lnTo>
                  <a:lnTo>
                    <a:pt x="467" y="302"/>
                  </a:lnTo>
                  <a:lnTo>
                    <a:pt x="460" y="323"/>
                  </a:lnTo>
                  <a:lnTo>
                    <a:pt x="450" y="343"/>
                  </a:lnTo>
                  <a:lnTo>
                    <a:pt x="437" y="363"/>
                  </a:lnTo>
                  <a:lnTo>
                    <a:pt x="424" y="380"/>
                  </a:lnTo>
                  <a:lnTo>
                    <a:pt x="408" y="398"/>
                  </a:lnTo>
                  <a:lnTo>
                    <a:pt x="391" y="412"/>
                  </a:lnTo>
                  <a:lnTo>
                    <a:pt x="373" y="426"/>
                  </a:lnTo>
                  <a:lnTo>
                    <a:pt x="354" y="437"/>
                  </a:lnTo>
                  <a:lnTo>
                    <a:pt x="332" y="447"/>
                  </a:lnTo>
                  <a:lnTo>
                    <a:pt x="311" y="455"/>
                  </a:lnTo>
                  <a:lnTo>
                    <a:pt x="288" y="460"/>
                  </a:lnTo>
                  <a:lnTo>
                    <a:pt x="264" y="465"/>
                  </a:lnTo>
                  <a:lnTo>
                    <a:pt x="239" y="466"/>
                  </a:lnTo>
                  <a:lnTo>
                    <a:pt x="239" y="466"/>
                  </a:lnTo>
                  <a:lnTo>
                    <a:pt x="215" y="465"/>
                  </a:lnTo>
                  <a:lnTo>
                    <a:pt x="191" y="460"/>
                  </a:lnTo>
                  <a:lnTo>
                    <a:pt x="168" y="455"/>
                  </a:lnTo>
                  <a:lnTo>
                    <a:pt x="146" y="447"/>
                  </a:lnTo>
                  <a:lnTo>
                    <a:pt x="125" y="437"/>
                  </a:lnTo>
                  <a:lnTo>
                    <a:pt x="106" y="426"/>
                  </a:lnTo>
                  <a:lnTo>
                    <a:pt x="88" y="412"/>
                  </a:lnTo>
                  <a:lnTo>
                    <a:pt x="70" y="398"/>
                  </a:lnTo>
                  <a:lnTo>
                    <a:pt x="55" y="380"/>
                  </a:lnTo>
                  <a:lnTo>
                    <a:pt x="42" y="363"/>
                  </a:lnTo>
                  <a:lnTo>
                    <a:pt x="29" y="343"/>
                  </a:lnTo>
                  <a:lnTo>
                    <a:pt x="19" y="323"/>
                  </a:lnTo>
                  <a:lnTo>
                    <a:pt x="12" y="302"/>
                  </a:lnTo>
                  <a:lnTo>
                    <a:pt x="5" y="279"/>
                  </a:lnTo>
                  <a:lnTo>
                    <a:pt x="2" y="256"/>
                  </a:lnTo>
                  <a:lnTo>
                    <a:pt x="0" y="232"/>
                  </a:lnTo>
                  <a:lnTo>
                    <a:pt x="0" y="232"/>
                  </a:lnTo>
                  <a:lnTo>
                    <a:pt x="2" y="208"/>
                  </a:lnTo>
                  <a:lnTo>
                    <a:pt x="5" y="185"/>
                  </a:lnTo>
                  <a:lnTo>
                    <a:pt x="12" y="164"/>
                  </a:lnTo>
                  <a:lnTo>
                    <a:pt x="19" y="141"/>
                  </a:lnTo>
                  <a:lnTo>
                    <a:pt x="29" y="121"/>
                  </a:lnTo>
                  <a:lnTo>
                    <a:pt x="42" y="103"/>
                  </a:lnTo>
                  <a:lnTo>
                    <a:pt x="55" y="84"/>
                  </a:lnTo>
                  <a:lnTo>
                    <a:pt x="70" y="68"/>
                  </a:lnTo>
                  <a:lnTo>
                    <a:pt x="88" y="53"/>
                  </a:lnTo>
                  <a:lnTo>
                    <a:pt x="106" y="40"/>
                  </a:lnTo>
                  <a:lnTo>
                    <a:pt x="125" y="27"/>
                  </a:lnTo>
                  <a:lnTo>
                    <a:pt x="146" y="17"/>
                  </a:lnTo>
                  <a:lnTo>
                    <a:pt x="168" y="10"/>
                  </a:lnTo>
                  <a:lnTo>
                    <a:pt x="191" y="4"/>
                  </a:lnTo>
                  <a:lnTo>
                    <a:pt x="215" y="0"/>
                  </a:lnTo>
                  <a:lnTo>
                    <a:pt x="239" y="0"/>
                  </a:lnTo>
                  <a:lnTo>
                    <a:pt x="239" y="0"/>
                  </a:lnTo>
                  <a:lnTo>
                    <a:pt x="264" y="0"/>
                  </a:lnTo>
                  <a:lnTo>
                    <a:pt x="288" y="4"/>
                  </a:lnTo>
                  <a:lnTo>
                    <a:pt x="311" y="10"/>
                  </a:lnTo>
                  <a:lnTo>
                    <a:pt x="332" y="17"/>
                  </a:lnTo>
                  <a:lnTo>
                    <a:pt x="354" y="27"/>
                  </a:lnTo>
                  <a:lnTo>
                    <a:pt x="373" y="40"/>
                  </a:lnTo>
                  <a:lnTo>
                    <a:pt x="391" y="53"/>
                  </a:lnTo>
                  <a:lnTo>
                    <a:pt x="408" y="67"/>
                  </a:lnTo>
                  <a:lnTo>
                    <a:pt x="424" y="84"/>
                  </a:lnTo>
                  <a:lnTo>
                    <a:pt x="437" y="103"/>
                  </a:lnTo>
                  <a:lnTo>
                    <a:pt x="450" y="121"/>
                  </a:lnTo>
                  <a:lnTo>
                    <a:pt x="460" y="141"/>
                  </a:lnTo>
                  <a:lnTo>
                    <a:pt x="467" y="164"/>
                  </a:lnTo>
                  <a:lnTo>
                    <a:pt x="474" y="185"/>
                  </a:lnTo>
                  <a:lnTo>
                    <a:pt x="477" y="208"/>
                  </a:lnTo>
                  <a:lnTo>
                    <a:pt x="478" y="232"/>
                  </a:lnTo>
                  <a:lnTo>
                    <a:pt x="478" y="23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98" name="Line 20"/>
            <p:cNvSpPr>
              <a:spLocks noChangeShapeType="1"/>
            </p:cNvSpPr>
            <p:nvPr userDrawn="1"/>
          </p:nvSpPr>
          <p:spPr bwMode="auto">
            <a:xfrm>
              <a:off x="5670" y="737"/>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pic>
          <p:nvPicPr>
            <p:cNvPr id="99" name="Picture 21"/>
            <p:cNvPicPr>
              <a:picLocks noChangeAspect="1" noChangeArrowheads="1"/>
            </p:cNvPicPr>
            <p:nvPr userDrawn="1"/>
          </p:nvPicPr>
          <p:blipFill>
            <a:blip r:embed="rId7" cstate="hqprint">
              <a:extLst>
                <a:ext uri="{28A0092B-C50C-407E-A947-70E740481C1C}">
                  <a14:useLocalDpi xmlns:a14="http://schemas.microsoft.com/office/drawing/2010/main" val="0"/>
                </a:ext>
              </a:extLst>
            </a:blip>
            <a:srcRect/>
            <a:stretch>
              <a:fillRect/>
            </a:stretch>
          </p:blipFill>
          <p:spPr bwMode="auto">
            <a:xfrm>
              <a:off x="5478" y="637"/>
              <a:ext cx="282" cy="2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0" name="Freeform 22"/>
            <p:cNvSpPr>
              <a:spLocks noEditPoints="1"/>
            </p:cNvSpPr>
            <p:nvPr userDrawn="1"/>
          </p:nvSpPr>
          <p:spPr bwMode="auto">
            <a:xfrm>
              <a:off x="5526" y="673"/>
              <a:ext cx="138" cy="139"/>
            </a:xfrm>
            <a:custGeom>
              <a:avLst/>
              <a:gdLst>
                <a:gd name="T0" fmla="*/ 415 w 415"/>
                <a:gd name="T1" fmla="*/ 209 h 417"/>
                <a:gd name="T2" fmla="*/ 411 w 415"/>
                <a:gd name="T3" fmla="*/ 251 h 417"/>
                <a:gd name="T4" fmla="*/ 400 w 415"/>
                <a:gd name="T5" fmla="*/ 291 h 417"/>
                <a:gd name="T6" fmla="*/ 379 w 415"/>
                <a:gd name="T7" fmla="*/ 325 h 417"/>
                <a:gd name="T8" fmla="*/ 355 w 415"/>
                <a:gd name="T9" fmla="*/ 356 h 417"/>
                <a:gd name="T10" fmla="*/ 324 w 415"/>
                <a:gd name="T11" fmla="*/ 382 h 417"/>
                <a:gd name="T12" fmla="*/ 289 w 415"/>
                <a:gd name="T13" fmla="*/ 400 h 417"/>
                <a:gd name="T14" fmla="*/ 249 w 415"/>
                <a:gd name="T15" fmla="*/ 413 h 417"/>
                <a:gd name="T16" fmla="*/ 208 w 415"/>
                <a:gd name="T17" fmla="*/ 417 h 417"/>
                <a:gd name="T18" fmla="*/ 186 w 415"/>
                <a:gd name="T19" fmla="*/ 416 h 417"/>
                <a:gd name="T20" fmla="*/ 146 w 415"/>
                <a:gd name="T21" fmla="*/ 407 h 417"/>
                <a:gd name="T22" fmla="*/ 109 w 415"/>
                <a:gd name="T23" fmla="*/ 392 h 417"/>
                <a:gd name="T24" fmla="*/ 76 w 415"/>
                <a:gd name="T25" fmla="*/ 370 h 417"/>
                <a:gd name="T26" fmla="*/ 47 w 415"/>
                <a:gd name="T27" fmla="*/ 342 h 417"/>
                <a:gd name="T28" fmla="*/ 26 w 415"/>
                <a:gd name="T29" fmla="*/ 308 h 417"/>
                <a:gd name="T30" fmla="*/ 10 w 415"/>
                <a:gd name="T31" fmla="*/ 271 h 417"/>
                <a:gd name="T32" fmla="*/ 2 w 415"/>
                <a:gd name="T33" fmla="*/ 229 h 417"/>
                <a:gd name="T34" fmla="*/ 0 w 415"/>
                <a:gd name="T35" fmla="*/ 209 h 417"/>
                <a:gd name="T36" fmla="*/ 4 w 415"/>
                <a:gd name="T37" fmla="*/ 167 h 417"/>
                <a:gd name="T38" fmla="*/ 16 w 415"/>
                <a:gd name="T39" fmla="*/ 128 h 417"/>
                <a:gd name="T40" fmla="*/ 36 w 415"/>
                <a:gd name="T41" fmla="*/ 93 h 417"/>
                <a:gd name="T42" fmla="*/ 62 w 415"/>
                <a:gd name="T43" fmla="*/ 61 h 417"/>
                <a:gd name="T44" fmla="*/ 92 w 415"/>
                <a:gd name="T45" fmla="*/ 36 h 417"/>
                <a:gd name="T46" fmla="*/ 128 w 415"/>
                <a:gd name="T47" fmla="*/ 17 h 417"/>
                <a:gd name="T48" fmla="*/ 166 w 415"/>
                <a:gd name="T49" fmla="*/ 4 h 417"/>
                <a:gd name="T50" fmla="*/ 208 w 415"/>
                <a:gd name="T51" fmla="*/ 0 h 417"/>
                <a:gd name="T52" fmla="*/ 229 w 415"/>
                <a:gd name="T53" fmla="*/ 1 h 417"/>
                <a:gd name="T54" fmla="*/ 269 w 415"/>
                <a:gd name="T55" fmla="*/ 10 h 417"/>
                <a:gd name="T56" fmla="*/ 306 w 415"/>
                <a:gd name="T57" fmla="*/ 26 h 417"/>
                <a:gd name="T58" fmla="*/ 339 w 415"/>
                <a:gd name="T59" fmla="*/ 48 h 417"/>
                <a:gd name="T60" fmla="*/ 368 w 415"/>
                <a:gd name="T61" fmla="*/ 75 h 417"/>
                <a:gd name="T62" fmla="*/ 391 w 415"/>
                <a:gd name="T63" fmla="*/ 110 h 417"/>
                <a:gd name="T64" fmla="*/ 407 w 415"/>
                <a:gd name="T65" fmla="*/ 147 h 417"/>
                <a:gd name="T66" fmla="*/ 414 w 415"/>
                <a:gd name="T67" fmla="*/ 188 h 417"/>
                <a:gd name="T68" fmla="*/ 415 w 415"/>
                <a:gd name="T69" fmla="*/ 209 h 417"/>
                <a:gd name="T70" fmla="*/ 415 w 415"/>
                <a:gd name="T71" fmla="*/ 209 h 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15" h="417">
                  <a:moveTo>
                    <a:pt x="415" y="209"/>
                  </a:moveTo>
                  <a:lnTo>
                    <a:pt x="415" y="209"/>
                  </a:lnTo>
                  <a:lnTo>
                    <a:pt x="414" y="229"/>
                  </a:lnTo>
                  <a:lnTo>
                    <a:pt x="411" y="251"/>
                  </a:lnTo>
                  <a:lnTo>
                    <a:pt x="407" y="271"/>
                  </a:lnTo>
                  <a:lnTo>
                    <a:pt x="400" y="291"/>
                  </a:lnTo>
                  <a:lnTo>
                    <a:pt x="391" y="308"/>
                  </a:lnTo>
                  <a:lnTo>
                    <a:pt x="379" y="325"/>
                  </a:lnTo>
                  <a:lnTo>
                    <a:pt x="368" y="342"/>
                  </a:lnTo>
                  <a:lnTo>
                    <a:pt x="355" y="356"/>
                  </a:lnTo>
                  <a:lnTo>
                    <a:pt x="339" y="370"/>
                  </a:lnTo>
                  <a:lnTo>
                    <a:pt x="324" y="382"/>
                  </a:lnTo>
                  <a:lnTo>
                    <a:pt x="306" y="392"/>
                  </a:lnTo>
                  <a:lnTo>
                    <a:pt x="289" y="400"/>
                  </a:lnTo>
                  <a:lnTo>
                    <a:pt x="269" y="407"/>
                  </a:lnTo>
                  <a:lnTo>
                    <a:pt x="249" y="413"/>
                  </a:lnTo>
                  <a:lnTo>
                    <a:pt x="229" y="416"/>
                  </a:lnTo>
                  <a:lnTo>
                    <a:pt x="208" y="417"/>
                  </a:lnTo>
                  <a:lnTo>
                    <a:pt x="208" y="417"/>
                  </a:lnTo>
                  <a:lnTo>
                    <a:pt x="186" y="416"/>
                  </a:lnTo>
                  <a:lnTo>
                    <a:pt x="166" y="413"/>
                  </a:lnTo>
                  <a:lnTo>
                    <a:pt x="146" y="407"/>
                  </a:lnTo>
                  <a:lnTo>
                    <a:pt x="128" y="400"/>
                  </a:lnTo>
                  <a:lnTo>
                    <a:pt x="109" y="392"/>
                  </a:lnTo>
                  <a:lnTo>
                    <a:pt x="92" y="382"/>
                  </a:lnTo>
                  <a:lnTo>
                    <a:pt x="76" y="370"/>
                  </a:lnTo>
                  <a:lnTo>
                    <a:pt x="62" y="356"/>
                  </a:lnTo>
                  <a:lnTo>
                    <a:pt x="47" y="342"/>
                  </a:lnTo>
                  <a:lnTo>
                    <a:pt x="36" y="325"/>
                  </a:lnTo>
                  <a:lnTo>
                    <a:pt x="26" y="308"/>
                  </a:lnTo>
                  <a:lnTo>
                    <a:pt x="16" y="291"/>
                  </a:lnTo>
                  <a:lnTo>
                    <a:pt x="10" y="271"/>
                  </a:lnTo>
                  <a:lnTo>
                    <a:pt x="4" y="251"/>
                  </a:lnTo>
                  <a:lnTo>
                    <a:pt x="2" y="229"/>
                  </a:lnTo>
                  <a:lnTo>
                    <a:pt x="0" y="209"/>
                  </a:lnTo>
                  <a:lnTo>
                    <a:pt x="0" y="209"/>
                  </a:lnTo>
                  <a:lnTo>
                    <a:pt x="2" y="188"/>
                  </a:lnTo>
                  <a:lnTo>
                    <a:pt x="4" y="167"/>
                  </a:lnTo>
                  <a:lnTo>
                    <a:pt x="10" y="147"/>
                  </a:lnTo>
                  <a:lnTo>
                    <a:pt x="16" y="128"/>
                  </a:lnTo>
                  <a:lnTo>
                    <a:pt x="26" y="110"/>
                  </a:lnTo>
                  <a:lnTo>
                    <a:pt x="36" y="93"/>
                  </a:lnTo>
                  <a:lnTo>
                    <a:pt x="47" y="75"/>
                  </a:lnTo>
                  <a:lnTo>
                    <a:pt x="62" y="61"/>
                  </a:lnTo>
                  <a:lnTo>
                    <a:pt x="76" y="48"/>
                  </a:lnTo>
                  <a:lnTo>
                    <a:pt x="92" y="36"/>
                  </a:lnTo>
                  <a:lnTo>
                    <a:pt x="109" y="26"/>
                  </a:lnTo>
                  <a:lnTo>
                    <a:pt x="128" y="17"/>
                  </a:lnTo>
                  <a:lnTo>
                    <a:pt x="146" y="10"/>
                  </a:lnTo>
                  <a:lnTo>
                    <a:pt x="166" y="4"/>
                  </a:lnTo>
                  <a:lnTo>
                    <a:pt x="186" y="1"/>
                  </a:lnTo>
                  <a:lnTo>
                    <a:pt x="208" y="0"/>
                  </a:lnTo>
                  <a:lnTo>
                    <a:pt x="208" y="0"/>
                  </a:lnTo>
                  <a:lnTo>
                    <a:pt x="229" y="1"/>
                  </a:lnTo>
                  <a:lnTo>
                    <a:pt x="249" y="4"/>
                  </a:lnTo>
                  <a:lnTo>
                    <a:pt x="269" y="10"/>
                  </a:lnTo>
                  <a:lnTo>
                    <a:pt x="289" y="17"/>
                  </a:lnTo>
                  <a:lnTo>
                    <a:pt x="306" y="26"/>
                  </a:lnTo>
                  <a:lnTo>
                    <a:pt x="324" y="36"/>
                  </a:lnTo>
                  <a:lnTo>
                    <a:pt x="339" y="48"/>
                  </a:lnTo>
                  <a:lnTo>
                    <a:pt x="355" y="61"/>
                  </a:lnTo>
                  <a:lnTo>
                    <a:pt x="368" y="75"/>
                  </a:lnTo>
                  <a:lnTo>
                    <a:pt x="379" y="93"/>
                  </a:lnTo>
                  <a:lnTo>
                    <a:pt x="391" y="110"/>
                  </a:lnTo>
                  <a:lnTo>
                    <a:pt x="400" y="128"/>
                  </a:lnTo>
                  <a:lnTo>
                    <a:pt x="407" y="147"/>
                  </a:lnTo>
                  <a:lnTo>
                    <a:pt x="411" y="167"/>
                  </a:lnTo>
                  <a:lnTo>
                    <a:pt x="414" y="188"/>
                  </a:lnTo>
                  <a:lnTo>
                    <a:pt x="415" y="209"/>
                  </a:lnTo>
                  <a:lnTo>
                    <a:pt x="415" y="209"/>
                  </a:lnTo>
                  <a:close/>
                  <a:moveTo>
                    <a:pt x="415" y="209"/>
                  </a:moveTo>
                  <a:lnTo>
                    <a:pt x="415" y="20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01" name="Freeform 23"/>
            <p:cNvSpPr>
              <a:spLocks/>
            </p:cNvSpPr>
            <p:nvPr userDrawn="1"/>
          </p:nvSpPr>
          <p:spPr bwMode="auto">
            <a:xfrm>
              <a:off x="5526" y="673"/>
              <a:ext cx="138" cy="139"/>
            </a:xfrm>
            <a:custGeom>
              <a:avLst/>
              <a:gdLst>
                <a:gd name="T0" fmla="*/ 415 w 415"/>
                <a:gd name="T1" fmla="*/ 209 h 417"/>
                <a:gd name="T2" fmla="*/ 411 w 415"/>
                <a:gd name="T3" fmla="*/ 251 h 417"/>
                <a:gd name="T4" fmla="*/ 400 w 415"/>
                <a:gd name="T5" fmla="*/ 291 h 417"/>
                <a:gd name="T6" fmla="*/ 379 w 415"/>
                <a:gd name="T7" fmla="*/ 325 h 417"/>
                <a:gd name="T8" fmla="*/ 355 w 415"/>
                <a:gd name="T9" fmla="*/ 356 h 417"/>
                <a:gd name="T10" fmla="*/ 324 w 415"/>
                <a:gd name="T11" fmla="*/ 382 h 417"/>
                <a:gd name="T12" fmla="*/ 289 w 415"/>
                <a:gd name="T13" fmla="*/ 400 h 417"/>
                <a:gd name="T14" fmla="*/ 249 w 415"/>
                <a:gd name="T15" fmla="*/ 413 h 417"/>
                <a:gd name="T16" fmla="*/ 208 w 415"/>
                <a:gd name="T17" fmla="*/ 417 h 417"/>
                <a:gd name="T18" fmla="*/ 186 w 415"/>
                <a:gd name="T19" fmla="*/ 416 h 417"/>
                <a:gd name="T20" fmla="*/ 146 w 415"/>
                <a:gd name="T21" fmla="*/ 407 h 417"/>
                <a:gd name="T22" fmla="*/ 109 w 415"/>
                <a:gd name="T23" fmla="*/ 392 h 417"/>
                <a:gd name="T24" fmla="*/ 76 w 415"/>
                <a:gd name="T25" fmla="*/ 370 h 417"/>
                <a:gd name="T26" fmla="*/ 47 w 415"/>
                <a:gd name="T27" fmla="*/ 342 h 417"/>
                <a:gd name="T28" fmla="*/ 26 w 415"/>
                <a:gd name="T29" fmla="*/ 308 h 417"/>
                <a:gd name="T30" fmla="*/ 10 w 415"/>
                <a:gd name="T31" fmla="*/ 271 h 417"/>
                <a:gd name="T32" fmla="*/ 2 w 415"/>
                <a:gd name="T33" fmla="*/ 229 h 417"/>
                <a:gd name="T34" fmla="*/ 0 w 415"/>
                <a:gd name="T35" fmla="*/ 209 h 417"/>
                <a:gd name="T36" fmla="*/ 4 w 415"/>
                <a:gd name="T37" fmla="*/ 167 h 417"/>
                <a:gd name="T38" fmla="*/ 16 w 415"/>
                <a:gd name="T39" fmla="*/ 128 h 417"/>
                <a:gd name="T40" fmla="*/ 36 w 415"/>
                <a:gd name="T41" fmla="*/ 93 h 417"/>
                <a:gd name="T42" fmla="*/ 62 w 415"/>
                <a:gd name="T43" fmla="*/ 61 h 417"/>
                <a:gd name="T44" fmla="*/ 92 w 415"/>
                <a:gd name="T45" fmla="*/ 36 h 417"/>
                <a:gd name="T46" fmla="*/ 128 w 415"/>
                <a:gd name="T47" fmla="*/ 17 h 417"/>
                <a:gd name="T48" fmla="*/ 166 w 415"/>
                <a:gd name="T49" fmla="*/ 4 h 417"/>
                <a:gd name="T50" fmla="*/ 208 w 415"/>
                <a:gd name="T51" fmla="*/ 0 h 417"/>
                <a:gd name="T52" fmla="*/ 229 w 415"/>
                <a:gd name="T53" fmla="*/ 1 h 417"/>
                <a:gd name="T54" fmla="*/ 269 w 415"/>
                <a:gd name="T55" fmla="*/ 10 h 417"/>
                <a:gd name="T56" fmla="*/ 306 w 415"/>
                <a:gd name="T57" fmla="*/ 26 h 417"/>
                <a:gd name="T58" fmla="*/ 339 w 415"/>
                <a:gd name="T59" fmla="*/ 48 h 417"/>
                <a:gd name="T60" fmla="*/ 368 w 415"/>
                <a:gd name="T61" fmla="*/ 75 h 417"/>
                <a:gd name="T62" fmla="*/ 391 w 415"/>
                <a:gd name="T63" fmla="*/ 110 h 417"/>
                <a:gd name="T64" fmla="*/ 407 w 415"/>
                <a:gd name="T65" fmla="*/ 147 h 417"/>
                <a:gd name="T66" fmla="*/ 414 w 415"/>
                <a:gd name="T67" fmla="*/ 188 h 417"/>
                <a:gd name="T68" fmla="*/ 415 w 415"/>
                <a:gd name="T69" fmla="*/ 209 h 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15" h="417">
                  <a:moveTo>
                    <a:pt x="415" y="209"/>
                  </a:moveTo>
                  <a:lnTo>
                    <a:pt x="415" y="209"/>
                  </a:lnTo>
                  <a:lnTo>
                    <a:pt x="414" y="229"/>
                  </a:lnTo>
                  <a:lnTo>
                    <a:pt x="411" y="251"/>
                  </a:lnTo>
                  <a:lnTo>
                    <a:pt x="407" y="271"/>
                  </a:lnTo>
                  <a:lnTo>
                    <a:pt x="400" y="291"/>
                  </a:lnTo>
                  <a:lnTo>
                    <a:pt x="391" y="308"/>
                  </a:lnTo>
                  <a:lnTo>
                    <a:pt x="379" y="325"/>
                  </a:lnTo>
                  <a:lnTo>
                    <a:pt x="368" y="342"/>
                  </a:lnTo>
                  <a:lnTo>
                    <a:pt x="355" y="356"/>
                  </a:lnTo>
                  <a:lnTo>
                    <a:pt x="339" y="370"/>
                  </a:lnTo>
                  <a:lnTo>
                    <a:pt x="324" y="382"/>
                  </a:lnTo>
                  <a:lnTo>
                    <a:pt x="306" y="392"/>
                  </a:lnTo>
                  <a:lnTo>
                    <a:pt x="289" y="400"/>
                  </a:lnTo>
                  <a:lnTo>
                    <a:pt x="269" y="407"/>
                  </a:lnTo>
                  <a:lnTo>
                    <a:pt x="249" y="413"/>
                  </a:lnTo>
                  <a:lnTo>
                    <a:pt x="229" y="416"/>
                  </a:lnTo>
                  <a:lnTo>
                    <a:pt x="208" y="417"/>
                  </a:lnTo>
                  <a:lnTo>
                    <a:pt x="208" y="417"/>
                  </a:lnTo>
                  <a:lnTo>
                    <a:pt x="186" y="416"/>
                  </a:lnTo>
                  <a:lnTo>
                    <a:pt x="166" y="413"/>
                  </a:lnTo>
                  <a:lnTo>
                    <a:pt x="146" y="407"/>
                  </a:lnTo>
                  <a:lnTo>
                    <a:pt x="128" y="400"/>
                  </a:lnTo>
                  <a:lnTo>
                    <a:pt x="109" y="392"/>
                  </a:lnTo>
                  <a:lnTo>
                    <a:pt x="92" y="382"/>
                  </a:lnTo>
                  <a:lnTo>
                    <a:pt x="76" y="370"/>
                  </a:lnTo>
                  <a:lnTo>
                    <a:pt x="62" y="356"/>
                  </a:lnTo>
                  <a:lnTo>
                    <a:pt x="47" y="342"/>
                  </a:lnTo>
                  <a:lnTo>
                    <a:pt x="36" y="325"/>
                  </a:lnTo>
                  <a:lnTo>
                    <a:pt x="26" y="308"/>
                  </a:lnTo>
                  <a:lnTo>
                    <a:pt x="16" y="291"/>
                  </a:lnTo>
                  <a:lnTo>
                    <a:pt x="10" y="271"/>
                  </a:lnTo>
                  <a:lnTo>
                    <a:pt x="4" y="251"/>
                  </a:lnTo>
                  <a:lnTo>
                    <a:pt x="2" y="229"/>
                  </a:lnTo>
                  <a:lnTo>
                    <a:pt x="0" y="209"/>
                  </a:lnTo>
                  <a:lnTo>
                    <a:pt x="0" y="209"/>
                  </a:lnTo>
                  <a:lnTo>
                    <a:pt x="2" y="188"/>
                  </a:lnTo>
                  <a:lnTo>
                    <a:pt x="4" y="167"/>
                  </a:lnTo>
                  <a:lnTo>
                    <a:pt x="10" y="147"/>
                  </a:lnTo>
                  <a:lnTo>
                    <a:pt x="16" y="128"/>
                  </a:lnTo>
                  <a:lnTo>
                    <a:pt x="26" y="110"/>
                  </a:lnTo>
                  <a:lnTo>
                    <a:pt x="36" y="93"/>
                  </a:lnTo>
                  <a:lnTo>
                    <a:pt x="47" y="75"/>
                  </a:lnTo>
                  <a:lnTo>
                    <a:pt x="62" y="61"/>
                  </a:lnTo>
                  <a:lnTo>
                    <a:pt x="76" y="48"/>
                  </a:lnTo>
                  <a:lnTo>
                    <a:pt x="92" y="36"/>
                  </a:lnTo>
                  <a:lnTo>
                    <a:pt x="109" y="26"/>
                  </a:lnTo>
                  <a:lnTo>
                    <a:pt x="128" y="17"/>
                  </a:lnTo>
                  <a:lnTo>
                    <a:pt x="146" y="10"/>
                  </a:lnTo>
                  <a:lnTo>
                    <a:pt x="166" y="4"/>
                  </a:lnTo>
                  <a:lnTo>
                    <a:pt x="186" y="1"/>
                  </a:lnTo>
                  <a:lnTo>
                    <a:pt x="208" y="0"/>
                  </a:lnTo>
                  <a:lnTo>
                    <a:pt x="208" y="0"/>
                  </a:lnTo>
                  <a:lnTo>
                    <a:pt x="229" y="1"/>
                  </a:lnTo>
                  <a:lnTo>
                    <a:pt x="249" y="4"/>
                  </a:lnTo>
                  <a:lnTo>
                    <a:pt x="269" y="10"/>
                  </a:lnTo>
                  <a:lnTo>
                    <a:pt x="289" y="17"/>
                  </a:lnTo>
                  <a:lnTo>
                    <a:pt x="306" y="26"/>
                  </a:lnTo>
                  <a:lnTo>
                    <a:pt x="324" y="36"/>
                  </a:lnTo>
                  <a:lnTo>
                    <a:pt x="339" y="48"/>
                  </a:lnTo>
                  <a:lnTo>
                    <a:pt x="355" y="61"/>
                  </a:lnTo>
                  <a:lnTo>
                    <a:pt x="368" y="75"/>
                  </a:lnTo>
                  <a:lnTo>
                    <a:pt x="379" y="93"/>
                  </a:lnTo>
                  <a:lnTo>
                    <a:pt x="391" y="110"/>
                  </a:lnTo>
                  <a:lnTo>
                    <a:pt x="400" y="128"/>
                  </a:lnTo>
                  <a:lnTo>
                    <a:pt x="407" y="147"/>
                  </a:lnTo>
                  <a:lnTo>
                    <a:pt x="411" y="167"/>
                  </a:lnTo>
                  <a:lnTo>
                    <a:pt x="414" y="188"/>
                  </a:lnTo>
                  <a:lnTo>
                    <a:pt x="415" y="209"/>
                  </a:lnTo>
                  <a:lnTo>
                    <a:pt x="415" y="20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02" name="Line 24"/>
            <p:cNvSpPr>
              <a:spLocks noChangeShapeType="1"/>
            </p:cNvSpPr>
            <p:nvPr userDrawn="1"/>
          </p:nvSpPr>
          <p:spPr bwMode="auto">
            <a:xfrm>
              <a:off x="5664" y="742"/>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pic>
          <p:nvPicPr>
            <p:cNvPr id="103" name="Picture 25"/>
            <p:cNvPicPr>
              <a:picLocks noChangeAspect="1" noChangeArrowheads="1"/>
            </p:cNvPicPr>
            <p:nvPr userDrawn="1"/>
          </p:nvPicPr>
          <p:blipFill>
            <a:blip r:embed="rId8" cstate="hqprint">
              <a:extLst>
                <a:ext uri="{28A0092B-C50C-407E-A947-70E740481C1C}">
                  <a14:useLocalDpi xmlns:a14="http://schemas.microsoft.com/office/drawing/2010/main" val="0"/>
                </a:ext>
              </a:extLst>
            </a:blip>
            <a:srcRect/>
            <a:stretch>
              <a:fillRect/>
            </a:stretch>
          </p:blipFill>
          <p:spPr bwMode="auto">
            <a:xfrm>
              <a:off x="5478" y="637"/>
              <a:ext cx="282" cy="2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4" name="Freeform 26"/>
            <p:cNvSpPr>
              <a:spLocks noEditPoints="1"/>
            </p:cNvSpPr>
            <p:nvPr userDrawn="1"/>
          </p:nvSpPr>
          <p:spPr bwMode="auto">
            <a:xfrm>
              <a:off x="5563" y="717"/>
              <a:ext cx="44" cy="62"/>
            </a:xfrm>
            <a:custGeom>
              <a:avLst/>
              <a:gdLst>
                <a:gd name="T0" fmla="*/ 6 w 133"/>
                <a:gd name="T1" fmla="*/ 187 h 187"/>
                <a:gd name="T2" fmla="*/ 1 w 133"/>
                <a:gd name="T3" fmla="*/ 179 h 187"/>
                <a:gd name="T4" fmla="*/ 1 w 133"/>
                <a:gd name="T5" fmla="*/ 151 h 187"/>
                <a:gd name="T6" fmla="*/ 6 w 133"/>
                <a:gd name="T7" fmla="*/ 143 h 187"/>
                <a:gd name="T8" fmla="*/ 61 w 133"/>
                <a:gd name="T9" fmla="*/ 144 h 187"/>
                <a:gd name="T10" fmla="*/ 73 w 133"/>
                <a:gd name="T11" fmla="*/ 144 h 187"/>
                <a:gd name="T12" fmla="*/ 87 w 133"/>
                <a:gd name="T13" fmla="*/ 143 h 187"/>
                <a:gd name="T14" fmla="*/ 91 w 133"/>
                <a:gd name="T15" fmla="*/ 136 h 187"/>
                <a:gd name="T16" fmla="*/ 93 w 133"/>
                <a:gd name="T17" fmla="*/ 130 h 187"/>
                <a:gd name="T18" fmla="*/ 90 w 133"/>
                <a:gd name="T19" fmla="*/ 124 h 187"/>
                <a:gd name="T20" fmla="*/ 66 w 133"/>
                <a:gd name="T21" fmla="*/ 114 h 187"/>
                <a:gd name="T22" fmla="*/ 51 w 133"/>
                <a:gd name="T23" fmla="*/ 107 h 187"/>
                <a:gd name="T24" fmla="*/ 30 w 133"/>
                <a:gd name="T25" fmla="*/ 96 h 187"/>
                <a:gd name="T26" fmla="*/ 17 w 133"/>
                <a:gd name="T27" fmla="*/ 83 h 187"/>
                <a:gd name="T28" fmla="*/ 11 w 133"/>
                <a:gd name="T29" fmla="*/ 76 h 187"/>
                <a:gd name="T30" fmla="*/ 7 w 133"/>
                <a:gd name="T31" fmla="*/ 60 h 187"/>
                <a:gd name="T32" fmla="*/ 6 w 133"/>
                <a:gd name="T33" fmla="*/ 52 h 187"/>
                <a:gd name="T34" fmla="*/ 10 w 133"/>
                <a:gd name="T35" fmla="*/ 27 h 187"/>
                <a:gd name="T36" fmla="*/ 24 w 133"/>
                <a:gd name="T37" fmla="*/ 10 h 187"/>
                <a:gd name="T38" fmla="*/ 28 w 133"/>
                <a:gd name="T39" fmla="*/ 8 h 187"/>
                <a:gd name="T40" fmla="*/ 44 w 133"/>
                <a:gd name="T41" fmla="*/ 2 h 187"/>
                <a:gd name="T42" fmla="*/ 73 w 133"/>
                <a:gd name="T43" fmla="*/ 0 h 187"/>
                <a:gd name="T44" fmla="*/ 121 w 133"/>
                <a:gd name="T45" fmla="*/ 0 h 187"/>
                <a:gd name="T46" fmla="*/ 126 w 133"/>
                <a:gd name="T47" fmla="*/ 9 h 187"/>
                <a:gd name="T48" fmla="*/ 126 w 133"/>
                <a:gd name="T49" fmla="*/ 33 h 187"/>
                <a:gd name="T50" fmla="*/ 121 w 133"/>
                <a:gd name="T51" fmla="*/ 42 h 187"/>
                <a:gd name="T52" fmla="*/ 79 w 133"/>
                <a:gd name="T53" fmla="*/ 42 h 187"/>
                <a:gd name="T54" fmla="*/ 54 w 133"/>
                <a:gd name="T55" fmla="*/ 43 h 187"/>
                <a:gd name="T56" fmla="*/ 47 w 133"/>
                <a:gd name="T57" fmla="*/ 46 h 187"/>
                <a:gd name="T58" fmla="*/ 44 w 133"/>
                <a:gd name="T59" fmla="*/ 53 h 187"/>
                <a:gd name="T60" fmla="*/ 46 w 133"/>
                <a:gd name="T61" fmla="*/ 59 h 187"/>
                <a:gd name="T62" fmla="*/ 57 w 133"/>
                <a:gd name="T63" fmla="*/ 69 h 187"/>
                <a:gd name="T64" fmla="*/ 79 w 133"/>
                <a:gd name="T65" fmla="*/ 79 h 187"/>
                <a:gd name="T66" fmla="*/ 86 w 133"/>
                <a:gd name="T67" fmla="*/ 80 h 187"/>
                <a:gd name="T68" fmla="*/ 116 w 133"/>
                <a:gd name="T69" fmla="*/ 93 h 187"/>
                <a:gd name="T70" fmla="*/ 121 w 133"/>
                <a:gd name="T71" fmla="*/ 99 h 187"/>
                <a:gd name="T72" fmla="*/ 130 w 133"/>
                <a:gd name="T73" fmla="*/ 113 h 187"/>
                <a:gd name="T74" fmla="*/ 133 w 133"/>
                <a:gd name="T75" fmla="*/ 132 h 187"/>
                <a:gd name="T76" fmla="*/ 131 w 133"/>
                <a:gd name="T77" fmla="*/ 143 h 187"/>
                <a:gd name="T78" fmla="*/ 123 w 133"/>
                <a:gd name="T79" fmla="*/ 164 h 187"/>
                <a:gd name="T80" fmla="*/ 114 w 133"/>
                <a:gd name="T81" fmla="*/ 173 h 187"/>
                <a:gd name="T82" fmla="*/ 94 w 133"/>
                <a:gd name="T83" fmla="*/ 184 h 187"/>
                <a:gd name="T84" fmla="*/ 69 w 133"/>
                <a:gd name="T85" fmla="*/ 187 h 187"/>
                <a:gd name="T86" fmla="*/ 6 w 133"/>
                <a:gd name="T87"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3" h="187">
                  <a:moveTo>
                    <a:pt x="6" y="187"/>
                  </a:moveTo>
                  <a:lnTo>
                    <a:pt x="6" y="187"/>
                  </a:lnTo>
                  <a:lnTo>
                    <a:pt x="3" y="184"/>
                  </a:lnTo>
                  <a:lnTo>
                    <a:pt x="1" y="179"/>
                  </a:lnTo>
                  <a:lnTo>
                    <a:pt x="0" y="166"/>
                  </a:lnTo>
                  <a:lnTo>
                    <a:pt x="1" y="151"/>
                  </a:lnTo>
                  <a:lnTo>
                    <a:pt x="3" y="147"/>
                  </a:lnTo>
                  <a:lnTo>
                    <a:pt x="6" y="143"/>
                  </a:lnTo>
                  <a:lnTo>
                    <a:pt x="6" y="143"/>
                  </a:lnTo>
                  <a:lnTo>
                    <a:pt x="61" y="144"/>
                  </a:lnTo>
                  <a:lnTo>
                    <a:pt x="61" y="144"/>
                  </a:lnTo>
                  <a:lnTo>
                    <a:pt x="73" y="144"/>
                  </a:lnTo>
                  <a:lnTo>
                    <a:pt x="83" y="144"/>
                  </a:lnTo>
                  <a:lnTo>
                    <a:pt x="87" y="143"/>
                  </a:lnTo>
                  <a:lnTo>
                    <a:pt x="90" y="140"/>
                  </a:lnTo>
                  <a:lnTo>
                    <a:pt x="91" y="136"/>
                  </a:lnTo>
                  <a:lnTo>
                    <a:pt x="93" y="130"/>
                  </a:lnTo>
                  <a:lnTo>
                    <a:pt x="93" y="130"/>
                  </a:lnTo>
                  <a:lnTo>
                    <a:pt x="91" y="127"/>
                  </a:lnTo>
                  <a:lnTo>
                    <a:pt x="90" y="124"/>
                  </a:lnTo>
                  <a:lnTo>
                    <a:pt x="84" y="122"/>
                  </a:lnTo>
                  <a:lnTo>
                    <a:pt x="66" y="114"/>
                  </a:lnTo>
                  <a:lnTo>
                    <a:pt x="51" y="107"/>
                  </a:lnTo>
                  <a:lnTo>
                    <a:pt x="51" y="107"/>
                  </a:lnTo>
                  <a:lnTo>
                    <a:pt x="40" y="102"/>
                  </a:lnTo>
                  <a:lnTo>
                    <a:pt x="30" y="96"/>
                  </a:lnTo>
                  <a:lnTo>
                    <a:pt x="23" y="89"/>
                  </a:lnTo>
                  <a:lnTo>
                    <a:pt x="17" y="83"/>
                  </a:lnTo>
                  <a:lnTo>
                    <a:pt x="17" y="83"/>
                  </a:lnTo>
                  <a:lnTo>
                    <a:pt x="11" y="76"/>
                  </a:lnTo>
                  <a:lnTo>
                    <a:pt x="8" y="69"/>
                  </a:lnTo>
                  <a:lnTo>
                    <a:pt x="7" y="60"/>
                  </a:lnTo>
                  <a:lnTo>
                    <a:pt x="6" y="52"/>
                  </a:lnTo>
                  <a:lnTo>
                    <a:pt x="6" y="52"/>
                  </a:lnTo>
                  <a:lnTo>
                    <a:pt x="7" y="39"/>
                  </a:lnTo>
                  <a:lnTo>
                    <a:pt x="10" y="27"/>
                  </a:lnTo>
                  <a:lnTo>
                    <a:pt x="16" y="19"/>
                  </a:lnTo>
                  <a:lnTo>
                    <a:pt x="24" y="10"/>
                  </a:lnTo>
                  <a:lnTo>
                    <a:pt x="24" y="10"/>
                  </a:lnTo>
                  <a:lnTo>
                    <a:pt x="28" y="8"/>
                  </a:lnTo>
                  <a:lnTo>
                    <a:pt x="33" y="5"/>
                  </a:lnTo>
                  <a:lnTo>
                    <a:pt x="44" y="2"/>
                  </a:lnTo>
                  <a:lnTo>
                    <a:pt x="58" y="0"/>
                  </a:lnTo>
                  <a:lnTo>
                    <a:pt x="73" y="0"/>
                  </a:lnTo>
                  <a:lnTo>
                    <a:pt x="121" y="0"/>
                  </a:lnTo>
                  <a:lnTo>
                    <a:pt x="121" y="0"/>
                  </a:lnTo>
                  <a:lnTo>
                    <a:pt x="124" y="3"/>
                  </a:lnTo>
                  <a:lnTo>
                    <a:pt x="126" y="9"/>
                  </a:lnTo>
                  <a:lnTo>
                    <a:pt x="127" y="20"/>
                  </a:lnTo>
                  <a:lnTo>
                    <a:pt x="126" y="33"/>
                  </a:lnTo>
                  <a:lnTo>
                    <a:pt x="124" y="39"/>
                  </a:lnTo>
                  <a:lnTo>
                    <a:pt x="121" y="42"/>
                  </a:lnTo>
                  <a:lnTo>
                    <a:pt x="79" y="42"/>
                  </a:lnTo>
                  <a:lnTo>
                    <a:pt x="79" y="42"/>
                  </a:lnTo>
                  <a:lnTo>
                    <a:pt x="66" y="42"/>
                  </a:lnTo>
                  <a:lnTo>
                    <a:pt x="54" y="43"/>
                  </a:lnTo>
                  <a:lnTo>
                    <a:pt x="50" y="45"/>
                  </a:lnTo>
                  <a:lnTo>
                    <a:pt x="47" y="46"/>
                  </a:lnTo>
                  <a:lnTo>
                    <a:pt x="46" y="49"/>
                  </a:lnTo>
                  <a:lnTo>
                    <a:pt x="44" y="53"/>
                  </a:lnTo>
                  <a:lnTo>
                    <a:pt x="44" y="53"/>
                  </a:lnTo>
                  <a:lnTo>
                    <a:pt x="46" y="59"/>
                  </a:lnTo>
                  <a:lnTo>
                    <a:pt x="51" y="63"/>
                  </a:lnTo>
                  <a:lnTo>
                    <a:pt x="57" y="69"/>
                  </a:lnTo>
                  <a:lnTo>
                    <a:pt x="64" y="72"/>
                  </a:lnTo>
                  <a:lnTo>
                    <a:pt x="79" y="79"/>
                  </a:lnTo>
                  <a:lnTo>
                    <a:pt x="86" y="80"/>
                  </a:lnTo>
                  <a:lnTo>
                    <a:pt x="86" y="80"/>
                  </a:lnTo>
                  <a:lnTo>
                    <a:pt x="109" y="89"/>
                  </a:lnTo>
                  <a:lnTo>
                    <a:pt x="116" y="93"/>
                  </a:lnTo>
                  <a:lnTo>
                    <a:pt x="121" y="99"/>
                  </a:lnTo>
                  <a:lnTo>
                    <a:pt x="121" y="99"/>
                  </a:lnTo>
                  <a:lnTo>
                    <a:pt x="127" y="104"/>
                  </a:lnTo>
                  <a:lnTo>
                    <a:pt x="130" y="113"/>
                  </a:lnTo>
                  <a:lnTo>
                    <a:pt x="133" y="122"/>
                  </a:lnTo>
                  <a:lnTo>
                    <a:pt x="133" y="132"/>
                  </a:lnTo>
                  <a:lnTo>
                    <a:pt x="133" y="132"/>
                  </a:lnTo>
                  <a:lnTo>
                    <a:pt x="131" y="143"/>
                  </a:lnTo>
                  <a:lnTo>
                    <a:pt x="129" y="154"/>
                  </a:lnTo>
                  <a:lnTo>
                    <a:pt x="123" y="164"/>
                  </a:lnTo>
                  <a:lnTo>
                    <a:pt x="114" y="173"/>
                  </a:lnTo>
                  <a:lnTo>
                    <a:pt x="114" y="173"/>
                  </a:lnTo>
                  <a:lnTo>
                    <a:pt x="104" y="180"/>
                  </a:lnTo>
                  <a:lnTo>
                    <a:pt x="94" y="184"/>
                  </a:lnTo>
                  <a:lnTo>
                    <a:pt x="83" y="187"/>
                  </a:lnTo>
                  <a:lnTo>
                    <a:pt x="69" y="187"/>
                  </a:lnTo>
                  <a:lnTo>
                    <a:pt x="6" y="187"/>
                  </a:lnTo>
                  <a:close/>
                  <a:moveTo>
                    <a:pt x="6" y="187"/>
                  </a:moveTo>
                  <a:lnTo>
                    <a:pt x="6" y="18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05" name="Freeform 27"/>
            <p:cNvSpPr>
              <a:spLocks/>
            </p:cNvSpPr>
            <p:nvPr userDrawn="1"/>
          </p:nvSpPr>
          <p:spPr bwMode="auto">
            <a:xfrm>
              <a:off x="5563" y="717"/>
              <a:ext cx="44" cy="62"/>
            </a:xfrm>
            <a:custGeom>
              <a:avLst/>
              <a:gdLst>
                <a:gd name="T0" fmla="*/ 6 w 133"/>
                <a:gd name="T1" fmla="*/ 187 h 187"/>
                <a:gd name="T2" fmla="*/ 1 w 133"/>
                <a:gd name="T3" fmla="*/ 179 h 187"/>
                <a:gd name="T4" fmla="*/ 1 w 133"/>
                <a:gd name="T5" fmla="*/ 151 h 187"/>
                <a:gd name="T6" fmla="*/ 6 w 133"/>
                <a:gd name="T7" fmla="*/ 143 h 187"/>
                <a:gd name="T8" fmla="*/ 61 w 133"/>
                <a:gd name="T9" fmla="*/ 144 h 187"/>
                <a:gd name="T10" fmla="*/ 73 w 133"/>
                <a:gd name="T11" fmla="*/ 144 h 187"/>
                <a:gd name="T12" fmla="*/ 87 w 133"/>
                <a:gd name="T13" fmla="*/ 143 h 187"/>
                <a:gd name="T14" fmla="*/ 91 w 133"/>
                <a:gd name="T15" fmla="*/ 136 h 187"/>
                <a:gd name="T16" fmla="*/ 93 w 133"/>
                <a:gd name="T17" fmla="*/ 130 h 187"/>
                <a:gd name="T18" fmla="*/ 90 w 133"/>
                <a:gd name="T19" fmla="*/ 124 h 187"/>
                <a:gd name="T20" fmla="*/ 66 w 133"/>
                <a:gd name="T21" fmla="*/ 114 h 187"/>
                <a:gd name="T22" fmla="*/ 51 w 133"/>
                <a:gd name="T23" fmla="*/ 107 h 187"/>
                <a:gd name="T24" fmla="*/ 30 w 133"/>
                <a:gd name="T25" fmla="*/ 96 h 187"/>
                <a:gd name="T26" fmla="*/ 17 w 133"/>
                <a:gd name="T27" fmla="*/ 83 h 187"/>
                <a:gd name="T28" fmla="*/ 11 w 133"/>
                <a:gd name="T29" fmla="*/ 76 h 187"/>
                <a:gd name="T30" fmla="*/ 7 w 133"/>
                <a:gd name="T31" fmla="*/ 60 h 187"/>
                <a:gd name="T32" fmla="*/ 6 w 133"/>
                <a:gd name="T33" fmla="*/ 52 h 187"/>
                <a:gd name="T34" fmla="*/ 10 w 133"/>
                <a:gd name="T35" fmla="*/ 27 h 187"/>
                <a:gd name="T36" fmla="*/ 24 w 133"/>
                <a:gd name="T37" fmla="*/ 10 h 187"/>
                <a:gd name="T38" fmla="*/ 28 w 133"/>
                <a:gd name="T39" fmla="*/ 8 h 187"/>
                <a:gd name="T40" fmla="*/ 44 w 133"/>
                <a:gd name="T41" fmla="*/ 2 h 187"/>
                <a:gd name="T42" fmla="*/ 73 w 133"/>
                <a:gd name="T43" fmla="*/ 0 h 187"/>
                <a:gd name="T44" fmla="*/ 121 w 133"/>
                <a:gd name="T45" fmla="*/ 0 h 187"/>
                <a:gd name="T46" fmla="*/ 126 w 133"/>
                <a:gd name="T47" fmla="*/ 9 h 187"/>
                <a:gd name="T48" fmla="*/ 126 w 133"/>
                <a:gd name="T49" fmla="*/ 33 h 187"/>
                <a:gd name="T50" fmla="*/ 121 w 133"/>
                <a:gd name="T51" fmla="*/ 42 h 187"/>
                <a:gd name="T52" fmla="*/ 79 w 133"/>
                <a:gd name="T53" fmla="*/ 42 h 187"/>
                <a:gd name="T54" fmla="*/ 54 w 133"/>
                <a:gd name="T55" fmla="*/ 43 h 187"/>
                <a:gd name="T56" fmla="*/ 47 w 133"/>
                <a:gd name="T57" fmla="*/ 46 h 187"/>
                <a:gd name="T58" fmla="*/ 44 w 133"/>
                <a:gd name="T59" fmla="*/ 53 h 187"/>
                <a:gd name="T60" fmla="*/ 46 w 133"/>
                <a:gd name="T61" fmla="*/ 59 h 187"/>
                <a:gd name="T62" fmla="*/ 57 w 133"/>
                <a:gd name="T63" fmla="*/ 69 h 187"/>
                <a:gd name="T64" fmla="*/ 79 w 133"/>
                <a:gd name="T65" fmla="*/ 79 h 187"/>
                <a:gd name="T66" fmla="*/ 86 w 133"/>
                <a:gd name="T67" fmla="*/ 80 h 187"/>
                <a:gd name="T68" fmla="*/ 116 w 133"/>
                <a:gd name="T69" fmla="*/ 93 h 187"/>
                <a:gd name="T70" fmla="*/ 121 w 133"/>
                <a:gd name="T71" fmla="*/ 99 h 187"/>
                <a:gd name="T72" fmla="*/ 130 w 133"/>
                <a:gd name="T73" fmla="*/ 113 h 187"/>
                <a:gd name="T74" fmla="*/ 133 w 133"/>
                <a:gd name="T75" fmla="*/ 132 h 187"/>
                <a:gd name="T76" fmla="*/ 131 w 133"/>
                <a:gd name="T77" fmla="*/ 143 h 187"/>
                <a:gd name="T78" fmla="*/ 123 w 133"/>
                <a:gd name="T79" fmla="*/ 164 h 187"/>
                <a:gd name="T80" fmla="*/ 114 w 133"/>
                <a:gd name="T81" fmla="*/ 173 h 187"/>
                <a:gd name="T82" fmla="*/ 94 w 133"/>
                <a:gd name="T83" fmla="*/ 184 h 187"/>
                <a:gd name="T84" fmla="*/ 69 w 133"/>
                <a:gd name="T85"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33" h="187">
                  <a:moveTo>
                    <a:pt x="6" y="187"/>
                  </a:moveTo>
                  <a:lnTo>
                    <a:pt x="6" y="187"/>
                  </a:lnTo>
                  <a:lnTo>
                    <a:pt x="3" y="184"/>
                  </a:lnTo>
                  <a:lnTo>
                    <a:pt x="1" y="179"/>
                  </a:lnTo>
                  <a:lnTo>
                    <a:pt x="0" y="166"/>
                  </a:lnTo>
                  <a:lnTo>
                    <a:pt x="1" y="151"/>
                  </a:lnTo>
                  <a:lnTo>
                    <a:pt x="3" y="147"/>
                  </a:lnTo>
                  <a:lnTo>
                    <a:pt x="6" y="143"/>
                  </a:lnTo>
                  <a:lnTo>
                    <a:pt x="6" y="143"/>
                  </a:lnTo>
                  <a:lnTo>
                    <a:pt x="61" y="144"/>
                  </a:lnTo>
                  <a:lnTo>
                    <a:pt x="61" y="144"/>
                  </a:lnTo>
                  <a:lnTo>
                    <a:pt x="73" y="144"/>
                  </a:lnTo>
                  <a:lnTo>
                    <a:pt x="83" y="144"/>
                  </a:lnTo>
                  <a:lnTo>
                    <a:pt x="87" y="143"/>
                  </a:lnTo>
                  <a:lnTo>
                    <a:pt x="90" y="140"/>
                  </a:lnTo>
                  <a:lnTo>
                    <a:pt x="91" y="136"/>
                  </a:lnTo>
                  <a:lnTo>
                    <a:pt x="93" y="130"/>
                  </a:lnTo>
                  <a:lnTo>
                    <a:pt x="93" y="130"/>
                  </a:lnTo>
                  <a:lnTo>
                    <a:pt x="91" y="127"/>
                  </a:lnTo>
                  <a:lnTo>
                    <a:pt x="90" y="124"/>
                  </a:lnTo>
                  <a:lnTo>
                    <a:pt x="84" y="122"/>
                  </a:lnTo>
                  <a:lnTo>
                    <a:pt x="66" y="114"/>
                  </a:lnTo>
                  <a:lnTo>
                    <a:pt x="51" y="107"/>
                  </a:lnTo>
                  <a:lnTo>
                    <a:pt x="51" y="107"/>
                  </a:lnTo>
                  <a:lnTo>
                    <a:pt x="40" y="102"/>
                  </a:lnTo>
                  <a:lnTo>
                    <a:pt x="30" y="96"/>
                  </a:lnTo>
                  <a:lnTo>
                    <a:pt x="23" y="89"/>
                  </a:lnTo>
                  <a:lnTo>
                    <a:pt x="17" y="83"/>
                  </a:lnTo>
                  <a:lnTo>
                    <a:pt x="17" y="83"/>
                  </a:lnTo>
                  <a:lnTo>
                    <a:pt x="11" y="76"/>
                  </a:lnTo>
                  <a:lnTo>
                    <a:pt x="8" y="69"/>
                  </a:lnTo>
                  <a:lnTo>
                    <a:pt x="7" y="60"/>
                  </a:lnTo>
                  <a:lnTo>
                    <a:pt x="6" y="52"/>
                  </a:lnTo>
                  <a:lnTo>
                    <a:pt x="6" y="52"/>
                  </a:lnTo>
                  <a:lnTo>
                    <a:pt x="7" y="39"/>
                  </a:lnTo>
                  <a:lnTo>
                    <a:pt x="10" y="27"/>
                  </a:lnTo>
                  <a:lnTo>
                    <a:pt x="16" y="19"/>
                  </a:lnTo>
                  <a:lnTo>
                    <a:pt x="24" y="10"/>
                  </a:lnTo>
                  <a:lnTo>
                    <a:pt x="24" y="10"/>
                  </a:lnTo>
                  <a:lnTo>
                    <a:pt x="28" y="8"/>
                  </a:lnTo>
                  <a:lnTo>
                    <a:pt x="33" y="5"/>
                  </a:lnTo>
                  <a:lnTo>
                    <a:pt x="44" y="2"/>
                  </a:lnTo>
                  <a:lnTo>
                    <a:pt x="58" y="0"/>
                  </a:lnTo>
                  <a:lnTo>
                    <a:pt x="73" y="0"/>
                  </a:lnTo>
                  <a:lnTo>
                    <a:pt x="121" y="0"/>
                  </a:lnTo>
                  <a:lnTo>
                    <a:pt x="121" y="0"/>
                  </a:lnTo>
                  <a:lnTo>
                    <a:pt x="124" y="3"/>
                  </a:lnTo>
                  <a:lnTo>
                    <a:pt x="126" y="9"/>
                  </a:lnTo>
                  <a:lnTo>
                    <a:pt x="127" y="20"/>
                  </a:lnTo>
                  <a:lnTo>
                    <a:pt x="126" y="33"/>
                  </a:lnTo>
                  <a:lnTo>
                    <a:pt x="124" y="39"/>
                  </a:lnTo>
                  <a:lnTo>
                    <a:pt x="121" y="42"/>
                  </a:lnTo>
                  <a:lnTo>
                    <a:pt x="79" y="42"/>
                  </a:lnTo>
                  <a:lnTo>
                    <a:pt x="79" y="42"/>
                  </a:lnTo>
                  <a:lnTo>
                    <a:pt x="66" y="42"/>
                  </a:lnTo>
                  <a:lnTo>
                    <a:pt x="54" y="43"/>
                  </a:lnTo>
                  <a:lnTo>
                    <a:pt x="50" y="45"/>
                  </a:lnTo>
                  <a:lnTo>
                    <a:pt x="47" y="46"/>
                  </a:lnTo>
                  <a:lnTo>
                    <a:pt x="46" y="49"/>
                  </a:lnTo>
                  <a:lnTo>
                    <a:pt x="44" y="53"/>
                  </a:lnTo>
                  <a:lnTo>
                    <a:pt x="44" y="53"/>
                  </a:lnTo>
                  <a:lnTo>
                    <a:pt x="46" y="59"/>
                  </a:lnTo>
                  <a:lnTo>
                    <a:pt x="51" y="63"/>
                  </a:lnTo>
                  <a:lnTo>
                    <a:pt x="57" y="69"/>
                  </a:lnTo>
                  <a:lnTo>
                    <a:pt x="64" y="72"/>
                  </a:lnTo>
                  <a:lnTo>
                    <a:pt x="79" y="79"/>
                  </a:lnTo>
                  <a:lnTo>
                    <a:pt x="86" y="80"/>
                  </a:lnTo>
                  <a:lnTo>
                    <a:pt x="86" y="80"/>
                  </a:lnTo>
                  <a:lnTo>
                    <a:pt x="109" y="89"/>
                  </a:lnTo>
                  <a:lnTo>
                    <a:pt x="116" y="93"/>
                  </a:lnTo>
                  <a:lnTo>
                    <a:pt x="121" y="99"/>
                  </a:lnTo>
                  <a:lnTo>
                    <a:pt x="121" y="99"/>
                  </a:lnTo>
                  <a:lnTo>
                    <a:pt x="127" y="104"/>
                  </a:lnTo>
                  <a:lnTo>
                    <a:pt x="130" y="113"/>
                  </a:lnTo>
                  <a:lnTo>
                    <a:pt x="133" y="122"/>
                  </a:lnTo>
                  <a:lnTo>
                    <a:pt x="133" y="132"/>
                  </a:lnTo>
                  <a:lnTo>
                    <a:pt x="133" y="132"/>
                  </a:lnTo>
                  <a:lnTo>
                    <a:pt x="131" y="143"/>
                  </a:lnTo>
                  <a:lnTo>
                    <a:pt x="129" y="154"/>
                  </a:lnTo>
                  <a:lnTo>
                    <a:pt x="123" y="164"/>
                  </a:lnTo>
                  <a:lnTo>
                    <a:pt x="114" y="173"/>
                  </a:lnTo>
                  <a:lnTo>
                    <a:pt x="114" y="173"/>
                  </a:lnTo>
                  <a:lnTo>
                    <a:pt x="104" y="180"/>
                  </a:lnTo>
                  <a:lnTo>
                    <a:pt x="94" y="184"/>
                  </a:lnTo>
                  <a:lnTo>
                    <a:pt x="83" y="187"/>
                  </a:lnTo>
                  <a:lnTo>
                    <a:pt x="69" y="187"/>
                  </a:lnTo>
                  <a:lnTo>
                    <a:pt x="6" y="18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06" name="Line 28"/>
            <p:cNvSpPr>
              <a:spLocks noChangeShapeType="1"/>
            </p:cNvSpPr>
            <p:nvPr userDrawn="1"/>
          </p:nvSpPr>
          <p:spPr bwMode="auto">
            <a:xfrm>
              <a:off x="5565" y="779"/>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07" name="Freeform 29"/>
            <p:cNvSpPr>
              <a:spLocks noEditPoints="1"/>
            </p:cNvSpPr>
            <p:nvPr userDrawn="1"/>
          </p:nvSpPr>
          <p:spPr bwMode="auto">
            <a:xfrm>
              <a:off x="5671" y="717"/>
              <a:ext cx="80" cy="63"/>
            </a:xfrm>
            <a:custGeom>
              <a:avLst/>
              <a:gdLst>
                <a:gd name="T0" fmla="*/ 0 w 242"/>
                <a:gd name="T1" fmla="*/ 0 h 191"/>
                <a:gd name="T2" fmla="*/ 198 w 242"/>
                <a:gd name="T3" fmla="*/ 0 h 191"/>
                <a:gd name="T4" fmla="*/ 218 w 242"/>
                <a:gd name="T5" fmla="*/ 3 h 191"/>
                <a:gd name="T6" fmla="*/ 231 w 242"/>
                <a:gd name="T7" fmla="*/ 12 h 191"/>
                <a:gd name="T8" fmla="*/ 239 w 242"/>
                <a:gd name="T9" fmla="*/ 27 h 191"/>
                <a:gd name="T10" fmla="*/ 242 w 242"/>
                <a:gd name="T11" fmla="*/ 52 h 191"/>
                <a:gd name="T12" fmla="*/ 242 w 242"/>
                <a:gd name="T13" fmla="*/ 186 h 191"/>
                <a:gd name="T14" fmla="*/ 234 w 242"/>
                <a:gd name="T15" fmla="*/ 190 h 191"/>
                <a:gd name="T16" fmla="*/ 221 w 242"/>
                <a:gd name="T17" fmla="*/ 191 h 191"/>
                <a:gd name="T18" fmla="*/ 209 w 242"/>
                <a:gd name="T19" fmla="*/ 190 h 191"/>
                <a:gd name="T20" fmla="*/ 201 w 242"/>
                <a:gd name="T21" fmla="*/ 186 h 191"/>
                <a:gd name="T22" fmla="*/ 201 w 242"/>
                <a:gd name="T23" fmla="*/ 66 h 191"/>
                <a:gd name="T24" fmla="*/ 198 w 242"/>
                <a:gd name="T25" fmla="*/ 55 h 191"/>
                <a:gd name="T26" fmla="*/ 191 w 242"/>
                <a:gd name="T27" fmla="*/ 46 h 191"/>
                <a:gd name="T28" fmla="*/ 182 w 242"/>
                <a:gd name="T29" fmla="*/ 42 h 191"/>
                <a:gd name="T30" fmla="*/ 161 w 242"/>
                <a:gd name="T31" fmla="*/ 40 h 191"/>
                <a:gd name="T32" fmla="*/ 142 w 242"/>
                <a:gd name="T33" fmla="*/ 43 h 191"/>
                <a:gd name="T34" fmla="*/ 142 w 242"/>
                <a:gd name="T35" fmla="*/ 186 h 191"/>
                <a:gd name="T36" fmla="*/ 133 w 242"/>
                <a:gd name="T37" fmla="*/ 190 h 191"/>
                <a:gd name="T38" fmla="*/ 122 w 242"/>
                <a:gd name="T39" fmla="*/ 191 h 191"/>
                <a:gd name="T40" fmla="*/ 109 w 242"/>
                <a:gd name="T41" fmla="*/ 190 h 191"/>
                <a:gd name="T42" fmla="*/ 101 w 242"/>
                <a:gd name="T43" fmla="*/ 186 h 191"/>
                <a:gd name="T44" fmla="*/ 101 w 242"/>
                <a:gd name="T45" fmla="*/ 67 h 191"/>
                <a:gd name="T46" fmla="*/ 98 w 242"/>
                <a:gd name="T47" fmla="*/ 55 h 191"/>
                <a:gd name="T48" fmla="*/ 92 w 242"/>
                <a:gd name="T49" fmla="*/ 46 h 191"/>
                <a:gd name="T50" fmla="*/ 82 w 242"/>
                <a:gd name="T51" fmla="*/ 42 h 191"/>
                <a:gd name="T52" fmla="*/ 60 w 242"/>
                <a:gd name="T53" fmla="*/ 40 h 191"/>
                <a:gd name="T54" fmla="*/ 43 w 242"/>
                <a:gd name="T55" fmla="*/ 43 h 191"/>
                <a:gd name="T56" fmla="*/ 43 w 242"/>
                <a:gd name="T57" fmla="*/ 186 h 191"/>
                <a:gd name="T58" fmla="*/ 33 w 242"/>
                <a:gd name="T59" fmla="*/ 190 h 191"/>
                <a:gd name="T60" fmla="*/ 22 w 242"/>
                <a:gd name="T61" fmla="*/ 191 h 191"/>
                <a:gd name="T62" fmla="*/ 9 w 242"/>
                <a:gd name="T63" fmla="*/ 190 h 191"/>
                <a:gd name="T64" fmla="*/ 0 w 242"/>
                <a:gd name="T65" fmla="*/ 186 h 191"/>
                <a:gd name="T66" fmla="*/ 0 w 242"/>
                <a:gd name="T67" fmla="*/ 186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42" h="191">
                  <a:moveTo>
                    <a:pt x="0" y="186"/>
                  </a:moveTo>
                  <a:lnTo>
                    <a:pt x="0" y="0"/>
                  </a:lnTo>
                  <a:lnTo>
                    <a:pt x="198" y="0"/>
                  </a:lnTo>
                  <a:lnTo>
                    <a:pt x="198" y="0"/>
                  </a:lnTo>
                  <a:lnTo>
                    <a:pt x="208" y="0"/>
                  </a:lnTo>
                  <a:lnTo>
                    <a:pt x="218" y="3"/>
                  </a:lnTo>
                  <a:lnTo>
                    <a:pt x="225" y="6"/>
                  </a:lnTo>
                  <a:lnTo>
                    <a:pt x="231" y="12"/>
                  </a:lnTo>
                  <a:lnTo>
                    <a:pt x="237" y="19"/>
                  </a:lnTo>
                  <a:lnTo>
                    <a:pt x="239" y="27"/>
                  </a:lnTo>
                  <a:lnTo>
                    <a:pt x="242" y="39"/>
                  </a:lnTo>
                  <a:lnTo>
                    <a:pt x="242" y="52"/>
                  </a:lnTo>
                  <a:lnTo>
                    <a:pt x="242" y="186"/>
                  </a:lnTo>
                  <a:lnTo>
                    <a:pt x="242" y="186"/>
                  </a:lnTo>
                  <a:lnTo>
                    <a:pt x="239" y="189"/>
                  </a:lnTo>
                  <a:lnTo>
                    <a:pt x="234" y="190"/>
                  </a:lnTo>
                  <a:lnTo>
                    <a:pt x="228" y="191"/>
                  </a:lnTo>
                  <a:lnTo>
                    <a:pt x="221" y="191"/>
                  </a:lnTo>
                  <a:lnTo>
                    <a:pt x="215" y="191"/>
                  </a:lnTo>
                  <a:lnTo>
                    <a:pt x="209" y="190"/>
                  </a:lnTo>
                  <a:lnTo>
                    <a:pt x="204" y="189"/>
                  </a:lnTo>
                  <a:lnTo>
                    <a:pt x="201" y="186"/>
                  </a:lnTo>
                  <a:lnTo>
                    <a:pt x="201" y="66"/>
                  </a:lnTo>
                  <a:lnTo>
                    <a:pt x="201" y="66"/>
                  </a:lnTo>
                  <a:lnTo>
                    <a:pt x="199" y="60"/>
                  </a:lnTo>
                  <a:lnTo>
                    <a:pt x="198" y="55"/>
                  </a:lnTo>
                  <a:lnTo>
                    <a:pt x="195" y="50"/>
                  </a:lnTo>
                  <a:lnTo>
                    <a:pt x="191" y="46"/>
                  </a:lnTo>
                  <a:lnTo>
                    <a:pt x="186" y="43"/>
                  </a:lnTo>
                  <a:lnTo>
                    <a:pt x="182" y="42"/>
                  </a:lnTo>
                  <a:lnTo>
                    <a:pt x="171" y="40"/>
                  </a:lnTo>
                  <a:lnTo>
                    <a:pt x="161" y="40"/>
                  </a:lnTo>
                  <a:lnTo>
                    <a:pt x="152" y="40"/>
                  </a:lnTo>
                  <a:lnTo>
                    <a:pt x="142" y="43"/>
                  </a:lnTo>
                  <a:lnTo>
                    <a:pt x="142" y="186"/>
                  </a:lnTo>
                  <a:lnTo>
                    <a:pt x="142" y="186"/>
                  </a:lnTo>
                  <a:lnTo>
                    <a:pt x="139" y="189"/>
                  </a:lnTo>
                  <a:lnTo>
                    <a:pt x="133" y="190"/>
                  </a:lnTo>
                  <a:lnTo>
                    <a:pt x="128" y="191"/>
                  </a:lnTo>
                  <a:lnTo>
                    <a:pt x="122" y="191"/>
                  </a:lnTo>
                  <a:lnTo>
                    <a:pt x="115" y="191"/>
                  </a:lnTo>
                  <a:lnTo>
                    <a:pt x="109" y="190"/>
                  </a:lnTo>
                  <a:lnTo>
                    <a:pt x="103" y="189"/>
                  </a:lnTo>
                  <a:lnTo>
                    <a:pt x="101" y="186"/>
                  </a:lnTo>
                  <a:lnTo>
                    <a:pt x="101" y="67"/>
                  </a:lnTo>
                  <a:lnTo>
                    <a:pt x="101" y="67"/>
                  </a:lnTo>
                  <a:lnTo>
                    <a:pt x="99" y="60"/>
                  </a:lnTo>
                  <a:lnTo>
                    <a:pt x="98" y="55"/>
                  </a:lnTo>
                  <a:lnTo>
                    <a:pt x="95" y="50"/>
                  </a:lnTo>
                  <a:lnTo>
                    <a:pt x="92" y="46"/>
                  </a:lnTo>
                  <a:lnTo>
                    <a:pt x="88" y="43"/>
                  </a:lnTo>
                  <a:lnTo>
                    <a:pt x="82" y="42"/>
                  </a:lnTo>
                  <a:lnTo>
                    <a:pt x="72" y="40"/>
                  </a:lnTo>
                  <a:lnTo>
                    <a:pt x="60" y="40"/>
                  </a:lnTo>
                  <a:lnTo>
                    <a:pt x="52" y="40"/>
                  </a:lnTo>
                  <a:lnTo>
                    <a:pt x="43" y="43"/>
                  </a:lnTo>
                  <a:lnTo>
                    <a:pt x="43" y="186"/>
                  </a:lnTo>
                  <a:lnTo>
                    <a:pt x="43" y="186"/>
                  </a:lnTo>
                  <a:lnTo>
                    <a:pt x="39" y="189"/>
                  </a:lnTo>
                  <a:lnTo>
                    <a:pt x="33" y="190"/>
                  </a:lnTo>
                  <a:lnTo>
                    <a:pt x="28" y="191"/>
                  </a:lnTo>
                  <a:lnTo>
                    <a:pt x="22" y="191"/>
                  </a:lnTo>
                  <a:lnTo>
                    <a:pt x="15" y="191"/>
                  </a:lnTo>
                  <a:lnTo>
                    <a:pt x="9" y="190"/>
                  </a:lnTo>
                  <a:lnTo>
                    <a:pt x="5" y="189"/>
                  </a:lnTo>
                  <a:lnTo>
                    <a:pt x="0" y="186"/>
                  </a:lnTo>
                  <a:lnTo>
                    <a:pt x="0" y="186"/>
                  </a:lnTo>
                  <a:close/>
                  <a:moveTo>
                    <a:pt x="0" y="186"/>
                  </a:moveTo>
                  <a:lnTo>
                    <a:pt x="0" y="18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08" name="Freeform 30"/>
            <p:cNvSpPr>
              <a:spLocks/>
            </p:cNvSpPr>
            <p:nvPr userDrawn="1"/>
          </p:nvSpPr>
          <p:spPr bwMode="auto">
            <a:xfrm>
              <a:off x="5671" y="717"/>
              <a:ext cx="80" cy="63"/>
            </a:xfrm>
            <a:custGeom>
              <a:avLst/>
              <a:gdLst>
                <a:gd name="T0" fmla="*/ 0 w 242"/>
                <a:gd name="T1" fmla="*/ 0 h 191"/>
                <a:gd name="T2" fmla="*/ 198 w 242"/>
                <a:gd name="T3" fmla="*/ 0 h 191"/>
                <a:gd name="T4" fmla="*/ 218 w 242"/>
                <a:gd name="T5" fmla="*/ 3 h 191"/>
                <a:gd name="T6" fmla="*/ 231 w 242"/>
                <a:gd name="T7" fmla="*/ 12 h 191"/>
                <a:gd name="T8" fmla="*/ 239 w 242"/>
                <a:gd name="T9" fmla="*/ 27 h 191"/>
                <a:gd name="T10" fmla="*/ 242 w 242"/>
                <a:gd name="T11" fmla="*/ 52 h 191"/>
                <a:gd name="T12" fmla="*/ 242 w 242"/>
                <a:gd name="T13" fmla="*/ 186 h 191"/>
                <a:gd name="T14" fmla="*/ 234 w 242"/>
                <a:gd name="T15" fmla="*/ 190 h 191"/>
                <a:gd name="T16" fmla="*/ 221 w 242"/>
                <a:gd name="T17" fmla="*/ 191 h 191"/>
                <a:gd name="T18" fmla="*/ 209 w 242"/>
                <a:gd name="T19" fmla="*/ 190 h 191"/>
                <a:gd name="T20" fmla="*/ 201 w 242"/>
                <a:gd name="T21" fmla="*/ 186 h 191"/>
                <a:gd name="T22" fmla="*/ 201 w 242"/>
                <a:gd name="T23" fmla="*/ 66 h 191"/>
                <a:gd name="T24" fmla="*/ 198 w 242"/>
                <a:gd name="T25" fmla="*/ 55 h 191"/>
                <a:gd name="T26" fmla="*/ 191 w 242"/>
                <a:gd name="T27" fmla="*/ 46 h 191"/>
                <a:gd name="T28" fmla="*/ 182 w 242"/>
                <a:gd name="T29" fmla="*/ 42 h 191"/>
                <a:gd name="T30" fmla="*/ 161 w 242"/>
                <a:gd name="T31" fmla="*/ 40 h 191"/>
                <a:gd name="T32" fmla="*/ 142 w 242"/>
                <a:gd name="T33" fmla="*/ 43 h 191"/>
                <a:gd name="T34" fmla="*/ 142 w 242"/>
                <a:gd name="T35" fmla="*/ 186 h 191"/>
                <a:gd name="T36" fmla="*/ 133 w 242"/>
                <a:gd name="T37" fmla="*/ 190 h 191"/>
                <a:gd name="T38" fmla="*/ 122 w 242"/>
                <a:gd name="T39" fmla="*/ 191 h 191"/>
                <a:gd name="T40" fmla="*/ 109 w 242"/>
                <a:gd name="T41" fmla="*/ 190 h 191"/>
                <a:gd name="T42" fmla="*/ 101 w 242"/>
                <a:gd name="T43" fmla="*/ 186 h 191"/>
                <a:gd name="T44" fmla="*/ 101 w 242"/>
                <a:gd name="T45" fmla="*/ 67 h 191"/>
                <a:gd name="T46" fmla="*/ 98 w 242"/>
                <a:gd name="T47" fmla="*/ 55 h 191"/>
                <a:gd name="T48" fmla="*/ 92 w 242"/>
                <a:gd name="T49" fmla="*/ 46 h 191"/>
                <a:gd name="T50" fmla="*/ 82 w 242"/>
                <a:gd name="T51" fmla="*/ 42 h 191"/>
                <a:gd name="T52" fmla="*/ 60 w 242"/>
                <a:gd name="T53" fmla="*/ 40 h 191"/>
                <a:gd name="T54" fmla="*/ 43 w 242"/>
                <a:gd name="T55" fmla="*/ 43 h 191"/>
                <a:gd name="T56" fmla="*/ 43 w 242"/>
                <a:gd name="T57" fmla="*/ 186 h 191"/>
                <a:gd name="T58" fmla="*/ 33 w 242"/>
                <a:gd name="T59" fmla="*/ 190 h 191"/>
                <a:gd name="T60" fmla="*/ 22 w 242"/>
                <a:gd name="T61" fmla="*/ 191 h 191"/>
                <a:gd name="T62" fmla="*/ 9 w 242"/>
                <a:gd name="T63" fmla="*/ 190 h 191"/>
                <a:gd name="T64" fmla="*/ 0 w 242"/>
                <a:gd name="T65" fmla="*/ 186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2" h="191">
                  <a:moveTo>
                    <a:pt x="0" y="186"/>
                  </a:moveTo>
                  <a:lnTo>
                    <a:pt x="0" y="0"/>
                  </a:lnTo>
                  <a:lnTo>
                    <a:pt x="198" y="0"/>
                  </a:lnTo>
                  <a:lnTo>
                    <a:pt x="198" y="0"/>
                  </a:lnTo>
                  <a:lnTo>
                    <a:pt x="208" y="0"/>
                  </a:lnTo>
                  <a:lnTo>
                    <a:pt x="218" y="3"/>
                  </a:lnTo>
                  <a:lnTo>
                    <a:pt x="225" y="6"/>
                  </a:lnTo>
                  <a:lnTo>
                    <a:pt x="231" y="12"/>
                  </a:lnTo>
                  <a:lnTo>
                    <a:pt x="237" y="19"/>
                  </a:lnTo>
                  <a:lnTo>
                    <a:pt x="239" y="27"/>
                  </a:lnTo>
                  <a:lnTo>
                    <a:pt x="242" y="39"/>
                  </a:lnTo>
                  <a:lnTo>
                    <a:pt x="242" y="52"/>
                  </a:lnTo>
                  <a:lnTo>
                    <a:pt x="242" y="186"/>
                  </a:lnTo>
                  <a:lnTo>
                    <a:pt x="242" y="186"/>
                  </a:lnTo>
                  <a:lnTo>
                    <a:pt x="239" y="189"/>
                  </a:lnTo>
                  <a:lnTo>
                    <a:pt x="234" y="190"/>
                  </a:lnTo>
                  <a:lnTo>
                    <a:pt x="228" y="191"/>
                  </a:lnTo>
                  <a:lnTo>
                    <a:pt x="221" y="191"/>
                  </a:lnTo>
                  <a:lnTo>
                    <a:pt x="215" y="191"/>
                  </a:lnTo>
                  <a:lnTo>
                    <a:pt x="209" y="190"/>
                  </a:lnTo>
                  <a:lnTo>
                    <a:pt x="204" y="189"/>
                  </a:lnTo>
                  <a:lnTo>
                    <a:pt x="201" y="186"/>
                  </a:lnTo>
                  <a:lnTo>
                    <a:pt x="201" y="66"/>
                  </a:lnTo>
                  <a:lnTo>
                    <a:pt x="201" y="66"/>
                  </a:lnTo>
                  <a:lnTo>
                    <a:pt x="199" y="60"/>
                  </a:lnTo>
                  <a:lnTo>
                    <a:pt x="198" y="55"/>
                  </a:lnTo>
                  <a:lnTo>
                    <a:pt x="195" y="50"/>
                  </a:lnTo>
                  <a:lnTo>
                    <a:pt x="191" y="46"/>
                  </a:lnTo>
                  <a:lnTo>
                    <a:pt x="186" y="43"/>
                  </a:lnTo>
                  <a:lnTo>
                    <a:pt x="182" y="42"/>
                  </a:lnTo>
                  <a:lnTo>
                    <a:pt x="171" y="40"/>
                  </a:lnTo>
                  <a:lnTo>
                    <a:pt x="161" y="40"/>
                  </a:lnTo>
                  <a:lnTo>
                    <a:pt x="152" y="40"/>
                  </a:lnTo>
                  <a:lnTo>
                    <a:pt x="142" y="43"/>
                  </a:lnTo>
                  <a:lnTo>
                    <a:pt x="142" y="186"/>
                  </a:lnTo>
                  <a:lnTo>
                    <a:pt x="142" y="186"/>
                  </a:lnTo>
                  <a:lnTo>
                    <a:pt x="139" y="189"/>
                  </a:lnTo>
                  <a:lnTo>
                    <a:pt x="133" y="190"/>
                  </a:lnTo>
                  <a:lnTo>
                    <a:pt x="128" y="191"/>
                  </a:lnTo>
                  <a:lnTo>
                    <a:pt x="122" y="191"/>
                  </a:lnTo>
                  <a:lnTo>
                    <a:pt x="115" y="191"/>
                  </a:lnTo>
                  <a:lnTo>
                    <a:pt x="109" y="190"/>
                  </a:lnTo>
                  <a:lnTo>
                    <a:pt x="103" y="189"/>
                  </a:lnTo>
                  <a:lnTo>
                    <a:pt x="101" y="186"/>
                  </a:lnTo>
                  <a:lnTo>
                    <a:pt x="101" y="67"/>
                  </a:lnTo>
                  <a:lnTo>
                    <a:pt x="101" y="67"/>
                  </a:lnTo>
                  <a:lnTo>
                    <a:pt x="99" y="60"/>
                  </a:lnTo>
                  <a:lnTo>
                    <a:pt x="98" y="55"/>
                  </a:lnTo>
                  <a:lnTo>
                    <a:pt x="95" y="50"/>
                  </a:lnTo>
                  <a:lnTo>
                    <a:pt x="92" y="46"/>
                  </a:lnTo>
                  <a:lnTo>
                    <a:pt x="88" y="43"/>
                  </a:lnTo>
                  <a:lnTo>
                    <a:pt x="82" y="42"/>
                  </a:lnTo>
                  <a:lnTo>
                    <a:pt x="72" y="40"/>
                  </a:lnTo>
                  <a:lnTo>
                    <a:pt x="60" y="40"/>
                  </a:lnTo>
                  <a:lnTo>
                    <a:pt x="52" y="40"/>
                  </a:lnTo>
                  <a:lnTo>
                    <a:pt x="43" y="43"/>
                  </a:lnTo>
                  <a:lnTo>
                    <a:pt x="43" y="186"/>
                  </a:lnTo>
                  <a:lnTo>
                    <a:pt x="43" y="186"/>
                  </a:lnTo>
                  <a:lnTo>
                    <a:pt x="39" y="189"/>
                  </a:lnTo>
                  <a:lnTo>
                    <a:pt x="33" y="190"/>
                  </a:lnTo>
                  <a:lnTo>
                    <a:pt x="28" y="191"/>
                  </a:lnTo>
                  <a:lnTo>
                    <a:pt x="22" y="191"/>
                  </a:lnTo>
                  <a:lnTo>
                    <a:pt x="15" y="191"/>
                  </a:lnTo>
                  <a:lnTo>
                    <a:pt x="9" y="190"/>
                  </a:lnTo>
                  <a:lnTo>
                    <a:pt x="5" y="189"/>
                  </a:lnTo>
                  <a:lnTo>
                    <a:pt x="0" y="186"/>
                  </a:lnTo>
                  <a:lnTo>
                    <a:pt x="0" y="18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09" name="Line 31"/>
            <p:cNvSpPr>
              <a:spLocks noChangeShapeType="1"/>
            </p:cNvSpPr>
            <p:nvPr userDrawn="1"/>
          </p:nvSpPr>
          <p:spPr bwMode="auto">
            <a:xfrm>
              <a:off x="5671" y="779"/>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10" name="Freeform 32"/>
            <p:cNvSpPr>
              <a:spLocks noEditPoints="1"/>
            </p:cNvSpPr>
            <p:nvPr userDrawn="1"/>
          </p:nvSpPr>
          <p:spPr bwMode="auto">
            <a:xfrm>
              <a:off x="5615" y="717"/>
              <a:ext cx="45" cy="63"/>
            </a:xfrm>
            <a:custGeom>
              <a:avLst/>
              <a:gdLst>
                <a:gd name="T0" fmla="*/ 93 w 135"/>
                <a:gd name="T1" fmla="*/ 109 h 191"/>
                <a:gd name="T2" fmla="*/ 93 w 135"/>
                <a:gd name="T3" fmla="*/ 42 h 191"/>
                <a:gd name="T4" fmla="*/ 93 w 135"/>
                <a:gd name="T5" fmla="*/ 42 h 191"/>
                <a:gd name="T6" fmla="*/ 86 w 135"/>
                <a:gd name="T7" fmla="*/ 40 h 191"/>
                <a:gd name="T8" fmla="*/ 78 w 135"/>
                <a:gd name="T9" fmla="*/ 39 h 191"/>
                <a:gd name="T10" fmla="*/ 68 w 135"/>
                <a:gd name="T11" fmla="*/ 37 h 191"/>
                <a:gd name="T12" fmla="*/ 59 w 135"/>
                <a:gd name="T13" fmla="*/ 40 h 191"/>
                <a:gd name="T14" fmla="*/ 55 w 135"/>
                <a:gd name="T15" fmla="*/ 42 h 191"/>
                <a:gd name="T16" fmla="*/ 50 w 135"/>
                <a:gd name="T17" fmla="*/ 45 h 191"/>
                <a:gd name="T18" fmla="*/ 48 w 135"/>
                <a:gd name="T19" fmla="*/ 49 h 191"/>
                <a:gd name="T20" fmla="*/ 45 w 135"/>
                <a:gd name="T21" fmla="*/ 53 h 191"/>
                <a:gd name="T22" fmla="*/ 43 w 135"/>
                <a:gd name="T23" fmla="*/ 59 h 191"/>
                <a:gd name="T24" fmla="*/ 42 w 135"/>
                <a:gd name="T25" fmla="*/ 67 h 191"/>
                <a:gd name="T26" fmla="*/ 42 w 135"/>
                <a:gd name="T27" fmla="*/ 109 h 191"/>
                <a:gd name="T28" fmla="*/ 93 w 135"/>
                <a:gd name="T29" fmla="*/ 109 h 191"/>
                <a:gd name="T30" fmla="*/ 42 w 135"/>
                <a:gd name="T31" fmla="*/ 144 h 191"/>
                <a:gd name="T32" fmla="*/ 42 w 135"/>
                <a:gd name="T33" fmla="*/ 186 h 191"/>
                <a:gd name="T34" fmla="*/ 42 w 135"/>
                <a:gd name="T35" fmla="*/ 186 h 191"/>
                <a:gd name="T36" fmla="*/ 39 w 135"/>
                <a:gd name="T37" fmla="*/ 189 h 191"/>
                <a:gd name="T38" fmla="*/ 35 w 135"/>
                <a:gd name="T39" fmla="*/ 190 h 191"/>
                <a:gd name="T40" fmla="*/ 27 w 135"/>
                <a:gd name="T41" fmla="*/ 191 h 191"/>
                <a:gd name="T42" fmla="*/ 22 w 135"/>
                <a:gd name="T43" fmla="*/ 191 h 191"/>
                <a:gd name="T44" fmla="*/ 15 w 135"/>
                <a:gd name="T45" fmla="*/ 191 h 191"/>
                <a:gd name="T46" fmla="*/ 9 w 135"/>
                <a:gd name="T47" fmla="*/ 190 h 191"/>
                <a:gd name="T48" fmla="*/ 3 w 135"/>
                <a:gd name="T49" fmla="*/ 189 h 191"/>
                <a:gd name="T50" fmla="*/ 0 w 135"/>
                <a:gd name="T51" fmla="*/ 186 h 191"/>
                <a:gd name="T52" fmla="*/ 0 w 135"/>
                <a:gd name="T53" fmla="*/ 0 h 191"/>
                <a:gd name="T54" fmla="*/ 102 w 135"/>
                <a:gd name="T55" fmla="*/ 0 h 191"/>
                <a:gd name="T56" fmla="*/ 102 w 135"/>
                <a:gd name="T57" fmla="*/ 0 h 191"/>
                <a:gd name="T58" fmla="*/ 110 w 135"/>
                <a:gd name="T59" fmla="*/ 0 h 191"/>
                <a:gd name="T60" fmla="*/ 118 w 135"/>
                <a:gd name="T61" fmla="*/ 3 h 191"/>
                <a:gd name="T62" fmla="*/ 123 w 135"/>
                <a:gd name="T63" fmla="*/ 6 h 191"/>
                <a:gd name="T64" fmla="*/ 128 w 135"/>
                <a:gd name="T65" fmla="*/ 12 h 191"/>
                <a:gd name="T66" fmla="*/ 132 w 135"/>
                <a:gd name="T67" fmla="*/ 19 h 191"/>
                <a:gd name="T68" fmla="*/ 133 w 135"/>
                <a:gd name="T69" fmla="*/ 27 h 191"/>
                <a:gd name="T70" fmla="*/ 135 w 135"/>
                <a:gd name="T71" fmla="*/ 39 h 191"/>
                <a:gd name="T72" fmla="*/ 135 w 135"/>
                <a:gd name="T73" fmla="*/ 52 h 191"/>
                <a:gd name="T74" fmla="*/ 135 w 135"/>
                <a:gd name="T75" fmla="*/ 186 h 191"/>
                <a:gd name="T76" fmla="*/ 135 w 135"/>
                <a:gd name="T77" fmla="*/ 186 h 191"/>
                <a:gd name="T78" fmla="*/ 132 w 135"/>
                <a:gd name="T79" fmla="*/ 189 h 191"/>
                <a:gd name="T80" fmla="*/ 128 w 135"/>
                <a:gd name="T81" fmla="*/ 190 h 191"/>
                <a:gd name="T82" fmla="*/ 121 w 135"/>
                <a:gd name="T83" fmla="*/ 191 h 191"/>
                <a:gd name="T84" fmla="*/ 115 w 135"/>
                <a:gd name="T85" fmla="*/ 191 h 191"/>
                <a:gd name="T86" fmla="*/ 108 w 135"/>
                <a:gd name="T87" fmla="*/ 191 h 191"/>
                <a:gd name="T88" fmla="*/ 102 w 135"/>
                <a:gd name="T89" fmla="*/ 190 h 191"/>
                <a:gd name="T90" fmla="*/ 96 w 135"/>
                <a:gd name="T91" fmla="*/ 189 h 191"/>
                <a:gd name="T92" fmla="*/ 93 w 135"/>
                <a:gd name="T93" fmla="*/ 186 h 191"/>
                <a:gd name="T94" fmla="*/ 93 w 135"/>
                <a:gd name="T95" fmla="*/ 144 h 191"/>
                <a:gd name="T96" fmla="*/ 110 w 135"/>
                <a:gd name="T97" fmla="*/ 144 h 191"/>
                <a:gd name="T98" fmla="*/ 42 w 135"/>
                <a:gd name="T99" fmla="*/ 144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35" h="191">
                  <a:moveTo>
                    <a:pt x="93" y="109"/>
                  </a:moveTo>
                  <a:lnTo>
                    <a:pt x="93" y="42"/>
                  </a:lnTo>
                  <a:lnTo>
                    <a:pt x="93" y="42"/>
                  </a:lnTo>
                  <a:lnTo>
                    <a:pt x="86" y="40"/>
                  </a:lnTo>
                  <a:lnTo>
                    <a:pt x="78" y="39"/>
                  </a:lnTo>
                  <a:lnTo>
                    <a:pt x="68" y="37"/>
                  </a:lnTo>
                  <a:lnTo>
                    <a:pt x="59" y="40"/>
                  </a:lnTo>
                  <a:lnTo>
                    <a:pt x="55" y="42"/>
                  </a:lnTo>
                  <a:lnTo>
                    <a:pt x="50" y="45"/>
                  </a:lnTo>
                  <a:lnTo>
                    <a:pt x="48" y="49"/>
                  </a:lnTo>
                  <a:lnTo>
                    <a:pt x="45" y="53"/>
                  </a:lnTo>
                  <a:lnTo>
                    <a:pt x="43" y="59"/>
                  </a:lnTo>
                  <a:lnTo>
                    <a:pt x="42" y="67"/>
                  </a:lnTo>
                  <a:lnTo>
                    <a:pt x="42" y="109"/>
                  </a:lnTo>
                  <a:lnTo>
                    <a:pt x="93" y="109"/>
                  </a:lnTo>
                  <a:close/>
                  <a:moveTo>
                    <a:pt x="42" y="144"/>
                  </a:moveTo>
                  <a:lnTo>
                    <a:pt x="42" y="186"/>
                  </a:lnTo>
                  <a:lnTo>
                    <a:pt x="42" y="186"/>
                  </a:lnTo>
                  <a:lnTo>
                    <a:pt x="39" y="189"/>
                  </a:lnTo>
                  <a:lnTo>
                    <a:pt x="35" y="190"/>
                  </a:lnTo>
                  <a:lnTo>
                    <a:pt x="27" y="191"/>
                  </a:lnTo>
                  <a:lnTo>
                    <a:pt x="22" y="191"/>
                  </a:lnTo>
                  <a:lnTo>
                    <a:pt x="15" y="191"/>
                  </a:lnTo>
                  <a:lnTo>
                    <a:pt x="9" y="190"/>
                  </a:lnTo>
                  <a:lnTo>
                    <a:pt x="3" y="189"/>
                  </a:lnTo>
                  <a:lnTo>
                    <a:pt x="0" y="186"/>
                  </a:lnTo>
                  <a:lnTo>
                    <a:pt x="0" y="0"/>
                  </a:lnTo>
                  <a:lnTo>
                    <a:pt x="102" y="0"/>
                  </a:lnTo>
                  <a:lnTo>
                    <a:pt x="102" y="0"/>
                  </a:lnTo>
                  <a:lnTo>
                    <a:pt x="110" y="0"/>
                  </a:lnTo>
                  <a:lnTo>
                    <a:pt x="118" y="3"/>
                  </a:lnTo>
                  <a:lnTo>
                    <a:pt x="123" y="6"/>
                  </a:lnTo>
                  <a:lnTo>
                    <a:pt x="128" y="12"/>
                  </a:lnTo>
                  <a:lnTo>
                    <a:pt x="132" y="19"/>
                  </a:lnTo>
                  <a:lnTo>
                    <a:pt x="133" y="27"/>
                  </a:lnTo>
                  <a:lnTo>
                    <a:pt x="135" y="39"/>
                  </a:lnTo>
                  <a:lnTo>
                    <a:pt x="135" y="52"/>
                  </a:lnTo>
                  <a:lnTo>
                    <a:pt x="135" y="186"/>
                  </a:lnTo>
                  <a:lnTo>
                    <a:pt x="135" y="186"/>
                  </a:lnTo>
                  <a:lnTo>
                    <a:pt x="132" y="189"/>
                  </a:lnTo>
                  <a:lnTo>
                    <a:pt x="128" y="190"/>
                  </a:lnTo>
                  <a:lnTo>
                    <a:pt x="121" y="191"/>
                  </a:lnTo>
                  <a:lnTo>
                    <a:pt x="115" y="191"/>
                  </a:lnTo>
                  <a:lnTo>
                    <a:pt x="108" y="191"/>
                  </a:lnTo>
                  <a:lnTo>
                    <a:pt x="102" y="190"/>
                  </a:lnTo>
                  <a:lnTo>
                    <a:pt x="96" y="189"/>
                  </a:lnTo>
                  <a:lnTo>
                    <a:pt x="93" y="186"/>
                  </a:lnTo>
                  <a:lnTo>
                    <a:pt x="93" y="144"/>
                  </a:lnTo>
                  <a:lnTo>
                    <a:pt x="110" y="144"/>
                  </a:lnTo>
                  <a:lnTo>
                    <a:pt x="42" y="14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11" name="Freeform 33"/>
            <p:cNvSpPr>
              <a:spLocks/>
            </p:cNvSpPr>
            <p:nvPr userDrawn="1"/>
          </p:nvSpPr>
          <p:spPr bwMode="auto">
            <a:xfrm>
              <a:off x="5629" y="729"/>
              <a:ext cx="17" cy="24"/>
            </a:xfrm>
            <a:custGeom>
              <a:avLst/>
              <a:gdLst>
                <a:gd name="T0" fmla="*/ 51 w 51"/>
                <a:gd name="T1" fmla="*/ 72 h 72"/>
                <a:gd name="T2" fmla="*/ 51 w 51"/>
                <a:gd name="T3" fmla="*/ 5 h 72"/>
                <a:gd name="T4" fmla="*/ 51 w 51"/>
                <a:gd name="T5" fmla="*/ 5 h 72"/>
                <a:gd name="T6" fmla="*/ 44 w 51"/>
                <a:gd name="T7" fmla="*/ 3 h 72"/>
                <a:gd name="T8" fmla="*/ 36 w 51"/>
                <a:gd name="T9" fmla="*/ 2 h 72"/>
                <a:gd name="T10" fmla="*/ 26 w 51"/>
                <a:gd name="T11" fmla="*/ 0 h 72"/>
                <a:gd name="T12" fmla="*/ 17 w 51"/>
                <a:gd name="T13" fmla="*/ 3 h 72"/>
                <a:gd name="T14" fmla="*/ 13 w 51"/>
                <a:gd name="T15" fmla="*/ 5 h 72"/>
                <a:gd name="T16" fmla="*/ 8 w 51"/>
                <a:gd name="T17" fmla="*/ 8 h 72"/>
                <a:gd name="T18" fmla="*/ 6 w 51"/>
                <a:gd name="T19" fmla="*/ 12 h 72"/>
                <a:gd name="T20" fmla="*/ 3 w 51"/>
                <a:gd name="T21" fmla="*/ 16 h 72"/>
                <a:gd name="T22" fmla="*/ 1 w 51"/>
                <a:gd name="T23" fmla="*/ 22 h 72"/>
                <a:gd name="T24" fmla="*/ 0 w 51"/>
                <a:gd name="T25" fmla="*/ 30 h 72"/>
                <a:gd name="T26" fmla="*/ 0 w 51"/>
                <a:gd name="T27"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1" h="72">
                  <a:moveTo>
                    <a:pt x="51" y="72"/>
                  </a:moveTo>
                  <a:lnTo>
                    <a:pt x="51" y="5"/>
                  </a:lnTo>
                  <a:lnTo>
                    <a:pt x="51" y="5"/>
                  </a:lnTo>
                  <a:lnTo>
                    <a:pt x="44" y="3"/>
                  </a:lnTo>
                  <a:lnTo>
                    <a:pt x="36" y="2"/>
                  </a:lnTo>
                  <a:lnTo>
                    <a:pt x="26" y="0"/>
                  </a:lnTo>
                  <a:lnTo>
                    <a:pt x="17" y="3"/>
                  </a:lnTo>
                  <a:lnTo>
                    <a:pt x="13" y="5"/>
                  </a:lnTo>
                  <a:lnTo>
                    <a:pt x="8" y="8"/>
                  </a:lnTo>
                  <a:lnTo>
                    <a:pt x="6" y="12"/>
                  </a:lnTo>
                  <a:lnTo>
                    <a:pt x="3" y="16"/>
                  </a:lnTo>
                  <a:lnTo>
                    <a:pt x="1" y="22"/>
                  </a:lnTo>
                  <a:lnTo>
                    <a:pt x="0" y="30"/>
                  </a:lnTo>
                  <a:lnTo>
                    <a:pt x="0" y="7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12" name="Freeform 34"/>
            <p:cNvSpPr>
              <a:spLocks/>
            </p:cNvSpPr>
            <p:nvPr userDrawn="1"/>
          </p:nvSpPr>
          <p:spPr bwMode="auto">
            <a:xfrm>
              <a:off x="5615" y="717"/>
              <a:ext cx="45" cy="63"/>
            </a:xfrm>
            <a:custGeom>
              <a:avLst/>
              <a:gdLst>
                <a:gd name="T0" fmla="*/ 42 w 135"/>
                <a:gd name="T1" fmla="*/ 144 h 191"/>
                <a:gd name="T2" fmla="*/ 42 w 135"/>
                <a:gd name="T3" fmla="*/ 186 h 191"/>
                <a:gd name="T4" fmla="*/ 42 w 135"/>
                <a:gd name="T5" fmla="*/ 186 h 191"/>
                <a:gd name="T6" fmla="*/ 39 w 135"/>
                <a:gd name="T7" fmla="*/ 189 h 191"/>
                <a:gd name="T8" fmla="*/ 35 w 135"/>
                <a:gd name="T9" fmla="*/ 190 h 191"/>
                <a:gd name="T10" fmla="*/ 27 w 135"/>
                <a:gd name="T11" fmla="*/ 191 h 191"/>
                <a:gd name="T12" fmla="*/ 22 w 135"/>
                <a:gd name="T13" fmla="*/ 191 h 191"/>
                <a:gd name="T14" fmla="*/ 15 w 135"/>
                <a:gd name="T15" fmla="*/ 191 h 191"/>
                <a:gd name="T16" fmla="*/ 9 w 135"/>
                <a:gd name="T17" fmla="*/ 190 h 191"/>
                <a:gd name="T18" fmla="*/ 3 w 135"/>
                <a:gd name="T19" fmla="*/ 189 h 191"/>
                <a:gd name="T20" fmla="*/ 0 w 135"/>
                <a:gd name="T21" fmla="*/ 186 h 191"/>
                <a:gd name="T22" fmla="*/ 0 w 135"/>
                <a:gd name="T23" fmla="*/ 0 h 191"/>
                <a:gd name="T24" fmla="*/ 102 w 135"/>
                <a:gd name="T25" fmla="*/ 0 h 191"/>
                <a:gd name="T26" fmla="*/ 102 w 135"/>
                <a:gd name="T27" fmla="*/ 0 h 191"/>
                <a:gd name="T28" fmla="*/ 110 w 135"/>
                <a:gd name="T29" fmla="*/ 0 h 191"/>
                <a:gd name="T30" fmla="*/ 118 w 135"/>
                <a:gd name="T31" fmla="*/ 3 h 191"/>
                <a:gd name="T32" fmla="*/ 123 w 135"/>
                <a:gd name="T33" fmla="*/ 6 h 191"/>
                <a:gd name="T34" fmla="*/ 128 w 135"/>
                <a:gd name="T35" fmla="*/ 12 h 191"/>
                <a:gd name="T36" fmla="*/ 132 w 135"/>
                <a:gd name="T37" fmla="*/ 19 h 191"/>
                <a:gd name="T38" fmla="*/ 133 w 135"/>
                <a:gd name="T39" fmla="*/ 27 h 191"/>
                <a:gd name="T40" fmla="*/ 135 w 135"/>
                <a:gd name="T41" fmla="*/ 39 h 191"/>
                <a:gd name="T42" fmla="*/ 135 w 135"/>
                <a:gd name="T43" fmla="*/ 52 h 191"/>
                <a:gd name="T44" fmla="*/ 135 w 135"/>
                <a:gd name="T45" fmla="*/ 186 h 191"/>
                <a:gd name="T46" fmla="*/ 135 w 135"/>
                <a:gd name="T47" fmla="*/ 186 h 191"/>
                <a:gd name="T48" fmla="*/ 132 w 135"/>
                <a:gd name="T49" fmla="*/ 189 h 191"/>
                <a:gd name="T50" fmla="*/ 128 w 135"/>
                <a:gd name="T51" fmla="*/ 190 h 191"/>
                <a:gd name="T52" fmla="*/ 121 w 135"/>
                <a:gd name="T53" fmla="*/ 191 h 191"/>
                <a:gd name="T54" fmla="*/ 115 w 135"/>
                <a:gd name="T55" fmla="*/ 191 h 191"/>
                <a:gd name="T56" fmla="*/ 108 w 135"/>
                <a:gd name="T57" fmla="*/ 191 h 191"/>
                <a:gd name="T58" fmla="*/ 102 w 135"/>
                <a:gd name="T59" fmla="*/ 190 h 191"/>
                <a:gd name="T60" fmla="*/ 96 w 135"/>
                <a:gd name="T61" fmla="*/ 189 h 191"/>
                <a:gd name="T62" fmla="*/ 93 w 135"/>
                <a:gd name="T63" fmla="*/ 186 h 191"/>
                <a:gd name="T64" fmla="*/ 93 w 135"/>
                <a:gd name="T65" fmla="*/ 144 h 191"/>
                <a:gd name="T66" fmla="*/ 110 w 135"/>
                <a:gd name="T67" fmla="*/ 144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5" h="191">
                  <a:moveTo>
                    <a:pt x="42" y="144"/>
                  </a:moveTo>
                  <a:lnTo>
                    <a:pt x="42" y="186"/>
                  </a:lnTo>
                  <a:lnTo>
                    <a:pt x="42" y="186"/>
                  </a:lnTo>
                  <a:lnTo>
                    <a:pt x="39" y="189"/>
                  </a:lnTo>
                  <a:lnTo>
                    <a:pt x="35" y="190"/>
                  </a:lnTo>
                  <a:lnTo>
                    <a:pt x="27" y="191"/>
                  </a:lnTo>
                  <a:lnTo>
                    <a:pt x="22" y="191"/>
                  </a:lnTo>
                  <a:lnTo>
                    <a:pt x="15" y="191"/>
                  </a:lnTo>
                  <a:lnTo>
                    <a:pt x="9" y="190"/>
                  </a:lnTo>
                  <a:lnTo>
                    <a:pt x="3" y="189"/>
                  </a:lnTo>
                  <a:lnTo>
                    <a:pt x="0" y="186"/>
                  </a:lnTo>
                  <a:lnTo>
                    <a:pt x="0" y="0"/>
                  </a:lnTo>
                  <a:lnTo>
                    <a:pt x="102" y="0"/>
                  </a:lnTo>
                  <a:lnTo>
                    <a:pt x="102" y="0"/>
                  </a:lnTo>
                  <a:lnTo>
                    <a:pt x="110" y="0"/>
                  </a:lnTo>
                  <a:lnTo>
                    <a:pt x="118" y="3"/>
                  </a:lnTo>
                  <a:lnTo>
                    <a:pt x="123" y="6"/>
                  </a:lnTo>
                  <a:lnTo>
                    <a:pt x="128" y="12"/>
                  </a:lnTo>
                  <a:lnTo>
                    <a:pt x="132" y="19"/>
                  </a:lnTo>
                  <a:lnTo>
                    <a:pt x="133" y="27"/>
                  </a:lnTo>
                  <a:lnTo>
                    <a:pt x="135" y="39"/>
                  </a:lnTo>
                  <a:lnTo>
                    <a:pt x="135" y="52"/>
                  </a:lnTo>
                  <a:lnTo>
                    <a:pt x="135" y="186"/>
                  </a:lnTo>
                  <a:lnTo>
                    <a:pt x="135" y="186"/>
                  </a:lnTo>
                  <a:lnTo>
                    <a:pt x="132" y="189"/>
                  </a:lnTo>
                  <a:lnTo>
                    <a:pt x="128" y="190"/>
                  </a:lnTo>
                  <a:lnTo>
                    <a:pt x="121" y="191"/>
                  </a:lnTo>
                  <a:lnTo>
                    <a:pt x="115" y="191"/>
                  </a:lnTo>
                  <a:lnTo>
                    <a:pt x="108" y="191"/>
                  </a:lnTo>
                  <a:lnTo>
                    <a:pt x="102" y="190"/>
                  </a:lnTo>
                  <a:lnTo>
                    <a:pt x="96" y="189"/>
                  </a:lnTo>
                  <a:lnTo>
                    <a:pt x="93" y="186"/>
                  </a:lnTo>
                  <a:lnTo>
                    <a:pt x="93" y="144"/>
                  </a:lnTo>
                  <a:lnTo>
                    <a:pt x="110" y="14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sp>
        <p:nvSpPr>
          <p:cNvPr id="113" name="Textfeld 112"/>
          <p:cNvSpPr txBox="1"/>
          <p:nvPr userDrawn="1"/>
        </p:nvSpPr>
        <p:spPr>
          <a:xfrm>
            <a:off x="10029282" y="1249779"/>
            <a:ext cx="1320124" cy="461665"/>
          </a:xfrm>
          <a:prstGeom prst="rect">
            <a:avLst/>
          </a:prstGeom>
          <a:noFill/>
        </p:spPr>
        <p:txBody>
          <a:bodyPr wrap="square" rtlCol="0">
            <a:spAutoFit/>
          </a:bodyPr>
          <a:lstStyle/>
          <a:p>
            <a:pPr algn="l">
              <a:lnSpc>
                <a:spcPct val="100000"/>
              </a:lnSpc>
              <a:spcAft>
                <a:spcPts val="167"/>
              </a:spcAft>
            </a:pPr>
            <a:r>
              <a:rPr lang="de-DE" sz="600" b="0" spc="0" baseline="0" dirty="0">
                <a:solidFill>
                  <a:schemeClr val="tx1"/>
                </a:solidFill>
                <a:latin typeface="+mj-lt"/>
              </a:rPr>
              <a:t>FACHGEBIET SYSTEMZUVERLÄSSIGKEIT, ADAPTRONIK UND MASCHINENAKUSTIK</a:t>
            </a:r>
          </a:p>
        </p:txBody>
      </p:sp>
    </p:spTree>
    <p:extLst>
      <p:ext uri="{BB962C8B-B14F-4D97-AF65-F5344CB8AC3E}">
        <p14:creationId xmlns:p14="http://schemas.microsoft.com/office/powerpoint/2010/main" val="2425947337"/>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2_Abschnittsüberschrift">
    <p:spTree>
      <p:nvGrpSpPr>
        <p:cNvPr id="1" name=""/>
        <p:cNvGrpSpPr/>
        <p:nvPr/>
      </p:nvGrpSpPr>
      <p:grpSpPr>
        <a:xfrm>
          <a:off x="0" y="0"/>
          <a:ext cx="0" cy="0"/>
          <a:chOff x="0" y="0"/>
          <a:chExt cx="0" cy="0"/>
        </a:xfrm>
      </p:grpSpPr>
      <p:sp>
        <p:nvSpPr>
          <p:cNvPr id="9" name="Rechteck 8"/>
          <p:cNvSpPr/>
          <p:nvPr/>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sp>
        <p:nvSpPr>
          <p:cNvPr id="17" name="Titel 11"/>
          <p:cNvSpPr>
            <a:spLocks noGrp="1"/>
          </p:cNvSpPr>
          <p:nvPr>
            <p:ph type="title" hasCustomPrompt="1"/>
          </p:nvPr>
        </p:nvSpPr>
        <p:spPr>
          <a:xfrm>
            <a:off x="672001" y="480000"/>
            <a:ext cx="9120000" cy="480000"/>
          </a:xfrm>
        </p:spPr>
        <p:txBody>
          <a:bodyPr/>
          <a:lstStyle>
            <a:lvl1pPr>
              <a:defRPr>
                <a:solidFill>
                  <a:schemeClr val="tx2"/>
                </a:solidFill>
              </a:defRPr>
            </a:lvl1pPr>
          </a:lstStyle>
          <a:p>
            <a:r>
              <a:rPr lang="de-DE" dirty="0"/>
              <a:t>TITELMASTERFORMAT DURCH KLICKEN</a:t>
            </a:r>
          </a:p>
        </p:txBody>
      </p:sp>
      <p:pic>
        <p:nvPicPr>
          <p:cNvPr id="12" name="Bild 11"/>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687712" y="6204469"/>
            <a:ext cx="11192933" cy="508000"/>
          </a:xfrm>
          <a:prstGeom prst="rect">
            <a:avLst/>
          </a:prstGeom>
        </p:spPr>
      </p:pic>
      <p:sp>
        <p:nvSpPr>
          <p:cNvPr id="8" name="Titel 2"/>
          <p:cNvSpPr txBox="1">
            <a:spLocks/>
          </p:cNvSpPr>
          <p:nvPr userDrawn="1"/>
        </p:nvSpPr>
        <p:spPr bwMode="auto">
          <a:xfrm>
            <a:off x="1962782" y="5988089"/>
            <a:ext cx="1812295" cy="1117600"/>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lvl1pPr algn="l" rtl="0" eaLnBrk="1" fontAlgn="base" hangingPunct="1">
              <a:spcBef>
                <a:spcPct val="0"/>
              </a:spcBef>
              <a:spcAft>
                <a:spcPct val="0"/>
              </a:spcAft>
              <a:defRPr sz="2800" b="1" i="0">
                <a:solidFill>
                  <a:srgbClr val="FDCA00"/>
                </a:solidFill>
                <a:latin typeface="+mj-lt"/>
                <a:ea typeface="Verdana" charset="0"/>
                <a:cs typeface="Verdana" charset="0"/>
              </a:defRPr>
            </a:lvl1pPr>
            <a:lvl2pPr algn="l" rtl="0" eaLnBrk="1" fontAlgn="base" hangingPunct="1">
              <a:spcBef>
                <a:spcPct val="0"/>
              </a:spcBef>
              <a:spcAft>
                <a:spcPct val="0"/>
              </a:spcAft>
              <a:defRPr sz="2400" b="1">
                <a:solidFill>
                  <a:schemeClr val="tx1"/>
                </a:solidFill>
                <a:latin typeface="Arial" charset="0"/>
              </a:defRPr>
            </a:lvl2pPr>
            <a:lvl3pPr algn="l" rtl="0" eaLnBrk="1" fontAlgn="base" hangingPunct="1">
              <a:spcBef>
                <a:spcPct val="0"/>
              </a:spcBef>
              <a:spcAft>
                <a:spcPct val="0"/>
              </a:spcAft>
              <a:defRPr sz="2400" b="1">
                <a:solidFill>
                  <a:schemeClr val="tx1"/>
                </a:solidFill>
                <a:latin typeface="Arial" charset="0"/>
              </a:defRPr>
            </a:lvl3pPr>
            <a:lvl4pPr algn="l" rtl="0" eaLnBrk="1" fontAlgn="base" hangingPunct="1">
              <a:spcBef>
                <a:spcPct val="0"/>
              </a:spcBef>
              <a:spcAft>
                <a:spcPct val="0"/>
              </a:spcAft>
              <a:defRPr sz="2400" b="1">
                <a:solidFill>
                  <a:schemeClr val="tx1"/>
                </a:solidFill>
                <a:latin typeface="Arial" charset="0"/>
              </a:defRPr>
            </a:lvl4pPr>
            <a:lvl5pPr algn="l" rtl="0" eaLnBrk="1" fontAlgn="base" hangingPunct="1">
              <a:spcBef>
                <a:spcPct val="0"/>
              </a:spcBef>
              <a:spcAft>
                <a:spcPct val="0"/>
              </a:spcAft>
              <a:defRPr sz="2400" b="1">
                <a:solidFill>
                  <a:schemeClr val="tx1"/>
                </a:solidFill>
                <a:latin typeface="Arial" charset="0"/>
              </a:defRPr>
            </a:lvl5pPr>
            <a:lvl6pPr marL="457200" algn="l" rtl="0" eaLnBrk="1" fontAlgn="base" hangingPunct="1">
              <a:spcBef>
                <a:spcPct val="0"/>
              </a:spcBef>
              <a:spcAft>
                <a:spcPct val="0"/>
              </a:spcAft>
              <a:defRPr sz="2400" b="1">
                <a:solidFill>
                  <a:schemeClr val="tx1"/>
                </a:solidFill>
                <a:latin typeface="Arial" charset="0"/>
              </a:defRPr>
            </a:lvl6pPr>
            <a:lvl7pPr marL="914400" algn="l" rtl="0" eaLnBrk="1" fontAlgn="base" hangingPunct="1">
              <a:spcBef>
                <a:spcPct val="0"/>
              </a:spcBef>
              <a:spcAft>
                <a:spcPct val="0"/>
              </a:spcAft>
              <a:defRPr sz="2400" b="1">
                <a:solidFill>
                  <a:schemeClr val="tx1"/>
                </a:solidFill>
                <a:latin typeface="Arial" charset="0"/>
              </a:defRPr>
            </a:lvl7pPr>
            <a:lvl8pPr marL="1371600" algn="l" rtl="0" eaLnBrk="1" fontAlgn="base" hangingPunct="1">
              <a:spcBef>
                <a:spcPct val="0"/>
              </a:spcBef>
              <a:spcAft>
                <a:spcPct val="0"/>
              </a:spcAft>
              <a:defRPr sz="2400" b="1">
                <a:solidFill>
                  <a:schemeClr val="tx1"/>
                </a:solidFill>
                <a:latin typeface="Arial" charset="0"/>
              </a:defRPr>
            </a:lvl8pPr>
            <a:lvl9pPr marL="1828800" algn="l" rtl="0" eaLnBrk="1" fontAlgn="base" hangingPunct="1">
              <a:spcBef>
                <a:spcPct val="0"/>
              </a:spcBef>
              <a:spcAft>
                <a:spcPct val="0"/>
              </a:spcAft>
              <a:defRPr sz="2400" b="1">
                <a:solidFill>
                  <a:schemeClr val="tx1"/>
                </a:solidFill>
                <a:latin typeface="Arial" charset="0"/>
              </a:defRPr>
            </a:lvl9pPr>
          </a:lstStyle>
          <a:p>
            <a:endParaRPr lang="de-DE" sz="2933" b="0" kern="0" dirty="0">
              <a:solidFill>
                <a:schemeClr val="tx2"/>
              </a:solidFill>
              <a:latin typeface="+mj-lt"/>
            </a:endParaRPr>
          </a:p>
        </p:txBody>
      </p:sp>
      <p:sp>
        <p:nvSpPr>
          <p:cNvPr id="47" name="Rectangle 4"/>
          <p:cNvSpPr>
            <a:spLocks noGrp="1" noChangeArrowheads="1"/>
          </p:cNvSpPr>
          <p:nvPr>
            <p:ph type="subTitle" idx="1" hasCustomPrompt="1"/>
          </p:nvPr>
        </p:nvSpPr>
        <p:spPr>
          <a:xfrm>
            <a:off x="671077" y="1152001"/>
            <a:ext cx="9216012" cy="789519"/>
          </a:xfrm>
        </p:spPr>
        <p:txBody>
          <a:bodyPr lIns="0" tIns="0" rIns="0" bIns="0"/>
          <a:lstStyle>
            <a:lvl1pPr marL="0" marR="0" indent="0" algn="l" defTabSz="1219170" rtl="0" eaLnBrk="1" fontAlgn="base" latinLnBrk="0" hangingPunct="1">
              <a:lnSpc>
                <a:spcPct val="100000"/>
              </a:lnSpc>
              <a:spcBef>
                <a:spcPct val="0"/>
              </a:spcBef>
              <a:spcAft>
                <a:spcPts val="276"/>
              </a:spcAft>
              <a:buClrTx/>
              <a:buSzTx/>
              <a:buFont typeface="Wingdings" pitchFamily="2" charset="2"/>
              <a:buNone/>
              <a:tabLst/>
              <a:defRPr sz="2200" b="0" i="0">
                <a:solidFill>
                  <a:schemeClr val="tx2"/>
                </a:solidFill>
                <a:latin typeface="+mj-lt"/>
                <a:ea typeface="Verdana" charset="0"/>
                <a:cs typeface="Verdana" charset="0"/>
              </a:defRPr>
            </a:lvl1pPr>
          </a:lstStyle>
          <a:p>
            <a:pPr marL="0" marR="0" lvl="0" indent="0" algn="l" defTabSz="1219170" rtl="0" eaLnBrk="1" fontAlgn="base" latinLnBrk="0" hangingPunct="1">
              <a:lnSpc>
                <a:spcPct val="100000"/>
              </a:lnSpc>
              <a:spcBef>
                <a:spcPct val="0"/>
              </a:spcBef>
              <a:spcAft>
                <a:spcPts val="276"/>
              </a:spcAft>
              <a:buClrTx/>
              <a:buSzTx/>
              <a:buFont typeface="Wingdings" pitchFamily="2" charset="2"/>
              <a:buNone/>
              <a:tabLst/>
              <a:defRPr/>
            </a:pPr>
            <a:r>
              <a:rPr lang="de-DE" dirty="0"/>
              <a:t>Master-Untertitelformat bearbeiten</a:t>
            </a:r>
          </a:p>
        </p:txBody>
      </p:sp>
      <p:grpSp>
        <p:nvGrpSpPr>
          <p:cNvPr id="7" name="Gruppierung 9"/>
          <p:cNvGrpSpPr/>
          <p:nvPr userDrawn="1"/>
        </p:nvGrpSpPr>
        <p:grpSpPr>
          <a:xfrm>
            <a:off x="9887088" y="477223"/>
            <a:ext cx="2304912" cy="870205"/>
            <a:chOff x="7415316" y="357917"/>
            <a:chExt cx="1728684" cy="652654"/>
          </a:xfrm>
          <a:solidFill>
            <a:schemeClr val="bg1"/>
          </a:solidFill>
        </p:grpSpPr>
        <p:sp>
          <p:nvSpPr>
            <p:cNvPr id="10" name="Rechteck 9"/>
            <p:cNvSpPr/>
            <p:nvPr/>
          </p:nvSpPr>
          <p:spPr>
            <a:xfrm>
              <a:off x="7415316" y="357917"/>
              <a:ext cx="1728684" cy="65265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1" name="Picture 9" descr="tud_logo"/>
            <p:cNvPicPr>
              <a:picLocks noChangeAspect="1" noChangeArrowheads="1"/>
            </p:cNvPicPr>
            <p:nvPr/>
          </p:nvPicPr>
          <p:blipFill rotWithShape="1">
            <a:blip r:embed="rId3" cstate="print">
              <a:clrChange>
                <a:clrFrom>
                  <a:srgbClr val="FDFDFD"/>
                </a:clrFrom>
                <a:clrTo>
                  <a:srgbClr val="FDFDFD">
                    <a:alpha val="0"/>
                  </a:srgbClr>
                </a:clrTo>
              </a:clrChange>
              <a:extLst>
                <a:ext uri="{28A0092B-C50C-407E-A947-70E740481C1C}">
                  <a14:useLocalDpi xmlns:a14="http://schemas.microsoft.com/office/drawing/2010/main"/>
                </a:ext>
              </a:extLst>
            </a:blip>
            <a:srcRect l="7733" t="6878" r="5453" b="9546"/>
            <a:stretch/>
          </p:blipFill>
          <p:spPr bwMode="auto">
            <a:xfrm>
              <a:off x="7608875" y="407299"/>
              <a:ext cx="1404584" cy="540631"/>
            </a:xfrm>
            <a:prstGeom prst="rect">
              <a:avLst/>
            </a:prstGeom>
            <a:grpFill/>
            <a:ln w="9525">
              <a:noFill/>
              <a:miter lim="800000"/>
              <a:headEnd/>
              <a:tailEnd/>
            </a:ln>
          </p:spPr>
        </p:pic>
      </p:grpSp>
      <p:sp>
        <p:nvSpPr>
          <p:cNvPr id="13" name="Rechteck 12"/>
          <p:cNvSpPr/>
          <p:nvPr userDrawn="1"/>
        </p:nvSpPr>
        <p:spPr>
          <a:xfrm>
            <a:off x="9887088" y="1345096"/>
            <a:ext cx="2304912" cy="429605"/>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14" name="Group 4"/>
          <p:cNvGrpSpPr>
            <a:grpSpLocks noChangeAspect="1"/>
          </p:cNvGrpSpPr>
          <p:nvPr userDrawn="1"/>
        </p:nvGrpSpPr>
        <p:grpSpPr bwMode="auto">
          <a:xfrm>
            <a:off x="11268361" y="1286959"/>
            <a:ext cx="601441" cy="445749"/>
            <a:chOff x="5478" y="637"/>
            <a:chExt cx="282" cy="209"/>
          </a:xfrm>
        </p:grpSpPr>
        <p:sp>
          <p:nvSpPr>
            <p:cNvPr id="15" name="AutoShape 3"/>
            <p:cNvSpPr>
              <a:spLocks noChangeAspect="1" noChangeArrowheads="1" noTextEdit="1"/>
            </p:cNvSpPr>
            <p:nvPr userDrawn="1"/>
          </p:nvSpPr>
          <p:spPr bwMode="auto">
            <a:xfrm>
              <a:off x="5478" y="637"/>
              <a:ext cx="282" cy="2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pic>
          <p:nvPicPr>
            <p:cNvPr id="16" name="Picture 5"/>
            <p:cNvPicPr>
              <a:picLocks noChangeAspect="1" noChangeArrowheads="1"/>
            </p:cNvPicPr>
            <p:nvPr userDrawn="1"/>
          </p:nvPicPr>
          <p:blipFill>
            <a:blip r:embed="rId4" cstate="hqprint">
              <a:extLst>
                <a:ext uri="{28A0092B-C50C-407E-A947-70E740481C1C}">
                  <a14:useLocalDpi xmlns:a14="http://schemas.microsoft.com/office/drawing/2010/main" val="0"/>
                </a:ext>
              </a:extLst>
            </a:blip>
            <a:srcRect/>
            <a:stretch>
              <a:fillRect/>
            </a:stretch>
          </p:blipFill>
          <p:spPr bwMode="auto">
            <a:xfrm>
              <a:off x="5478" y="637"/>
              <a:ext cx="282" cy="2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 name="Freeform 6"/>
            <p:cNvSpPr>
              <a:spLocks noEditPoints="1"/>
            </p:cNvSpPr>
            <p:nvPr userDrawn="1"/>
          </p:nvSpPr>
          <p:spPr bwMode="auto">
            <a:xfrm>
              <a:off x="5486" y="647"/>
              <a:ext cx="185" cy="183"/>
            </a:xfrm>
            <a:custGeom>
              <a:avLst/>
              <a:gdLst>
                <a:gd name="T0" fmla="*/ 554 w 554"/>
                <a:gd name="T1" fmla="*/ 275 h 550"/>
                <a:gd name="T2" fmla="*/ 549 w 554"/>
                <a:gd name="T3" fmla="*/ 331 h 550"/>
                <a:gd name="T4" fmla="*/ 533 w 554"/>
                <a:gd name="T5" fmla="*/ 382 h 550"/>
                <a:gd name="T6" fmla="*/ 507 w 554"/>
                <a:gd name="T7" fmla="*/ 429 h 550"/>
                <a:gd name="T8" fmla="*/ 473 w 554"/>
                <a:gd name="T9" fmla="*/ 470 h 550"/>
                <a:gd name="T10" fmla="*/ 433 w 554"/>
                <a:gd name="T11" fmla="*/ 503 h 550"/>
                <a:gd name="T12" fmla="*/ 385 w 554"/>
                <a:gd name="T13" fmla="*/ 529 h 550"/>
                <a:gd name="T14" fmla="*/ 334 w 554"/>
                <a:gd name="T15" fmla="*/ 544 h 550"/>
                <a:gd name="T16" fmla="*/ 278 w 554"/>
                <a:gd name="T17" fmla="*/ 550 h 550"/>
                <a:gd name="T18" fmla="*/ 249 w 554"/>
                <a:gd name="T19" fmla="*/ 549 h 550"/>
                <a:gd name="T20" fmla="*/ 195 w 554"/>
                <a:gd name="T21" fmla="*/ 539 h 550"/>
                <a:gd name="T22" fmla="*/ 145 w 554"/>
                <a:gd name="T23" fmla="*/ 517 h 550"/>
                <a:gd name="T24" fmla="*/ 102 w 554"/>
                <a:gd name="T25" fmla="*/ 487 h 550"/>
                <a:gd name="T26" fmla="*/ 63 w 554"/>
                <a:gd name="T27" fmla="*/ 450 h 550"/>
                <a:gd name="T28" fmla="*/ 33 w 554"/>
                <a:gd name="T29" fmla="*/ 406 h 550"/>
                <a:gd name="T30" fmla="*/ 13 w 554"/>
                <a:gd name="T31" fmla="*/ 358 h 550"/>
                <a:gd name="T32" fmla="*/ 2 w 554"/>
                <a:gd name="T33" fmla="*/ 303 h 550"/>
                <a:gd name="T34" fmla="*/ 0 w 554"/>
                <a:gd name="T35" fmla="*/ 275 h 550"/>
                <a:gd name="T36" fmla="*/ 6 w 554"/>
                <a:gd name="T37" fmla="*/ 219 h 550"/>
                <a:gd name="T38" fmla="*/ 22 w 554"/>
                <a:gd name="T39" fmla="*/ 168 h 550"/>
                <a:gd name="T40" fmla="*/ 48 w 554"/>
                <a:gd name="T41" fmla="*/ 121 h 550"/>
                <a:gd name="T42" fmla="*/ 82 w 554"/>
                <a:gd name="T43" fmla="*/ 80 h 550"/>
                <a:gd name="T44" fmla="*/ 122 w 554"/>
                <a:gd name="T45" fmla="*/ 47 h 550"/>
                <a:gd name="T46" fmla="*/ 169 w 554"/>
                <a:gd name="T47" fmla="*/ 21 h 550"/>
                <a:gd name="T48" fmla="*/ 222 w 554"/>
                <a:gd name="T49" fmla="*/ 6 h 550"/>
                <a:gd name="T50" fmla="*/ 278 w 554"/>
                <a:gd name="T51" fmla="*/ 0 h 550"/>
                <a:gd name="T52" fmla="*/ 305 w 554"/>
                <a:gd name="T53" fmla="*/ 1 h 550"/>
                <a:gd name="T54" fmla="*/ 360 w 554"/>
                <a:gd name="T55" fmla="*/ 11 h 550"/>
                <a:gd name="T56" fmla="*/ 410 w 554"/>
                <a:gd name="T57" fmla="*/ 33 h 550"/>
                <a:gd name="T58" fmla="*/ 454 w 554"/>
                <a:gd name="T59" fmla="*/ 63 h 550"/>
                <a:gd name="T60" fmla="*/ 491 w 554"/>
                <a:gd name="T61" fmla="*/ 100 h 550"/>
                <a:gd name="T62" fmla="*/ 521 w 554"/>
                <a:gd name="T63" fmla="*/ 144 h 550"/>
                <a:gd name="T64" fmla="*/ 541 w 554"/>
                <a:gd name="T65" fmla="*/ 192 h 550"/>
                <a:gd name="T66" fmla="*/ 553 w 554"/>
                <a:gd name="T67" fmla="*/ 246 h 550"/>
                <a:gd name="T68" fmla="*/ 554 w 554"/>
                <a:gd name="T69" fmla="*/ 275 h 550"/>
                <a:gd name="T70" fmla="*/ 554 w 554"/>
                <a:gd name="T71" fmla="*/ 275 h 5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54" h="550">
                  <a:moveTo>
                    <a:pt x="554" y="275"/>
                  </a:moveTo>
                  <a:lnTo>
                    <a:pt x="554" y="275"/>
                  </a:lnTo>
                  <a:lnTo>
                    <a:pt x="553" y="303"/>
                  </a:lnTo>
                  <a:lnTo>
                    <a:pt x="549" y="331"/>
                  </a:lnTo>
                  <a:lnTo>
                    <a:pt x="541" y="358"/>
                  </a:lnTo>
                  <a:lnTo>
                    <a:pt x="533" y="382"/>
                  </a:lnTo>
                  <a:lnTo>
                    <a:pt x="521" y="406"/>
                  </a:lnTo>
                  <a:lnTo>
                    <a:pt x="507" y="429"/>
                  </a:lnTo>
                  <a:lnTo>
                    <a:pt x="491" y="450"/>
                  </a:lnTo>
                  <a:lnTo>
                    <a:pt x="473" y="470"/>
                  </a:lnTo>
                  <a:lnTo>
                    <a:pt x="454" y="487"/>
                  </a:lnTo>
                  <a:lnTo>
                    <a:pt x="433" y="503"/>
                  </a:lnTo>
                  <a:lnTo>
                    <a:pt x="410" y="517"/>
                  </a:lnTo>
                  <a:lnTo>
                    <a:pt x="385" y="529"/>
                  </a:lnTo>
                  <a:lnTo>
                    <a:pt x="360" y="539"/>
                  </a:lnTo>
                  <a:lnTo>
                    <a:pt x="334" y="544"/>
                  </a:lnTo>
                  <a:lnTo>
                    <a:pt x="305" y="549"/>
                  </a:lnTo>
                  <a:lnTo>
                    <a:pt x="278" y="550"/>
                  </a:lnTo>
                  <a:lnTo>
                    <a:pt x="278" y="550"/>
                  </a:lnTo>
                  <a:lnTo>
                    <a:pt x="249" y="549"/>
                  </a:lnTo>
                  <a:lnTo>
                    <a:pt x="222" y="544"/>
                  </a:lnTo>
                  <a:lnTo>
                    <a:pt x="195" y="539"/>
                  </a:lnTo>
                  <a:lnTo>
                    <a:pt x="169" y="529"/>
                  </a:lnTo>
                  <a:lnTo>
                    <a:pt x="145" y="517"/>
                  </a:lnTo>
                  <a:lnTo>
                    <a:pt x="122" y="503"/>
                  </a:lnTo>
                  <a:lnTo>
                    <a:pt x="102" y="487"/>
                  </a:lnTo>
                  <a:lnTo>
                    <a:pt x="82" y="470"/>
                  </a:lnTo>
                  <a:lnTo>
                    <a:pt x="63" y="450"/>
                  </a:lnTo>
                  <a:lnTo>
                    <a:pt x="48" y="429"/>
                  </a:lnTo>
                  <a:lnTo>
                    <a:pt x="33" y="406"/>
                  </a:lnTo>
                  <a:lnTo>
                    <a:pt x="22" y="382"/>
                  </a:lnTo>
                  <a:lnTo>
                    <a:pt x="13" y="358"/>
                  </a:lnTo>
                  <a:lnTo>
                    <a:pt x="6" y="331"/>
                  </a:lnTo>
                  <a:lnTo>
                    <a:pt x="2" y="303"/>
                  </a:lnTo>
                  <a:lnTo>
                    <a:pt x="0" y="275"/>
                  </a:lnTo>
                  <a:lnTo>
                    <a:pt x="0" y="275"/>
                  </a:lnTo>
                  <a:lnTo>
                    <a:pt x="2" y="246"/>
                  </a:lnTo>
                  <a:lnTo>
                    <a:pt x="6" y="219"/>
                  </a:lnTo>
                  <a:lnTo>
                    <a:pt x="13" y="192"/>
                  </a:lnTo>
                  <a:lnTo>
                    <a:pt x="22" y="168"/>
                  </a:lnTo>
                  <a:lnTo>
                    <a:pt x="33" y="144"/>
                  </a:lnTo>
                  <a:lnTo>
                    <a:pt x="48" y="121"/>
                  </a:lnTo>
                  <a:lnTo>
                    <a:pt x="63" y="100"/>
                  </a:lnTo>
                  <a:lnTo>
                    <a:pt x="82" y="80"/>
                  </a:lnTo>
                  <a:lnTo>
                    <a:pt x="102" y="63"/>
                  </a:lnTo>
                  <a:lnTo>
                    <a:pt x="122" y="47"/>
                  </a:lnTo>
                  <a:lnTo>
                    <a:pt x="145" y="33"/>
                  </a:lnTo>
                  <a:lnTo>
                    <a:pt x="169" y="21"/>
                  </a:lnTo>
                  <a:lnTo>
                    <a:pt x="195" y="11"/>
                  </a:lnTo>
                  <a:lnTo>
                    <a:pt x="222" y="6"/>
                  </a:lnTo>
                  <a:lnTo>
                    <a:pt x="249" y="1"/>
                  </a:lnTo>
                  <a:lnTo>
                    <a:pt x="278" y="0"/>
                  </a:lnTo>
                  <a:lnTo>
                    <a:pt x="278" y="0"/>
                  </a:lnTo>
                  <a:lnTo>
                    <a:pt x="305" y="1"/>
                  </a:lnTo>
                  <a:lnTo>
                    <a:pt x="334" y="6"/>
                  </a:lnTo>
                  <a:lnTo>
                    <a:pt x="360" y="11"/>
                  </a:lnTo>
                  <a:lnTo>
                    <a:pt x="385" y="21"/>
                  </a:lnTo>
                  <a:lnTo>
                    <a:pt x="410" y="33"/>
                  </a:lnTo>
                  <a:lnTo>
                    <a:pt x="433" y="47"/>
                  </a:lnTo>
                  <a:lnTo>
                    <a:pt x="454" y="63"/>
                  </a:lnTo>
                  <a:lnTo>
                    <a:pt x="473" y="80"/>
                  </a:lnTo>
                  <a:lnTo>
                    <a:pt x="491" y="100"/>
                  </a:lnTo>
                  <a:lnTo>
                    <a:pt x="507" y="121"/>
                  </a:lnTo>
                  <a:lnTo>
                    <a:pt x="521" y="144"/>
                  </a:lnTo>
                  <a:lnTo>
                    <a:pt x="533" y="168"/>
                  </a:lnTo>
                  <a:lnTo>
                    <a:pt x="541" y="192"/>
                  </a:lnTo>
                  <a:lnTo>
                    <a:pt x="549" y="219"/>
                  </a:lnTo>
                  <a:lnTo>
                    <a:pt x="553" y="246"/>
                  </a:lnTo>
                  <a:lnTo>
                    <a:pt x="554" y="275"/>
                  </a:lnTo>
                  <a:lnTo>
                    <a:pt x="554" y="275"/>
                  </a:lnTo>
                  <a:close/>
                  <a:moveTo>
                    <a:pt x="554" y="275"/>
                  </a:moveTo>
                  <a:lnTo>
                    <a:pt x="554" y="275"/>
                  </a:lnTo>
                  <a:close/>
                </a:path>
              </a:pathLst>
            </a:custGeom>
            <a:solidFill>
              <a:srgbClr val="B61F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9" name="Freeform 7"/>
            <p:cNvSpPr>
              <a:spLocks/>
            </p:cNvSpPr>
            <p:nvPr userDrawn="1"/>
          </p:nvSpPr>
          <p:spPr bwMode="auto">
            <a:xfrm>
              <a:off x="5486" y="647"/>
              <a:ext cx="185" cy="183"/>
            </a:xfrm>
            <a:custGeom>
              <a:avLst/>
              <a:gdLst>
                <a:gd name="T0" fmla="*/ 554 w 554"/>
                <a:gd name="T1" fmla="*/ 275 h 550"/>
                <a:gd name="T2" fmla="*/ 549 w 554"/>
                <a:gd name="T3" fmla="*/ 331 h 550"/>
                <a:gd name="T4" fmla="*/ 533 w 554"/>
                <a:gd name="T5" fmla="*/ 382 h 550"/>
                <a:gd name="T6" fmla="*/ 507 w 554"/>
                <a:gd name="T7" fmla="*/ 429 h 550"/>
                <a:gd name="T8" fmla="*/ 473 w 554"/>
                <a:gd name="T9" fmla="*/ 470 h 550"/>
                <a:gd name="T10" fmla="*/ 433 w 554"/>
                <a:gd name="T11" fmla="*/ 503 h 550"/>
                <a:gd name="T12" fmla="*/ 385 w 554"/>
                <a:gd name="T13" fmla="*/ 529 h 550"/>
                <a:gd name="T14" fmla="*/ 334 w 554"/>
                <a:gd name="T15" fmla="*/ 544 h 550"/>
                <a:gd name="T16" fmla="*/ 278 w 554"/>
                <a:gd name="T17" fmla="*/ 550 h 550"/>
                <a:gd name="T18" fmla="*/ 249 w 554"/>
                <a:gd name="T19" fmla="*/ 549 h 550"/>
                <a:gd name="T20" fmla="*/ 195 w 554"/>
                <a:gd name="T21" fmla="*/ 539 h 550"/>
                <a:gd name="T22" fmla="*/ 145 w 554"/>
                <a:gd name="T23" fmla="*/ 517 h 550"/>
                <a:gd name="T24" fmla="*/ 102 w 554"/>
                <a:gd name="T25" fmla="*/ 487 h 550"/>
                <a:gd name="T26" fmla="*/ 63 w 554"/>
                <a:gd name="T27" fmla="*/ 450 h 550"/>
                <a:gd name="T28" fmla="*/ 33 w 554"/>
                <a:gd name="T29" fmla="*/ 406 h 550"/>
                <a:gd name="T30" fmla="*/ 13 w 554"/>
                <a:gd name="T31" fmla="*/ 358 h 550"/>
                <a:gd name="T32" fmla="*/ 2 w 554"/>
                <a:gd name="T33" fmla="*/ 303 h 550"/>
                <a:gd name="T34" fmla="*/ 0 w 554"/>
                <a:gd name="T35" fmla="*/ 275 h 550"/>
                <a:gd name="T36" fmla="*/ 6 w 554"/>
                <a:gd name="T37" fmla="*/ 219 h 550"/>
                <a:gd name="T38" fmla="*/ 22 w 554"/>
                <a:gd name="T39" fmla="*/ 168 h 550"/>
                <a:gd name="T40" fmla="*/ 48 w 554"/>
                <a:gd name="T41" fmla="*/ 121 h 550"/>
                <a:gd name="T42" fmla="*/ 82 w 554"/>
                <a:gd name="T43" fmla="*/ 80 h 550"/>
                <a:gd name="T44" fmla="*/ 122 w 554"/>
                <a:gd name="T45" fmla="*/ 47 h 550"/>
                <a:gd name="T46" fmla="*/ 169 w 554"/>
                <a:gd name="T47" fmla="*/ 21 h 550"/>
                <a:gd name="T48" fmla="*/ 222 w 554"/>
                <a:gd name="T49" fmla="*/ 6 h 550"/>
                <a:gd name="T50" fmla="*/ 278 w 554"/>
                <a:gd name="T51" fmla="*/ 0 h 550"/>
                <a:gd name="T52" fmla="*/ 305 w 554"/>
                <a:gd name="T53" fmla="*/ 1 h 550"/>
                <a:gd name="T54" fmla="*/ 360 w 554"/>
                <a:gd name="T55" fmla="*/ 11 h 550"/>
                <a:gd name="T56" fmla="*/ 410 w 554"/>
                <a:gd name="T57" fmla="*/ 33 h 550"/>
                <a:gd name="T58" fmla="*/ 454 w 554"/>
                <a:gd name="T59" fmla="*/ 63 h 550"/>
                <a:gd name="T60" fmla="*/ 491 w 554"/>
                <a:gd name="T61" fmla="*/ 100 h 550"/>
                <a:gd name="T62" fmla="*/ 521 w 554"/>
                <a:gd name="T63" fmla="*/ 144 h 550"/>
                <a:gd name="T64" fmla="*/ 541 w 554"/>
                <a:gd name="T65" fmla="*/ 192 h 550"/>
                <a:gd name="T66" fmla="*/ 553 w 554"/>
                <a:gd name="T67" fmla="*/ 246 h 550"/>
                <a:gd name="T68" fmla="*/ 554 w 554"/>
                <a:gd name="T69" fmla="*/ 275 h 5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54" h="550">
                  <a:moveTo>
                    <a:pt x="554" y="275"/>
                  </a:moveTo>
                  <a:lnTo>
                    <a:pt x="554" y="275"/>
                  </a:lnTo>
                  <a:lnTo>
                    <a:pt x="553" y="303"/>
                  </a:lnTo>
                  <a:lnTo>
                    <a:pt x="549" y="331"/>
                  </a:lnTo>
                  <a:lnTo>
                    <a:pt x="541" y="358"/>
                  </a:lnTo>
                  <a:lnTo>
                    <a:pt x="533" y="382"/>
                  </a:lnTo>
                  <a:lnTo>
                    <a:pt x="521" y="406"/>
                  </a:lnTo>
                  <a:lnTo>
                    <a:pt x="507" y="429"/>
                  </a:lnTo>
                  <a:lnTo>
                    <a:pt x="491" y="450"/>
                  </a:lnTo>
                  <a:lnTo>
                    <a:pt x="473" y="470"/>
                  </a:lnTo>
                  <a:lnTo>
                    <a:pt x="454" y="487"/>
                  </a:lnTo>
                  <a:lnTo>
                    <a:pt x="433" y="503"/>
                  </a:lnTo>
                  <a:lnTo>
                    <a:pt x="410" y="517"/>
                  </a:lnTo>
                  <a:lnTo>
                    <a:pt x="385" y="529"/>
                  </a:lnTo>
                  <a:lnTo>
                    <a:pt x="360" y="539"/>
                  </a:lnTo>
                  <a:lnTo>
                    <a:pt x="334" y="544"/>
                  </a:lnTo>
                  <a:lnTo>
                    <a:pt x="305" y="549"/>
                  </a:lnTo>
                  <a:lnTo>
                    <a:pt x="278" y="550"/>
                  </a:lnTo>
                  <a:lnTo>
                    <a:pt x="278" y="550"/>
                  </a:lnTo>
                  <a:lnTo>
                    <a:pt x="249" y="549"/>
                  </a:lnTo>
                  <a:lnTo>
                    <a:pt x="222" y="544"/>
                  </a:lnTo>
                  <a:lnTo>
                    <a:pt x="195" y="539"/>
                  </a:lnTo>
                  <a:lnTo>
                    <a:pt x="169" y="529"/>
                  </a:lnTo>
                  <a:lnTo>
                    <a:pt x="145" y="517"/>
                  </a:lnTo>
                  <a:lnTo>
                    <a:pt x="122" y="503"/>
                  </a:lnTo>
                  <a:lnTo>
                    <a:pt x="102" y="487"/>
                  </a:lnTo>
                  <a:lnTo>
                    <a:pt x="82" y="470"/>
                  </a:lnTo>
                  <a:lnTo>
                    <a:pt x="63" y="450"/>
                  </a:lnTo>
                  <a:lnTo>
                    <a:pt x="48" y="429"/>
                  </a:lnTo>
                  <a:lnTo>
                    <a:pt x="33" y="406"/>
                  </a:lnTo>
                  <a:lnTo>
                    <a:pt x="22" y="382"/>
                  </a:lnTo>
                  <a:lnTo>
                    <a:pt x="13" y="358"/>
                  </a:lnTo>
                  <a:lnTo>
                    <a:pt x="6" y="331"/>
                  </a:lnTo>
                  <a:lnTo>
                    <a:pt x="2" y="303"/>
                  </a:lnTo>
                  <a:lnTo>
                    <a:pt x="0" y="275"/>
                  </a:lnTo>
                  <a:lnTo>
                    <a:pt x="0" y="275"/>
                  </a:lnTo>
                  <a:lnTo>
                    <a:pt x="2" y="246"/>
                  </a:lnTo>
                  <a:lnTo>
                    <a:pt x="6" y="219"/>
                  </a:lnTo>
                  <a:lnTo>
                    <a:pt x="13" y="192"/>
                  </a:lnTo>
                  <a:lnTo>
                    <a:pt x="22" y="168"/>
                  </a:lnTo>
                  <a:lnTo>
                    <a:pt x="33" y="144"/>
                  </a:lnTo>
                  <a:lnTo>
                    <a:pt x="48" y="121"/>
                  </a:lnTo>
                  <a:lnTo>
                    <a:pt x="63" y="100"/>
                  </a:lnTo>
                  <a:lnTo>
                    <a:pt x="82" y="80"/>
                  </a:lnTo>
                  <a:lnTo>
                    <a:pt x="102" y="63"/>
                  </a:lnTo>
                  <a:lnTo>
                    <a:pt x="122" y="47"/>
                  </a:lnTo>
                  <a:lnTo>
                    <a:pt x="145" y="33"/>
                  </a:lnTo>
                  <a:lnTo>
                    <a:pt x="169" y="21"/>
                  </a:lnTo>
                  <a:lnTo>
                    <a:pt x="195" y="11"/>
                  </a:lnTo>
                  <a:lnTo>
                    <a:pt x="222" y="6"/>
                  </a:lnTo>
                  <a:lnTo>
                    <a:pt x="249" y="1"/>
                  </a:lnTo>
                  <a:lnTo>
                    <a:pt x="278" y="0"/>
                  </a:lnTo>
                  <a:lnTo>
                    <a:pt x="278" y="0"/>
                  </a:lnTo>
                  <a:lnTo>
                    <a:pt x="305" y="1"/>
                  </a:lnTo>
                  <a:lnTo>
                    <a:pt x="334" y="6"/>
                  </a:lnTo>
                  <a:lnTo>
                    <a:pt x="360" y="11"/>
                  </a:lnTo>
                  <a:lnTo>
                    <a:pt x="385" y="21"/>
                  </a:lnTo>
                  <a:lnTo>
                    <a:pt x="410" y="33"/>
                  </a:lnTo>
                  <a:lnTo>
                    <a:pt x="433" y="47"/>
                  </a:lnTo>
                  <a:lnTo>
                    <a:pt x="454" y="63"/>
                  </a:lnTo>
                  <a:lnTo>
                    <a:pt x="473" y="80"/>
                  </a:lnTo>
                  <a:lnTo>
                    <a:pt x="491" y="100"/>
                  </a:lnTo>
                  <a:lnTo>
                    <a:pt x="507" y="121"/>
                  </a:lnTo>
                  <a:lnTo>
                    <a:pt x="521" y="144"/>
                  </a:lnTo>
                  <a:lnTo>
                    <a:pt x="533" y="168"/>
                  </a:lnTo>
                  <a:lnTo>
                    <a:pt x="541" y="192"/>
                  </a:lnTo>
                  <a:lnTo>
                    <a:pt x="549" y="219"/>
                  </a:lnTo>
                  <a:lnTo>
                    <a:pt x="553" y="246"/>
                  </a:lnTo>
                  <a:lnTo>
                    <a:pt x="554" y="275"/>
                  </a:lnTo>
                  <a:lnTo>
                    <a:pt x="554" y="27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0" name="Line 8"/>
            <p:cNvSpPr>
              <a:spLocks noChangeShapeType="1"/>
            </p:cNvSpPr>
            <p:nvPr userDrawn="1"/>
          </p:nvSpPr>
          <p:spPr bwMode="auto">
            <a:xfrm>
              <a:off x="5671" y="739"/>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1" name="Freeform 9"/>
            <p:cNvSpPr>
              <a:spLocks/>
            </p:cNvSpPr>
            <p:nvPr userDrawn="1"/>
          </p:nvSpPr>
          <p:spPr bwMode="auto">
            <a:xfrm>
              <a:off x="5486" y="647"/>
              <a:ext cx="185" cy="183"/>
            </a:xfrm>
            <a:custGeom>
              <a:avLst/>
              <a:gdLst>
                <a:gd name="T0" fmla="*/ 554 w 554"/>
                <a:gd name="T1" fmla="*/ 275 h 550"/>
                <a:gd name="T2" fmla="*/ 549 w 554"/>
                <a:gd name="T3" fmla="*/ 331 h 550"/>
                <a:gd name="T4" fmla="*/ 533 w 554"/>
                <a:gd name="T5" fmla="*/ 382 h 550"/>
                <a:gd name="T6" fmla="*/ 507 w 554"/>
                <a:gd name="T7" fmla="*/ 429 h 550"/>
                <a:gd name="T8" fmla="*/ 473 w 554"/>
                <a:gd name="T9" fmla="*/ 470 h 550"/>
                <a:gd name="T10" fmla="*/ 433 w 554"/>
                <a:gd name="T11" fmla="*/ 503 h 550"/>
                <a:gd name="T12" fmla="*/ 385 w 554"/>
                <a:gd name="T13" fmla="*/ 529 h 550"/>
                <a:gd name="T14" fmla="*/ 334 w 554"/>
                <a:gd name="T15" fmla="*/ 544 h 550"/>
                <a:gd name="T16" fmla="*/ 278 w 554"/>
                <a:gd name="T17" fmla="*/ 550 h 550"/>
                <a:gd name="T18" fmla="*/ 249 w 554"/>
                <a:gd name="T19" fmla="*/ 549 h 550"/>
                <a:gd name="T20" fmla="*/ 195 w 554"/>
                <a:gd name="T21" fmla="*/ 539 h 550"/>
                <a:gd name="T22" fmla="*/ 145 w 554"/>
                <a:gd name="T23" fmla="*/ 517 h 550"/>
                <a:gd name="T24" fmla="*/ 102 w 554"/>
                <a:gd name="T25" fmla="*/ 487 h 550"/>
                <a:gd name="T26" fmla="*/ 63 w 554"/>
                <a:gd name="T27" fmla="*/ 450 h 550"/>
                <a:gd name="T28" fmla="*/ 33 w 554"/>
                <a:gd name="T29" fmla="*/ 406 h 550"/>
                <a:gd name="T30" fmla="*/ 13 w 554"/>
                <a:gd name="T31" fmla="*/ 358 h 550"/>
                <a:gd name="T32" fmla="*/ 2 w 554"/>
                <a:gd name="T33" fmla="*/ 303 h 550"/>
                <a:gd name="T34" fmla="*/ 0 w 554"/>
                <a:gd name="T35" fmla="*/ 275 h 550"/>
                <a:gd name="T36" fmla="*/ 6 w 554"/>
                <a:gd name="T37" fmla="*/ 219 h 550"/>
                <a:gd name="T38" fmla="*/ 22 w 554"/>
                <a:gd name="T39" fmla="*/ 168 h 550"/>
                <a:gd name="T40" fmla="*/ 48 w 554"/>
                <a:gd name="T41" fmla="*/ 121 h 550"/>
                <a:gd name="T42" fmla="*/ 82 w 554"/>
                <a:gd name="T43" fmla="*/ 80 h 550"/>
                <a:gd name="T44" fmla="*/ 122 w 554"/>
                <a:gd name="T45" fmla="*/ 47 h 550"/>
                <a:gd name="T46" fmla="*/ 169 w 554"/>
                <a:gd name="T47" fmla="*/ 21 h 550"/>
                <a:gd name="T48" fmla="*/ 222 w 554"/>
                <a:gd name="T49" fmla="*/ 6 h 550"/>
                <a:gd name="T50" fmla="*/ 278 w 554"/>
                <a:gd name="T51" fmla="*/ 0 h 550"/>
                <a:gd name="T52" fmla="*/ 305 w 554"/>
                <a:gd name="T53" fmla="*/ 1 h 550"/>
                <a:gd name="T54" fmla="*/ 360 w 554"/>
                <a:gd name="T55" fmla="*/ 11 h 550"/>
                <a:gd name="T56" fmla="*/ 410 w 554"/>
                <a:gd name="T57" fmla="*/ 33 h 550"/>
                <a:gd name="T58" fmla="*/ 454 w 554"/>
                <a:gd name="T59" fmla="*/ 63 h 550"/>
                <a:gd name="T60" fmla="*/ 491 w 554"/>
                <a:gd name="T61" fmla="*/ 100 h 550"/>
                <a:gd name="T62" fmla="*/ 521 w 554"/>
                <a:gd name="T63" fmla="*/ 144 h 550"/>
                <a:gd name="T64" fmla="*/ 541 w 554"/>
                <a:gd name="T65" fmla="*/ 192 h 550"/>
                <a:gd name="T66" fmla="*/ 553 w 554"/>
                <a:gd name="T67" fmla="*/ 246 h 550"/>
                <a:gd name="T68" fmla="*/ 554 w 554"/>
                <a:gd name="T69" fmla="*/ 275 h 5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54" h="550">
                  <a:moveTo>
                    <a:pt x="554" y="275"/>
                  </a:moveTo>
                  <a:lnTo>
                    <a:pt x="554" y="275"/>
                  </a:lnTo>
                  <a:lnTo>
                    <a:pt x="553" y="303"/>
                  </a:lnTo>
                  <a:lnTo>
                    <a:pt x="549" y="331"/>
                  </a:lnTo>
                  <a:lnTo>
                    <a:pt x="541" y="358"/>
                  </a:lnTo>
                  <a:lnTo>
                    <a:pt x="533" y="382"/>
                  </a:lnTo>
                  <a:lnTo>
                    <a:pt x="521" y="406"/>
                  </a:lnTo>
                  <a:lnTo>
                    <a:pt x="507" y="429"/>
                  </a:lnTo>
                  <a:lnTo>
                    <a:pt x="491" y="450"/>
                  </a:lnTo>
                  <a:lnTo>
                    <a:pt x="473" y="470"/>
                  </a:lnTo>
                  <a:lnTo>
                    <a:pt x="454" y="487"/>
                  </a:lnTo>
                  <a:lnTo>
                    <a:pt x="433" y="503"/>
                  </a:lnTo>
                  <a:lnTo>
                    <a:pt x="410" y="517"/>
                  </a:lnTo>
                  <a:lnTo>
                    <a:pt x="385" y="529"/>
                  </a:lnTo>
                  <a:lnTo>
                    <a:pt x="360" y="539"/>
                  </a:lnTo>
                  <a:lnTo>
                    <a:pt x="334" y="544"/>
                  </a:lnTo>
                  <a:lnTo>
                    <a:pt x="305" y="549"/>
                  </a:lnTo>
                  <a:lnTo>
                    <a:pt x="278" y="550"/>
                  </a:lnTo>
                  <a:lnTo>
                    <a:pt x="278" y="550"/>
                  </a:lnTo>
                  <a:lnTo>
                    <a:pt x="249" y="549"/>
                  </a:lnTo>
                  <a:lnTo>
                    <a:pt x="222" y="544"/>
                  </a:lnTo>
                  <a:lnTo>
                    <a:pt x="195" y="539"/>
                  </a:lnTo>
                  <a:lnTo>
                    <a:pt x="169" y="529"/>
                  </a:lnTo>
                  <a:lnTo>
                    <a:pt x="145" y="517"/>
                  </a:lnTo>
                  <a:lnTo>
                    <a:pt x="122" y="503"/>
                  </a:lnTo>
                  <a:lnTo>
                    <a:pt x="102" y="487"/>
                  </a:lnTo>
                  <a:lnTo>
                    <a:pt x="82" y="470"/>
                  </a:lnTo>
                  <a:lnTo>
                    <a:pt x="63" y="450"/>
                  </a:lnTo>
                  <a:lnTo>
                    <a:pt x="48" y="429"/>
                  </a:lnTo>
                  <a:lnTo>
                    <a:pt x="33" y="406"/>
                  </a:lnTo>
                  <a:lnTo>
                    <a:pt x="22" y="382"/>
                  </a:lnTo>
                  <a:lnTo>
                    <a:pt x="13" y="358"/>
                  </a:lnTo>
                  <a:lnTo>
                    <a:pt x="6" y="331"/>
                  </a:lnTo>
                  <a:lnTo>
                    <a:pt x="2" y="303"/>
                  </a:lnTo>
                  <a:lnTo>
                    <a:pt x="0" y="275"/>
                  </a:lnTo>
                  <a:lnTo>
                    <a:pt x="0" y="275"/>
                  </a:lnTo>
                  <a:lnTo>
                    <a:pt x="2" y="246"/>
                  </a:lnTo>
                  <a:lnTo>
                    <a:pt x="6" y="219"/>
                  </a:lnTo>
                  <a:lnTo>
                    <a:pt x="13" y="192"/>
                  </a:lnTo>
                  <a:lnTo>
                    <a:pt x="22" y="168"/>
                  </a:lnTo>
                  <a:lnTo>
                    <a:pt x="33" y="144"/>
                  </a:lnTo>
                  <a:lnTo>
                    <a:pt x="48" y="121"/>
                  </a:lnTo>
                  <a:lnTo>
                    <a:pt x="63" y="100"/>
                  </a:lnTo>
                  <a:lnTo>
                    <a:pt x="82" y="80"/>
                  </a:lnTo>
                  <a:lnTo>
                    <a:pt x="102" y="63"/>
                  </a:lnTo>
                  <a:lnTo>
                    <a:pt x="122" y="47"/>
                  </a:lnTo>
                  <a:lnTo>
                    <a:pt x="145" y="33"/>
                  </a:lnTo>
                  <a:lnTo>
                    <a:pt x="169" y="21"/>
                  </a:lnTo>
                  <a:lnTo>
                    <a:pt x="195" y="11"/>
                  </a:lnTo>
                  <a:lnTo>
                    <a:pt x="222" y="6"/>
                  </a:lnTo>
                  <a:lnTo>
                    <a:pt x="249" y="1"/>
                  </a:lnTo>
                  <a:lnTo>
                    <a:pt x="278" y="0"/>
                  </a:lnTo>
                  <a:lnTo>
                    <a:pt x="278" y="0"/>
                  </a:lnTo>
                  <a:lnTo>
                    <a:pt x="305" y="1"/>
                  </a:lnTo>
                  <a:lnTo>
                    <a:pt x="334" y="6"/>
                  </a:lnTo>
                  <a:lnTo>
                    <a:pt x="360" y="11"/>
                  </a:lnTo>
                  <a:lnTo>
                    <a:pt x="385" y="21"/>
                  </a:lnTo>
                  <a:lnTo>
                    <a:pt x="410" y="33"/>
                  </a:lnTo>
                  <a:lnTo>
                    <a:pt x="433" y="47"/>
                  </a:lnTo>
                  <a:lnTo>
                    <a:pt x="454" y="63"/>
                  </a:lnTo>
                  <a:lnTo>
                    <a:pt x="473" y="80"/>
                  </a:lnTo>
                  <a:lnTo>
                    <a:pt x="491" y="100"/>
                  </a:lnTo>
                  <a:lnTo>
                    <a:pt x="507" y="121"/>
                  </a:lnTo>
                  <a:lnTo>
                    <a:pt x="521" y="144"/>
                  </a:lnTo>
                  <a:lnTo>
                    <a:pt x="533" y="168"/>
                  </a:lnTo>
                  <a:lnTo>
                    <a:pt x="541" y="192"/>
                  </a:lnTo>
                  <a:lnTo>
                    <a:pt x="549" y="219"/>
                  </a:lnTo>
                  <a:lnTo>
                    <a:pt x="553" y="246"/>
                  </a:lnTo>
                  <a:lnTo>
                    <a:pt x="554" y="275"/>
                  </a:lnTo>
                  <a:lnTo>
                    <a:pt x="554" y="275"/>
                  </a:lnTo>
                </a:path>
              </a:pathLst>
            </a:custGeom>
            <a:noFill/>
            <a:ln w="1588">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2" name="Line 10"/>
            <p:cNvSpPr>
              <a:spLocks noChangeShapeType="1"/>
            </p:cNvSpPr>
            <p:nvPr userDrawn="1"/>
          </p:nvSpPr>
          <p:spPr bwMode="auto">
            <a:xfrm>
              <a:off x="5671" y="739"/>
              <a:ext cx="0" cy="0"/>
            </a:xfrm>
            <a:prstGeom prst="line">
              <a:avLst/>
            </a:prstGeom>
            <a:noFill/>
            <a:ln w="1588">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3" name="Freeform 11"/>
            <p:cNvSpPr>
              <a:spLocks noEditPoints="1"/>
            </p:cNvSpPr>
            <p:nvPr userDrawn="1"/>
          </p:nvSpPr>
          <p:spPr bwMode="auto">
            <a:xfrm>
              <a:off x="5497" y="659"/>
              <a:ext cx="170" cy="170"/>
            </a:xfrm>
            <a:custGeom>
              <a:avLst/>
              <a:gdLst>
                <a:gd name="T0" fmla="*/ 510 w 510"/>
                <a:gd name="T1" fmla="*/ 257 h 511"/>
                <a:gd name="T2" fmla="*/ 504 w 510"/>
                <a:gd name="T3" fmla="*/ 309 h 511"/>
                <a:gd name="T4" fmla="*/ 490 w 510"/>
                <a:gd name="T5" fmla="*/ 356 h 511"/>
                <a:gd name="T6" fmla="*/ 465 w 510"/>
                <a:gd name="T7" fmla="*/ 399 h 511"/>
                <a:gd name="T8" fmla="*/ 434 w 510"/>
                <a:gd name="T9" fmla="*/ 437 h 511"/>
                <a:gd name="T10" fmla="*/ 397 w 510"/>
                <a:gd name="T11" fmla="*/ 467 h 511"/>
                <a:gd name="T12" fmla="*/ 354 w 510"/>
                <a:gd name="T13" fmla="*/ 491 h 511"/>
                <a:gd name="T14" fmla="*/ 307 w 510"/>
                <a:gd name="T15" fmla="*/ 505 h 511"/>
                <a:gd name="T16" fmla="*/ 255 w 510"/>
                <a:gd name="T17" fmla="*/ 511 h 511"/>
                <a:gd name="T18" fmla="*/ 229 w 510"/>
                <a:gd name="T19" fmla="*/ 510 h 511"/>
                <a:gd name="T20" fmla="*/ 179 w 510"/>
                <a:gd name="T21" fmla="*/ 500 h 511"/>
                <a:gd name="T22" fmla="*/ 133 w 510"/>
                <a:gd name="T23" fmla="*/ 480 h 511"/>
                <a:gd name="T24" fmla="*/ 93 w 510"/>
                <a:gd name="T25" fmla="*/ 453 h 511"/>
                <a:gd name="T26" fmla="*/ 59 w 510"/>
                <a:gd name="T27" fmla="*/ 419 h 511"/>
                <a:gd name="T28" fmla="*/ 30 w 510"/>
                <a:gd name="T29" fmla="*/ 379 h 511"/>
                <a:gd name="T30" fmla="*/ 12 w 510"/>
                <a:gd name="T31" fmla="*/ 333 h 511"/>
                <a:gd name="T32" fmla="*/ 2 w 510"/>
                <a:gd name="T33" fmla="*/ 283 h 511"/>
                <a:gd name="T34" fmla="*/ 0 w 510"/>
                <a:gd name="T35" fmla="*/ 257 h 511"/>
                <a:gd name="T36" fmla="*/ 6 w 510"/>
                <a:gd name="T37" fmla="*/ 206 h 511"/>
                <a:gd name="T38" fmla="*/ 20 w 510"/>
                <a:gd name="T39" fmla="*/ 158 h 511"/>
                <a:gd name="T40" fmla="*/ 43 w 510"/>
                <a:gd name="T41" fmla="*/ 115 h 511"/>
                <a:gd name="T42" fmla="*/ 75 w 510"/>
                <a:gd name="T43" fmla="*/ 77 h 511"/>
                <a:gd name="T44" fmla="*/ 112 w 510"/>
                <a:gd name="T45" fmla="*/ 44 h 511"/>
                <a:gd name="T46" fmla="*/ 156 w 510"/>
                <a:gd name="T47" fmla="*/ 21 h 511"/>
                <a:gd name="T48" fmla="*/ 204 w 510"/>
                <a:gd name="T49" fmla="*/ 5 h 511"/>
                <a:gd name="T50" fmla="*/ 255 w 510"/>
                <a:gd name="T51" fmla="*/ 0 h 511"/>
                <a:gd name="T52" fmla="*/ 284 w 510"/>
                <a:gd name="T53" fmla="*/ 1 h 511"/>
                <a:gd name="T54" fmla="*/ 337 w 510"/>
                <a:gd name="T55" fmla="*/ 11 h 511"/>
                <a:gd name="T56" fmla="*/ 384 w 510"/>
                <a:gd name="T57" fmla="*/ 31 h 511"/>
                <a:gd name="T58" fmla="*/ 424 w 510"/>
                <a:gd name="T59" fmla="*/ 59 h 511"/>
                <a:gd name="T60" fmla="*/ 457 w 510"/>
                <a:gd name="T61" fmla="*/ 95 h 511"/>
                <a:gd name="T62" fmla="*/ 481 w 510"/>
                <a:gd name="T63" fmla="*/ 136 h 511"/>
                <a:gd name="T64" fmla="*/ 500 w 510"/>
                <a:gd name="T65" fmla="*/ 182 h 511"/>
                <a:gd name="T66" fmla="*/ 508 w 510"/>
                <a:gd name="T67" fmla="*/ 232 h 511"/>
                <a:gd name="T68" fmla="*/ 510 w 510"/>
                <a:gd name="T69" fmla="*/ 257 h 511"/>
                <a:gd name="T70" fmla="*/ 510 w 510"/>
                <a:gd name="T71" fmla="*/ 257 h 5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0" h="511">
                  <a:moveTo>
                    <a:pt x="510" y="257"/>
                  </a:moveTo>
                  <a:lnTo>
                    <a:pt x="510" y="257"/>
                  </a:lnTo>
                  <a:lnTo>
                    <a:pt x="508" y="283"/>
                  </a:lnTo>
                  <a:lnTo>
                    <a:pt x="504" y="309"/>
                  </a:lnTo>
                  <a:lnTo>
                    <a:pt x="498" y="333"/>
                  </a:lnTo>
                  <a:lnTo>
                    <a:pt x="490" y="356"/>
                  </a:lnTo>
                  <a:lnTo>
                    <a:pt x="478" y="379"/>
                  </a:lnTo>
                  <a:lnTo>
                    <a:pt x="465" y="399"/>
                  </a:lnTo>
                  <a:lnTo>
                    <a:pt x="451" y="419"/>
                  </a:lnTo>
                  <a:lnTo>
                    <a:pt x="434" y="437"/>
                  </a:lnTo>
                  <a:lnTo>
                    <a:pt x="417" y="453"/>
                  </a:lnTo>
                  <a:lnTo>
                    <a:pt x="397" y="467"/>
                  </a:lnTo>
                  <a:lnTo>
                    <a:pt x="377" y="480"/>
                  </a:lnTo>
                  <a:lnTo>
                    <a:pt x="354" y="491"/>
                  </a:lnTo>
                  <a:lnTo>
                    <a:pt x="331" y="500"/>
                  </a:lnTo>
                  <a:lnTo>
                    <a:pt x="307" y="505"/>
                  </a:lnTo>
                  <a:lnTo>
                    <a:pt x="281" y="510"/>
                  </a:lnTo>
                  <a:lnTo>
                    <a:pt x="255" y="511"/>
                  </a:lnTo>
                  <a:lnTo>
                    <a:pt x="255" y="511"/>
                  </a:lnTo>
                  <a:lnTo>
                    <a:pt x="229" y="510"/>
                  </a:lnTo>
                  <a:lnTo>
                    <a:pt x="204" y="505"/>
                  </a:lnTo>
                  <a:lnTo>
                    <a:pt x="179" y="500"/>
                  </a:lnTo>
                  <a:lnTo>
                    <a:pt x="156" y="491"/>
                  </a:lnTo>
                  <a:lnTo>
                    <a:pt x="133" y="480"/>
                  </a:lnTo>
                  <a:lnTo>
                    <a:pt x="112" y="467"/>
                  </a:lnTo>
                  <a:lnTo>
                    <a:pt x="93" y="453"/>
                  </a:lnTo>
                  <a:lnTo>
                    <a:pt x="75" y="437"/>
                  </a:lnTo>
                  <a:lnTo>
                    <a:pt x="59" y="419"/>
                  </a:lnTo>
                  <a:lnTo>
                    <a:pt x="43" y="399"/>
                  </a:lnTo>
                  <a:lnTo>
                    <a:pt x="30" y="379"/>
                  </a:lnTo>
                  <a:lnTo>
                    <a:pt x="20" y="356"/>
                  </a:lnTo>
                  <a:lnTo>
                    <a:pt x="12" y="333"/>
                  </a:lnTo>
                  <a:lnTo>
                    <a:pt x="6" y="309"/>
                  </a:lnTo>
                  <a:lnTo>
                    <a:pt x="2" y="283"/>
                  </a:lnTo>
                  <a:lnTo>
                    <a:pt x="0" y="257"/>
                  </a:lnTo>
                  <a:lnTo>
                    <a:pt x="0" y="257"/>
                  </a:lnTo>
                  <a:lnTo>
                    <a:pt x="2" y="232"/>
                  </a:lnTo>
                  <a:lnTo>
                    <a:pt x="6" y="206"/>
                  </a:lnTo>
                  <a:lnTo>
                    <a:pt x="12" y="182"/>
                  </a:lnTo>
                  <a:lnTo>
                    <a:pt x="20" y="158"/>
                  </a:lnTo>
                  <a:lnTo>
                    <a:pt x="30" y="136"/>
                  </a:lnTo>
                  <a:lnTo>
                    <a:pt x="43" y="115"/>
                  </a:lnTo>
                  <a:lnTo>
                    <a:pt x="59" y="95"/>
                  </a:lnTo>
                  <a:lnTo>
                    <a:pt x="75" y="77"/>
                  </a:lnTo>
                  <a:lnTo>
                    <a:pt x="93" y="59"/>
                  </a:lnTo>
                  <a:lnTo>
                    <a:pt x="112" y="44"/>
                  </a:lnTo>
                  <a:lnTo>
                    <a:pt x="133" y="31"/>
                  </a:lnTo>
                  <a:lnTo>
                    <a:pt x="156" y="21"/>
                  </a:lnTo>
                  <a:lnTo>
                    <a:pt x="179" y="11"/>
                  </a:lnTo>
                  <a:lnTo>
                    <a:pt x="204" y="5"/>
                  </a:lnTo>
                  <a:lnTo>
                    <a:pt x="229" y="1"/>
                  </a:lnTo>
                  <a:lnTo>
                    <a:pt x="255" y="0"/>
                  </a:lnTo>
                  <a:lnTo>
                    <a:pt x="255" y="0"/>
                  </a:lnTo>
                  <a:lnTo>
                    <a:pt x="284" y="1"/>
                  </a:lnTo>
                  <a:lnTo>
                    <a:pt x="311" y="5"/>
                  </a:lnTo>
                  <a:lnTo>
                    <a:pt x="337" y="11"/>
                  </a:lnTo>
                  <a:lnTo>
                    <a:pt x="361" y="21"/>
                  </a:lnTo>
                  <a:lnTo>
                    <a:pt x="384" y="31"/>
                  </a:lnTo>
                  <a:lnTo>
                    <a:pt x="404" y="44"/>
                  </a:lnTo>
                  <a:lnTo>
                    <a:pt x="424" y="59"/>
                  </a:lnTo>
                  <a:lnTo>
                    <a:pt x="441" y="77"/>
                  </a:lnTo>
                  <a:lnTo>
                    <a:pt x="457" y="95"/>
                  </a:lnTo>
                  <a:lnTo>
                    <a:pt x="470" y="115"/>
                  </a:lnTo>
                  <a:lnTo>
                    <a:pt x="481" y="136"/>
                  </a:lnTo>
                  <a:lnTo>
                    <a:pt x="491" y="158"/>
                  </a:lnTo>
                  <a:lnTo>
                    <a:pt x="500" y="182"/>
                  </a:lnTo>
                  <a:lnTo>
                    <a:pt x="504" y="206"/>
                  </a:lnTo>
                  <a:lnTo>
                    <a:pt x="508" y="232"/>
                  </a:lnTo>
                  <a:lnTo>
                    <a:pt x="510" y="257"/>
                  </a:lnTo>
                  <a:lnTo>
                    <a:pt x="510" y="257"/>
                  </a:lnTo>
                  <a:close/>
                  <a:moveTo>
                    <a:pt x="510" y="257"/>
                  </a:moveTo>
                  <a:lnTo>
                    <a:pt x="510" y="257"/>
                  </a:lnTo>
                  <a:close/>
                </a:path>
              </a:pathLst>
            </a:custGeom>
            <a:solidFill>
              <a:srgbClr val="00987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4" name="Freeform 12"/>
            <p:cNvSpPr>
              <a:spLocks/>
            </p:cNvSpPr>
            <p:nvPr userDrawn="1"/>
          </p:nvSpPr>
          <p:spPr bwMode="auto">
            <a:xfrm>
              <a:off x="5497" y="659"/>
              <a:ext cx="170" cy="170"/>
            </a:xfrm>
            <a:custGeom>
              <a:avLst/>
              <a:gdLst>
                <a:gd name="T0" fmla="*/ 510 w 510"/>
                <a:gd name="T1" fmla="*/ 257 h 511"/>
                <a:gd name="T2" fmla="*/ 504 w 510"/>
                <a:gd name="T3" fmla="*/ 309 h 511"/>
                <a:gd name="T4" fmla="*/ 490 w 510"/>
                <a:gd name="T5" fmla="*/ 356 h 511"/>
                <a:gd name="T6" fmla="*/ 465 w 510"/>
                <a:gd name="T7" fmla="*/ 399 h 511"/>
                <a:gd name="T8" fmla="*/ 434 w 510"/>
                <a:gd name="T9" fmla="*/ 437 h 511"/>
                <a:gd name="T10" fmla="*/ 397 w 510"/>
                <a:gd name="T11" fmla="*/ 467 h 511"/>
                <a:gd name="T12" fmla="*/ 354 w 510"/>
                <a:gd name="T13" fmla="*/ 491 h 511"/>
                <a:gd name="T14" fmla="*/ 307 w 510"/>
                <a:gd name="T15" fmla="*/ 505 h 511"/>
                <a:gd name="T16" fmla="*/ 255 w 510"/>
                <a:gd name="T17" fmla="*/ 511 h 511"/>
                <a:gd name="T18" fmla="*/ 229 w 510"/>
                <a:gd name="T19" fmla="*/ 510 h 511"/>
                <a:gd name="T20" fmla="*/ 179 w 510"/>
                <a:gd name="T21" fmla="*/ 500 h 511"/>
                <a:gd name="T22" fmla="*/ 133 w 510"/>
                <a:gd name="T23" fmla="*/ 480 h 511"/>
                <a:gd name="T24" fmla="*/ 93 w 510"/>
                <a:gd name="T25" fmla="*/ 453 h 511"/>
                <a:gd name="T26" fmla="*/ 59 w 510"/>
                <a:gd name="T27" fmla="*/ 419 h 511"/>
                <a:gd name="T28" fmla="*/ 30 w 510"/>
                <a:gd name="T29" fmla="*/ 379 h 511"/>
                <a:gd name="T30" fmla="*/ 12 w 510"/>
                <a:gd name="T31" fmla="*/ 333 h 511"/>
                <a:gd name="T32" fmla="*/ 2 w 510"/>
                <a:gd name="T33" fmla="*/ 283 h 511"/>
                <a:gd name="T34" fmla="*/ 0 w 510"/>
                <a:gd name="T35" fmla="*/ 257 h 511"/>
                <a:gd name="T36" fmla="*/ 6 w 510"/>
                <a:gd name="T37" fmla="*/ 206 h 511"/>
                <a:gd name="T38" fmla="*/ 20 w 510"/>
                <a:gd name="T39" fmla="*/ 158 h 511"/>
                <a:gd name="T40" fmla="*/ 43 w 510"/>
                <a:gd name="T41" fmla="*/ 115 h 511"/>
                <a:gd name="T42" fmla="*/ 75 w 510"/>
                <a:gd name="T43" fmla="*/ 77 h 511"/>
                <a:gd name="T44" fmla="*/ 112 w 510"/>
                <a:gd name="T45" fmla="*/ 44 h 511"/>
                <a:gd name="T46" fmla="*/ 156 w 510"/>
                <a:gd name="T47" fmla="*/ 21 h 511"/>
                <a:gd name="T48" fmla="*/ 204 w 510"/>
                <a:gd name="T49" fmla="*/ 5 h 511"/>
                <a:gd name="T50" fmla="*/ 255 w 510"/>
                <a:gd name="T51" fmla="*/ 0 h 511"/>
                <a:gd name="T52" fmla="*/ 284 w 510"/>
                <a:gd name="T53" fmla="*/ 1 h 511"/>
                <a:gd name="T54" fmla="*/ 337 w 510"/>
                <a:gd name="T55" fmla="*/ 11 h 511"/>
                <a:gd name="T56" fmla="*/ 384 w 510"/>
                <a:gd name="T57" fmla="*/ 31 h 511"/>
                <a:gd name="T58" fmla="*/ 424 w 510"/>
                <a:gd name="T59" fmla="*/ 59 h 511"/>
                <a:gd name="T60" fmla="*/ 457 w 510"/>
                <a:gd name="T61" fmla="*/ 95 h 511"/>
                <a:gd name="T62" fmla="*/ 481 w 510"/>
                <a:gd name="T63" fmla="*/ 136 h 511"/>
                <a:gd name="T64" fmla="*/ 500 w 510"/>
                <a:gd name="T65" fmla="*/ 182 h 511"/>
                <a:gd name="T66" fmla="*/ 508 w 510"/>
                <a:gd name="T67" fmla="*/ 232 h 511"/>
                <a:gd name="T68" fmla="*/ 510 w 510"/>
                <a:gd name="T69" fmla="*/ 257 h 5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0" h="511">
                  <a:moveTo>
                    <a:pt x="510" y="257"/>
                  </a:moveTo>
                  <a:lnTo>
                    <a:pt x="510" y="257"/>
                  </a:lnTo>
                  <a:lnTo>
                    <a:pt x="508" y="283"/>
                  </a:lnTo>
                  <a:lnTo>
                    <a:pt x="504" y="309"/>
                  </a:lnTo>
                  <a:lnTo>
                    <a:pt x="498" y="333"/>
                  </a:lnTo>
                  <a:lnTo>
                    <a:pt x="490" y="356"/>
                  </a:lnTo>
                  <a:lnTo>
                    <a:pt x="478" y="379"/>
                  </a:lnTo>
                  <a:lnTo>
                    <a:pt x="465" y="399"/>
                  </a:lnTo>
                  <a:lnTo>
                    <a:pt x="451" y="419"/>
                  </a:lnTo>
                  <a:lnTo>
                    <a:pt x="434" y="437"/>
                  </a:lnTo>
                  <a:lnTo>
                    <a:pt x="417" y="453"/>
                  </a:lnTo>
                  <a:lnTo>
                    <a:pt x="397" y="467"/>
                  </a:lnTo>
                  <a:lnTo>
                    <a:pt x="377" y="480"/>
                  </a:lnTo>
                  <a:lnTo>
                    <a:pt x="354" y="491"/>
                  </a:lnTo>
                  <a:lnTo>
                    <a:pt x="331" y="500"/>
                  </a:lnTo>
                  <a:lnTo>
                    <a:pt x="307" y="505"/>
                  </a:lnTo>
                  <a:lnTo>
                    <a:pt x="281" y="510"/>
                  </a:lnTo>
                  <a:lnTo>
                    <a:pt x="255" y="511"/>
                  </a:lnTo>
                  <a:lnTo>
                    <a:pt x="255" y="511"/>
                  </a:lnTo>
                  <a:lnTo>
                    <a:pt x="229" y="510"/>
                  </a:lnTo>
                  <a:lnTo>
                    <a:pt x="204" y="505"/>
                  </a:lnTo>
                  <a:lnTo>
                    <a:pt x="179" y="500"/>
                  </a:lnTo>
                  <a:lnTo>
                    <a:pt x="156" y="491"/>
                  </a:lnTo>
                  <a:lnTo>
                    <a:pt x="133" y="480"/>
                  </a:lnTo>
                  <a:lnTo>
                    <a:pt x="112" y="467"/>
                  </a:lnTo>
                  <a:lnTo>
                    <a:pt x="93" y="453"/>
                  </a:lnTo>
                  <a:lnTo>
                    <a:pt x="75" y="437"/>
                  </a:lnTo>
                  <a:lnTo>
                    <a:pt x="59" y="419"/>
                  </a:lnTo>
                  <a:lnTo>
                    <a:pt x="43" y="399"/>
                  </a:lnTo>
                  <a:lnTo>
                    <a:pt x="30" y="379"/>
                  </a:lnTo>
                  <a:lnTo>
                    <a:pt x="20" y="356"/>
                  </a:lnTo>
                  <a:lnTo>
                    <a:pt x="12" y="333"/>
                  </a:lnTo>
                  <a:lnTo>
                    <a:pt x="6" y="309"/>
                  </a:lnTo>
                  <a:lnTo>
                    <a:pt x="2" y="283"/>
                  </a:lnTo>
                  <a:lnTo>
                    <a:pt x="0" y="257"/>
                  </a:lnTo>
                  <a:lnTo>
                    <a:pt x="0" y="257"/>
                  </a:lnTo>
                  <a:lnTo>
                    <a:pt x="2" y="232"/>
                  </a:lnTo>
                  <a:lnTo>
                    <a:pt x="6" y="206"/>
                  </a:lnTo>
                  <a:lnTo>
                    <a:pt x="12" y="182"/>
                  </a:lnTo>
                  <a:lnTo>
                    <a:pt x="20" y="158"/>
                  </a:lnTo>
                  <a:lnTo>
                    <a:pt x="30" y="136"/>
                  </a:lnTo>
                  <a:lnTo>
                    <a:pt x="43" y="115"/>
                  </a:lnTo>
                  <a:lnTo>
                    <a:pt x="59" y="95"/>
                  </a:lnTo>
                  <a:lnTo>
                    <a:pt x="75" y="77"/>
                  </a:lnTo>
                  <a:lnTo>
                    <a:pt x="93" y="59"/>
                  </a:lnTo>
                  <a:lnTo>
                    <a:pt x="112" y="44"/>
                  </a:lnTo>
                  <a:lnTo>
                    <a:pt x="133" y="31"/>
                  </a:lnTo>
                  <a:lnTo>
                    <a:pt x="156" y="21"/>
                  </a:lnTo>
                  <a:lnTo>
                    <a:pt x="179" y="11"/>
                  </a:lnTo>
                  <a:lnTo>
                    <a:pt x="204" y="5"/>
                  </a:lnTo>
                  <a:lnTo>
                    <a:pt x="229" y="1"/>
                  </a:lnTo>
                  <a:lnTo>
                    <a:pt x="255" y="0"/>
                  </a:lnTo>
                  <a:lnTo>
                    <a:pt x="255" y="0"/>
                  </a:lnTo>
                  <a:lnTo>
                    <a:pt x="284" y="1"/>
                  </a:lnTo>
                  <a:lnTo>
                    <a:pt x="311" y="5"/>
                  </a:lnTo>
                  <a:lnTo>
                    <a:pt x="337" y="11"/>
                  </a:lnTo>
                  <a:lnTo>
                    <a:pt x="361" y="21"/>
                  </a:lnTo>
                  <a:lnTo>
                    <a:pt x="384" y="31"/>
                  </a:lnTo>
                  <a:lnTo>
                    <a:pt x="404" y="44"/>
                  </a:lnTo>
                  <a:lnTo>
                    <a:pt x="424" y="59"/>
                  </a:lnTo>
                  <a:lnTo>
                    <a:pt x="441" y="77"/>
                  </a:lnTo>
                  <a:lnTo>
                    <a:pt x="457" y="95"/>
                  </a:lnTo>
                  <a:lnTo>
                    <a:pt x="470" y="115"/>
                  </a:lnTo>
                  <a:lnTo>
                    <a:pt x="481" y="136"/>
                  </a:lnTo>
                  <a:lnTo>
                    <a:pt x="491" y="158"/>
                  </a:lnTo>
                  <a:lnTo>
                    <a:pt x="500" y="182"/>
                  </a:lnTo>
                  <a:lnTo>
                    <a:pt x="504" y="206"/>
                  </a:lnTo>
                  <a:lnTo>
                    <a:pt x="508" y="232"/>
                  </a:lnTo>
                  <a:lnTo>
                    <a:pt x="510" y="257"/>
                  </a:lnTo>
                  <a:lnTo>
                    <a:pt x="510" y="25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5" name="Line 13"/>
            <p:cNvSpPr>
              <a:spLocks noChangeShapeType="1"/>
            </p:cNvSpPr>
            <p:nvPr userDrawn="1"/>
          </p:nvSpPr>
          <p:spPr bwMode="auto">
            <a:xfrm>
              <a:off x="5667" y="745"/>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pic>
          <p:nvPicPr>
            <p:cNvPr id="26" name="Picture 14"/>
            <p:cNvPicPr>
              <a:picLocks noChangeAspect="1" noChangeArrowheads="1"/>
            </p:cNvPicPr>
            <p:nvPr userDrawn="1"/>
          </p:nvPicPr>
          <p:blipFill>
            <a:blip r:embed="rId5" cstate="hqprint">
              <a:extLst>
                <a:ext uri="{28A0092B-C50C-407E-A947-70E740481C1C}">
                  <a14:useLocalDpi xmlns:a14="http://schemas.microsoft.com/office/drawing/2010/main" val="0"/>
                </a:ext>
              </a:extLst>
            </a:blip>
            <a:srcRect/>
            <a:stretch>
              <a:fillRect/>
            </a:stretch>
          </p:blipFill>
          <p:spPr bwMode="auto">
            <a:xfrm>
              <a:off x="5478" y="637"/>
              <a:ext cx="282" cy="2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7" name="Freeform 15"/>
            <p:cNvSpPr>
              <a:spLocks/>
            </p:cNvSpPr>
            <p:nvPr userDrawn="1"/>
          </p:nvSpPr>
          <p:spPr bwMode="auto">
            <a:xfrm>
              <a:off x="5525" y="658"/>
              <a:ext cx="121" cy="25"/>
            </a:xfrm>
            <a:custGeom>
              <a:avLst/>
              <a:gdLst>
                <a:gd name="T0" fmla="*/ 0 w 364"/>
                <a:gd name="T1" fmla="*/ 75 h 75"/>
                <a:gd name="T2" fmla="*/ 0 w 364"/>
                <a:gd name="T3" fmla="*/ 75 h 75"/>
                <a:gd name="T4" fmla="*/ 19 w 364"/>
                <a:gd name="T5" fmla="*/ 58 h 75"/>
                <a:gd name="T6" fmla="*/ 40 w 364"/>
                <a:gd name="T7" fmla="*/ 44 h 75"/>
                <a:gd name="T8" fmla="*/ 62 w 364"/>
                <a:gd name="T9" fmla="*/ 31 h 75"/>
                <a:gd name="T10" fmla="*/ 85 w 364"/>
                <a:gd name="T11" fmla="*/ 20 h 75"/>
                <a:gd name="T12" fmla="*/ 108 w 364"/>
                <a:gd name="T13" fmla="*/ 11 h 75"/>
                <a:gd name="T14" fmla="*/ 132 w 364"/>
                <a:gd name="T15" fmla="*/ 5 h 75"/>
                <a:gd name="T16" fmla="*/ 156 w 364"/>
                <a:gd name="T17" fmla="*/ 1 h 75"/>
                <a:gd name="T18" fmla="*/ 182 w 364"/>
                <a:gd name="T19" fmla="*/ 0 h 75"/>
                <a:gd name="T20" fmla="*/ 206 w 364"/>
                <a:gd name="T21" fmla="*/ 1 h 75"/>
                <a:gd name="T22" fmla="*/ 231 w 364"/>
                <a:gd name="T23" fmla="*/ 4 h 75"/>
                <a:gd name="T24" fmla="*/ 255 w 364"/>
                <a:gd name="T25" fmla="*/ 10 h 75"/>
                <a:gd name="T26" fmla="*/ 278 w 364"/>
                <a:gd name="T27" fmla="*/ 18 h 75"/>
                <a:gd name="T28" fmla="*/ 301 w 364"/>
                <a:gd name="T29" fmla="*/ 28 h 75"/>
                <a:gd name="T30" fmla="*/ 324 w 364"/>
                <a:gd name="T31" fmla="*/ 41 h 75"/>
                <a:gd name="T32" fmla="*/ 344 w 364"/>
                <a:gd name="T33" fmla="*/ 55 h 75"/>
                <a:gd name="T34" fmla="*/ 364 w 364"/>
                <a:gd name="T35" fmla="*/ 72 h 75"/>
                <a:gd name="T36" fmla="*/ 0 w 364"/>
                <a:gd name="T37"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4" h="75">
                  <a:moveTo>
                    <a:pt x="0" y="75"/>
                  </a:moveTo>
                  <a:lnTo>
                    <a:pt x="0" y="75"/>
                  </a:lnTo>
                  <a:lnTo>
                    <a:pt x="19" y="58"/>
                  </a:lnTo>
                  <a:lnTo>
                    <a:pt x="40" y="44"/>
                  </a:lnTo>
                  <a:lnTo>
                    <a:pt x="62" y="31"/>
                  </a:lnTo>
                  <a:lnTo>
                    <a:pt x="85" y="20"/>
                  </a:lnTo>
                  <a:lnTo>
                    <a:pt x="108" y="11"/>
                  </a:lnTo>
                  <a:lnTo>
                    <a:pt x="132" y="5"/>
                  </a:lnTo>
                  <a:lnTo>
                    <a:pt x="156" y="1"/>
                  </a:lnTo>
                  <a:lnTo>
                    <a:pt x="182" y="0"/>
                  </a:lnTo>
                  <a:lnTo>
                    <a:pt x="206" y="1"/>
                  </a:lnTo>
                  <a:lnTo>
                    <a:pt x="231" y="4"/>
                  </a:lnTo>
                  <a:lnTo>
                    <a:pt x="255" y="10"/>
                  </a:lnTo>
                  <a:lnTo>
                    <a:pt x="278" y="18"/>
                  </a:lnTo>
                  <a:lnTo>
                    <a:pt x="301" y="28"/>
                  </a:lnTo>
                  <a:lnTo>
                    <a:pt x="324" y="41"/>
                  </a:lnTo>
                  <a:lnTo>
                    <a:pt x="344" y="55"/>
                  </a:lnTo>
                  <a:lnTo>
                    <a:pt x="364" y="72"/>
                  </a:lnTo>
                  <a:lnTo>
                    <a:pt x="0" y="75"/>
                  </a:lnTo>
                  <a:close/>
                </a:path>
              </a:pathLst>
            </a:custGeom>
            <a:solidFill>
              <a:srgbClr val="00987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8" name="Freeform 16"/>
            <p:cNvSpPr>
              <a:spLocks/>
            </p:cNvSpPr>
            <p:nvPr userDrawn="1"/>
          </p:nvSpPr>
          <p:spPr bwMode="auto">
            <a:xfrm>
              <a:off x="5525" y="658"/>
              <a:ext cx="121" cy="25"/>
            </a:xfrm>
            <a:custGeom>
              <a:avLst/>
              <a:gdLst>
                <a:gd name="T0" fmla="*/ 0 w 364"/>
                <a:gd name="T1" fmla="*/ 75 h 75"/>
                <a:gd name="T2" fmla="*/ 0 w 364"/>
                <a:gd name="T3" fmla="*/ 75 h 75"/>
                <a:gd name="T4" fmla="*/ 19 w 364"/>
                <a:gd name="T5" fmla="*/ 58 h 75"/>
                <a:gd name="T6" fmla="*/ 40 w 364"/>
                <a:gd name="T7" fmla="*/ 44 h 75"/>
                <a:gd name="T8" fmla="*/ 62 w 364"/>
                <a:gd name="T9" fmla="*/ 31 h 75"/>
                <a:gd name="T10" fmla="*/ 85 w 364"/>
                <a:gd name="T11" fmla="*/ 20 h 75"/>
                <a:gd name="T12" fmla="*/ 108 w 364"/>
                <a:gd name="T13" fmla="*/ 11 h 75"/>
                <a:gd name="T14" fmla="*/ 132 w 364"/>
                <a:gd name="T15" fmla="*/ 5 h 75"/>
                <a:gd name="T16" fmla="*/ 156 w 364"/>
                <a:gd name="T17" fmla="*/ 1 h 75"/>
                <a:gd name="T18" fmla="*/ 182 w 364"/>
                <a:gd name="T19" fmla="*/ 0 h 75"/>
                <a:gd name="T20" fmla="*/ 206 w 364"/>
                <a:gd name="T21" fmla="*/ 1 h 75"/>
                <a:gd name="T22" fmla="*/ 231 w 364"/>
                <a:gd name="T23" fmla="*/ 4 h 75"/>
                <a:gd name="T24" fmla="*/ 255 w 364"/>
                <a:gd name="T25" fmla="*/ 10 h 75"/>
                <a:gd name="T26" fmla="*/ 278 w 364"/>
                <a:gd name="T27" fmla="*/ 18 h 75"/>
                <a:gd name="T28" fmla="*/ 301 w 364"/>
                <a:gd name="T29" fmla="*/ 28 h 75"/>
                <a:gd name="T30" fmla="*/ 324 w 364"/>
                <a:gd name="T31" fmla="*/ 41 h 75"/>
                <a:gd name="T32" fmla="*/ 344 w 364"/>
                <a:gd name="T33" fmla="*/ 55 h 75"/>
                <a:gd name="T34" fmla="*/ 364 w 364"/>
                <a:gd name="T35" fmla="*/ 7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64" h="75">
                  <a:moveTo>
                    <a:pt x="0" y="75"/>
                  </a:moveTo>
                  <a:lnTo>
                    <a:pt x="0" y="75"/>
                  </a:lnTo>
                  <a:lnTo>
                    <a:pt x="19" y="58"/>
                  </a:lnTo>
                  <a:lnTo>
                    <a:pt x="40" y="44"/>
                  </a:lnTo>
                  <a:lnTo>
                    <a:pt x="62" y="31"/>
                  </a:lnTo>
                  <a:lnTo>
                    <a:pt x="85" y="20"/>
                  </a:lnTo>
                  <a:lnTo>
                    <a:pt x="108" y="11"/>
                  </a:lnTo>
                  <a:lnTo>
                    <a:pt x="132" y="5"/>
                  </a:lnTo>
                  <a:lnTo>
                    <a:pt x="156" y="1"/>
                  </a:lnTo>
                  <a:lnTo>
                    <a:pt x="182" y="0"/>
                  </a:lnTo>
                  <a:lnTo>
                    <a:pt x="206" y="1"/>
                  </a:lnTo>
                  <a:lnTo>
                    <a:pt x="231" y="4"/>
                  </a:lnTo>
                  <a:lnTo>
                    <a:pt x="255" y="10"/>
                  </a:lnTo>
                  <a:lnTo>
                    <a:pt x="278" y="18"/>
                  </a:lnTo>
                  <a:lnTo>
                    <a:pt x="301" y="28"/>
                  </a:lnTo>
                  <a:lnTo>
                    <a:pt x="324" y="41"/>
                  </a:lnTo>
                  <a:lnTo>
                    <a:pt x="344" y="55"/>
                  </a:lnTo>
                  <a:lnTo>
                    <a:pt x="364" y="7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pic>
          <p:nvPicPr>
            <p:cNvPr id="29" name="Picture 17"/>
            <p:cNvPicPr>
              <a:picLocks noChangeAspect="1" noChangeArrowheads="1"/>
            </p:cNvPicPr>
            <p:nvPr userDrawn="1"/>
          </p:nvPicPr>
          <p:blipFill>
            <a:blip r:embed="rId6" cstate="hqprint">
              <a:extLst>
                <a:ext uri="{28A0092B-C50C-407E-A947-70E740481C1C}">
                  <a14:useLocalDpi xmlns:a14="http://schemas.microsoft.com/office/drawing/2010/main" val="0"/>
                </a:ext>
              </a:extLst>
            </a:blip>
            <a:srcRect/>
            <a:stretch>
              <a:fillRect/>
            </a:stretch>
          </p:blipFill>
          <p:spPr bwMode="auto">
            <a:xfrm>
              <a:off x="5478" y="637"/>
              <a:ext cx="282" cy="2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 name="Freeform 18"/>
            <p:cNvSpPr>
              <a:spLocks noEditPoints="1"/>
            </p:cNvSpPr>
            <p:nvPr userDrawn="1"/>
          </p:nvSpPr>
          <p:spPr bwMode="auto">
            <a:xfrm>
              <a:off x="5510" y="659"/>
              <a:ext cx="160" cy="156"/>
            </a:xfrm>
            <a:custGeom>
              <a:avLst/>
              <a:gdLst>
                <a:gd name="T0" fmla="*/ 478 w 478"/>
                <a:gd name="T1" fmla="*/ 232 h 466"/>
                <a:gd name="T2" fmla="*/ 474 w 478"/>
                <a:gd name="T3" fmla="*/ 279 h 466"/>
                <a:gd name="T4" fmla="*/ 460 w 478"/>
                <a:gd name="T5" fmla="*/ 323 h 466"/>
                <a:gd name="T6" fmla="*/ 437 w 478"/>
                <a:gd name="T7" fmla="*/ 363 h 466"/>
                <a:gd name="T8" fmla="*/ 408 w 478"/>
                <a:gd name="T9" fmla="*/ 398 h 466"/>
                <a:gd name="T10" fmla="*/ 373 w 478"/>
                <a:gd name="T11" fmla="*/ 426 h 466"/>
                <a:gd name="T12" fmla="*/ 332 w 478"/>
                <a:gd name="T13" fmla="*/ 447 h 466"/>
                <a:gd name="T14" fmla="*/ 288 w 478"/>
                <a:gd name="T15" fmla="*/ 460 h 466"/>
                <a:gd name="T16" fmla="*/ 239 w 478"/>
                <a:gd name="T17" fmla="*/ 466 h 466"/>
                <a:gd name="T18" fmla="*/ 215 w 478"/>
                <a:gd name="T19" fmla="*/ 465 h 466"/>
                <a:gd name="T20" fmla="*/ 168 w 478"/>
                <a:gd name="T21" fmla="*/ 455 h 466"/>
                <a:gd name="T22" fmla="*/ 125 w 478"/>
                <a:gd name="T23" fmla="*/ 437 h 466"/>
                <a:gd name="T24" fmla="*/ 88 w 478"/>
                <a:gd name="T25" fmla="*/ 412 h 466"/>
                <a:gd name="T26" fmla="*/ 55 w 478"/>
                <a:gd name="T27" fmla="*/ 380 h 466"/>
                <a:gd name="T28" fmla="*/ 29 w 478"/>
                <a:gd name="T29" fmla="*/ 343 h 466"/>
                <a:gd name="T30" fmla="*/ 12 w 478"/>
                <a:gd name="T31" fmla="*/ 302 h 466"/>
                <a:gd name="T32" fmla="*/ 2 w 478"/>
                <a:gd name="T33" fmla="*/ 256 h 466"/>
                <a:gd name="T34" fmla="*/ 0 w 478"/>
                <a:gd name="T35" fmla="*/ 232 h 466"/>
                <a:gd name="T36" fmla="*/ 5 w 478"/>
                <a:gd name="T37" fmla="*/ 185 h 466"/>
                <a:gd name="T38" fmla="*/ 19 w 478"/>
                <a:gd name="T39" fmla="*/ 141 h 466"/>
                <a:gd name="T40" fmla="*/ 42 w 478"/>
                <a:gd name="T41" fmla="*/ 103 h 466"/>
                <a:gd name="T42" fmla="*/ 70 w 478"/>
                <a:gd name="T43" fmla="*/ 68 h 466"/>
                <a:gd name="T44" fmla="*/ 106 w 478"/>
                <a:gd name="T45" fmla="*/ 40 h 466"/>
                <a:gd name="T46" fmla="*/ 146 w 478"/>
                <a:gd name="T47" fmla="*/ 17 h 466"/>
                <a:gd name="T48" fmla="*/ 191 w 478"/>
                <a:gd name="T49" fmla="*/ 4 h 466"/>
                <a:gd name="T50" fmla="*/ 239 w 478"/>
                <a:gd name="T51" fmla="*/ 0 h 466"/>
                <a:gd name="T52" fmla="*/ 264 w 478"/>
                <a:gd name="T53" fmla="*/ 0 h 466"/>
                <a:gd name="T54" fmla="*/ 311 w 478"/>
                <a:gd name="T55" fmla="*/ 10 h 466"/>
                <a:gd name="T56" fmla="*/ 354 w 478"/>
                <a:gd name="T57" fmla="*/ 27 h 466"/>
                <a:gd name="T58" fmla="*/ 391 w 478"/>
                <a:gd name="T59" fmla="*/ 53 h 466"/>
                <a:gd name="T60" fmla="*/ 424 w 478"/>
                <a:gd name="T61" fmla="*/ 84 h 466"/>
                <a:gd name="T62" fmla="*/ 450 w 478"/>
                <a:gd name="T63" fmla="*/ 121 h 466"/>
                <a:gd name="T64" fmla="*/ 467 w 478"/>
                <a:gd name="T65" fmla="*/ 164 h 466"/>
                <a:gd name="T66" fmla="*/ 477 w 478"/>
                <a:gd name="T67" fmla="*/ 208 h 466"/>
                <a:gd name="T68" fmla="*/ 478 w 478"/>
                <a:gd name="T69" fmla="*/ 232 h 466"/>
                <a:gd name="T70" fmla="*/ 478 w 478"/>
                <a:gd name="T71" fmla="*/ 232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78" h="466">
                  <a:moveTo>
                    <a:pt x="478" y="232"/>
                  </a:moveTo>
                  <a:lnTo>
                    <a:pt x="478" y="232"/>
                  </a:lnTo>
                  <a:lnTo>
                    <a:pt x="477" y="256"/>
                  </a:lnTo>
                  <a:lnTo>
                    <a:pt x="474" y="279"/>
                  </a:lnTo>
                  <a:lnTo>
                    <a:pt x="467" y="302"/>
                  </a:lnTo>
                  <a:lnTo>
                    <a:pt x="460" y="323"/>
                  </a:lnTo>
                  <a:lnTo>
                    <a:pt x="450" y="343"/>
                  </a:lnTo>
                  <a:lnTo>
                    <a:pt x="437" y="363"/>
                  </a:lnTo>
                  <a:lnTo>
                    <a:pt x="424" y="380"/>
                  </a:lnTo>
                  <a:lnTo>
                    <a:pt x="408" y="398"/>
                  </a:lnTo>
                  <a:lnTo>
                    <a:pt x="391" y="412"/>
                  </a:lnTo>
                  <a:lnTo>
                    <a:pt x="373" y="426"/>
                  </a:lnTo>
                  <a:lnTo>
                    <a:pt x="354" y="437"/>
                  </a:lnTo>
                  <a:lnTo>
                    <a:pt x="332" y="447"/>
                  </a:lnTo>
                  <a:lnTo>
                    <a:pt x="311" y="455"/>
                  </a:lnTo>
                  <a:lnTo>
                    <a:pt x="288" y="460"/>
                  </a:lnTo>
                  <a:lnTo>
                    <a:pt x="264" y="465"/>
                  </a:lnTo>
                  <a:lnTo>
                    <a:pt x="239" y="466"/>
                  </a:lnTo>
                  <a:lnTo>
                    <a:pt x="239" y="466"/>
                  </a:lnTo>
                  <a:lnTo>
                    <a:pt x="215" y="465"/>
                  </a:lnTo>
                  <a:lnTo>
                    <a:pt x="191" y="460"/>
                  </a:lnTo>
                  <a:lnTo>
                    <a:pt x="168" y="455"/>
                  </a:lnTo>
                  <a:lnTo>
                    <a:pt x="146" y="447"/>
                  </a:lnTo>
                  <a:lnTo>
                    <a:pt x="125" y="437"/>
                  </a:lnTo>
                  <a:lnTo>
                    <a:pt x="106" y="426"/>
                  </a:lnTo>
                  <a:lnTo>
                    <a:pt x="88" y="412"/>
                  </a:lnTo>
                  <a:lnTo>
                    <a:pt x="70" y="398"/>
                  </a:lnTo>
                  <a:lnTo>
                    <a:pt x="55" y="380"/>
                  </a:lnTo>
                  <a:lnTo>
                    <a:pt x="42" y="363"/>
                  </a:lnTo>
                  <a:lnTo>
                    <a:pt x="29" y="343"/>
                  </a:lnTo>
                  <a:lnTo>
                    <a:pt x="19" y="323"/>
                  </a:lnTo>
                  <a:lnTo>
                    <a:pt x="12" y="302"/>
                  </a:lnTo>
                  <a:lnTo>
                    <a:pt x="5" y="279"/>
                  </a:lnTo>
                  <a:lnTo>
                    <a:pt x="2" y="256"/>
                  </a:lnTo>
                  <a:lnTo>
                    <a:pt x="0" y="232"/>
                  </a:lnTo>
                  <a:lnTo>
                    <a:pt x="0" y="232"/>
                  </a:lnTo>
                  <a:lnTo>
                    <a:pt x="2" y="208"/>
                  </a:lnTo>
                  <a:lnTo>
                    <a:pt x="5" y="185"/>
                  </a:lnTo>
                  <a:lnTo>
                    <a:pt x="12" y="164"/>
                  </a:lnTo>
                  <a:lnTo>
                    <a:pt x="19" y="141"/>
                  </a:lnTo>
                  <a:lnTo>
                    <a:pt x="29" y="121"/>
                  </a:lnTo>
                  <a:lnTo>
                    <a:pt x="42" y="103"/>
                  </a:lnTo>
                  <a:lnTo>
                    <a:pt x="55" y="84"/>
                  </a:lnTo>
                  <a:lnTo>
                    <a:pt x="70" y="68"/>
                  </a:lnTo>
                  <a:lnTo>
                    <a:pt x="88" y="53"/>
                  </a:lnTo>
                  <a:lnTo>
                    <a:pt x="106" y="40"/>
                  </a:lnTo>
                  <a:lnTo>
                    <a:pt x="125" y="27"/>
                  </a:lnTo>
                  <a:lnTo>
                    <a:pt x="146" y="17"/>
                  </a:lnTo>
                  <a:lnTo>
                    <a:pt x="168" y="10"/>
                  </a:lnTo>
                  <a:lnTo>
                    <a:pt x="191" y="4"/>
                  </a:lnTo>
                  <a:lnTo>
                    <a:pt x="215" y="0"/>
                  </a:lnTo>
                  <a:lnTo>
                    <a:pt x="239" y="0"/>
                  </a:lnTo>
                  <a:lnTo>
                    <a:pt x="239" y="0"/>
                  </a:lnTo>
                  <a:lnTo>
                    <a:pt x="264" y="0"/>
                  </a:lnTo>
                  <a:lnTo>
                    <a:pt x="288" y="4"/>
                  </a:lnTo>
                  <a:lnTo>
                    <a:pt x="311" y="10"/>
                  </a:lnTo>
                  <a:lnTo>
                    <a:pt x="332" y="17"/>
                  </a:lnTo>
                  <a:lnTo>
                    <a:pt x="354" y="27"/>
                  </a:lnTo>
                  <a:lnTo>
                    <a:pt x="373" y="40"/>
                  </a:lnTo>
                  <a:lnTo>
                    <a:pt x="391" y="53"/>
                  </a:lnTo>
                  <a:lnTo>
                    <a:pt x="408" y="67"/>
                  </a:lnTo>
                  <a:lnTo>
                    <a:pt x="424" y="84"/>
                  </a:lnTo>
                  <a:lnTo>
                    <a:pt x="437" y="103"/>
                  </a:lnTo>
                  <a:lnTo>
                    <a:pt x="450" y="121"/>
                  </a:lnTo>
                  <a:lnTo>
                    <a:pt x="460" y="141"/>
                  </a:lnTo>
                  <a:lnTo>
                    <a:pt x="467" y="164"/>
                  </a:lnTo>
                  <a:lnTo>
                    <a:pt x="474" y="185"/>
                  </a:lnTo>
                  <a:lnTo>
                    <a:pt x="477" y="208"/>
                  </a:lnTo>
                  <a:lnTo>
                    <a:pt x="478" y="232"/>
                  </a:lnTo>
                  <a:lnTo>
                    <a:pt x="478" y="232"/>
                  </a:lnTo>
                  <a:close/>
                  <a:moveTo>
                    <a:pt x="478" y="232"/>
                  </a:moveTo>
                  <a:lnTo>
                    <a:pt x="478" y="23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1" name="Freeform 19"/>
            <p:cNvSpPr>
              <a:spLocks/>
            </p:cNvSpPr>
            <p:nvPr userDrawn="1"/>
          </p:nvSpPr>
          <p:spPr bwMode="auto">
            <a:xfrm>
              <a:off x="5510" y="659"/>
              <a:ext cx="160" cy="156"/>
            </a:xfrm>
            <a:custGeom>
              <a:avLst/>
              <a:gdLst>
                <a:gd name="T0" fmla="*/ 478 w 478"/>
                <a:gd name="T1" fmla="*/ 232 h 466"/>
                <a:gd name="T2" fmla="*/ 474 w 478"/>
                <a:gd name="T3" fmla="*/ 279 h 466"/>
                <a:gd name="T4" fmla="*/ 460 w 478"/>
                <a:gd name="T5" fmla="*/ 323 h 466"/>
                <a:gd name="T6" fmla="*/ 437 w 478"/>
                <a:gd name="T7" fmla="*/ 363 h 466"/>
                <a:gd name="T8" fmla="*/ 408 w 478"/>
                <a:gd name="T9" fmla="*/ 398 h 466"/>
                <a:gd name="T10" fmla="*/ 373 w 478"/>
                <a:gd name="T11" fmla="*/ 426 h 466"/>
                <a:gd name="T12" fmla="*/ 332 w 478"/>
                <a:gd name="T13" fmla="*/ 447 h 466"/>
                <a:gd name="T14" fmla="*/ 288 w 478"/>
                <a:gd name="T15" fmla="*/ 460 h 466"/>
                <a:gd name="T16" fmla="*/ 239 w 478"/>
                <a:gd name="T17" fmla="*/ 466 h 466"/>
                <a:gd name="T18" fmla="*/ 215 w 478"/>
                <a:gd name="T19" fmla="*/ 465 h 466"/>
                <a:gd name="T20" fmla="*/ 168 w 478"/>
                <a:gd name="T21" fmla="*/ 455 h 466"/>
                <a:gd name="T22" fmla="*/ 125 w 478"/>
                <a:gd name="T23" fmla="*/ 437 h 466"/>
                <a:gd name="T24" fmla="*/ 88 w 478"/>
                <a:gd name="T25" fmla="*/ 412 h 466"/>
                <a:gd name="T26" fmla="*/ 55 w 478"/>
                <a:gd name="T27" fmla="*/ 380 h 466"/>
                <a:gd name="T28" fmla="*/ 29 w 478"/>
                <a:gd name="T29" fmla="*/ 343 h 466"/>
                <a:gd name="T30" fmla="*/ 12 w 478"/>
                <a:gd name="T31" fmla="*/ 302 h 466"/>
                <a:gd name="T32" fmla="*/ 2 w 478"/>
                <a:gd name="T33" fmla="*/ 256 h 466"/>
                <a:gd name="T34" fmla="*/ 0 w 478"/>
                <a:gd name="T35" fmla="*/ 232 h 466"/>
                <a:gd name="T36" fmla="*/ 5 w 478"/>
                <a:gd name="T37" fmla="*/ 185 h 466"/>
                <a:gd name="T38" fmla="*/ 19 w 478"/>
                <a:gd name="T39" fmla="*/ 141 h 466"/>
                <a:gd name="T40" fmla="*/ 42 w 478"/>
                <a:gd name="T41" fmla="*/ 103 h 466"/>
                <a:gd name="T42" fmla="*/ 70 w 478"/>
                <a:gd name="T43" fmla="*/ 68 h 466"/>
                <a:gd name="T44" fmla="*/ 106 w 478"/>
                <a:gd name="T45" fmla="*/ 40 h 466"/>
                <a:gd name="T46" fmla="*/ 146 w 478"/>
                <a:gd name="T47" fmla="*/ 17 h 466"/>
                <a:gd name="T48" fmla="*/ 191 w 478"/>
                <a:gd name="T49" fmla="*/ 4 h 466"/>
                <a:gd name="T50" fmla="*/ 239 w 478"/>
                <a:gd name="T51" fmla="*/ 0 h 466"/>
                <a:gd name="T52" fmla="*/ 264 w 478"/>
                <a:gd name="T53" fmla="*/ 0 h 466"/>
                <a:gd name="T54" fmla="*/ 311 w 478"/>
                <a:gd name="T55" fmla="*/ 10 h 466"/>
                <a:gd name="T56" fmla="*/ 354 w 478"/>
                <a:gd name="T57" fmla="*/ 27 h 466"/>
                <a:gd name="T58" fmla="*/ 391 w 478"/>
                <a:gd name="T59" fmla="*/ 53 h 466"/>
                <a:gd name="T60" fmla="*/ 424 w 478"/>
                <a:gd name="T61" fmla="*/ 84 h 466"/>
                <a:gd name="T62" fmla="*/ 450 w 478"/>
                <a:gd name="T63" fmla="*/ 121 h 466"/>
                <a:gd name="T64" fmla="*/ 467 w 478"/>
                <a:gd name="T65" fmla="*/ 164 h 466"/>
                <a:gd name="T66" fmla="*/ 477 w 478"/>
                <a:gd name="T67" fmla="*/ 208 h 466"/>
                <a:gd name="T68" fmla="*/ 478 w 478"/>
                <a:gd name="T69" fmla="*/ 232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78" h="466">
                  <a:moveTo>
                    <a:pt x="478" y="232"/>
                  </a:moveTo>
                  <a:lnTo>
                    <a:pt x="478" y="232"/>
                  </a:lnTo>
                  <a:lnTo>
                    <a:pt x="477" y="256"/>
                  </a:lnTo>
                  <a:lnTo>
                    <a:pt x="474" y="279"/>
                  </a:lnTo>
                  <a:lnTo>
                    <a:pt x="467" y="302"/>
                  </a:lnTo>
                  <a:lnTo>
                    <a:pt x="460" y="323"/>
                  </a:lnTo>
                  <a:lnTo>
                    <a:pt x="450" y="343"/>
                  </a:lnTo>
                  <a:lnTo>
                    <a:pt x="437" y="363"/>
                  </a:lnTo>
                  <a:lnTo>
                    <a:pt x="424" y="380"/>
                  </a:lnTo>
                  <a:lnTo>
                    <a:pt x="408" y="398"/>
                  </a:lnTo>
                  <a:lnTo>
                    <a:pt x="391" y="412"/>
                  </a:lnTo>
                  <a:lnTo>
                    <a:pt x="373" y="426"/>
                  </a:lnTo>
                  <a:lnTo>
                    <a:pt x="354" y="437"/>
                  </a:lnTo>
                  <a:lnTo>
                    <a:pt x="332" y="447"/>
                  </a:lnTo>
                  <a:lnTo>
                    <a:pt x="311" y="455"/>
                  </a:lnTo>
                  <a:lnTo>
                    <a:pt x="288" y="460"/>
                  </a:lnTo>
                  <a:lnTo>
                    <a:pt x="264" y="465"/>
                  </a:lnTo>
                  <a:lnTo>
                    <a:pt x="239" y="466"/>
                  </a:lnTo>
                  <a:lnTo>
                    <a:pt x="239" y="466"/>
                  </a:lnTo>
                  <a:lnTo>
                    <a:pt x="215" y="465"/>
                  </a:lnTo>
                  <a:lnTo>
                    <a:pt x="191" y="460"/>
                  </a:lnTo>
                  <a:lnTo>
                    <a:pt x="168" y="455"/>
                  </a:lnTo>
                  <a:lnTo>
                    <a:pt x="146" y="447"/>
                  </a:lnTo>
                  <a:lnTo>
                    <a:pt x="125" y="437"/>
                  </a:lnTo>
                  <a:lnTo>
                    <a:pt x="106" y="426"/>
                  </a:lnTo>
                  <a:lnTo>
                    <a:pt x="88" y="412"/>
                  </a:lnTo>
                  <a:lnTo>
                    <a:pt x="70" y="398"/>
                  </a:lnTo>
                  <a:lnTo>
                    <a:pt x="55" y="380"/>
                  </a:lnTo>
                  <a:lnTo>
                    <a:pt x="42" y="363"/>
                  </a:lnTo>
                  <a:lnTo>
                    <a:pt x="29" y="343"/>
                  </a:lnTo>
                  <a:lnTo>
                    <a:pt x="19" y="323"/>
                  </a:lnTo>
                  <a:lnTo>
                    <a:pt x="12" y="302"/>
                  </a:lnTo>
                  <a:lnTo>
                    <a:pt x="5" y="279"/>
                  </a:lnTo>
                  <a:lnTo>
                    <a:pt x="2" y="256"/>
                  </a:lnTo>
                  <a:lnTo>
                    <a:pt x="0" y="232"/>
                  </a:lnTo>
                  <a:lnTo>
                    <a:pt x="0" y="232"/>
                  </a:lnTo>
                  <a:lnTo>
                    <a:pt x="2" y="208"/>
                  </a:lnTo>
                  <a:lnTo>
                    <a:pt x="5" y="185"/>
                  </a:lnTo>
                  <a:lnTo>
                    <a:pt x="12" y="164"/>
                  </a:lnTo>
                  <a:lnTo>
                    <a:pt x="19" y="141"/>
                  </a:lnTo>
                  <a:lnTo>
                    <a:pt x="29" y="121"/>
                  </a:lnTo>
                  <a:lnTo>
                    <a:pt x="42" y="103"/>
                  </a:lnTo>
                  <a:lnTo>
                    <a:pt x="55" y="84"/>
                  </a:lnTo>
                  <a:lnTo>
                    <a:pt x="70" y="68"/>
                  </a:lnTo>
                  <a:lnTo>
                    <a:pt x="88" y="53"/>
                  </a:lnTo>
                  <a:lnTo>
                    <a:pt x="106" y="40"/>
                  </a:lnTo>
                  <a:lnTo>
                    <a:pt x="125" y="27"/>
                  </a:lnTo>
                  <a:lnTo>
                    <a:pt x="146" y="17"/>
                  </a:lnTo>
                  <a:lnTo>
                    <a:pt x="168" y="10"/>
                  </a:lnTo>
                  <a:lnTo>
                    <a:pt x="191" y="4"/>
                  </a:lnTo>
                  <a:lnTo>
                    <a:pt x="215" y="0"/>
                  </a:lnTo>
                  <a:lnTo>
                    <a:pt x="239" y="0"/>
                  </a:lnTo>
                  <a:lnTo>
                    <a:pt x="239" y="0"/>
                  </a:lnTo>
                  <a:lnTo>
                    <a:pt x="264" y="0"/>
                  </a:lnTo>
                  <a:lnTo>
                    <a:pt x="288" y="4"/>
                  </a:lnTo>
                  <a:lnTo>
                    <a:pt x="311" y="10"/>
                  </a:lnTo>
                  <a:lnTo>
                    <a:pt x="332" y="17"/>
                  </a:lnTo>
                  <a:lnTo>
                    <a:pt x="354" y="27"/>
                  </a:lnTo>
                  <a:lnTo>
                    <a:pt x="373" y="40"/>
                  </a:lnTo>
                  <a:lnTo>
                    <a:pt x="391" y="53"/>
                  </a:lnTo>
                  <a:lnTo>
                    <a:pt x="408" y="67"/>
                  </a:lnTo>
                  <a:lnTo>
                    <a:pt x="424" y="84"/>
                  </a:lnTo>
                  <a:lnTo>
                    <a:pt x="437" y="103"/>
                  </a:lnTo>
                  <a:lnTo>
                    <a:pt x="450" y="121"/>
                  </a:lnTo>
                  <a:lnTo>
                    <a:pt x="460" y="141"/>
                  </a:lnTo>
                  <a:lnTo>
                    <a:pt x="467" y="164"/>
                  </a:lnTo>
                  <a:lnTo>
                    <a:pt x="474" y="185"/>
                  </a:lnTo>
                  <a:lnTo>
                    <a:pt x="477" y="208"/>
                  </a:lnTo>
                  <a:lnTo>
                    <a:pt x="478" y="232"/>
                  </a:lnTo>
                  <a:lnTo>
                    <a:pt x="478" y="23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2" name="Line 20"/>
            <p:cNvSpPr>
              <a:spLocks noChangeShapeType="1"/>
            </p:cNvSpPr>
            <p:nvPr userDrawn="1"/>
          </p:nvSpPr>
          <p:spPr bwMode="auto">
            <a:xfrm>
              <a:off x="5670" y="737"/>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pic>
          <p:nvPicPr>
            <p:cNvPr id="33" name="Picture 21"/>
            <p:cNvPicPr>
              <a:picLocks noChangeAspect="1" noChangeArrowheads="1"/>
            </p:cNvPicPr>
            <p:nvPr userDrawn="1"/>
          </p:nvPicPr>
          <p:blipFill>
            <a:blip r:embed="rId7" cstate="hqprint">
              <a:extLst>
                <a:ext uri="{28A0092B-C50C-407E-A947-70E740481C1C}">
                  <a14:useLocalDpi xmlns:a14="http://schemas.microsoft.com/office/drawing/2010/main" val="0"/>
                </a:ext>
              </a:extLst>
            </a:blip>
            <a:srcRect/>
            <a:stretch>
              <a:fillRect/>
            </a:stretch>
          </p:blipFill>
          <p:spPr bwMode="auto">
            <a:xfrm>
              <a:off x="5478" y="637"/>
              <a:ext cx="282" cy="2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4" name="Freeform 22"/>
            <p:cNvSpPr>
              <a:spLocks noEditPoints="1"/>
            </p:cNvSpPr>
            <p:nvPr userDrawn="1"/>
          </p:nvSpPr>
          <p:spPr bwMode="auto">
            <a:xfrm>
              <a:off x="5526" y="673"/>
              <a:ext cx="138" cy="139"/>
            </a:xfrm>
            <a:custGeom>
              <a:avLst/>
              <a:gdLst>
                <a:gd name="T0" fmla="*/ 415 w 415"/>
                <a:gd name="T1" fmla="*/ 209 h 417"/>
                <a:gd name="T2" fmla="*/ 411 w 415"/>
                <a:gd name="T3" fmla="*/ 251 h 417"/>
                <a:gd name="T4" fmla="*/ 400 w 415"/>
                <a:gd name="T5" fmla="*/ 291 h 417"/>
                <a:gd name="T6" fmla="*/ 379 w 415"/>
                <a:gd name="T7" fmla="*/ 325 h 417"/>
                <a:gd name="T8" fmla="*/ 355 w 415"/>
                <a:gd name="T9" fmla="*/ 356 h 417"/>
                <a:gd name="T10" fmla="*/ 324 w 415"/>
                <a:gd name="T11" fmla="*/ 382 h 417"/>
                <a:gd name="T12" fmla="*/ 289 w 415"/>
                <a:gd name="T13" fmla="*/ 400 h 417"/>
                <a:gd name="T14" fmla="*/ 249 w 415"/>
                <a:gd name="T15" fmla="*/ 413 h 417"/>
                <a:gd name="T16" fmla="*/ 208 w 415"/>
                <a:gd name="T17" fmla="*/ 417 h 417"/>
                <a:gd name="T18" fmla="*/ 186 w 415"/>
                <a:gd name="T19" fmla="*/ 416 h 417"/>
                <a:gd name="T20" fmla="*/ 146 w 415"/>
                <a:gd name="T21" fmla="*/ 407 h 417"/>
                <a:gd name="T22" fmla="*/ 109 w 415"/>
                <a:gd name="T23" fmla="*/ 392 h 417"/>
                <a:gd name="T24" fmla="*/ 76 w 415"/>
                <a:gd name="T25" fmla="*/ 370 h 417"/>
                <a:gd name="T26" fmla="*/ 47 w 415"/>
                <a:gd name="T27" fmla="*/ 342 h 417"/>
                <a:gd name="T28" fmla="*/ 26 w 415"/>
                <a:gd name="T29" fmla="*/ 308 h 417"/>
                <a:gd name="T30" fmla="*/ 10 w 415"/>
                <a:gd name="T31" fmla="*/ 271 h 417"/>
                <a:gd name="T32" fmla="*/ 2 w 415"/>
                <a:gd name="T33" fmla="*/ 229 h 417"/>
                <a:gd name="T34" fmla="*/ 0 w 415"/>
                <a:gd name="T35" fmla="*/ 209 h 417"/>
                <a:gd name="T36" fmla="*/ 4 w 415"/>
                <a:gd name="T37" fmla="*/ 167 h 417"/>
                <a:gd name="T38" fmla="*/ 16 w 415"/>
                <a:gd name="T39" fmla="*/ 128 h 417"/>
                <a:gd name="T40" fmla="*/ 36 w 415"/>
                <a:gd name="T41" fmla="*/ 93 h 417"/>
                <a:gd name="T42" fmla="*/ 62 w 415"/>
                <a:gd name="T43" fmla="*/ 61 h 417"/>
                <a:gd name="T44" fmla="*/ 92 w 415"/>
                <a:gd name="T45" fmla="*/ 36 h 417"/>
                <a:gd name="T46" fmla="*/ 128 w 415"/>
                <a:gd name="T47" fmla="*/ 17 h 417"/>
                <a:gd name="T48" fmla="*/ 166 w 415"/>
                <a:gd name="T49" fmla="*/ 4 h 417"/>
                <a:gd name="T50" fmla="*/ 208 w 415"/>
                <a:gd name="T51" fmla="*/ 0 h 417"/>
                <a:gd name="T52" fmla="*/ 229 w 415"/>
                <a:gd name="T53" fmla="*/ 1 h 417"/>
                <a:gd name="T54" fmla="*/ 269 w 415"/>
                <a:gd name="T55" fmla="*/ 10 h 417"/>
                <a:gd name="T56" fmla="*/ 306 w 415"/>
                <a:gd name="T57" fmla="*/ 26 h 417"/>
                <a:gd name="T58" fmla="*/ 339 w 415"/>
                <a:gd name="T59" fmla="*/ 48 h 417"/>
                <a:gd name="T60" fmla="*/ 368 w 415"/>
                <a:gd name="T61" fmla="*/ 75 h 417"/>
                <a:gd name="T62" fmla="*/ 391 w 415"/>
                <a:gd name="T63" fmla="*/ 110 h 417"/>
                <a:gd name="T64" fmla="*/ 407 w 415"/>
                <a:gd name="T65" fmla="*/ 147 h 417"/>
                <a:gd name="T66" fmla="*/ 414 w 415"/>
                <a:gd name="T67" fmla="*/ 188 h 417"/>
                <a:gd name="T68" fmla="*/ 415 w 415"/>
                <a:gd name="T69" fmla="*/ 209 h 417"/>
                <a:gd name="T70" fmla="*/ 415 w 415"/>
                <a:gd name="T71" fmla="*/ 209 h 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15" h="417">
                  <a:moveTo>
                    <a:pt x="415" y="209"/>
                  </a:moveTo>
                  <a:lnTo>
                    <a:pt x="415" y="209"/>
                  </a:lnTo>
                  <a:lnTo>
                    <a:pt x="414" y="229"/>
                  </a:lnTo>
                  <a:lnTo>
                    <a:pt x="411" y="251"/>
                  </a:lnTo>
                  <a:lnTo>
                    <a:pt x="407" y="271"/>
                  </a:lnTo>
                  <a:lnTo>
                    <a:pt x="400" y="291"/>
                  </a:lnTo>
                  <a:lnTo>
                    <a:pt x="391" y="308"/>
                  </a:lnTo>
                  <a:lnTo>
                    <a:pt x="379" y="325"/>
                  </a:lnTo>
                  <a:lnTo>
                    <a:pt x="368" y="342"/>
                  </a:lnTo>
                  <a:lnTo>
                    <a:pt x="355" y="356"/>
                  </a:lnTo>
                  <a:lnTo>
                    <a:pt x="339" y="370"/>
                  </a:lnTo>
                  <a:lnTo>
                    <a:pt x="324" y="382"/>
                  </a:lnTo>
                  <a:lnTo>
                    <a:pt x="306" y="392"/>
                  </a:lnTo>
                  <a:lnTo>
                    <a:pt x="289" y="400"/>
                  </a:lnTo>
                  <a:lnTo>
                    <a:pt x="269" y="407"/>
                  </a:lnTo>
                  <a:lnTo>
                    <a:pt x="249" y="413"/>
                  </a:lnTo>
                  <a:lnTo>
                    <a:pt x="229" y="416"/>
                  </a:lnTo>
                  <a:lnTo>
                    <a:pt x="208" y="417"/>
                  </a:lnTo>
                  <a:lnTo>
                    <a:pt x="208" y="417"/>
                  </a:lnTo>
                  <a:lnTo>
                    <a:pt x="186" y="416"/>
                  </a:lnTo>
                  <a:lnTo>
                    <a:pt x="166" y="413"/>
                  </a:lnTo>
                  <a:lnTo>
                    <a:pt x="146" y="407"/>
                  </a:lnTo>
                  <a:lnTo>
                    <a:pt x="128" y="400"/>
                  </a:lnTo>
                  <a:lnTo>
                    <a:pt x="109" y="392"/>
                  </a:lnTo>
                  <a:lnTo>
                    <a:pt x="92" y="382"/>
                  </a:lnTo>
                  <a:lnTo>
                    <a:pt x="76" y="370"/>
                  </a:lnTo>
                  <a:lnTo>
                    <a:pt x="62" y="356"/>
                  </a:lnTo>
                  <a:lnTo>
                    <a:pt x="47" y="342"/>
                  </a:lnTo>
                  <a:lnTo>
                    <a:pt x="36" y="325"/>
                  </a:lnTo>
                  <a:lnTo>
                    <a:pt x="26" y="308"/>
                  </a:lnTo>
                  <a:lnTo>
                    <a:pt x="16" y="291"/>
                  </a:lnTo>
                  <a:lnTo>
                    <a:pt x="10" y="271"/>
                  </a:lnTo>
                  <a:lnTo>
                    <a:pt x="4" y="251"/>
                  </a:lnTo>
                  <a:lnTo>
                    <a:pt x="2" y="229"/>
                  </a:lnTo>
                  <a:lnTo>
                    <a:pt x="0" y="209"/>
                  </a:lnTo>
                  <a:lnTo>
                    <a:pt x="0" y="209"/>
                  </a:lnTo>
                  <a:lnTo>
                    <a:pt x="2" y="188"/>
                  </a:lnTo>
                  <a:lnTo>
                    <a:pt x="4" y="167"/>
                  </a:lnTo>
                  <a:lnTo>
                    <a:pt x="10" y="147"/>
                  </a:lnTo>
                  <a:lnTo>
                    <a:pt x="16" y="128"/>
                  </a:lnTo>
                  <a:lnTo>
                    <a:pt x="26" y="110"/>
                  </a:lnTo>
                  <a:lnTo>
                    <a:pt x="36" y="93"/>
                  </a:lnTo>
                  <a:lnTo>
                    <a:pt x="47" y="75"/>
                  </a:lnTo>
                  <a:lnTo>
                    <a:pt x="62" y="61"/>
                  </a:lnTo>
                  <a:lnTo>
                    <a:pt x="76" y="48"/>
                  </a:lnTo>
                  <a:lnTo>
                    <a:pt x="92" y="36"/>
                  </a:lnTo>
                  <a:lnTo>
                    <a:pt x="109" y="26"/>
                  </a:lnTo>
                  <a:lnTo>
                    <a:pt x="128" y="17"/>
                  </a:lnTo>
                  <a:lnTo>
                    <a:pt x="146" y="10"/>
                  </a:lnTo>
                  <a:lnTo>
                    <a:pt x="166" y="4"/>
                  </a:lnTo>
                  <a:lnTo>
                    <a:pt x="186" y="1"/>
                  </a:lnTo>
                  <a:lnTo>
                    <a:pt x="208" y="0"/>
                  </a:lnTo>
                  <a:lnTo>
                    <a:pt x="208" y="0"/>
                  </a:lnTo>
                  <a:lnTo>
                    <a:pt x="229" y="1"/>
                  </a:lnTo>
                  <a:lnTo>
                    <a:pt x="249" y="4"/>
                  </a:lnTo>
                  <a:lnTo>
                    <a:pt x="269" y="10"/>
                  </a:lnTo>
                  <a:lnTo>
                    <a:pt x="289" y="17"/>
                  </a:lnTo>
                  <a:lnTo>
                    <a:pt x="306" y="26"/>
                  </a:lnTo>
                  <a:lnTo>
                    <a:pt x="324" y="36"/>
                  </a:lnTo>
                  <a:lnTo>
                    <a:pt x="339" y="48"/>
                  </a:lnTo>
                  <a:lnTo>
                    <a:pt x="355" y="61"/>
                  </a:lnTo>
                  <a:lnTo>
                    <a:pt x="368" y="75"/>
                  </a:lnTo>
                  <a:lnTo>
                    <a:pt x="379" y="93"/>
                  </a:lnTo>
                  <a:lnTo>
                    <a:pt x="391" y="110"/>
                  </a:lnTo>
                  <a:lnTo>
                    <a:pt x="400" y="128"/>
                  </a:lnTo>
                  <a:lnTo>
                    <a:pt x="407" y="147"/>
                  </a:lnTo>
                  <a:lnTo>
                    <a:pt x="411" y="167"/>
                  </a:lnTo>
                  <a:lnTo>
                    <a:pt x="414" y="188"/>
                  </a:lnTo>
                  <a:lnTo>
                    <a:pt x="415" y="209"/>
                  </a:lnTo>
                  <a:lnTo>
                    <a:pt x="415" y="209"/>
                  </a:lnTo>
                  <a:close/>
                  <a:moveTo>
                    <a:pt x="415" y="209"/>
                  </a:moveTo>
                  <a:lnTo>
                    <a:pt x="415" y="20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5" name="Freeform 23"/>
            <p:cNvSpPr>
              <a:spLocks/>
            </p:cNvSpPr>
            <p:nvPr userDrawn="1"/>
          </p:nvSpPr>
          <p:spPr bwMode="auto">
            <a:xfrm>
              <a:off x="5526" y="673"/>
              <a:ext cx="138" cy="139"/>
            </a:xfrm>
            <a:custGeom>
              <a:avLst/>
              <a:gdLst>
                <a:gd name="T0" fmla="*/ 415 w 415"/>
                <a:gd name="T1" fmla="*/ 209 h 417"/>
                <a:gd name="T2" fmla="*/ 411 w 415"/>
                <a:gd name="T3" fmla="*/ 251 h 417"/>
                <a:gd name="T4" fmla="*/ 400 w 415"/>
                <a:gd name="T5" fmla="*/ 291 h 417"/>
                <a:gd name="T6" fmla="*/ 379 w 415"/>
                <a:gd name="T7" fmla="*/ 325 h 417"/>
                <a:gd name="T8" fmla="*/ 355 w 415"/>
                <a:gd name="T9" fmla="*/ 356 h 417"/>
                <a:gd name="T10" fmla="*/ 324 w 415"/>
                <a:gd name="T11" fmla="*/ 382 h 417"/>
                <a:gd name="T12" fmla="*/ 289 w 415"/>
                <a:gd name="T13" fmla="*/ 400 h 417"/>
                <a:gd name="T14" fmla="*/ 249 w 415"/>
                <a:gd name="T15" fmla="*/ 413 h 417"/>
                <a:gd name="T16" fmla="*/ 208 w 415"/>
                <a:gd name="T17" fmla="*/ 417 h 417"/>
                <a:gd name="T18" fmla="*/ 186 w 415"/>
                <a:gd name="T19" fmla="*/ 416 h 417"/>
                <a:gd name="T20" fmla="*/ 146 w 415"/>
                <a:gd name="T21" fmla="*/ 407 h 417"/>
                <a:gd name="T22" fmla="*/ 109 w 415"/>
                <a:gd name="T23" fmla="*/ 392 h 417"/>
                <a:gd name="T24" fmla="*/ 76 w 415"/>
                <a:gd name="T25" fmla="*/ 370 h 417"/>
                <a:gd name="T26" fmla="*/ 47 w 415"/>
                <a:gd name="T27" fmla="*/ 342 h 417"/>
                <a:gd name="T28" fmla="*/ 26 w 415"/>
                <a:gd name="T29" fmla="*/ 308 h 417"/>
                <a:gd name="T30" fmla="*/ 10 w 415"/>
                <a:gd name="T31" fmla="*/ 271 h 417"/>
                <a:gd name="T32" fmla="*/ 2 w 415"/>
                <a:gd name="T33" fmla="*/ 229 h 417"/>
                <a:gd name="T34" fmla="*/ 0 w 415"/>
                <a:gd name="T35" fmla="*/ 209 h 417"/>
                <a:gd name="T36" fmla="*/ 4 w 415"/>
                <a:gd name="T37" fmla="*/ 167 h 417"/>
                <a:gd name="T38" fmla="*/ 16 w 415"/>
                <a:gd name="T39" fmla="*/ 128 h 417"/>
                <a:gd name="T40" fmla="*/ 36 w 415"/>
                <a:gd name="T41" fmla="*/ 93 h 417"/>
                <a:gd name="T42" fmla="*/ 62 w 415"/>
                <a:gd name="T43" fmla="*/ 61 h 417"/>
                <a:gd name="T44" fmla="*/ 92 w 415"/>
                <a:gd name="T45" fmla="*/ 36 h 417"/>
                <a:gd name="T46" fmla="*/ 128 w 415"/>
                <a:gd name="T47" fmla="*/ 17 h 417"/>
                <a:gd name="T48" fmla="*/ 166 w 415"/>
                <a:gd name="T49" fmla="*/ 4 h 417"/>
                <a:gd name="T50" fmla="*/ 208 w 415"/>
                <a:gd name="T51" fmla="*/ 0 h 417"/>
                <a:gd name="T52" fmla="*/ 229 w 415"/>
                <a:gd name="T53" fmla="*/ 1 h 417"/>
                <a:gd name="T54" fmla="*/ 269 w 415"/>
                <a:gd name="T55" fmla="*/ 10 h 417"/>
                <a:gd name="T56" fmla="*/ 306 w 415"/>
                <a:gd name="T57" fmla="*/ 26 h 417"/>
                <a:gd name="T58" fmla="*/ 339 w 415"/>
                <a:gd name="T59" fmla="*/ 48 h 417"/>
                <a:gd name="T60" fmla="*/ 368 w 415"/>
                <a:gd name="T61" fmla="*/ 75 h 417"/>
                <a:gd name="T62" fmla="*/ 391 w 415"/>
                <a:gd name="T63" fmla="*/ 110 h 417"/>
                <a:gd name="T64" fmla="*/ 407 w 415"/>
                <a:gd name="T65" fmla="*/ 147 h 417"/>
                <a:gd name="T66" fmla="*/ 414 w 415"/>
                <a:gd name="T67" fmla="*/ 188 h 417"/>
                <a:gd name="T68" fmla="*/ 415 w 415"/>
                <a:gd name="T69" fmla="*/ 209 h 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15" h="417">
                  <a:moveTo>
                    <a:pt x="415" y="209"/>
                  </a:moveTo>
                  <a:lnTo>
                    <a:pt x="415" y="209"/>
                  </a:lnTo>
                  <a:lnTo>
                    <a:pt x="414" y="229"/>
                  </a:lnTo>
                  <a:lnTo>
                    <a:pt x="411" y="251"/>
                  </a:lnTo>
                  <a:lnTo>
                    <a:pt x="407" y="271"/>
                  </a:lnTo>
                  <a:lnTo>
                    <a:pt x="400" y="291"/>
                  </a:lnTo>
                  <a:lnTo>
                    <a:pt x="391" y="308"/>
                  </a:lnTo>
                  <a:lnTo>
                    <a:pt x="379" y="325"/>
                  </a:lnTo>
                  <a:lnTo>
                    <a:pt x="368" y="342"/>
                  </a:lnTo>
                  <a:lnTo>
                    <a:pt x="355" y="356"/>
                  </a:lnTo>
                  <a:lnTo>
                    <a:pt x="339" y="370"/>
                  </a:lnTo>
                  <a:lnTo>
                    <a:pt x="324" y="382"/>
                  </a:lnTo>
                  <a:lnTo>
                    <a:pt x="306" y="392"/>
                  </a:lnTo>
                  <a:lnTo>
                    <a:pt x="289" y="400"/>
                  </a:lnTo>
                  <a:lnTo>
                    <a:pt x="269" y="407"/>
                  </a:lnTo>
                  <a:lnTo>
                    <a:pt x="249" y="413"/>
                  </a:lnTo>
                  <a:lnTo>
                    <a:pt x="229" y="416"/>
                  </a:lnTo>
                  <a:lnTo>
                    <a:pt x="208" y="417"/>
                  </a:lnTo>
                  <a:lnTo>
                    <a:pt x="208" y="417"/>
                  </a:lnTo>
                  <a:lnTo>
                    <a:pt x="186" y="416"/>
                  </a:lnTo>
                  <a:lnTo>
                    <a:pt x="166" y="413"/>
                  </a:lnTo>
                  <a:lnTo>
                    <a:pt x="146" y="407"/>
                  </a:lnTo>
                  <a:lnTo>
                    <a:pt x="128" y="400"/>
                  </a:lnTo>
                  <a:lnTo>
                    <a:pt x="109" y="392"/>
                  </a:lnTo>
                  <a:lnTo>
                    <a:pt x="92" y="382"/>
                  </a:lnTo>
                  <a:lnTo>
                    <a:pt x="76" y="370"/>
                  </a:lnTo>
                  <a:lnTo>
                    <a:pt x="62" y="356"/>
                  </a:lnTo>
                  <a:lnTo>
                    <a:pt x="47" y="342"/>
                  </a:lnTo>
                  <a:lnTo>
                    <a:pt x="36" y="325"/>
                  </a:lnTo>
                  <a:lnTo>
                    <a:pt x="26" y="308"/>
                  </a:lnTo>
                  <a:lnTo>
                    <a:pt x="16" y="291"/>
                  </a:lnTo>
                  <a:lnTo>
                    <a:pt x="10" y="271"/>
                  </a:lnTo>
                  <a:lnTo>
                    <a:pt x="4" y="251"/>
                  </a:lnTo>
                  <a:lnTo>
                    <a:pt x="2" y="229"/>
                  </a:lnTo>
                  <a:lnTo>
                    <a:pt x="0" y="209"/>
                  </a:lnTo>
                  <a:lnTo>
                    <a:pt x="0" y="209"/>
                  </a:lnTo>
                  <a:lnTo>
                    <a:pt x="2" y="188"/>
                  </a:lnTo>
                  <a:lnTo>
                    <a:pt x="4" y="167"/>
                  </a:lnTo>
                  <a:lnTo>
                    <a:pt x="10" y="147"/>
                  </a:lnTo>
                  <a:lnTo>
                    <a:pt x="16" y="128"/>
                  </a:lnTo>
                  <a:lnTo>
                    <a:pt x="26" y="110"/>
                  </a:lnTo>
                  <a:lnTo>
                    <a:pt x="36" y="93"/>
                  </a:lnTo>
                  <a:lnTo>
                    <a:pt x="47" y="75"/>
                  </a:lnTo>
                  <a:lnTo>
                    <a:pt x="62" y="61"/>
                  </a:lnTo>
                  <a:lnTo>
                    <a:pt x="76" y="48"/>
                  </a:lnTo>
                  <a:lnTo>
                    <a:pt x="92" y="36"/>
                  </a:lnTo>
                  <a:lnTo>
                    <a:pt x="109" y="26"/>
                  </a:lnTo>
                  <a:lnTo>
                    <a:pt x="128" y="17"/>
                  </a:lnTo>
                  <a:lnTo>
                    <a:pt x="146" y="10"/>
                  </a:lnTo>
                  <a:lnTo>
                    <a:pt x="166" y="4"/>
                  </a:lnTo>
                  <a:lnTo>
                    <a:pt x="186" y="1"/>
                  </a:lnTo>
                  <a:lnTo>
                    <a:pt x="208" y="0"/>
                  </a:lnTo>
                  <a:lnTo>
                    <a:pt x="208" y="0"/>
                  </a:lnTo>
                  <a:lnTo>
                    <a:pt x="229" y="1"/>
                  </a:lnTo>
                  <a:lnTo>
                    <a:pt x="249" y="4"/>
                  </a:lnTo>
                  <a:lnTo>
                    <a:pt x="269" y="10"/>
                  </a:lnTo>
                  <a:lnTo>
                    <a:pt x="289" y="17"/>
                  </a:lnTo>
                  <a:lnTo>
                    <a:pt x="306" y="26"/>
                  </a:lnTo>
                  <a:lnTo>
                    <a:pt x="324" y="36"/>
                  </a:lnTo>
                  <a:lnTo>
                    <a:pt x="339" y="48"/>
                  </a:lnTo>
                  <a:lnTo>
                    <a:pt x="355" y="61"/>
                  </a:lnTo>
                  <a:lnTo>
                    <a:pt x="368" y="75"/>
                  </a:lnTo>
                  <a:lnTo>
                    <a:pt x="379" y="93"/>
                  </a:lnTo>
                  <a:lnTo>
                    <a:pt x="391" y="110"/>
                  </a:lnTo>
                  <a:lnTo>
                    <a:pt x="400" y="128"/>
                  </a:lnTo>
                  <a:lnTo>
                    <a:pt x="407" y="147"/>
                  </a:lnTo>
                  <a:lnTo>
                    <a:pt x="411" y="167"/>
                  </a:lnTo>
                  <a:lnTo>
                    <a:pt x="414" y="188"/>
                  </a:lnTo>
                  <a:lnTo>
                    <a:pt x="415" y="209"/>
                  </a:lnTo>
                  <a:lnTo>
                    <a:pt x="415" y="20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6" name="Line 24"/>
            <p:cNvSpPr>
              <a:spLocks noChangeShapeType="1"/>
            </p:cNvSpPr>
            <p:nvPr userDrawn="1"/>
          </p:nvSpPr>
          <p:spPr bwMode="auto">
            <a:xfrm>
              <a:off x="5664" y="742"/>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pic>
          <p:nvPicPr>
            <p:cNvPr id="37" name="Picture 25"/>
            <p:cNvPicPr>
              <a:picLocks noChangeAspect="1" noChangeArrowheads="1"/>
            </p:cNvPicPr>
            <p:nvPr userDrawn="1"/>
          </p:nvPicPr>
          <p:blipFill>
            <a:blip r:embed="rId8" cstate="hqprint">
              <a:extLst>
                <a:ext uri="{28A0092B-C50C-407E-A947-70E740481C1C}">
                  <a14:useLocalDpi xmlns:a14="http://schemas.microsoft.com/office/drawing/2010/main" val="0"/>
                </a:ext>
              </a:extLst>
            </a:blip>
            <a:srcRect/>
            <a:stretch>
              <a:fillRect/>
            </a:stretch>
          </p:blipFill>
          <p:spPr bwMode="auto">
            <a:xfrm>
              <a:off x="5478" y="637"/>
              <a:ext cx="282" cy="2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8" name="Freeform 26"/>
            <p:cNvSpPr>
              <a:spLocks noEditPoints="1"/>
            </p:cNvSpPr>
            <p:nvPr userDrawn="1"/>
          </p:nvSpPr>
          <p:spPr bwMode="auto">
            <a:xfrm>
              <a:off x="5563" y="717"/>
              <a:ext cx="44" cy="62"/>
            </a:xfrm>
            <a:custGeom>
              <a:avLst/>
              <a:gdLst>
                <a:gd name="T0" fmla="*/ 6 w 133"/>
                <a:gd name="T1" fmla="*/ 187 h 187"/>
                <a:gd name="T2" fmla="*/ 1 w 133"/>
                <a:gd name="T3" fmla="*/ 179 h 187"/>
                <a:gd name="T4" fmla="*/ 1 w 133"/>
                <a:gd name="T5" fmla="*/ 151 h 187"/>
                <a:gd name="T6" fmla="*/ 6 w 133"/>
                <a:gd name="T7" fmla="*/ 143 h 187"/>
                <a:gd name="T8" fmla="*/ 61 w 133"/>
                <a:gd name="T9" fmla="*/ 144 h 187"/>
                <a:gd name="T10" fmla="*/ 73 w 133"/>
                <a:gd name="T11" fmla="*/ 144 h 187"/>
                <a:gd name="T12" fmla="*/ 87 w 133"/>
                <a:gd name="T13" fmla="*/ 143 h 187"/>
                <a:gd name="T14" fmla="*/ 91 w 133"/>
                <a:gd name="T15" fmla="*/ 136 h 187"/>
                <a:gd name="T16" fmla="*/ 93 w 133"/>
                <a:gd name="T17" fmla="*/ 130 h 187"/>
                <a:gd name="T18" fmla="*/ 90 w 133"/>
                <a:gd name="T19" fmla="*/ 124 h 187"/>
                <a:gd name="T20" fmla="*/ 66 w 133"/>
                <a:gd name="T21" fmla="*/ 114 h 187"/>
                <a:gd name="T22" fmla="*/ 51 w 133"/>
                <a:gd name="T23" fmla="*/ 107 h 187"/>
                <a:gd name="T24" fmla="*/ 30 w 133"/>
                <a:gd name="T25" fmla="*/ 96 h 187"/>
                <a:gd name="T26" fmla="*/ 17 w 133"/>
                <a:gd name="T27" fmla="*/ 83 h 187"/>
                <a:gd name="T28" fmla="*/ 11 w 133"/>
                <a:gd name="T29" fmla="*/ 76 h 187"/>
                <a:gd name="T30" fmla="*/ 7 w 133"/>
                <a:gd name="T31" fmla="*/ 60 h 187"/>
                <a:gd name="T32" fmla="*/ 6 w 133"/>
                <a:gd name="T33" fmla="*/ 52 h 187"/>
                <a:gd name="T34" fmla="*/ 10 w 133"/>
                <a:gd name="T35" fmla="*/ 27 h 187"/>
                <a:gd name="T36" fmla="*/ 24 w 133"/>
                <a:gd name="T37" fmla="*/ 10 h 187"/>
                <a:gd name="T38" fmla="*/ 28 w 133"/>
                <a:gd name="T39" fmla="*/ 8 h 187"/>
                <a:gd name="T40" fmla="*/ 44 w 133"/>
                <a:gd name="T41" fmla="*/ 2 h 187"/>
                <a:gd name="T42" fmla="*/ 73 w 133"/>
                <a:gd name="T43" fmla="*/ 0 h 187"/>
                <a:gd name="T44" fmla="*/ 121 w 133"/>
                <a:gd name="T45" fmla="*/ 0 h 187"/>
                <a:gd name="T46" fmla="*/ 126 w 133"/>
                <a:gd name="T47" fmla="*/ 9 h 187"/>
                <a:gd name="T48" fmla="*/ 126 w 133"/>
                <a:gd name="T49" fmla="*/ 33 h 187"/>
                <a:gd name="T50" fmla="*/ 121 w 133"/>
                <a:gd name="T51" fmla="*/ 42 h 187"/>
                <a:gd name="T52" fmla="*/ 79 w 133"/>
                <a:gd name="T53" fmla="*/ 42 h 187"/>
                <a:gd name="T54" fmla="*/ 54 w 133"/>
                <a:gd name="T55" fmla="*/ 43 h 187"/>
                <a:gd name="T56" fmla="*/ 47 w 133"/>
                <a:gd name="T57" fmla="*/ 46 h 187"/>
                <a:gd name="T58" fmla="*/ 44 w 133"/>
                <a:gd name="T59" fmla="*/ 53 h 187"/>
                <a:gd name="T60" fmla="*/ 46 w 133"/>
                <a:gd name="T61" fmla="*/ 59 h 187"/>
                <a:gd name="T62" fmla="*/ 57 w 133"/>
                <a:gd name="T63" fmla="*/ 69 h 187"/>
                <a:gd name="T64" fmla="*/ 79 w 133"/>
                <a:gd name="T65" fmla="*/ 79 h 187"/>
                <a:gd name="T66" fmla="*/ 86 w 133"/>
                <a:gd name="T67" fmla="*/ 80 h 187"/>
                <a:gd name="T68" fmla="*/ 116 w 133"/>
                <a:gd name="T69" fmla="*/ 93 h 187"/>
                <a:gd name="T70" fmla="*/ 121 w 133"/>
                <a:gd name="T71" fmla="*/ 99 h 187"/>
                <a:gd name="T72" fmla="*/ 130 w 133"/>
                <a:gd name="T73" fmla="*/ 113 h 187"/>
                <a:gd name="T74" fmla="*/ 133 w 133"/>
                <a:gd name="T75" fmla="*/ 132 h 187"/>
                <a:gd name="T76" fmla="*/ 131 w 133"/>
                <a:gd name="T77" fmla="*/ 143 h 187"/>
                <a:gd name="T78" fmla="*/ 123 w 133"/>
                <a:gd name="T79" fmla="*/ 164 h 187"/>
                <a:gd name="T80" fmla="*/ 114 w 133"/>
                <a:gd name="T81" fmla="*/ 173 h 187"/>
                <a:gd name="T82" fmla="*/ 94 w 133"/>
                <a:gd name="T83" fmla="*/ 184 h 187"/>
                <a:gd name="T84" fmla="*/ 69 w 133"/>
                <a:gd name="T85" fmla="*/ 187 h 187"/>
                <a:gd name="T86" fmla="*/ 6 w 133"/>
                <a:gd name="T87"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3" h="187">
                  <a:moveTo>
                    <a:pt x="6" y="187"/>
                  </a:moveTo>
                  <a:lnTo>
                    <a:pt x="6" y="187"/>
                  </a:lnTo>
                  <a:lnTo>
                    <a:pt x="3" y="184"/>
                  </a:lnTo>
                  <a:lnTo>
                    <a:pt x="1" y="179"/>
                  </a:lnTo>
                  <a:lnTo>
                    <a:pt x="0" y="166"/>
                  </a:lnTo>
                  <a:lnTo>
                    <a:pt x="1" y="151"/>
                  </a:lnTo>
                  <a:lnTo>
                    <a:pt x="3" y="147"/>
                  </a:lnTo>
                  <a:lnTo>
                    <a:pt x="6" y="143"/>
                  </a:lnTo>
                  <a:lnTo>
                    <a:pt x="6" y="143"/>
                  </a:lnTo>
                  <a:lnTo>
                    <a:pt x="61" y="144"/>
                  </a:lnTo>
                  <a:lnTo>
                    <a:pt x="61" y="144"/>
                  </a:lnTo>
                  <a:lnTo>
                    <a:pt x="73" y="144"/>
                  </a:lnTo>
                  <a:lnTo>
                    <a:pt x="83" y="144"/>
                  </a:lnTo>
                  <a:lnTo>
                    <a:pt x="87" y="143"/>
                  </a:lnTo>
                  <a:lnTo>
                    <a:pt x="90" y="140"/>
                  </a:lnTo>
                  <a:lnTo>
                    <a:pt x="91" y="136"/>
                  </a:lnTo>
                  <a:lnTo>
                    <a:pt x="93" y="130"/>
                  </a:lnTo>
                  <a:lnTo>
                    <a:pt x="93" y="130"/>
                  </a:lnTo>
                  <a:lnTo>
                    <a:pt x="91" y="127"/>
                  </a:lnTo>
                  <a:lnTo>
                    <a:pt x="90" y="124"/>
                  </a:lnTo>
                  <a:lnTo>
                    <a:pt x="84" y="122"/>
                  </a:lnTo>
                  <a:lnTo>
                    <a:pt x="66" y="114"/>
                  </a:lnTo>
                  <a:lnTo>
                    <a:pt x="51" y="107"/>
                  </a:lnTo>
                  <a:lnTo>
                    <a:pt x="51" y="107"/>
                  </a:lnTo>
                  <a:lnTo>
                    <a:pt x="40" y="102"/>
                  </a:lnTo>
                  <a:lnTo>
                    <a:pt x="30" y="96"/>
                  </a:lnTo>
                  <a:lnTo>
                    <a:pt x="23" y="89"/>
                  </a:lnTo>
                  <a:lnTo>
                    <a:pt x="17" y="83"/>
                  </a:lnTo>
                  <a:lnTo>
                    <a:pt x="17" y="83"/>
                  </a:lnTo>
                  <a:lnTo>
                    <a:pt x="11" y="76"/>
                  </a:lnTo>
                  <a:lnTo>
                    <a:pt x="8" y="69"/>
                  </a:lnTo>
                  <a:lnTo>
                    <a:pt x="7" y="60"/>
                  </a:lnTo>
                  <a:lnTo>
                    <a:pt x="6" y="52"/>
                  </a:lnTo>
                  <a:lnTo>
                    <a:pt x="6" y="52"/>
                  </a:lnTo>
                  <a:lnTo>
                    <a:pt x="7" y="39"/>
                  </a:lnTo>
                  <a:lnTo>
                    <a:pt x="10" y="27"/>
                  </a:lnTo>
                  <a:lnTo>
                    <a:pt x="16" y="19"/>
                  </a:lnTo>
                  <a:lnTo>
                    <a:pt x="24" y="10"/>
                  </a:lnTo>
                  <a:lnTo>
                    <a:pt x="24" y="10"/>
                  </a:lnTo>
                  <a:lnTo>
                    <a:pt x="28" y="8"/>
                  </a:lnTo>
                  <a:lnTo>
                    <a:pt x="33" y="5"/>
                  </a:lnTo>
                  <a:lnTo>
                    <a:pt x="44" y="2"/>
                  </a:lnTo>
                  <a:lnTo>
                    <a:pt x="58" y="0"/>
                  </a:lnTo>
                  <a:lnTo>
                    <a:pt x="73" y="0"/>
                  </a:lnTo>
                  <a:lnTo>
                    <a:pt x="121" y="0"/>
                  </a:lnTo>
                  <a:lnTo>
                    <a:pt x="121" y="0"/>
                  </a:lnTo>
                  <a:lnTo>
                    <a:pt x="124" y="3"/>
                  </a:lnTo>
                  <a:lnTo>
                    <a:pt x="126" y="9"/>
                  </a:lnTo>
                  <a:lnTo>
                    <a:pt x="127" y="20"/>
                  </a:lnTo>
                  <a:lnTo>
                    <a:pt x="126" y="33"/>
                  </a:lnTo>
                  <a:lnTo>
                    <a:pt x="124" y="39"/>
                  </a:lnTo>
                  <a:lnTo>
                    <a:pt x="121" y="42"/>
                  </a:lnTo>
                  <a:lnTo>
                    <a:pt x="79" y="42"/>
                  </a:lnTo>
                  <a:lnTo>
                    <a:pt x="79" y="42"/>
                  </a:lnTo>
                  <a:lnTo>
                    <a:pt x="66" y="42"/>
                  </a:lnTo>
                  <a:lnTo>
                    <a:pt x="54" y="43"/>
                  </a:lnTo>
                  <a:lnTo>
                    <a:pt x="50" y="45"/>
                  </a:lnTo>
                  <a:lnTo>
                    <a:pt x="47" y="46"/>
                  </a:lnTo>
                  <a:lnTo>
                    <a:pt x="46" y="49"/>
                  </a:lnTo>
                  <a:lnTo>
                    <a:pt x="44" y="53"/>
                  </a:lnTo>
                  <a:lnTo>
                    <a:pt x="44" y="53"/>
                  </a:lnTo>
                  <a:lnTo>
                    <a:pt x="46" y="59"/>
                  </a:lnTo>
                  <a:lnTo>
                    <a:pt x="51" y="63"/>
                  </a:lnTo>
                  <a:lnTo>
                    <a:pt x="57" y="69"/>
                  </a:lnTo>
                  <a:lnTo>
                    <a:pt x="64" y="72"/>
                  </a:lnTo>
                  <a:lnTo>
                    <a:pt x="79" y="79"/>
                  </a:lnTo>
                  <a:lnTo>
                    <a:pt x="86" y="80"/>
                  </a:lnTo>
                  <a:lnTo>
                    <a:pt x="86" y="80"/>
                  </a:lnTo>
                  <a:lnTo>
                    <a:pt x="109" y="89"/>
                  </a:lnTo>
                  <a:lnTo>
                    <a:pt x="116" y="93"/>
                  </a:lnTo>
                  <a:lnTo>
                    <a:pt x="121" y="99"/>
                  </a:lnTo>
                  <a:lnTo>
                    <a:pt x="121" y="99"/>
                  </a:lnTo>
                  <a:lnTo>
                    <a:pt x="127" y="104"/>
                  </a:lnTo>
                  <a:lnTo>
                    <a:pt x="130" y="113"/>
                  </a:lnTo>
                  <a:lnTo>
                    <a:pt x="133" y="122"/>
                  </a:lnTo>
                  <a:lnTo>
                    <a:pt x="133" y="132"/>
                  </a:lnTo>
                  <a:lnTo>
                    <a:pt x="133" y="132"/>
                  </a:lnTo>
                  <a:lnTo>
                    <a:pt x="131" y="143"/>
                  </a:lnTo>
                  <a:lnTo>
                    <a:pt x="129" y="154"/>
                  </a:lnTo>
                  <a:lnTo>
                    <a:pt x="123" y="164"/>
                  </a:lnTo>
                  <a:lnTo>
                    <a:pt x="114" y="173"/>
                  </a:lnTo>
                  <a:lnTo>
                    <a:pt x="114" y="173"/>
                  </a:lnTo>
                  <a:lnTo>
                    <a:pt x="104" y="180"/>
                  </a:lnTo>
                  <a:lnTo>
                    <a:pt x="94" y="184"/>
                  </a:lnTo>
                  <a:lnTo>
                    <a:pt x="83" y="187"/>
                  </a:lnTo>
                  <a:lnTo>
                    <a:pt x="69" y="187"/>
                  </a:lnTo>
                  <a:lnTo>
                    <a:pt x="6" y="187"/>
                  </a:lnTo>
                  <a:close/>
                  <a:moveTo>
                    <a:pt x="6" y="187"/>
                  </a:moveTo>
                  <a:lnTo>
                    <a:pt x="6" y="18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9" name="Freeform 27"/>
            <p:cNvSpPr>
              <a:spLocks/>
            </p:cNvSpPr>
            <p:nvPr userDrawn="1"/>
          </p:nvSpPr>
          <p:spPr bwMode="auto">
            <a:xfrm>
              <a:off x="5563" y="717"/>
              <a:ext cx="44" cy="62"/>
            </a:xfrm>
            <a:custGeom>
              <a:avLst/>
              <a:gdLst>
                <a:gd name="T0" fmla="*/ 6 w 133"/>
                <a:gd name="T1" fmla="*/ 187 h 187"/>
                <a:gd name="T2" fmla="*/ 1 w 133"/>
                <a:gd name="T3" fmla="*/ 179 h 187"/>
                <a:gd name="T4" fmla="*/ 1 w 133"/>
                <a:gd name="T5" fmla="*/ 151 h 187"/>
                <a:gd name="T6" fmla="*/ 6 w 133"/>
                <a:gd name="T7" fmla="*/ 143 h 187"/>
                <a:gd name="T8" fmla="*/ 61 w 133"/>
                <a:gd name="T9" fmla="*/ 144 h 187"/>
                <a:gd name="T10" fmla="*/ 73 w 133"/>
                <a:gd name="T11" fmla="*/ 144 h 187"/>
                <a:gd name="T12" fmla="*/ 87 w 133"/>
                <a:gd name="T13" fmla="*/ 143 h 187"/>
                <a:gd name="T14" fmla="*/ 91 w 133"/>
                <a:gd name="T15" fmla="*/ 136 h 187"/>
                <a:gd name="T16" fmla="*/ 93 w 133"/>
                <a:gd name="T17" fmla="*/ 130 h 187"/>
                <a:gd name="T18" fmla="*/ 90 w 133"/>
                <a:gd name="T19" fmla="*/ 124 h 187"/>
                <a:gd name="T20" fmla="*/ 66 w 133"/>
                <a:gd name="T21" fmla="*/ 114 h 187"/>
                <a:gd name="T22" fmla="*/ 51 w 133"/>
                <a:gd name="T23" fmla="*/ 107 h 187"/>
                <a:gd name="T24" fmla="*/ 30 w 133"/>
                <a:gd name="T25" fmla="*/ 96 h 187"/>
                <a:gd name="T26" fmla="*/ 17 w 133"/>
                <a:gd name="T27" fmla="*/ 83 h 187"/>
                <a:gd name="T28" fmla="*/ 11 w 133"/>
                <a:gd name="T29" fmla="*/ 76 h 187"/>
                <a:gd name="T30" fmla="*/ 7 w 133"/>
                <a:gd name="T31" fmla="*/ 60 h 187"/>
                <a:gd name="T32" fmla="*/ 6 w 133"/>
                <a:gd name="T33" fmla="*/ 52 h 187"/>
                <a:gd name="T34" fmla="*/ 10 w 133"/>
                <a:gd name="T35" fmla="*/ 27 h 187"/>
                <a:gd name="T36" fmla="*/ 24 w 133"/>
                <a:gd name="T37" fmla="*/ 10 h 187"/>
                <a:gd name="T38" fmla="*/ 28 w 133"/>
                <a:gd name="T39" fmla="*/ 8 h 187"/>
                <a:gd name="T40" fmla="*/ 44 w 133"/>
                <a:gd name="T41" fmla="*/ 2 h 187"/>
                <a:gd name="T42" fmla="*/ 73 w 133"/>
                <a:gd name="T43" fmla="*/ 0 h 187"/>
                <a:gd name="T44" fmla="*/ 121 w 133"/>
                <a:gd name="T45" fmla="*/ 0 h 187"/>
                <a:gd name="T46" fmla="*/ 126 w 133"/>
                <a:gd name="T47" fmla="*/ 9 h 187"/>
                <a:gd name="T48" fmla="*/ 126 w 133"/>
                <a:gd name="T49" fmla="*/ 33 h 187"/>
                <a:gd name="T50" fmla="*/ 121 w 133"/>
                <a:gd name="T51" fmla="*/ 42 h 187"/>
                <a:gd name="T52" fmla="*/ 79 w 133"/>
                <a:gd name="T53" fmla="*/ 42 h 187"/>
                <a:gd name="T54" fmla="*/ 54 w 133"/>
                <a:gd name="T55" fmla="*/ 43 h 187"/>
                <a:gd name="T56" fmla="*/ 47 w 133"/>
                <a:gd name="T57" fmla="*/ 46 h 187"/>
                <a:gd name="T58" fmla="*/ 44 w 133"/>
                <a:gd name="T59" fmla="*/ 53 h 187"/>
                <a:gd name="T60" fmla="*/ 46 w 133"/>
                <a:gd name="T61" fmla="*/ 59 h 187"/>
                <a:gd name="T62" fmla="*/ 57 w 133"/>
                <a:gd name="T63" fmla="*/ 69 h 187"/>
                <a:gd name="T64" fmla="*/ 79 w 133"/>
                <a:gd name="T65" fmla="*/ 79 h 187"/>
                <a:gd name="T66" fmla="*/ 86 w 133"/>
                <a:gd name="T67" fmla="*/ 80 h 187"/>
                <a:gd name="T68" fmla="*/ 116 w 133"/>
                <a:gd name="T69" fmla="*/ 93 h 187"/>
                <a:gd name="T70" fmla="*/ 121 w 133"/>
                <a:gd name="T71" fmla="*/ 99 h 187"/>
                <a:gd name="T72" fmla="*/ 130 w 133"/>
                <a:gd name="T73" fmla="*/ 113 h 187"/>
                <a:gd name="T74" fmla="*/ 133 w 133"/>
                <a:gd name="T75" fmla="*/ 132 h 187"/>
                <a:gd name="T76" fmla="*/ 131 w 133"/>
                <a:gd name="T77" fmla="*/ 143 h 187"/>
                <a:gd name="T78" fmla="*/ 123 w 133"/>
                <a:gd name="T79" fmla="*/ 164 h 187"/>
                <a:gd name="T80" fmla="*/ 114 w 133"/>
                <a:gd name="T81" fmla="*/ 173 h 187"/>
                <a:gd name="T82" fmla="*/ 94 w 133"/>
                <a:gd name="T83" fmla="*/ 184 h 187"/>
                <a:gd name="T84" fmla="*/ 69 w 133"/>
                <a:gd name="T85"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33" h="187">
                  <a:moveTo>
                    <a:pt x="6" y="187"/>
                  </a:moveTo>
                  <a:lnTo>
                    <a:pt x="6" y="187"/>
                  </a:lnTo>
                  <a:lnTo>
                    <a:pt x="3" y="184"/>
                  </a:lnTo>
                  <a:lnTo>
                    <a:pt x="1" y="179"/>
                  </a:lnTo>
                  <a:lnTo>
                    <a:pt x="0" y="166"/>
                  </a:lnTo>
                  <a:lnTo>
                    <a:pt x="1" y="151"/>
                  </a:lnTo>
                  <a:lnTo>
                    <a:pt x="3" y="147"/>
                  </a:lnTo>
                  <a:lnTo>
                    <a:pt x="6" y="143"/>
                  </a:lnTo>
                  <a:lnTo>
                    <a:pt x="6" y="143"/>
                  </a:lnTo>
                  <a:lnTo>
                    <a:pt x="61" y="144"/>
                  </a:lnTo>
                  <a:lnTo>
                    <a:pt x="61" y="144"/>
                  </a:lnTo>
                  <a:lnTo>
                    <a:pt x="73" y="144"/>
                  </a:lnTo>
                  <a:lnTo>
                    <a:pt x="83" y="144"/>
                  </a:lnTo>
                  <a:lnTo>
                    <a:pt x="87" y="143"/>
                  </a:lnTo>
                  <a:lnTo>
                    <a:pt x="90" y="140"/>
                  </a:lnTo>
                  <a:lnTo>
                    <a:pt x="91" y="136"/>
                  </a:lnTo>
                  <a:lnTo>
                    <a:pt x="93" y="130"/>
                  </a:lnTo>
                  <a:lnTo>
                    <a:pt x="93" y="130"/>
                  </a:lnTo>
                  <a:lnTo>
                    <a:pt x="91" y="127"/>
                  </a:lnTo>
                  <a:lnTo>
                    <a:pt x="90" y="124"/>
                  </a:lnTo>
                  <a:lnTo>
                    <a:pt x="84" y="122"/>
                  </a:lnTo>
                  <a:lnTo>
                    <a:pt x="66" y="114"/>
                  </a:lnTo>
                  <a:lnTo>
                    <a:pt x="51" y="107"/>
                  </a:lnTo>
                  <a:lnTo>
                    <a:pt x="51" y="107"/>
                  </a:lnTo>
                  <a:lnTo>
                    <a:pt x="40" y="102"/>
                  </a:lnTo>
                  <a:lnTo>
                    <a:pt x="30" y="96"/>
                  </a:lnTo>
                  <a:lnTo>
                    <a:pt x="23" y="89"/>
                  </a:lnTo>
                  <a:lnTo>
                    <a:pt x="17" y="83"/>
                  </a:lnTo>
                  <a:lnTo>
                    <a:pt x="17" y="83"/>
                  </a:lnTo>
                  <a:lnTo>
                    <a:pt x="11" y="76"/>
                  </a:lnTo>
                  <a:lnTo>
                    <a:pt x="8" y="69"/>
                  </a:lnTo>
                  <a:lnTo>
                    <a:pt x="7" y="60"/>
                  </a:lnTo>
                  <a:lnTo>
                    <a:pt x="6" y="52"/>
                  </a:lnTo>
                  <a:lnTo>
                    <a:pt x="6" y="52"/>
                  </a:lnTo>
                  <a:lnTo>
                    <a:pt x="7" y="39"/>
                  </a:lnTo>
                  <a:lnTo>
                    <a:pt x="10" y="27"/>
                  </a:lnTo>
                  <a:lnTo>
                    <a:pt x="16" y="19"/>
                  </a:lnTo>
                  <a:lnTo>
                    <a:pt x="24" y="10"/>
                  </a:lnTo>
                  <a:lnTo>
                    <a:pt x="24" y="10"/>
                  </a:lnTo>
                  <a:lnTo>
                    <a:pt x="28" y="8"/>
                  </a:lnTo>
                  <a:lnTo>
                    <a:pt x="33" y="5"/>
                  </a:lnTo>
                  <a:lnTo>
                    <a:pt x="44" y="2"/>
                  </a:lnTo>
                  <a:lnTo>
                    <a:pt x="58" y="0"/>
                  </a:lnTo>
                  <a:lnTo>
                    <a:pt x="73" y="0"/>
                  </a:lnTo>
                  <a:lnTo>
                    <a:pt x="121" y="0"/>
                  </a:lnTo>
                  <a:lnTo>
                    <a:pt x="121" y="0"/>
                  </a:lnTo>
                  <a:lnTo>
                    <a:pt x="124" y="3"/>
                  </a:lnTo>
                  <a:lnTo>
                    <a:pt x="126" y="9"/>
                  </a:lnTo>
                  <a:lnTo>
                    <a:pt x="127" y="20"/>
                  </a:lnTo>
                  <a:lnTo>
                    <a:pt x="126" y="33"/>
                  </a:lnTo>
                  <a:lnTo>
                    <a:pt x="124" y="39"/>
                  </a:lnTo>
                  <a:lnTo>
                    <a:pt x="121" y="42"/>
                  </a:lnTo>
                  <a:lnTo>
                    <a:pt x="79" y="42"/>
                  </a:lnTo>
                  <a:lnTo>
                    <a:pt x="79" y="42"/>
                  </a:lnTo>
                  <a:lnTo>
                    <a:pt x="66" y="42"/>
                  </a:lnTo>
                  <a:lnTo>
                    <a:pt x="54" y="43"/>
                  </a:lnTo>
                  <a:lnTo>
                    <a:pt x="50" y="45"/>
                  </a:lnTo>
                  <a:lnTo>
                    <a:pt x="47" y="46"/>
                  </a:lnTo>
                  <a:lnTo>
                    <a:pt x="46" y="49"/>
                  </a:lnTo>
                  <a:lnTo>
                    <a:pt x="44" y="53"/>
                  </a:lnTo>
                  <a:lnTo>
                    <a:pt x="44" y="53"/>
                  </a:lnTo>
                  <a:lnTo>
                    <a:pt x="46" y="59"/>
                  </a:lnTo>
                  <a:lnTo>
                    <a:pt x="51" y="63"/>
                  </a:lnTo>
                  <a:lnTo>
                    <a:pt x="57" y="69"/>
                  </a:lnTo>
                  <a:lnTo>
                    <a:pt x="64" y="72"/>
                  </a:lnTo>
                  <a:lnTo>
                    <a:pt x="79" y="79"/>
                  </a:lnTo>
                  <a:lnTo>
                    <a:pt x="86" y="80"/>
                  </a:lnTo>
                  <a:lnTo>
                    <a:pt x="86" y="80"/>
                  </a:lnTo>
                  <a:lnTo>
                    <a:pt x="109" y="89"/>
                  </a:lnTo>
                  <a:lnTo>
                    <a:pt x="116" y="93"/>
                  </a:lnTo>
                  <a:lnTo>
                    <a:pt x="121" y="99"/>
                  </a:lnTo>
                  <a:lnTo>
                    <a:pt x="121" y="99"/>
                  </a:lnTo>
                  <a:lnTo>
                    <a:pt x="127" y="104"/>
                  </a:lnTo>
                  <a:lnTo>
                    <a:pt x="130" y="113"/>
                  </a:lnTo>
                  <a:lnTo>
                    <a:pt x="133" y="122"/>
                  </a:lnTo>
                  <a:lnTo>
                    <a:pt x="133" y="132"/>
                  </a:lnTo>
                  <a:lnTo>
                    <a:pt x="133" y="132"/>
                  </a:lnTo>
                  <a:lnTo>
                    <a:pt x="131" y="143"/>
                  </a:lnTo>
                  <a:lnTo>
                    <a:pt x="129" y="154"/>
                  </a:lnTo>
                  <a:lnTo>
                    <a:pt x="123" y="164"/>
                  </a:lnTo>
                  <a:lnTo>
                    <a:pt x="114" y="173"/>
                  </a:lnTo>
                  <a:lnTo>
                    <a:pt x="114" y="173"/>
                  </a:lnTo>
                  <a:lnTo>
                    <a:pt x="104" y="180"/>
                  </a:lnTo>
                  <a:lnTo>
                    <a:pt x="94" y="184"/>
                  </a:lnTo>
                  <a:lnTo>
                    <a:pt x="83" y="187"/>
                  </a:lnTo>
                  <a:lnTo>
                    <a:pt x="69" y="187"/>
                  </a:lnTo>
                  <a:lnTo>
                    <a:pt x="6" y="18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0" name="Line 28"/>
            <p:cNvSpPr>
              <a:spLocks noChangeShapeType="1"/>
            </p:cNvSpPr>
            <p:nvPr userDrawn="1"/>
          </p:nvSpPr>
          <p:spPr bwMode="auto">
            <a:xfrm>
              <a:off x="5565" y="779"/>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1" name="Freeform 29"/>
            <p:cNvSpPr>
              <a:spLocks noEditPoints="1"/>
            </p:cNvSpPr>
            <p:nvPr userDrawn="1"/>
          </p:nvSpPr>
          <p:spPr bwMode="auto">
            <a:xfrm>
              <a:off x="5671" y="717"/>
              <a:ext cx="80" cy="63"/>
            </a:xfrm>
            <a:custGeom>
              <a:avLst/>
              <a:gdLst>
                <a:gd name="T0" fmla="*/ 0 w 242"/>
                <a:gd name="T1" fmla="*/ 0 h 191"/>
                <a:gd name="T2" fmla="*/ 198 w 242"/>
                <a:gd name="T3" fmla="*/ 0 h 191"/>
                <a:gd name="T4" fmla="*/ 218 w 242"/>
                <a:gd name="T5" fmla="*/ 3 h 191"/>
                <a:gd name="T6" fmla="*/ 231 w 242"/>
                <a:gd name="T7" fmla="*/ 12 h 191"/>
                <a:gd name="T8" fmla="*/ 239 w 242"/>
                <a:gd name="T9" fmla="*/ 27 h 191"/>
                <a:gd name="T10" fmla="*/ 242 w 242"/>
                <a:gd name="T11" fmla="*/ 52 h 191"/>
                <a:gd name="T12" fmla="*/ 242 w 242"/>
                <a:gd name="T13" fmla="*/ 186 h 191"/>
                <a:gd name="T14" fmla="*/ 234 w 242"/>
                <a:gd name="T15" fmla="*/ 190 h 191"/>
                <a:gd name="T16" fmla="*/ 221 w 242"/>
                <a:gd name="T17" fmla="*/ 191 h 191"/>
                <a:gd name="T18" fmla="*/ 209 w 242"/>
                <a:gd name="T19" fmla="*/ 190 h 191"/>
                <a:gd name="T20" fmla="*/ 201 w 242"/>
                <a:gd name="T21" fmla="*/ 186 h 191"/>
                <a:gd name="T22" fmla="*/ 201 w 242"/>
                <a:gd name="T23" fmla="*/ 66 h 191"/>
                <a:gd name="T24" fmla="*/ 198 w 242"/>
                <a:gd name="T25" fmla="*/ 55 h 191"/>
                <a:gd name="T26" fmla="*/ 191 w 242"/>
                <a:gd name="T27" fmla="*/ 46 h 191"/>
                <a:gd name="T28" fmla="*/ 182 w 242"/>
                <a:gd name="T29" fmla="*/ 42 h 191"/>
                <a:gd name="T30" fmla="*/ 161 w 242"/>
                <a:gd name="T31" fmla="*/ 40 h 191"/>
                <a:gd name="T32" fmla="*/ 142 w 242"/>
                <a:gd name="T33" fmla="*/ 43 h 191"/>
                <a:gd name="T34" fmla="*/ 142 w 242"/>
                <a:gd name="T35" fmla="*/ 186 h 191"/>
                <a:gd name="T36" fmla="*/ 133 w 242"/>
                <a:gd name="T37" fmla="*/ 190 h 191"/>
                <a:gd name="T38" fmla="*/ 122 w 242"/>
                <a:gd name="T39" fmla="*/ 191 h 191"/>
                <a:gd name="T40" fmla="*/ 109 w 242"/>
                <a:gd name="T41" fmla="*/ 190 h 191"/>
                <a:gd name="T42" fmla="*/ 101 w 242"/>
                <a:gd name="T43" fmla="*/ 186 h 191"/>
                <a:gd name="T44" fmla="*/ 101 w 242"/>
                <a:gd name="T45" fmla="*/ 67 h 191"/>
                <a:gd name="T46" fmla="*/ 98 w 242"/>
                <a:gd name="T47" fmla="*/ 55 h 191"/>
                <a:gd name="T48" fmla="*/ 92 w 242"/>
                <a:gd name="T49" fmla="*/ 46 h 191"/>
                <a:gd name="T50" fmla="*/ 82 w 242"/>
                <a:gd name="T51" fmla="*/ 42 h 191"/>
                <a:gd name="T52" fmla="*/ 60 w 242"/>
                <a:gd name="T53" fmla="*/ 40 h 191"/>
                <a:gd name="T54" fmla="*/ 43 w 242"/>
                <a:gd name="T55" fmla="*/ 43 h 191"/>
                <a:gd name="T56" fmla="*/ 43 w 242"/>
                <a:gd name="T57" fmla="*/ 186 h 191"/>
                <a:gd name="T58" fmla="*/ 33 w 242"/>
                <a:gd name="T59" fmla="*/ 190 h 191"/>
                <a:gd name="T60" fmla="*/ 22 w 242"/>
                <a:gd name="T61" fmla="*/ 191 h 191"/>
                <a:gd name="T62" fmla="*/ 9 w 242"/>
                <a:gd name="T63" fmla="*/ 190 h 191"/>
                <a:gd name="T64" fmla="*/ 0 w 242"/>
                <a:gd name="T65" fmla="*/ 186 h 191"/>
                <a:gd name="T66" fmla="*/ 0 w 242"/>
                <a:gd name="T67" fmla="*/ 186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42" h="191">
                  <a:moveTo>
                    <a:pt x="0" y="186"/>
                  </a:moveTo>
                  <a:lnTo>
                    <a:pt x="0" y="0"/>
                  </a:lnTo>
                  <a:lnTo>
                    <a:pt x="198" y="0"/>
                  </a:lnTo>
                  <a:lnTo>
                    <a:pt x="198" y="0"/>
                  </a:lnTo>
                  <a:lnTo>
                    <a:pt x="208" y="0"/>
                  </a:lnTo>
                  <a:lnTo>
                    <a:pt x="218" y="3"/>
                  </a:lnTo>
                  <a:lnTo>
                    <a:pt x="225" y="6"/>
                  </a:lnTo>
                  <a:lnTo>
                    <a:pt x="231" y="12"/>
                  </a:lnTo>
                  <a:lnTo>
                    <a:pt x="237" y="19"/>
                  </a:lnTo>
                  <a:lnTo>
                    <a:pt x="239" y="27"/>
                  </a:lnTo>
                  <a:lnTo>
                    <a:pt x="242" y="39"/>
                  </a:lnTo>
                  <a:lnTo>
                    <a:pt x="242" y="52"/>
                  </a:lnTo>
                  <a:lnTo>
                    <a:pt x="242" y="186"/>
                  </a:lnTo>
                  <a:lnTo>
                    <a:pt x="242" y="186"/>
                  </a:lnTo>
                  <a:lnTo>
                    <a:pt x="239" y="189"/>
                  </a:lnTo>
                  <a:lnTo>
                    <a:pt x="234" y="190"/>
                  </a:lnTo>
                  <a:lnTo>
                    <a:pt x="228" y="191"/>
                  </a:lnTo>
                  <a:lnTo>
                    <a:pt x="221" y="191"/>
                  </a:lnTo>
                  <a:lnTo>
                    <a:pt x="215" y="191"/>
                  </a:lnTo>
                  <a:lnTo>
                    <a:pt x="209" y="190"/>
                  </a:lnTo>
                  <a:lnTo>
                    <a:pt x="204" y="189"/>
                  </a:lnTo>
                  <a:lnTo>
                    <a:pt x="201" y="186"/>
                  </a:lnTo>
                  <a:lnTo>
                    <a:pt x="201" y="66"/>
                  </a:lnTo>
                  <a:lnTo>
                    <a:pt x="201" y="66"/>
                  </a:lnTo>
                  <a:lnTo>
                    <a:pt x="199" y="60"/>
                  </a:lnTo>
                  <a:lnTo>
                    <a:pt x="198" y="55"/>
                  </a:lnTo>
                  <a:lnTo>
                    <a:pt x="195" y="50"/>
                  </a:lnTo>
                  <a:lnTo>
                    <a:pt x="191" y="46"/>
                  </a:lnTo>
                  <a:lnTo>
                    <a:pt x="186" y="43"/>
                  </a:lnTo>
                  <a:lnTo>
                    <a:pt x="182" y="42"/>
                  </a:lnTo>
                  <a:lnTo>
                    <a:pt x="171" y="40"/>
                  </a:lnTo>
                  <a:lnTo>
                    <a:pt x="161" y="40"/>
                  </a:lnTo>
                  <a:lnTo>
                    <a:pt x="152" y="40"/>
                  </a:lnTo>
                  <a:lnTo>
                    <a:pt x="142" y="43"/>
                  </a:lnTo>
                  <a:lnTo>
                    <a:pt x="142" y="186"/>
                  </a:lnTo>
                  <a:lnTo>
                    <a:pt x="142" y="186"/>
                  </a:lnTo>
                  <a:lnTo>
                    <a:pt x="139" y="189"/>
                  </a:lnTo>
                  <a:lnTo>
                    <a:pt x="133" y="190"/>
                  </a:lnTo>
                  <a:lnTo>
                    <a:pt x="128" y="191"/>
                  </a:lnTo>
                  <a:lnTo>
                    <a:pt x="122" y="191"/>
                  </a:lnTo>
                  <a:lnTo>
                    <a:pt x="115" y="191"/>
                  </a:lnTo>
                  <a:lnTo>
                    <a:pt x="109" y="190"/>
                  </a:lnTo>
                  <a:lnTo>
                    <a:pt x="103" y="189"/>
                  </a:lnTo>
                  <a:lnTo>
                    <a:pt x="101" y="186"/>
                  </a:lnTo>
                  <a:lnTo>
                    <a:pt x="101" y="67"/>
                  </a:lnTo>
                  <a:lnTo>
                    <a:pt x="101" y="67"/>
                  </a:lnTo>
                  <a:lnTo>
                    <a:pt x="99" y="60"/>
                  </a:lnTo>
                  <a:lnTo>
                    <a:pt x="98" y="55"/>
                  </a:lnTo>
                  <a:lnTo>
                    <a:pt x="95" y="50"/>
                  </a:lnTo>
                  <a:lnTo>
                    <a:pt x="92" y="46"/>
                  </a:lnTo>
                  <a:lnTo>
                    <a:pt x="88" y="43"/>
                  </a:lnTo>
                  <a:lnTo>
                    <a:pt x="82" y="42"/>
                  </a:lnTo>
                  <a:lnTo>
                    <a:pt x="72" y="40"/>
                  </a:lnTo>
                  <a:lnTo>
                    <a:pt x="60" y="40"/>
                  </a:lnTo>
                  <a:lnTo>
                    <a:pt x="52" y="40"/>
                  </a:lnTo>
                  <a:lnTo>
                    <a:pt x="43" y="43"/>
                  </a:lnTo>
                  <a:lnTo>
                    <a:pt x="43" y="186"/>
                  </a:lnTo>
                  <a:lnTo>
                    <a:pt x="43" y="186"/>
                  </a:lnTo>
                  <a:lnTo>
                    <a:pt x="39" y="189"/>
                  </a:lnTo>
                  <a:lnTo>
                    <a:pt x="33" y="190"/>
                  </a:lnTo>
                  <a:lnTo>
                    <a:pt x="28" y="191"/>
                  </a:lnTo>
                  <a:lnTo>
                    <a:pt x="22" y="191"/>
                  </a:lnTo>
                  <a:lnTo>
                    <a:pt x="15" y="191"/>
                  </a:lnTo>
                  <a:lnTo>
                    <a:pt x="9" y="190"/>
                  </a:lnTo>
                  <a:lnTo>
                    <a:pt x="5" y="189"/>
                  </a:lnTo>
                  <a:lnTo>
                    <a:pt x="0" y="186"/>
                  </a:lnTo>
                  <a:lnTo>
                    <a:pt x="0" y="186"/>
                  </a:lnTo>
                  <a:close/>
                  <a:moveTo>
                    <a:pt x="0" y="186"/>
                  </a:moveTo>
                  <a:lnTo>
                    <a:pt x="0" y="18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2" name="Freeform 30"/>
            <p:cNvSpPr>
              <a:spLocks/>
            </p:cNvSpPr>
            <p:nvPr userDrawn="1"/>
          </p:nvSpPr>
          <p:spPr bwMode="auto">
            <a:xfrm>
              <a:off x="5671" y="717"/>
              <a:ext cx="80" cy="63"/>
            </a:xfrm>
            <a:custGeom>
              <a:avLst/>
              <a:gdLst>
                <a:gd name="T0" fmla="*/ 0 w 242"/>
                <a:gd name="T1" fmla="*/ 0 h 191"/>
                <a:gd name="T2" fmla="*/ 198 w 242"/>
                <a:gd name="T3" fmla="*/ 0 h 191"/>
                <a:gd name="T4" fmla="*/ 218 w 242"/>
                <a:gd name="T5" fmla="*/ 3 h 191"/>
                <a:gd name="T6" fmla="*/ 231 w 242"/>
                <a:gd name="T7" fmla="*/ 12 h 191"/>
                <a:gd name="T8" fmla="*/ 239 w 242"/>
                <a:gd name="T9" fmla="*/ 27 h 191"/>
                <a:gd name="T10" fmla="*/ 242 w 242"/>
                <a:gd name="T11" fmla="*/ 52 h 191"/>
                <a:gd name="T12" fmla="*/ 242 w 242"/>
                <a:gd name="T13" fmla="*/ 186 h 191"/>
                <a:gd name="T14" fmla="*/ 234 w 242"/>
                <a:gd name="T15" fmla="*/ 190 h 191"/>
                <a:gd name="T16" fmla="*/ 221 w 242"/>
                <a:gd name="T17" fmla="*/ 191 h 191"/>
                <a:gd name="T18" fmla="*/ 209 w 242"/>
                <a:gd name="T19" fmla="*/ 190 h 191"/>
                <a:gd name="T20" fmla="*/ 201 w 242"/>
                <a:gd name="T21" fmla="*/ 186 h 191"/>
                <a:gd name="T22" fmla="*/ 201 w 242"/>
                <a:gd name="T23" fmla="*/ 66 h 191"/>
                <a:gd name="T24" fmla="*/ 198 w 242"/>
                <a:gd name="T25" fmla="*/ 55 h 191"/>
                <a:gd name="T26" fmla="*/ 191 w 242"/>
                <a:gd name="T27" fmla="*/ 46 h 191"/>
                <a:gd name="T28" fmla="*/ 182 w 242"/>
                <a:gd name="T29" fmla="*/ 42 h 191"/>
                <a:gd name="T30" fmla="*/ 161 w 242"/>
                <a:gd name="T31" fmla="*/ 40 h 191"/>
                <a:gd name="T32" fmla="*/ 142 w 242"/>
                <a:gd name="T33" fmla="*/ 43 h 191"/>
                <a:gd name="T34" fmla="*/ 142 w 242"/>
                <a:gd name="T35" fmla="*/ 186 h 191"/>
                <a:gd name="T36" fmla="*/ 133 w 242"/>
                <a:gd name="T37" fmla="*/ 190 h 191"/>
                <a:gd name="T38" fmla="*/ 122 w 242"/>
                <a:gd name="T39" fmla="*/ 191 h 191"/>
                <a:gd name="T40" fmla="*/ 109 w 242"/>
                <a:gd name="T41" fmla="*/ 190 h 191"/>
                <a:gd name="T42" fmla="*/ 101 w 242"/>
                <a:gd name="T43" fmla="*/ 186 h 191"/>
                <a:gd name="T44" fmla="*/ 101 w 242"/>
                <a:gd name="T45" fmla="*/ 67 h 191"/>
                <a:gd name="T46" fmla="*/ 98 w 242"/>
                <a:gd name="T47" fmla="*/ 55 h 191"/>
                <a:gd name="T48" fmla="*/ 92 w 242"/>
                <a:gd name="T49" fmla="*/ 46 h 191"/>
                <a:gd name="T50" fmla="*/ 82 w 242"/>
                <a:gd name="T51" fmla="*/ 42 h 191"/>
                <a:gd name="T52" fmla="*/ 60 w 242"/>
                <a:gd name="T53" fmla="*/ 40 h 191"/>
                <a:gd name="T54" fmla="*/ 43 w 242"/>
                <a:gd name="T55" fmla="*/ 43 h 191"/>
                <a:gd name="T56" fmla="*/ 43 w 242"/>
                <a:gd name="T57" fmla="*/ 186 h 191"/>
                <a:gd name="T58" fmla="*/ 33 w 242"/>
                <a:gd name="T59" fmla="*/ 190 h 191"/>
                <a:gd name="T60" fmla="*/ 22 w 242"/>
                <a:gd name="T61" fmla="*/ 191 h 191"/>
                <a:gd name="T62" fmla="*/ 9 w 242"/>
                <a:gd name="T63" fmla="*/ 190 h 191"/>
                <a:gd name="T64" fmla="*/ 0 w 242"/>
                <a:gd name="T65" fmla="*/ 186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2" h="191">
                  <a:moveTo>
                    <a:pt x="0" y="186"/>
                  </a:moveTo>
                  <a:lnTo>
                    <a:pt x="0" y="0"/>
                  </a:lnTo>
                  <a:lnTo>
                    <a:pt x="198" y="0"/>
                  </a:lnTo>
                  <a:lnTo>
                    <a:pt x="198" y="0"/>
                  </a:lnTo>
                  <a:lnTo>
                    <a:pt x="208" y="0"/>
                  </a:lnTo>
                  <a:lnTo>
                    <a:pt x="218" y="3"/>
                  </a:lnTo>
                  <a:lnTo>
                    <a:pt x="225" y="6"/>
                  </a:lnTo>
                  <a:lnTo>
                    <a:pt x="231" y="12"/>
                  </a:lnTo>
                  <a:lnTo>
                    <a:pt x="237" y="19"/>
                  </a:lnTo>
                  <a:lnTo>
                    <a:pt x="239" y="27"/>
                  </a:lnTo>
                  <a:lnTo>
                    <a:pt x="242" y="39"/>
                  </a:lnTo>
                  <a:lnTo>
                    <a:pt x="242" y="52"/>
                  </a:lnTo>
                  <a:lnTo>
                    <a:pt x="242" y="186"/>
                  </a:lnTo>
                  <a:lnTo>
                    <a:pt x="242" y="186"/>
                  </a:lnTo>
                  <a:lnTo>
                    <a:pt x="239" y="189"/>
                  </a:lnTo>
                  <a:lnTo>
                    <a:pt x="234" y="190"/>
                  </a:lnTo>
                  <a:lnTo>
                    <a:pt x="228" y="191"/>
                  </a:lnTo>
                  <a:lnTo>
                    <a:pt x="221" y="191"/>
                  </a:lnTo>
                  <a:lnTo>
                    <a:pt x="215" y="191"/>
                  </a:lnTo>
                  <a:lnTo>
                    <a:pt x="209" y="190"/>
                  </a:lnTo>
                  <a:lnTo>
                    <a:pt x="204" y="189"/>
                  </a:lnTo>
                  <a:lnTo>
                    <a:pt x="201" y="186"/>
                  </a:lnTo>
                  <a:lnTo>
                    <a:pt x="201" y="66"/>
                  </a:lnTo>
                  <a:lnTo>
                    <a:pt x="201" y="66"/>
                  </a:lnTo>
                  <a:lnTo>
                    <a:pt x="199" y="60"/>
                  </a:lnTo>
                  <a:lnTo>
                    <a:pt x="198" y="55"/>
                  </a:lnTo>
                  <a:lnTo>
                    <a:pt x="195" y="50"/>
                  </a:lnTo>
                  <a:lnTo>
                    <a:pt x="191" y="46"/>
                  </a:lnTo>
                  <a:lnTo>
                    <a:pt x="186" y="43"/>
                  </a:lnTo>
                  <a:lnTo>
                    <a:pt x="182" y="42"/>
                  </a:lnTo>
                  <a:lnTo>
                    <a:pt x="171" y="40"/>
                  </a:lnTo>
                  <a:lnTo>
                    <a:pt x="161" y="40"/>
                  </a:lnTo>
                  <a:lnTo>
                    <a:pt x="152" y="40"/>
                  </a:lnTo>
                  <a:lnTo>
                    <a:pt x="142" y="43"/>
                  </a:lnTo>
                  <a:lnTo>
                    <a:pt x="142" y="186"/>
                  </a:lnTo>
                  <a:lnTo>
                    <a:pt x="142" y="186"/>
                  </a:lnTo>
                  <a:lnTo>
                    <a:pt x="139" y="189"/>
                  </a:lnTo>
                  <a:lnTo>
                    <a:pt x="133" y="190"/>
                  </a:lnTo>
                  <a:lnTo>
                    <a:pt x="128" y="191"/>
                  </a:lnTo>
                  <a:lnTo>
                    <a:pt x="122" y="191"/>
                  </a:lnTo>
                  <a:lnTo>
                    <a:pt x="115" y="191"/>
                  </a:lnTo>
                  <a:lnTo>
                    <a:pt x="109" y="190"/>
                  </a:lnTo>
                  <a:lnTo>
                    <a:pt x="103" y="189"/>
                  </a:lnTo>
                  <a:lnTo>
                    <a:pt x="101" y="186"/>
                  </a:lnTo>
                  <a:lnTo>
                    <a:pt x="101" y="67"/>
                  </a:lnTo>
                  <a:lnTo>
                    <a:pt x="101" y="67"/>
                  </a:lnTo>
                  <a:lnTo>
                    <a:pt x="99" y="60"/>
                  </a:lnTo>
                  <a:lnTo>
                    <a:pt x="98" y="55"/>
                  </a:lnTo>
                  <a:lnTo>
                    <a:pt x="95" y="50"/>
                  </a:lnTo>
                  <a:lnTo>
                    <a:pt x="92" y="46"/>
                  </a:lnTo>
                  <a:lnTo>
                    <a:pt x="88" y="43"/>
                  </a:lnTo>
                  <a:lnTo>
                    <a:pt x="82" y="42"/>
                  </a:lnTo>
                  <a:lnTo>
                    <a:pt x="72" y="40"/>
                  </a:lnTo>
                  <a:lnTo>
                    <a:pt x="60" y="40"/>
                  </a:lnTo>
                  <a:lnTo>
                    <a:pt x="52" y="40"/>
                  </a:lnTo>
                  <a:lnTo>
                    <a:pt x="43" y="43"/>
                  </a:lnTo>
                  <a:lnTo>
                    <a:pt x="43" y="186"/>
                  </a:lnTo>
                  <a:lnTo>
                    <a:pt x="43" y="186"/>
                  </a:lnTo>
                  <a:lnTo>
                    <a:pt x="39" y="189"/>
                  </a:lnTo>
                  <a:lnTo>
                    <a:pt x="33" y="190"/>
                  </a:lnTo>
                  <a:lnTo>
                    <a:pt x="28" y="191"/>
                  </a:lnTo>
                  <a:lnTo>
                    <a:pt x="22" y="191"/>
                  </a:lnTo>
                  <a:lnTo>
                    <a:pt x="15" y="191"/>
                  </a:lnTo>
                  <a:lnTo>
                    <a:pt x="9" y="190"/>
                  </a:lnTo>
                  <a:lnTo>
                    <a:pt x="5" y="189"/>
                  </a:lnTo>
                  <a:lnTo>
                    <a:pt x="0" y="186"/>
                  </a:lnTo>
                  <a:lnTo>
                    <a:pt x="0" y="18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3" name="Line 31"/>
            <p:cNvSpPr>
              <a:spLocks noChangeShapeType="1"/>
            </p:cNvSpPr>
            <p:nvPr userDrawn="1"/>
          </p:nvSpPr>
          <p:spPr bwMode="auto">
            <a:xfrm>
              <a:off x="5671" y="779"/>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4" name="Freeform 32"/>
            <p:cNvSpPr>
              <a:spLocks noEditPoints="1"/>
            </p:cNvSpPr>
            <p:nvPr userDrawn="1"/>
          </p:nvSpPr>
          <p:spPr bwMode="auto">
            <a:xfrm>
              <a:off x="5615" y="717"/>
              <a:ext cx="45" cy="63"/>
            </a:xfrm>
            <a:custGeom>
              <a:avLst/>
              <a:gdLst>
                <a:gd name="T0" fmla="*/ 93 w 135"/>
                <a:gd name="T1" fmla="*/ 109 h 191"/>
                <a:gd name="T2" fmla="*/ 93 w 135"/>
                <a:gd name="T3" fmla="*/ 42 h 191"/>
                <a:gd name="T4" fmla="*/ 93 w 135"/>
                <a:gd name="T5" fmla="*/ 42 h 191"/>
                <a:gd name="T6" fmla="*/ 86 w 135"/>
                <a:gd name="T7" fmla="*/ 40 h 191"/>
                <a:gd name="T8" fmla="*/ 78 w 135"/>
                <a:gd name="T9" fmla="*/ 39 h 191"/>
                <a:gd name="T10" fmla="*/ 68 w 135"/>
                <a:gd name="T11" fmla="*/ 37 h 191"/>
                <a:gd name="T12" fmla="*/ 59 w 135"/>
                <a:gd name="T13" fmla="*/ 40 h 191"/>
                <a:gd name="T14" fmla="*/ 55 w 135"/>
                <a:gd name="T15" fmla="*/ 42 h 191"/>
                <a:gd name="T16" fmla="*/ 50 w 135"/>
                <a:gd name="T17" fmla="*/ 45 h 191"/>
                <a:gd name="T18" fmla="*/ 48 w 135"/>
                <a:gd name="T19" fmla="*/ 49 h 191"/>
                <a:gd name="T20" fmla="*/ 45 w 135"/>
                <a:gd name="T21" fmla="*/ 53 h 191"/>
                <a:gd name="T22" fmla="*/ 43 w 135"/>
                <a:gd name="T23" fmla="*/ 59 h 191"/>
                <a:gd name="T24" fmla="*/ 42 w 135"/>
                <a:gd name="T25" fmla="*/ 67 h 191"/>
                <a:gd name="T26" fmla="*/ 42 w 135"/>
                <a:gd name="T27" fmla="*/ 109 h 191"/>
                <a:gd name="T28" fmla="*/ 93 w 135"/>
                <a:gd name="T29" fmla="*/ 109 h 191"/>
                <a:gd name="T30" fmla="*/ 42 w 135"/>
                <a:gd name="T31" fmla="*/ 144 h 191"/>
                <a:gd name="T32" fmla="*/ 42 w 135"/>
                <a:gd name="T33" fmla="*/ 186 h 191"/>
                <a:gd name="T34" fmla="*/ 42 w 135"/>
                <a:gd name="T35" fmla="*/ 186 h 191"/>
                <a:gd name="T36" fmla="*/ 39 w 135"/>
                <a:gd name="T37" fmla="*/ 189 h 191"/>
                <a:gd name="T38" fmla="*/ 35 w 135"/>
                <a:gd name="T39" fmla="*/ 190 h 191"/>
                <a:gd name="T40" fmla="*/ 27 w 135"/>
                <a:gd name="T41" fmla="*/ 191 h 191"/>
                <a:gd name="T42" fmla="*/ 22 w 135"/>
                <a:gd name="T43" fmla="*/ 191 h 191"/>
                <a:gd name="T44" fmla="*/ 15 w 135"/>
                <a:gd name="T45" fmla="*/ 191 h 191"/>
                <a:gd name="T46" fmla="*/ 9 w 135"/>
                <a:gd name="T47" fmla="*/ 190 h 191"/>
                <a:gd name="T48" fmla="*/ 3 w 135"/>
                <a:gd name="T49" fmla="*/ 189 h 191"/>
                <a:gd name="T50" fmla="*/ 0 w 135"/>
                <a:gd name="T51" fmla="*/ 186 h 191"/>
                <a:gd name="T52" fmla="*/ 0 w 135"/>
                <a:gd name="T53" fmla="*/ 0 h 191"/>
                <a:gd name="T54" fmla="*/ 102 w 135"/>
                <a:gd name="T55" fmla="*/ 0 h 191"/>
                <a:gd name="T56" fmla="*/ 102 w 135"/>
                <a:gd name="T57" fmla="*/ 0 h 191"/>
                <a:gd name="T58" fmla="*/ 110 w 135"/>
                <a:gd name="T59" fmla="*/ 0 h 191"/>
                <a:gd name="T60" fmla="*/ 118 w 135"/>
                <a:gd name="T61" fmla="*/ 3 h 191"/>
                <a:gd name="T62" fmla="*/ 123 w 135"/>
                <a:gd name="T63" fmla="*/ 6 h 191"/>
                <a:gd name="T64" fmla="*/ 128 w 135"/>
                <a:gd name="T65" fmla="*/ 12 h 191"/>
                <a:gd name="T66" fmla="*/ 132 w 135"/>
                <a:gd name="T67" fmla="*/ 19 h 191"/>
                <a:gd name="T68" fmla="*/ 133 w 135"/>
                <a:gd name="T69" fmla="*/ 27 h 191"/>
                <a:gd name="T70" fmla="*/ 135 w 135"/>
                <a:gd name="T71" fmla="*/ 39 h 191"/>
                <a:gd name="T72" fmla="*/ 135 w 135"/>
                <a:gd name="T73" fmla="*/ 52 h 191"/>
                <a:gd name="T74" fmla="*/ 135 w 135"/>
                <a:gd name="T75" fmla="*/ 186 h 191"/>
                <a:gd name="T76" fmla="*/ 135 w 135"/>
                <a:gd name="T77" fmla="*/ 186 h 191"/>
                <a:gd name="T78" fmla="*/ 132 w 135"/>
                <a:gd name="T79" fmla="*/ 189 h 191"/>
                <a:gd name="T80" fmla="*/ 128 w 135"/>
                <a:gd name="T81" fmla="*/ 190 h 191"/>
                <a:gd name="T82" fmla="*/ 121 w 135"/>
                <a:gd name="T83" fmla="*/ 191 h 191"/>
                <a:gd name="T84" fmla="*/ 115 w 135"/>
                <a:gd name="T85" fmla="*/ 191 h 191"/>
                <a:gd name="T86" fmla="*/ 108 w 135"/>
                <a:gd name="T87" fmla="*/ 191 h 191"/>
                <a:gd name="T88" fmla="*/ 102 w 135"/>
                <a:gd name="T89" fmla="*/ 190 h 191"/>
                <a:gd name="T90" fmla="*/ 96 w 135"/>
                <a:gd name="T91" fmla="*/ 189 h 191"/>
                <a:gd name="T92" fmla="*/ 93 w 135"/>
                <a:gd name="T93" fmla="*/ 186 h 191"/>
                <a:gd name="T94" fmla="*/ 93 w 135"/>
                <a:gd name="T95" fmla="*/ 144 h 191"/>
                <a:gd name="T96" fmla="*/ 110 w 135"/>
                <a:gd name="T97" fmla="*/ 144 h 191"/>
                <a:gd name="T98" fmla="*/ 42 w 135"/>
                <a:gd name="T99" fmla="*/ 144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35" h="191">
                  <a:moveTo>
                    <a:pt x="93" y="109"/>
                  </a:moveTo>
                  <a:lnTo>
                    <a:pt x="93" y="42"/>
                  </a:lnTo>
                  <a:lnTo>
                    <a:pt x="93" y="42"/>
                  </a:lnTo>
                  <a:lnTo>
                    <a:pt x="86" y="40"/>
                  </a:lnTo>
                  <a:lnTo>
                    <a:pt x="78" y="39"/>
                  </a:lnTo>
                  <a:lnTo>
                    <a:pt x="68" y="37"/>
                  </a:lnTo>
                  <a:lnTo>
                    <a:pt x="59" y="40"/>
                  </a:lnTo>
                  <a:lnTo>
                    <a:pt x="55" y="42"/>
                  </a:lnTo>
                  <a:lnTo>
                    <a:pt x="50" y="45"/>
                  </a:lnTo>
                  <a:lnTo>
                    <a:pt x="48" y="49"/>
                  </a:lnTo>
                  <a:lnTo>
                    <a:pt x="45" y="53"/>
                  </a:lnTo>
                  <a:lnTo>
                    <a:pt x="43" y="59"/>
                  </a:lnTo>
                  <a:lnTo>
                    <a:pt x="42" y="67"/>
                  </a:lnTo>
                  <a:lnTo>
                    <a:pt x="42" y="109"/>
                  </a:lnTo>
                  <a:lnTo>
                    <a:pt x="93" y="109"/>
                  </a:lnTo>
                  <a:close/>
                  <a:moveTo>
                    <a:pt x="42" y="144"/>
                  </a:moveTo>
                  <a:lnTo>
                    <a:pt x="42" y="186"/>
                  </a:lnTo>
                  <a:lnTo>
                    <a:pt x="42" y="186"/>
                  </a:lnTo>
                  <a:lnTo>
                    <a:pt x="39" y="189"/>
                  </a:lnTo>
                  <a:lnTo>
                    <a:pt x="35" y="190"/>
                  </a:lnTo>
                  <a:lnTo>
                    <a:pt x="27" y="191"/>
                  </a:lnTo>
                  <a:lnTo>
                    <a:pt x="22" y="191"/>
                  </a:lnTo>
                  <a:lnTo>
                    <a:pt x="15" y="191"/>
                  </a:lnTo>
                  <a:lnTo>
                    <a:pt x="9" y="190"/>
                  </a:lnTo>
                  <a:lnTo>
                    <a:pt x="3" y="189"/>
                  </a:lnTo>
                  <a:lnTo>
                    <a:pt x="0" y="186"/>
                  </a:lnTo>
                  <a:lnTo>
                    <a:pt x="0" y="0"/>
                  </a:lnTo>
                  <a:lnTo>
                    <a:pt x="102" y="0"/>
                  </a:lnTo>
                  <a:lnTo>
                    <a:pt x="102" y="0"/>
                  </a:lnTo>
                  <a:lnTo>
                    <a:pt x="110" y="0"/>
                  </a:lnTo>
                  <a:lnTo>
                    <a:pt x="118" y="3"/>
                  </a:lnTo>
                  <a:lnTo>
                    <a:pt x="123" y="6"/>
                  </a:lnTo>
                  <a:lnTo>
                    <a:pt x="128" y="12"/>
                  </a:lnTo>
                  <a:lnTo>
                    <a:pt x="132" y="19"/>
                  </a:lnTo>
                  <a:lnTo>
                    <a:pt x="133" y="27"/>
                  </a:lnTo>
                  <a:lnTo>
                    <a:pt x="135" y="39"/>
                  </a:lnTo>
                  <a:lnTo>
                    <a:pt x="135" y="52"/>
                  </a:lnTo>
                  <a:lnTo>
                    <a:pt x="135" y="186"/>
                  </a:lnTo>
                  <a:lnTo>
                    <a:pt x="135" y="186"/>
                  </a:lnTo>
                  <a:lnTo>
                    <a:pt x="132" y="189"/>
                  </a:lnTo>
                  <a:lnTo>
                    <a:pt x="128" y="190"/>
                  </a:lnTo>
                  <a:lnTo>
                    <a:pt x="121" y="191"/>
                  </a:lnTo>
                  <a:lnTo>
                    <a:pt x="115" y="191"/>
                  </a:lnTo>
                  <a:lnTo>
                    <a:pt x="108" y="191"/>
                  </a:lnTo>
                  <a:lnTo>
                    <a:pt x="102" y="190"/>
                  </a:lnTo>
                  <a:lnTo>
                    <a:pt x="96" y="189"/>
                  </a:lnTo>
                  <a:lnTo>
                    <a:pt x="93" y="186"/>
                  </a:lnTo>
                  <a:lnTo>
                    <a:pt x="93" y="144"/>
                  </a:lnTo>
                  <a:lnTo>
                    <a:pt x="110" y="144"/>
                  </a:lnTo>
                  <a:lnTo>
                    <a:pt x="42" y="14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5" name="Freeform 33"/>
            <p:cNvSpPr>
              <a:spLocks/>
            </p:cNvSpPr>
            <p:nvPr userDrawn="1"/>
          </p:nvSpPr>
          <p:spPr bwMode="auto">
            <a:xfrm>
              <a:off x="5629" y="729"/>
              <a:ext cx="17" cy="24"/>
            </a:xfrm>
            <a:custGeom>
              <a:avLst/>
              <a:gdLst>
                <a:gd name="T0" fmla="*/ 51 w 51"/>
                <a:gd name="T1" fmla="*/ 72 h 72"/>
                <a:gd name="T2" fmla="*/ 51 w 51"/>
                <a:gd name="T3" fmla="*/ 5 h 72"/>
                <a:gd name="T4" fmla="*/ 51 w 51"/>
                <a:gd name="T5" fmla="*/ 5 h 72"/>
                <a:gd name="T6" fmla="*/ 44 w 51"/>
                <a:gd name="T7" fmla="*/ 3 h 72"/>
                <a:gd name="T8" fmla="*/ 36 w 51"/>
                <a:gd name="T9" fmla="*/ 2 h 72"/>
                <a:gd name="T10" fmla="*/ 26 w 51"/>
                <a:gd name="T11" fmla="*/ 0 h 72"/>
                <a:gd name="T12" fmla="*/ 17 w 51"/>
                <a:gd name="T13" fmla="*/ 3 h 72"/>
                <a:gd name="T14" fmla="*/ 13 w 51"/>
                <a:gd name="T15" fmla="*/ 5 h 72"/>
                <a:gd name="T16" fmla="*/ 8 w 51"/>
                <a:gd name="T17" fmla="*/ 8 h 72"/>
                <a:gd name="T18" fmla="*/ 6 w 51"/>
                <a:gd name="T19" fmla="*/ 12 h 72"/>
                <a:gd name="T20" fmla="*/ 3 w 51"/>
                <a:gd name="T21" fmla="*/ 16 h 72"/>
                <a:gd name="T22" fmla="*/ 1 w 51"/>
                <a:gd name="T23" fmla="*/ 22 h 72"/>
                <a:gd name="T24" fmla="*/ 0 w 51"/>
                <a:gd name="T25" fmla="*/ 30 h 72"/>
                <a:gd name="T26" fmla="*/ 0 w 51"/>
                <a:gd name="T27"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1" h="72">
                  <a:moveTo>
                    <a:pt x="51" y="72"/>
                  </a:moveTo>
                  <a:lnTo>
                    <a:pt x="51" y="5"/>
                  </a:lnTo>
                  <a:lnTo>
                    <a:pt x="51" y="5"/>
                  </a:lnTo>
                  <a:lnTo>
                    <a:pt x="44" y="3"/>
                  </a:lnTo>
                  <a:lnTo>
                    <a:pt x="36" y="2"/>
                  </a:lnTo>
                  <a:lnTo>
                    <a:pt x="26" y="0"/>
                  </a:lnTo>
                  <a:lnTo>
                    <a:pt x="17" y="3"/>
                  </a:lnTo>
                  <a:lnTo>
                    <a:pt x="13" y="5"/>
                  </a:lnTo>
                  <a:lnTo>
                    <a:pt x="8" y="8"/>
                  </a:lnTo>
                  <a:lnTo>
                    <a:pt x="6" y="12"/>
                  </a:lnTo>
                  <a:lnTo>
                    <a:pt x="3" y="16"/>
                  </a:lnTo>
                  <a:lnTo>
                    <a:pt x="1" y="22"/>
                  </a:lnTo>
                  <a:lnTo>
                    <a:pt x="0" y="30"/>
                  </a:lnTo>
                  <a:lnTo>
                    <a:pt x="0" y="7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6" name="Freeform 34"/>
            <p:cNvSpPr>
              <a:spLocks/>
            </p:cNvSpPr>
            <p:nvPr userDrawn="1"/>
          </p:nvSpPr>
          <p:spPr bwMode="auto">
            <a:xfrm>
              <a:off x="5615" y="717"/>
              <a:ext cx="45" cy="63"/>
            </a:xfrm>
            <a:custGeom>
              <a:avLst/>
              <a:gdLst>
                <a:gd name="T0" fmla="*/ 42 w 135"/>
                <a:gd name="T1" fmla="*/ 144 h 191"/>
                <a:gd name="T2" fmla="*/ 42 w 135"/>
                <a:gd name="T3" fmla="*/ 186 h 191"/>
                <a:gd name="T4" fmla="*/ 42 w 135"/>
                <a:gd name="T5" fmla="*/ 186 h 191"/>
                <a:gd name="T6" fmla="*/ 39 w 135"/>
                <a:gd name="T7" fmla="*/ 189 h 191"/>
                <a:gd name="T8" fmla="*/ 35 w 135"/>
                <a:gd name="T9" fmla="*/ 190 h 191"/>
                <a:gd name="T10" fmla="*/ 27 w 135"/>
                <a:gd name="T11" fmla="*/ 191 h 191"/>
                <a:gd name="T12" fmla="*/ 22 w 135"/>
                <a:gd name="T13" fmla="*/ 191 h 191"/>
                <a:gd name="T14" fmla="*/ 15 w 135"/>
                <a:gd name="T15" fmla="*/ 191 h 191"/>
                <a:gd name="T16" fmla="*/ 9 w 135"/>
                <a:gd name="T17" fmla="*/ 190 h 191"/>
                <a:gd name="T18" fmla="*/ 3 w 135"/>
                <a:gd name="T19" fmla="*/ 189 h 191"/>
                <a:gd name="T20" fmla="*/ 0 w 135"/>
                <a:gd name="T21" fmla="*/ 186 h 191"/>
                <a:gd name="T22" fmla="*/ 0 w 135"/>
                <a:gd name="T23" fmla="*/ 0 h 191"/>
                <a:gd name="T24" fmla="*/ 102 w 135"/>
                <a:gd name="T25" fmla="*/ 0 h 191"/>
                <a:gd name="T26" fmla="*/ 102 w 135"/>
                <a:gd name="T27" fmla="*/ 0 h 191"/>
                <a:gd name="T28" fmla="*/ 110 w 135"/>
                <a:gd name="T29" fmla="*/ 0 h 191"/>
                <a:gd name="T30" fmla="*/ 118 w 135"/>
                <a:gd name="T31" fmla="*/ 3 h 191"/>
                <a:gd name="T32" fmla="*/ 123 w 135"/>
                <a:gd name="T33" fmla="*/ 6 h 191"/>
                <a:gd name="T34" fmla="*/ 128 w 135"/>
                <a:gd name="T35" fmla="*/ 12 h 191"/>
                <a:gd name="T36" fmla="*/ 132 w 135"/>
                <a:gd name="T37" fmla="*/ 19 h 191"/>
                <a:gd name="T38" fmla="*/ 133 w 135"/>
                <a:gd name="T39" fmla="*/ 27 h 191"/>
                <a:gd name="T40" fmla="*/ 135 w 135"/>
                <a:gd name="T41" fmla="*/ 39 h 191"/>
                <a:gd name="T42" fmla="*/ 135 w 135"/>
                <a:gd name="T43" fmla="*/ 52 h 191"/>
                <a:gd name="T44" fmla="*/ 135 w 135"/>
                <a:gd name="T45" fmla="*/ 186 h 191"/>
                <a:gd name="T46" fmla="*/ 135 w 135"/>
                <a:gd name="T47" fmla="*/ 186 h 191"/>
                <a:gd name="T48" fmla="*/ 132 w 135"/>
                <a:gd name="T49" fmla="*/ 189 h 191"/>
                <a:gd name="T50" fmla="*/ 128 w 135"/>
                <a:gd name="T51" fmla="*/ 190 h 191"/>
                <a:gd name="T52" fmla="*/ 121 w 135"/>
                <a:gd name="T53" fmla="*/ 191 h 191"/>
                <a:gd name="T54" fmla="*/ 115 w 135"/>
                <a:gd name="T55" fmla="*/ 191 h 191"/>
                <a:gd name="T56" fmla="*/ 108 w 135"/>
                <a:gd name="T57" fmla="*/ 191 h 191"/>
                <a:gd name="T58" fmla="*/ 102 w 135"/>
                <a:gd name="T59" fmla="*/ 190 h 191"/>
                <a:gd name="T60" fmla="*/ 96 w 135"/>
                <a:gd name="T61" fmla="*/ 189 h 191"/>
                <a:gd name="T62" fmla="*/ 93 w 135"/>
                <a:gd name="T63" fmla="*/ 186 h 191"/>
                <a:gd name="T64" fmla="*/ 93 w 135"/>
                <a:gd name="T65" fmla="*/ 144 h 191"/>
                <a:gd name="T66" fmla="*/ 110 w 135"/>
                <a:gd name="T67" fmla="*/ 144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5" h="191">
                  <a:moveTo>
                    <a:pt x="42" y="144"/>
                  </a:moveTo>
                  <a:lnTo>
                    <a:pt x="42" y="186"/>
                  </a:lnTo>
                  <a:lnTo>
                    <a:pt x="42" y="186"/>
                  </a:lnTo>
                  <a:lnTo>
                    <a:pt x="39" y="189"/>
                  </a:lnTo>
                  <a:lnTo>
                    <a:pt x="35" y="190"/>
                  </a:lnTo>
                  <a:lnTo>
                    <a:pt x="27" y="191"/>
                  </a:lnTo>
                  <a:lnTo>
                    <a:pt x="22" y="191"/>
                  </a:lnTo>
                  <a:lnTo>
                    <a:pt x="15" y="191"/>
                  </a:lnTo>
                  <a:lnTo>
                    <a:pt x="9" y="190"/>
                  </a:lnTo>
                  <a:lnTo>
                    <a:pt x="3" y="189"/>
                  </a:lnTo>
                  <a:lnTo>
                    <a:pt x="0" y="186"/>
                  </a:lnTo>
                  <a:lnTo>
                    <a:pt x="0" y="0"/>
                  </a:lnTo>
                  <a:lnTo>
                    <a:pt x="102" y="0"/>
                  </a:lnTo>
                  <a:lnTo>
                    <a:pt x="102" y="0"/>
                  </a:lnTo>
                  <a:lnTo>
                    <a:pt x="110" y="0"/>
                  </a:lnTo>
                  <a:lnTo>
                    <a:pt x="118" y="3"/>
                  </a:lnTo>
                  <a:lnTo>
                    <a:pt x="123" y="6"/>
                  </a:lnTo>
                  <a:lnTo>
                    <a:pt x="128" y="12"/>
                  </a:lnTo>
                  <a:lnTo>
                    <a:pt x="132" y="19"/>
                  </a:lnTo>
                  <a:lnTo>
                    <a:pt x="133" y="27"/>
                  </a:lnTo>
                  <a:lnTo>
                    <a:pt x="135" y="39"/>
                  </a:lnTo>
                  <a:lnTo>
                    <a:pt x="135" y="52"/>
                  </a:lnTo>
                  <a:lnTo>
                    <a:pt x="135" y="186"/>
                  </a:lnTo>
                  <a:lnTo>
                    <a:pt x="135" y="186"/>
                  </a:lnTo>
                  <a:lnTo>
                    <a:pt x="132" y="189"/>
                  </a:lnTo>
                  <a:lnTo>
                    <a:pt x="128" y="190"/>
                  </a:lnTo>
                  <a:lnTo>
                    <a:pt x="121" y="191"/>
                  </a:lnTo>
                  <a:lnTo>
                    <a:pt x="115" y="191"/>
                  </a:lnTo>
                  <a:lnTo>
                    <a:pt x="108" y="191"/>
                  </a:lnTo>
                  <a:lnTo>
                    <a:pt x="102" y="190"/>
                  </a:lnTo>
                  <a:lnTo>
                    <a:pt x="96" y="189"/>
                  </a:lnTo>
                  <a:lnTo>
                    <a:pt x="93" y="186"/>
                  </a:lnTo>
                  <a:lnTo>
                    <a:pt x="93" y="144"/>
                  </a:lnTo>
                  <a:lnTo>
                    <a:pt x="110" y="14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sp>
        <p:nvSpPr>
          <p:cNvPr id="48" name="Textfeld 47"/>
          <p:cNvSpPr txBox="1"/>
          <p:nvPr userDrawn="1"/>
        </p:nvSpPr>
        <p:spPr>
          <a:xfrm>
            <a:off x="10029282" y="1249779"/>
            <a:ext cx="1320124" cy="461665"/>
          </a:xfrm>
          <a:prstGeom prst="rect">
            <a:avLst/>
          </a:prstGeom>
          <a:noFill/>
        </p:spPr>
        <p:txBody>
          <a:bodyPr wrap="square" rtlCol="0">
            <a:spAutoFit/>
          </a:bodyPr>
          <a:lstStyle/>
          <a:p>
            <a:pPr algn="l">
              <a:lnSpc>
                <a:spcPct val="100000"/>
              </a:lnSpc>
              <a:spcAft>
                <a:spcPts val="167"/>
              </a:spcAft>
            </a:pPr>
            <a:r>
              <a:rPr lang="de-DE" sz="600" b="0" spc="0" baseline="0" dirty="0">
                <a:solidFill>
                  <a:schemeClr val="tx1"/>
                </a:solidFill>
                <a:latin typeface="+mj-lt"/>
              </a:rPr>
              <a:t>FACHGEBIET SYSTEMZUVERLÄSSIGKEIT, ADAPTRONIK UND MASCHINENAKUSTIK</a:t>
            </a:r>
          </a:p>
        </p:txBody>
      </p:sp>
    </p:spTree>
    <p:extLst>
      <p:ext uri="{BB962C8B-B14F-4D97-AF65-F5344CB8AC3E}">
        <p14:creationId xmlns:p14="http://schemas.microsoft.com/office/powerpoint/2010/main" val="3314280224"/>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4_Abschnittsüberschrift_Druck">
    <p:spTree>
      <p:nvGrpSpPr>
        <p:cNvPr id="1" name=""/>
        <p:cNvGrpSpPr/>
        <p:nvPr/>
      </p:nvGrpSpPr>
      <p:grpSpPr>
        <a:xfrm>
          <a:off x="0" y="0"/>
          <a:ext cx="0" cy="0"/>
          <a:chOff x="0" y="0"/>
          <a:chExt cx="0" cy="0"/>
        </a:xfrm>
      </p:grpSpPr>
      <p:sp>
        <p:nvSpPr>
          <p:cNvPr id="17" name="Titel 11"/>
          <p:cNvSpPr>
            <a:spLocks noGrp="1"/>
          </p:cNvSpPr>
          <p:nvPr>
            <p:ph type="title" hasCustomPrompt="1"/>
          </p:nvPr>
        </p:nvSpPr>
        <p:spPr>
          <a:xfrm>
            <a:off x="672001" y="480000"/>
            <a:ext cx="9120000" cy="480000"/>
          </a:xfrm>
        </p:spPr>
        <p:txBody>
          <a:bodyPr/>
          <a:lstStyle>
            <a:lvl1pPr>
              <a:defRPr>
                <a:solidFill>
                  <a:schemeClr val="tx2"/>
                </a:solidFill>
              </a:defRPr>
            </a:lvl1pPr>
          </a:lstStyle>
          <a:p>
            <a:r>
              <a:rPr lang="de-DE" dirty="0"/>
              <a:t>TITELMASTERFORMAT DURCH KLICKEN</a:t>
            </a:r>
          </a:p>
        </p:txBody>
      </p:sp>
      <p:sp>
        <p:nvSpPr>
          <p:cNvPr id="2" name="Rechteck 1"/>
          <p:cNvSpPr/>
          <p:nvPr/>
        </p:nvSpPr>
        <p:spPr>
          <a:xfrm>
            <a:off x="0" y="0"/>
            <a:ext cx="12192000" cy="4367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7" name="Rectangle 4"/>
          <p:cNvSpPr>
            <a:spLocks noGrp="1" noChangeArrowheads="1"/>
          </p:cNvSpPr>
          <p:nvPr>
            <p:ph type="subTitle" idx="1"/>
          </p:nvPr>
        </p:nvSpPr>
        <p:spPr>
          <a:xfrm>
            <a:off x="671076" y="1152001"/>
            <a:ext cx="9120000" cy="789519"/>
          </a:xfrm>
        </p:spPr>
        <p:txBody>
          <a:bodyPr lIns="0" tIns="0" rIns="0" bIns="0"/>
          <a:lstStyle>
            <a:lvl1pPr marL="0" indent="0">
              <a:spcBef>
                <a:spcPct val="0"/>
              </a:spcBef>
              <a:buFont typeface="Wingdings" pitchFamily="2" charset="2"/>
              <a:buNone/>
              <a:defRPr sz="2200" b="0" i="0">
                <a:solidFill>
                  <a:schemeClr val="tx2"/>
                </a:solidFill>
                <a:latin typeface="+mj-lt"/>
                <a:ea typeface="Verdana" charset="0"/>
                <a:cs typeface="Verdana" charset="0"/>
              </a:defRPr>
            </a:lvl1pPr>
          </a:lstStyle>
          <a:p>
            <a:r>
              <a:rPr lang="de-DE" dirty="0"/>
              <a:t>Master-Untertitelformat bearbeiten</a:t>
            </a:r>
          </a:p>
        </p:txBody>
      </p:sp>
    </p:spTree>
    <p:extLst>
      <p:ext uri="{BB962C8B-B14F-4D97-AF65-F5344CB8AC3E}">
        <p14:creationId xmlns:p14="http://schemas.microsoft.com/office/powerpoint/2010/main" val="689398270"/>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1_Benutzerdefiniertes Layou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Rectangle 4"/>
          <p:cNvSpPr>
            <a:spLocks noGrp="1" noChangeArrowheads="1"/>
          </p:cNvSpPr>
          <p:nvPr>
            <p:ph type="subTitle" idx="1" hasCustomPrompt="1"/>
          </p:nvPr>
        </p:nvSpPr>
        <p:spPr>
          <a:xfrm>
            <a:off x="671076" y="1152001"/>
            <a:ext cx="9120000" cy="789519"/>
          </a:xfrm>
        </p:spPr>
        <p:txBody>
          <a:bodyPr lIns="0" tIns="0" rIns="0" bIns="0"/>
          <a:lstStyle>
            <a:lvl1pPr marL="0" indent="0">
              <a:spcBef>
                <a:spcPct val="0"/>
              </a:spcBef>
              <a:buFont typeface="Wingdings" pitchFamily="2" charset="2"/>
              <a:buNone/>
              <a:defRPr sz="2200" b="0" i="0">
                <a:solidFill>
                  <a:schemeClr val="tx1"/>
                </a:solidFill>
                <a:latin typeface="+mj-lt"/>
                <a:ea typeface="Verdana" charset="0"/>
                <a:cs typeface="Verdana" charset="0"/>
              </a:defRPr>
            </a:lvl1pPr>
          </a:lstStyle>
          <a:p>
            <a:r>
              <a:rPr lang="de-DE" dirty="0"/>
              <a:t>Sub-Titel</a:t>
            </a:r>
          </a:p>
          <a:p>
            <a:r>
              <a:rPr lang="de-DE" dirty="0"/>
              <a:t>Sub-Sub-Titel</a:t>
            </a:r>
          </a:p>
        </p:txBody>
      </p:sp>
    </p:spTree>
    <p:extLst>
      <p:ext uri="{BB962C8B-B14F-4D97-AF65-F5344CB8AC3E}">
        <p14:creationId xmlns:p14="http://schemas.microsoft.com/office/powerpoint/2010/main" val="3529236855"/>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Benutzerdefiniertes Layou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4" name="Rectangle 4"/>
          <p:cNvSpPr>
            <a:spLocks noGrp="1" noChangeArrowheads="1"/>
          </p:cNvSpPr>
          <p:nvPr>
            <p:ph type="subTitle" idx="1" hasCustomPrompt="1"/>
          </p:nvPr>
        </p:nvSpPr>
        <p:spPr>
          <a:xfrm>
            <a:off x="671076" y="1152001"/>
            <a:ext cx="9120000" cy="789519"/>
          </a:xfrm>
        </p:spPr>
        <p:txBody>
          <a:bodyPr lIns="0" tIns="0" rIns="0" bIns="0"/>
          <a:lstStyle>
            <a:lvl1pPr marL="0" indent="0">
              <a:spcBef>
                <a:spcPct val="0"/>
              </a:spcBef>
              <a:buFont typeface="Wingdings" pitchFamily="2" charset="2"/>
              <a:buNone/>
              <a:defRPr sz="2200" b="0" i="0">
                <a:solidFill>
                  <a:schemeClr val="tx1"/>
                </a:solidFill>
                <a:latin typeface="+mj-lt"/>
                <a:ea typeface="Verdana" charset="0"/>
                <a:cs typeface="Verdana" charset="0"/>
              </a:defRPr>
            </a:lvl1pPr>
          </a:lstStyle>
          <a:p>
            <a:r>
              <a:rPr lang="de-DE" dirty="0"/>
              <a:t>Sub-Titel</a:t>
            </a:r>
          </a:p>
          <a:p>
            <a:r>
              <a:rPr lang="de-DE" dirty="0"/>
              <a:t>Sub-Sub-Titel</a:t>
            </a:r>
          </a:p>
        </p:txBody>
      </p:sp>
      <p:sp>
        <p:nvSpPr>
          <p:cNvPr id="6" name="Inhaltsplatzhalter 2"/>
          <p:cNvSpPr>
            <a:spLocks noGrp="1"/>
          </p:cNvSpPr>
          <p:nvPr>
            <p:ph sz="half" idx="10"/>
          </p:nvPr>
        </p:nvSpPr>
        <p:spPr>
          <a:xfrm>
            <a:off x="672000" y="2112000"/>
            <a:ext cx="11040000" cy="3936000"/>
          </a:xfrm>
        </p:spPr>
        <p:txBody>
          <a:bodyPr/>
          <a:lstStyle>
            <a:lvl1pPr marL="0" indent="0">
              <a:defRPr sz="1600">
                <a:solidFill>
                  <a:schemeClr val="tx1"/>
                </a:solidFill>
              </a:defRPr>
            </a:lvl1pPr>
            <a:lvl2pPr>
              <a:defRPr sz="1600">
                <a:solidFill>
                  <a:schemeClr val="tx1"/>
                </a:solidFill>
              </a:defRPr>
            </a:lvl2pPr>
            <a:lvl3pPr>
              <a:defRPr sz="1600">
                <a:solidFill>
                  <a:schemeClr val="tx1"/>
                </a:solidFill>
              </a:defRPr>
            </a:lvl3pPr>
            <a:lvl4pPr>
              <a:defRPr sz="1600">
                <a:solidFill>
                  <a:schemeClr val="tx1"/>
                </a:solidFill>
              </a:defRPr>
            </a:lvl4pPr>
            <a:lvl5pPr>
              <a:defRPr sz="1600">
                <a:solidFill>
                  <a:schemeClr val="tx1"/>
                </a:solidFill>
              </a:defRPr>
            </a:lvl5pPr>
            <a:lvl6pPr>
              <a:defRPr sz="2160"/>
            </a:lvl6pPr>
            <a:lvl7pPr>
              <a:defRPr sz="2160"/>
            </a:lvl7pPr>
            <a:lvl8pPr>
              <a:defRPr sz="2160"/>
            </a:lvl8pPr>
            <a:lvl9pPr>
              <a:defRPr sz="2160"/>
            </a:lvl9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Tree>
    <p:extLst>
      <p:ext uri="{BB962C8B-B14F-4D97-AF65-F5344CB8AC3E}">
        <p14:creationId xmlns:p14="http://schemas.microsoft.com/office/powerpoint/2010/main" val="4103018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title">
  <p:cSld name="Titelfolie">
    <p:spTree>
      <p:nvGrpSpPr>
        <p:cNvPr id="1" name=""/>
        <p:cNvGrpSpPr/>
        <p:nvPr/>
      </p:nvGrpSpPr>
      <p:grpSpPr>
        <a:xfrm>
          <a:off x="0" y="0"/>
          <a:ext cx="0" cy="0"/>
          <a:chOff x="0" y="0"/>
          <a:chExt cx="0" cy="0"/>
        </a:xfrm>
      </p:grpSpPr>
      <p:sp>
        <p:nvSpPr>
          <p:cNvPr id="2" name="Rectangle 2">
            <a:extLst>
              <a:ext uri="{FF2B5EF4-FFF2-40B4-BE49-F238E27FC236}">
                <a16:creationId xmlns:a16="http://schemas.microsoft.com/office/drawing/2014/main" id="{C569FAB7-BE7B-FEF1-B13E-E90D7BD2C6B6}"/>
              </a:ext>
            </a:extLst>
          </p:cNvPr>
          <p:cNvSpPr>
            <a:spLocks noChangeArrowheads="1"/>
          </p:cNvSpPr>
          <p:nvPr/>
        </p:nvSpPr>
        <p:spPr bwMode="auto">
          <a:xfrm>
            <a:off x="334963" y="368300"/>
            <a:ext cx="11522075" cy="1868488"/>
          </a:xfrm>
          <a:prstGeom prst="rect">
            <a:avLst/>
          </a:prstGeom>
          <a:solidFill>
            <a:srgbClr val="243572"/>
          </a:solidFill>
          <a:ln>
            <a:noFill/>
          </a:ln>
        </p:spPr>
        <p:txBody>
          <a:bodyPr wrap="none" anchor="ctr"/>
          <a:lstStyle>
            <a:lvl1pPr eaLnBrk="0" hangingPunct="0">
              <a:defRPr b="1">
                <a:solidFill>
                  <a:schemeClr val="tx1"/>
                </a:solidFill>
                <a:latin typeface="Verdana" pitchFamily="34" charset="0"/>
              </a:defRPr>
            </a:lvl1pPr>
            <a:lvl2pPr marL="742950" indent="-285750" eaLnBrk="0" hangingPunct="0">
              <a:defRPr b="1">
                <a:solidFill>
                  <a:schemeClr val="tx1"/>
                </a:solidFill>
                <a:latin typeface="Verdana" pitchFamily="34" charset="0"/>
              </a:defRPr>
            </a:lvl2pPr>
            <a:lvl3pPr marL="1143000" indent="-228600" eaLnBrk="0" hangingPunct="0">
              <a:defRPr b="1">
                <a:solidFill>
                  <a:schemeClr val="tx1"/>
                </a:solidFill>
                <a:latin typeface="Verdana" pitchFamily="34" charset="0"/>
              </a:defRPr>
            </a:lvl3pPr>
            <a:lvl4pPr marL="1600200" indent="-228600" eaLnBrk="0" hangingPunct="0">
              <a:defRPr b="1">
                <a:solidFill>
                  <a:schemeClr val="tx1"/>
                </a:solidFill>
                <a:latin typeface="Verdana" pitchFamily="34" charset="0"/>
              </a:defRPr>
            </a:lvl4pPr>
            <a:lvl5pPr marL="2057400" indent="-228600" eaLnBrk="0" hangingPunct="0">
              <a:defRPr b="1">
                <a:solidFill>
                  <a:schemeClr val="tx1"/>
                </a:solidFill>
                <a:latin typeface="Verdana" pitchFamily="34" charset="0"/>
              </a:defRPr>
            </a:lvl5pPr>
            <a:lvl6pPr marL="2514600" indent="-228600" eaLnBrk="0" fontAlgn="base" hangingPunct="0">
              <a:spcBef>
                <a:spcPct val="0"/>
              </a:spcBef>
              <a:spcAft>
                <a:spcPct val="0"/>
              </a:spcAft>
              <a:defRPr b="1">
                <a:solidFill>
                  <a:schemeClr val="tx1"/>
                </a:solidFill>
                <a:latin typeface="Verdana" pitchFamily="34" charset="0"/>
              </a:defRPr>
            </a:lvl6pPr>
            <a:lvl7pPr marL="2971800" indent="-228600" eaLnBrk="0" fontAlgn="base" hangingPunct="0">
              <a:spcBef>
                <a:spcPct val="0"/>
              </a:spcBef>
              <a:spcAft>
                <a:spcPct val="0"/>
              </a:spcAft>
              <a:defRPr b="1">
                <a:solidFill>
                  <a:schemeClr val="tx1"/>
                </a:solidFill>
                <a:latin typeface="Verdana" pitchFamily="34" charset="0"/>
              </a:defRPr>
            </a:lvl7pPr>
            <a:lvl8pPr marL="3429000" indent="-228600" eaLnBrk="0" fontAlgn="base" hangingPunct="0">
              <a:spcBef>
                <a:spcPct val="0"/>
              </a:spcBef>
              <a:spcAft>
                <a:spcPct val="0"/>
              </a:spcAft>
              <a:defRPr b="1">
                <a:solidFill>
                  <a:schemeClr val="tx1"/>
                </a:solidFill>
                <a:latin typeface="Verdana" pitchFamily="34" charset="0"/>
              </a:defRPr>
            </a:lvl8pPr>
            <a:lvl9pPr marL="3886200" indent="-228600" eaLnBrk="0" fontAlgn="base" hangingPunct="0">
              <a:spcBef>
                <a:spcPct val="0"/>
              </a:spcBef>
              <a:spcAft>
                <a:spcPct val="0"/>
              </a:spcAft>
              <a:defRPr b="1">
                <a:solidFill>
                  <a:schemeClr val="tx1"/>
                </a:solidFill>
                <a:latin typeface="Verdana" pitchFamily="34" charset="0"/>
              </a:defRPr>
            </a:lvl9pPr>
          </a:lstStyle>
          <a:p>
            <a:pPr algn="ctr" eaLnBrk="1" hangingPunct="1">
              <a:defRPr/>
            </a:pPr>
            <a:endParaRPr lang="de-DE" altLang="de-DE"/>
          </a:p>
        </p:txBody>
      </p:sp>
      <p:sp>
        <p:nvSpPr>
          <p:cNvPr id="3" name="Rectangle 8">
            <a:extLst>
              <a:ext uri="{FF2B5EF4-FFF2-40B4-BE49-F238E27FC236}">
                <a16:creationId xmlns:a16="http://schemas.microsoft.com/office/drawing/2014/main" id="{E728453B-E2B8-ED4A-A577-5CCCCCC31553}"/>
              </a:ext>
            </a:extLst>
          </p:cNvPr>
          <p:cNvSpPr>
            <a:spLocks noChangeArrowheads="1"/>
          </p:cNvSpPr>
          <p:nvPr/>
        </p:nvSpPr>
        <p:spPr bwMode="auto">
          <a:xfrm>
            <a:off x="334963" y="196850"/>
            <a:ext cx="11522075" cy="144463"/>
          </a:xfrm>
          <a:prstGeom prst="rect">
            <a:avLst/>
          </a:prstGeom>
          <a:solidFill>
            <a:srgbClr val="243572"/>
          </a:solidFill>
          <a:ln>
            <a:noFill/>
          </a:ln>
        </p:spPr>
        <p:txBody>
          <a:bodyPr/>
          <a:lstStyle>
            <a:lvl1pPr eaLnBrk="0" hangingPunct="0">
              <a:defRPr b="1">
                <a:solidFill>
                  <a:schemeClr val="tx1"/>
                </a:solidFill>
                <a:latin typeface="Verdana" pitchFamily="34" charset="0"/>
              </a:defRPr>
            </a:lvl1pPr>
            <a:lvl2pPr marL="742950" indent="-285750" eaLnBrk="0" hangingPunct="0">
              <a:defRPr b="1">
                <a:solidFill>
                  <a:schemeClr val="tx1"/>
                </a:solidFill>
                <a:latin typeface="Verdana" pitchFamily="34" charset="0"/>
              </a:defRPr>
            </a:lvl2pPr>
            <a:lvl3pPr marL="1143000" indent="-228600" eaLnBrk="0" hangingPunct="0">
              <a:defRPr b="1">
                <a:solidFill>
                  <a:schemeClr val="tx1"/>
                </a:solidFill>
                <a:latin typeface="Verdana" pitchFamily="34" charset="0"/>
              </a:defRPr>
            </a:lvl3pPr>
            <a:lvl4pPr marL="1600200" indent="-228600" eaLnBrk="0" hangingPunct="0">
              <a:defRPr b="1">
                <a:solidFill>
                  <a:schemeClr val="tx1"/>
                </a:solidFill>
                <a:latin typeface="Verdana" pitchFamily="34" charset="0"/>
              </a:defRPr>
            </a:lvl4pPr>
            <a:lvl5pPr marL="2057400" indent="-228600" eaLnBrk="0" hangingPunct="0">
              <a:defRPr b="1">
                <a:solidFill>
                  <a:schemeClr val="tx1"/>
                </a:solidFill>
                <a:latin typeface="Verdana" pitchFamily="34" charset="0"/>
              </a:defRPr>
            </a:lvl5pPr>
            <a:lvl6pPr marL="2514600" indent="-228600" eaLnBrk="0" fontAlgn="base" hangingPunct="0">
              <a:spcBef>
                <a:spcPct val="0"/>
              </a:spcBef>
              <a:spcAft>
                <a:spcPct val="0"/>
              </a:spcAft>
              <a:defRPr b="1">
                <a:solidFill>
                  <a:schemeClr val="tx1"/>
                </a:solidFill>
                <a:latin typeface="Verdana" pitchFamily="34" charset="0"/>
              </a:defRPr>
            </a:lvl6pPr>
            <a:lvl7pPr marL="2971800" indent="-228600" eaLnBrk="0" fontAlgn="base" hangingPunct="0">
              <a:spcBef>
                <a:spcPct val="0"/>
              </a:spcBef>
              <a:spcAft>
                <a:spcPct val="0"/>
              </a:spcAft>
              <a:defRPr b="1">
                <a:solidFill>
                  <a:schemeClr val="tx1"/>
                </a:solidFill>
                <a:latin typeface="Verdana" pitchFamily="34" charset="0"/>
              </a:defRPr>
            </a:lvl7pPr>
            <a:lvl8pPr marL="3429000" indent="-228600" eaLnBrk="0" fontAlgn="base" hangingPunct="0">
              <a:spcBef>
                <a:spcPct val="0"/>
              </a:spcBef>
              <a:spcAft>
                <a:spcPct val="0"/>
              </a:spcAft>
              <a:defRPr b="1">
                <a:solidFill>
                  <a:schemeClr val="tx1"/>
                </a:solidFill>
                <a:latin typeface="Verdana" pitchFamily="34" charset="0"/>
              </a:defRPr>
            </a:lvl8pPr>
            <a:lvl9pPr marL="3886200" indent="-228600" eaLnBrk="0" fontAlgn="base" hangingPunct="0">
              <a:spcBef>
                <a:spcPct val="0"/>
              </a:spcBef>
              <a:spcAft>
                <a:spcPct val="0"/>
              </a:spcAft>
              <a:defRPr b="1">
                <a:solidFill>
                  <a:schemeClr val="tx1"/>
                </a:solidFill>
                <a:latin typeface="Verdana" pitchFamily="34" charset="0"/>
              </a:defRPr>
            </a:lvl9pPr>
          </a:lstStyle>
          <a:p>
            <a:pPr eaLnBrk="1" hangingPunct="1">
              <a:defRPr/>
            </a:pPr>
            <a:endParaRPr lang="de-DE" altLang="de-DE"/>
          </a:p>
        </p:txBody>
      </p:sp>
      <p:pic>
        <p:nvPicPr>
          <p:cNvPr id="4" name="Picture 9" descr="tud_logo">
            <a:extLst>
              <a:ext uri="{FF2B5EF4-FFF2-40B4-BE49-F238E27FC236}">
                <a16:creationId xmlns:a16="http://schemas.microsoft.com/office/drawing/2014/main" id="{85DF1844-7791-6B27-D447-1633FC286EB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r="5453"/>
          <a:stretch>
            <a:fillRect/>
          </a:stretch>
        </p:blipFill>
        <p:spPr bwMode="auto">
          <a:xfrm>
            <a:off x="9563100" y="500063"/>
            <a:ext cx="2497138" cy="792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Line 11">
            <a:extLst>
              <a:ext uri="{FF2B5EF4-FFF2-40B4-BE49-F238E27FC236}">
                <a16:creationId xmlns:a16="http://schemas.microsoft.com/office/drawing/2014/main" id="{E644716C-662C-64BD-BAAD-E408E5B895B2}"/>
              </a:ext>
            </a:extLst>
          </p:cNvPr>
          <p:cNvSpPr>
            <a:spLocks noChangeShapeType="1"/>
          </p:cNvSpPr>
          <p:nvPr/>
        </p:nvSpPr>
        <p:spPr bwMode="auto">
          <a:xfrm>
            <a:off x="336550" y="6489700"/>
            <a:ext cx="11520488" cy="0"/>
          </a:xfrm>
          <a:prstGeom prst="line">
            <a:avLst/>
          </a:prstGeom>
          <a:noFill/>
          <a:ln w="7620">
            <a:solidFill>
              <a:srgbClr val="000000"/>
            </a:solidFill>
            <a:round/>
            <a:headEnd/>
            <a:tailEnd/>
          </a:ln>
          <a:extLst>
            <a:ext uri="{909E8E84-426E-40DD-AFC4-6F175D3DCCD1}">
              <a14:hiddenFill xmlns:a14="http://schemas.microsoft.com/office/drawing/2010/main">
                <a:noFill/>
              </a14:hiddenFill>
            </a:ext>
          </a:extLst>
        </p:spPr>
        <p:txBody>
          <a:bodyPr/>
          <a:lstStyle/>
          <a:p>
            <a:endParaRPr lang="de-DE"/>
          </a:p>
        </p:txBody>
      </p:sp>
      <p:sp>
        <p:nvSpPr>
          <p:cNvPr id="6" name="Line 15">
            <a:extLst>
              <a:ext uri="{FF2B5EF4-FFF2-40B4-BE49-F238E27FC236}">
                <a16:creationId xmlns:a16="http://schemas.microsoft.com/office/drawing/2014/main" id="{2AF7D9EB-A136-5AE8-E17B-C12ED4F8583E}"/>
              </a:ext>
            </a:extLst>
          </p:cNvPr>
          <p:cNvSpPr>
            <a:spLocks noChangeShapeType="1"/>
          </p:cNvSpPr>
          <p:nvPr/>
        </p:nvSpPr>
        <p:spPr bwMode="auto">
          <a:xfrm>
            <a:off x="336550" y="6489700"/>
            <a:ext cx="11520488" cy="0"/>
          </a:xfrm>
          <a:prstGeom prst="line">
            <a:avLst/>
          </a:prstGeom>
          <a:noFill/>
          <a:ln w="7620">
            <a:solidFill>
              <a:srgbClr val="000000"/>
            </a:solidFill>
            <a:round/>
            <a:headEnd/>
            <a:tailEnd/>
          </a:ln>
          <a:extLst>
            <a:ext uri="{909E8E84-426E-40DD-AFC4-6F175D3DCCD1}">
              <a14:hiddenFill xmlns:a14="http://schemas.microsoft.com/office/drawing/2010/main">
                <a:noFill/>
              </a14:hiddenFill>
            </a:ext>
          </a:extLst>
        </p:spPr>
        <p:txBody>
          <a:bodyPr/>
          <a:lstStyle/>
          <a:p>
            <a:endParaRPr lang="de-DE"/>
          </a:p>
        </p:txBody>
      </p:sp>
      <p:sp>
        <p:nvSpPr>
          <p:cNvPr id="7" name="Rectangle 18">
            <a:extLst>
              <a:ext uri="{FF2B5EF4-FFF2-40B4-BE49-F238E27FC236}">
                <a16:creationId xmlns:a16="http://schemas.microsoft.com/office/drawing/2014/main" id="{F4F53B2A-DC8F-16D5-BCBB-F8B26E620EBA}"/>
              </a:ext>
            </a:extLst>
          </p:cNvPr>
          <p:cNvSpPr>
            <a:spLocks noChangeArrowheads="1"/>
          </p:cNvSpPr>
          <p:nvPr/>
        </p:nvSpPr>
        <p:spPr bwMode="auto">
          <a:xfrm>
            <a:off x="334963" y="360363"/>
            <a:ext cx="11520487" cy="14287"/>
          </a:xfrm>
          <a:prstGeom prst="rect">
            <a:avLst/>
          </a:prstGeom>
          <a:solidFill>
            <a:srgbClr val="000000"/>
          </a:solidFill>
          <a:ln>
            <a:noFill/>
          </a:ln>
        </p:spPr>
        <p:txBody>
          <a:bodyPr wrap="none" anchor="ctr"/>
          <a:lstStyle>
            <a:lvl1pPr eaLnBrk="0" hangingPunct="0">
              <a:defRPr b="1">
                <a:solidFill>
                  <a:schemeClr val="tx1"/>
                </a:solidFill>
                <a:latin typeface="Verdana" pitchFamily="34" charset="0"/>
              </a:defRPr>
            </a:lvl1pPr>
            <a:lvl2pPr marL="742950" indent="-285750" eaLnBrk="0" hangingPunct="0">
              <a:defRPr b="1">
                <a:solidFill>
                  <a:schemeClr val="tx1"/>
                </a:solidFill>
                <a:latin typeface="Verdana" pitchFamily="34" charset="0"/>
              </a:defRPr>
            </a:lvl2pPr>
            <a:lvl3pPr marL="1143000" indent="-228600" eaLnBrk="0" hangingPunct="0">
              <a:defRPr b="1">
                <a:solidFill>
                  <a:schemeClr val="tx1"/>
                </a:solidFill>
                <a:latin typeface="Verdana" pitchFamily="34" charset="0"/>
              </a:defRPr>
            </a:lvl3pPr>
            <a:lvl4pPr marL="1600200" indent="-228600" eaLnBrk="0" hangingPunct="0">
              <a:defRPr b="1">
                <a:solidFill>
                  <a:schemeClr val="tx1"/>
                </a:solidFill>
                <a:latin typeface="Verdana" pitchFamily="34" charset="0"/>
              </a:defRPr>
            </a:lvl4pPr>
            <a:lvl5pPr marL="2057400" indent="-228600" eaLnBrk="0" hangingPunct="0">
              <a:defRPr b="1">
                <a:solidFill>
                  <a:schemeClr val="tx1"/>
                </a:solidFill>
                <a:latin typeface="Verdana" pitchFamily="34" charset="0"/>
              </a:defRPr>
            </a:lvl5pPr>
            <a:lvl6pPr marL="2514600" indent="-228600" eaLnBrk="0" fontAlgn="base" hangingPunct="0">
              <a:spcBef>
                <a:spcPct val="0"/>
              </a:spcBef>
              <a:spcAft>
                <a:spcPct val="0"/>
              </a:spcAft>
              <a:defRPr b="1">
                <a:solidFill>
                  <a:schemeClr val="tx1"/>
                </a:solidFill>
                <a:latin typeface="Verdana" pitchFamily="34" charset="0"/>
              </a:defRPr>
            </a:lvl6pPr>
            <a:lvl7pPr marL="2971800" indent="-228600" eaLnBrk="0" fontAlgn="base" hangingPunct="0">
              <a:spcBef>
                <a:spcPct val="0"/>
              </a:spcBef>
              <a:spcAft>
                <a:spcPct val="0"/>
              </a:spcAft>
              <a:defRPr b="1">
                <a:solidFill>
                  <a:schemeClr val="tx1"/>
                </a:solidFill>
                <a:latin typeface="Verdana" pitchFamily="34" charset="0"/>
              </a:defRPr>
            </a:lvl7pPr>
            <a:lvl8pPr marL="3429000" indent="-228600" eaLnBrk="0" fontAlgn="base" hangingPunct="0">
              <a:spcBef>
                <a:spcPct val="0"/>
              </a:spcBef>
              <a:spcAft>
                <a:spcPct val="0"/>
              </a:spcAft>
              <a:defRPr b="1">
                <a:solidFill>
                  <a:schemeClr val="tx1"/>
                </a:solidFill>
                <a:latin typeface="Verdana" pitchFamily="34" charset="0"/>
              </a:defRPr>
            </a:lvl8pPr>
            <a:lvl9pPr marL="3886200" indent="-228600" eaLnBrk="0" fontAlgn="base" hangingPunct="0">
              <a:spcBef>
                <a:spcPct val="0"/>
              </a:spcBef>
              <a:spcAft>
                <a:spcPct val="0"/>
              </a:spcAft>
              <a:defRPr b="1">
                <a:solidFill>
                  <a:schemeClr val="tx1"/>
                </a:solidFill>
                <a:latin typeface="Verdana" pitchFamily="34" charset="0"/>
              </a:defRPr>
            </a:lvl9pPr>
          </a:lstStyle>
          <a:p>
            <a:pPr eaLnBrk="1" hangingPunct="1">
              <a:defRPr/>
            </a:pPr>
            <a:endParaRPr lang="de-DE" altLang="de-DE"/>
          </a:p>
        </p:txBody>
      </p:sp>
      <p:sp>
        <p:nvSpPr>
          <p:cNvPr id="8" name="Rectangle 19">
            <a:extLst>
              <a:ext uri="{FF2B5EF4-FFF2-40B4-BE49-F238E27FC236}">
                <a16:creationId xmlns:a16="http://schemas.microsoft.com/office/drawing/2014/main" id="{0073D143-71F4-1E01-51BF-829FF489BE02}"/>
              </a:ext>
            </a:extLst>
          </p:cNvPr>
          <p:cNvSpPr>
            <a:spLocks noChangeArrowheads="1"/>
          </p:cNvSpPr>
          <p:nvPr/>
        </p:nvSpPr>
        <p:spPr bwMode="auto">
          <a:xfrm>
            <a:off x="334963" y="2239963"/>
            <a:ext cx="11520487" cy="7937"/>
          </a:xfrm>
          <a:prstGeom prst="rect">
            <a:avLst/>
          </a:prstGeom>
          <a:solidFill>
            <a:srgbClr val="000000"/>
          </a:solidFill>
          <a:ln>
            <a:noFill/>
          </a:ln>
        </p:spPr>
        <p:txBody>
          <a:bodyPr wrap="none" anchor="ctr"/>
          <a:lstStyle>
            <a:lvl1pPr eaLnBrk="0" hangingPunct="0">
              <a:defRPr b="1">
                <a:solidFill>
                  <a:schemeClr val="tx1"/>
                </a:solidFill>
                <a:latin typeface="Verdana" pitchFamily="34" charset="0"/>
              </a:defRPr>
            </a:lvl1pPr>
            <a:lvl2pPr marL="742950" indent="-285750" eaLnBrk="0" hangingPunct="0">
              <a:defRPr b="1">
                <a:solidFill>
                  <a:schemeClr val="tx1"/>
                </a:solidFill>
                <a:latin typeface="Verdana" pitchFamily="34" charset="0"/>
              </a:defRPr>
            </a:lvl2pPr>
            <a:lvl3pPr marL="1143000" indent="-228600" eaLnBrk="0" hangingPunct="0">
              <a:defRPr b="1">
                <a:solidFill>
                  <a:schemeClr val="tx1"/>
                </a:solidFill>
                <a:latin typeface="Verdana" pitchFamily="34" charset="0"/>
              </a:defRPr>
            </a:lvl3pPr>
            <a:lvl4pPr marL="1600200" indent="-228600" eaLnBrk="0" hangingPunct="0">
              <a:defRPr b="1">
                <a:solidFill>
                  <a:schemeClr val="tx1"/>
                </a:solidFill>
                <a:latin typeface="Verdana" pitchFamily="34" charset="0"/>
              </a:defRPr>
            </a:lvl4pPr>
            <a:lvl5pPr marL="2057400" indent="-228600" eaLnBrk="0" hangingPunct="0">
              <a:defRPr b="1">
                <a:solidFill>
                  <a:schemeClr val="tx1"/>
                </a:solidFill>
                <a:latin typeface="Verdana" pitchFamily="34" charset="0"/>
              </a:defRPr>
            </a:lvl5pPr>
            <a:lvl6pPr marL="2514600" indent="-228600" eaLnBrk="0" fontAlgn="base" hangingPunct="0">
              <a:spcBef>
                <a:spcPct val="0"/>
              </a:spcBef>
              <a:spcAft>
                <a:spcPct val="0"/>
              </a:spcAft>
              <a:defRPr b="1">
                <a:solidFill>
                  <a:schemeClr val="tx1"/>
                </a:solidFill>
                <a:latin typeface="Verdana" pitchFamily="34" charset="0"/>
              </a:defRPr>
            </a:lvl6pPr>
            <a:lvl7pPr marL="2971800" indent="-228600" eaLnBrk="0" fontAlgn="base" hangingPunct="0">
              <a:spcBef>
                <a:spcPct val="0"/>
              </a:spcBef>
              <a:spcAft>
                <a:spcPct val="0"/>
              </a:spcAft>
              <a:defRPr b="1">
                <a:solidFill>
                  <a:schemeClr val="tx1"/>
                </a:solidFill>
                <a:latin typeface="Verdana" pitchFamily="34" charset="0"/>
              </a:defRPr>
            </a:lvl7pPr>
            <a:lvl8pPr marL="3429000" indent="-228600" eaLnBrk="0" fontAlgn="base" hangingPunct="0">
              <a:spcBef>
                <a:spcPct val="0"/>
              </a:spcBef>
              <a:spcAft>
                <a:spcPct val="0"/>
              </a:spcAft>
              <a:defRPr b="1">
                <a:solidFill>
                  <a:schemeClr val="tx1"/>
                </a:solidFill>
                <a:latin typeface="Verdana" pitchFamily="34" charset="0"/>
              </a:defRPr>
            </a:lvl8pPr>
            <a:lvl9pPr marL="3886200" indent="-228600" eaLnBrk="0" fontAlgn="base" hangingPunct="0">
              <a:spcBef>
                <a:spcPct val="0"/>
              </a:spcBef>
              <a:spcAft>
                <a:spcPct val="0"/>
              </a:spcAft>
              <a:defRPr b="1">
                <a:solidFill>
                  <a:schemeClr val="tx1"/>
                </a:solidFill>
                <a:latin typeface="Verdana" pitchFamily="34" charset="0"/>
              </a:defRPr>
            </a:lvl9pPr>
          </a:lstStyle>
          <a:p>
            <a:pPr eaLnBrk="1" hangingPunct="1">
              <a:defRPr/>
            </a:pPr>
            <a:endParaRPr lang="de-DE" altLang="de-DE"/>
          </a:p>
        </p:txBody>
      </p:sp>
      <p:pic>
        <p:nvPicPr>
          <p:cNvPr id="9" name="Grafik 13" descr="MIM_logo_10x10_web.gif">
            <a:extLst>
              <a:ext uri="{FF2B5EF4-FFF2-40B4-BE49-F238E27FC236}">
                <a16:creationId xmlns:a16="http://schemas.microsoft.com/office/drawing/2014/main" id="{C0D0B049-9C42-CFBD-98EF-2D6EECF0C2F9}"/>
              </a:ext>
            </a:extLst>
          </p:cNvPr>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0953750" y="6010275"/>
            <a:ext cx="1106488" cy="830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7043" name="Rectangle 3"/>
          <p:cNvSpPr>
            <a:spLocks noGrp="1" noChangeArrowheads="1"/>
          </p:cNvSpPr>
          <p:nvPr>
            <p:ph type="ctrTitle"/>
          </p:nvPr>
        </p:nvSpPr>
        <p:spPr>
          <a:xfrm>
            <a:off x="478367" y="534967"/>
            <a:ext cx="8978900" cy="577850"/>
          </a:xfrm>
        </p:spPr>
        <p:txBody>
          <a:bodyPr anchor="t"/>
          <a:lstStyle>
            <a:lvl1pPr>
              <a:defRPr sz="2800">
                <a:solidFill>
                  <a:schemeClr val="bg1"/>
                </a:solidFill>
              </a:defRPr>
            </a:lvl1pPr>
          </a:lstStyle>
          <a:p>
            <a:r>
              <a:rPr lang="de-DE" dirty="0"/>
              <a:t>Titelmasterformat durch Klicken bearbeiten</a:t>
            </a:r>
          </a:p>
        </p:txBody>
      </p:sp>
      <p:sp>
        <p:nvSpPr>
          <p:cNvPr id="87044" name="Rectangle 4"/>
          <p:cNvSpPr>
            <a:spLocks noGrp="1" noChangeArrowheads="1"/>
          </p:cNvSpPr>
          <p:nvPr>
            <p:ph type="subTitle" idx="1"/>
          </p:nvPr>
        </p:nvSpPr>
        <p:spPr>
          <a:xfrm>
            <a:off x="478367" y="1292205"/>
            <a:ext cx="8978900" cy="944562"/>
          </a:xfrm>
        </p:spPr>
        <p:txBody>
          <a:bodyPr/>
          <a:lstStyle>
            <a:lvl1pPr marL="0" indent="0">
              <a:spcBef>
                <a:spcPct val="0"/>
              </a:spcBef>
              <a:buFont typeface="Wingdings" pitchFamily="2" charset="2"/>
              <a:buNone/>
              <a:defRPr b="1">
                <a:solidFill>
                  <a:schemeClr val="bg1"/>
                </a:solidFill>
              </a:defRPr>
            </a:lvl1pPr>
          </a:lstStyle>
          <a:p>
            <a:r>
              <a:rPr lang="de-DE" dirty="0"/>
              <a:t>Formatvorlage des Untertitelmasters durch Klicken bearbeiten</a:t>
            </a:r>
          </a:p>
        </p:txBody>
      </p:sp>
    </p:spTree>
    <p:extLst>
      <p:ext uri="{BB962C8B-B14F-4D97-AF65-F5344CB8AC3E}">
        <p14:creationId xmlns:p14="http://schemas.microsoft.com/office/powerpoint/2010/main" val="3187932983"/>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Zwei Inhalte">
    <p:spTree>
      <p:nvGrpSpPr>
        <p:cNvPr id="1" name=""/>
        <p:cNvGrpSpPr/>
        <p:nvPr/>
      </p:nvGrpSpPr>
      <p:grpSpPr>
        <a:xfrm>
          <a:off x="0" y="0"/>
          <a:ext cx="0" cy="0"/>
          <a:chOff x="0" y="0"/>
          <a:chExt cx="0" cy="0"/>
        </a:xfrm>
      </p:grpSpPr>
      <p:sp>
        <p:nvSpPr>
          <p:cNvPr id="8" name="Titel 1"/>
          <p:cNvSpPr>
            <a:spLocks noGrp="1"/>
          </p:cNvSpPr>
          <p:nvPr>
            <p:ph type="title" hasCustomPrompt="1"/>
          </p:nvPr>
        </p:nvSpPr>
        <p:spPr>
          <a:xfrm>
            <a:off x="672000" y="480000"/>
            <a:ext cx="9120000" cy="480000"/>
          </a:xfrm>
        </p:spPr>
        <p:txBody>
          <a:bodyPr/>
          <a:lstStyle>
            <a:lvl1pPr>
              <a:defRPr>
                <a:solidFill>
                  <a:schemeClr val="tx1"/>
                </a:solidFill>
              </a:defRPr>
            </a:lvl1pPr>
          </a:lstStyle>
          <a:p>
            <a:r>
              <a:rPr lang="de-DE" dirty="0"/>
              <a:t>Titelmasterformat durch Klicken bearbeiten</a:t>
            </a:r>
          </a:p>
        </p:txBody>
      </p:sp>
      <p:sp>
        <p:nvSpPr>
          <p:cNvPr id="6" name="Rectangle 4"/>
          <p:cNvSpPr>
            <a:spLocks noGrp="1" noChangeArrowheads="1"/>
          </p:cNvSpPr>
          <p:nvPr>
            <p:ph type="subTitle" idx="11" hasCustomPrompt="1"/>
          </p:nvPr>
        </p:nvSpPr>
        <p:spPr>
          <a:xfrm>
            <a:off x="671076" y="1152001"/>
            <a:ext cx="9120000" cy="789519"/>
          </a:xfrm>
        </p:spPr>
        <p:txBody>
          <a:bodyPr lIns="0" tIns="0" rIns="0" bIns="0"/>
          <a:lstStyle>
            <a:lvl1pPr marL="0" indent="0">
              <a:spcBef>
                <a:spcPct val="0"/>
              </a:spcBef>
              <a:buFont typeface="Wingdings" pitchFamily="2" charset="2"/>
              <a:buNone/>
              <a:defRPr sz="2200" b="0" i="0">
                <a:solidFill>
                  <a:schemeClr val="tx1"/>
                </a:solidFill>
                <a:latin typeface="+mj-lt"/>
                <a:ea typeface="Verdana" charset="0"/>
                <a:cs typeface="Verdana" charset="0"/>
              </a:defRPr>
            </a:lvl1pPr>
          </a:lstStyle>
          <a:p>
            <a:r>
              <a:rPr lang="de-DE" dirty="0"/>
              <a:t>Sub-Titel</a:t>
            </a:r>
          </a:p>
          <a:p>
            <a:r>
              <a:rPr lang="de-DE" dirty="0"/>
              <a:t>Sub-Sub-Titel</a:t>
            </a:r>
          </a:p>
        </p:txBody>
      </p:sp>
      <p:sp>
        <p:nvSpPr>
          <p:cNvPr id="9" name="Inhaltsplatzhalter 2"/>
          <p:cNvSpPr>
            <a:spLocks noGrp="1"/>
          </p:cNvSpPr>
          <p:nvPr>
            <p:ph sz="half" idx="1"/>
          </p:nvPr>
        </p:nvSpPr>
        <p:spPr>
          <a:xfrm>
            <a:off x="672000" y="2112000"/>
            <a:ext cx="5376000" cy="3936000"/>
          </a:xfrm>
        </p:spPr>
        <p:txBody>
          <a:bodyPr/>
          <a:lstStyle>
            <a:lvl1pPr marL="0" indent="0">
              <a:defRPr sz="1600">
                <a:solidFill>
                  <a:schemeClr val="tx1"/>
                </a:solidFill>
              </a:defRPr>
            </a:lvl1pPr>
            <a:lvl2pPr>
              <a:defRPr sz="1600">
                <a:solidFill>
                  <a:schemeClr val="tx1"/>
                </a:solidFill>
              </a:defRPr>
            </a:lvl2pPr>
            <a:lvl3pPr>
              <a:defRPr sz="1600">
                <a:solidFill>
                  <a:schemeClr val="tx1"/>
                </a:solidFill>
              </a:defRPr>
            </a:lvl3pPr>
            <a:lvl4pPr>
              <a:defRPr sz="1600">
                <a:solidFill>
                  <a:schemeClr val="tx1"/>
                </a:solidFill>
              </a:defRPr>
            </a:lvl4pPr>
            <a:lvl5pPr>
              <a:defRPr sz="1600">
                <a:solidFill>
                  <a:schemeClr val="tx1"/>
                </a:solidFill>
              </a:defRPr>
            </a:lvl5pPr>
            <a:lvl6pPr>
              <a:defRPr sz="2160"/>
            </a:lvl6pPr>
            <a:lvl7pPr>
              <a:defRPr sz="2160"/>
            </a:lvl7pPr>
            <a:lvl8pPr>
              <a:defRPr sz="2160"/>
            </a:lvl8pPr>
            <a:lvl9pPr>
              <a:defRPr sz="2160"/>
            </a:lvl9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0" name="Inhaltsplatzhalter 2"/>
          <p:cNvSpPr>
            <a:spLocks noGrp="1"/>
          </p:cNvSpPr>
          <p:nvPr>
            <p:ph sz="half" idx="12"/>
          </p:nvPr>
        </p:nvSpPr>
        <p:spPr>
          <a:xfrm>
            <a:off x="6336000" y="2112000"/>
            <a:ext cx="5376000" cy="3936000"/>
          </a:xfrm>
        </p:spPr>
        <p:txBody>
          <a:bodyPr/>
          <a:lstStyle>
            <a:lvl1pPr marL="0" indent="0">
              <a:defRPr sz="1600">
                <a:solidFill>
                  <a:schemeClr val="tx1"/>
                </a:solidFill>
              </a:defRPr>
            </a:lvl1pPr>
            <a:lvl2pPr>
              <a:defRPr sz="1600">
                <a:solidFill>
                  <a:schemeClr val="tx1"/>
                </a:solidFill>
              </a:defRPr>
            </a:lvl2pPr>
            <a:lvl3pPr>
              <a:defRPr sz="1600">
                <a:solidFill>
                  <a:schemeClr val="tx1"/>
                </a:solidFill>
              </a:defRPr>
            </a:lvl3pPr>
            <a:lvl4pPr>
              <a:defRPr sz="1600">
                <a:solidFill>
                  <a:schemeClr val="tx1"/>
                </a:solidFill>
              </a:defRPr>
            </a:lvl4pPr>
            <a:lvl5pPr>
              <a:defRPr sz="1600">
                <a:solidFill>
                  <a:schemeClr val="tx1"/>
                </a:solidFill>
              </a:defRPr>
            </a:lvl5pPr>
            <a:lvl6pPr>
              <a:defRPr sz="2160"/>
            </a:lvl6pPr>
            <a:lvl7pPr>
              <a:defRPr sz="2160"/>
            </a:lvl7pPr>
            <a:lvl8pPr>
              <a:defRPr sz="2160"/>
            </a:lvl8pPr>
            <a:lvl9pPr>
              <a:defRPr sz="2160"/>
            </a:lvl9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Tree>
    <p:extLst>
      <p:ext uri="{BB962C8B-B14F-4D97-AF65-F5344CB8AC3E}">
        <p14:creationId xmlns:p14="http://schemas.microsoft.com/office/powerpoint/2010/main" val="150214936"/>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Drei Inhalte">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672000" y="480000"/>
            <a:ext cx="9120000" cy="480000"/>
          </a:xfrm>
        </p:spPr>
        <p:txBody>
          <a:bodyPr/>
          <a:lstStyle>
            <a:lvl1pPr>
              <a:defRPr>
                <a:solidFill>
                  <a:schemeClr val="tx1"/>
                </a:solidFill>
              </a:defRPr>
            </a:lvl1pPr>
          </a:lstStyle>
          <a:p>
            <a:r>
              <a:rPr lang="de-DE" dirty="0"/>
              <a:t>Titelmasterformat durch Klicken bearbeiten</a:t>
            </a:r>
          </a:p>
        </p:txBody>
      </p:sp>
      <p:sp>
        <p:nvSpPr>
          <p:cNvPr id="3" name="Inhaltsplatzhalter 2"/>
          <p:cNvSpPr>
            <a:spLocks noGrp="1"/>
          </p:cNvSpPr>
          <p:nvPr>
            <p:ph sz="half" idx="1"/>
          </p:nvPr>
        </p:nvSpPr>
        <p:spPr>
          <a:xfrm>
            <a:off x="672000" y="2112000"/>
            <a:ext cx="3504000" cy="3936000"/>
          </a:xfrm>
        </p:spPr>
        <p:txBody>
          <a:bodyPr/>
          <a:lstStyle>
            <a:lvl1pPr marL="0" indent="0">
              <a:defRPr sz="1600">
                <a:solidFill>
                  <a:schemeClr val="tx1"/>
                </a:solidFill>
              </a:defRPr>
            </a:lvl1pPr>
            <a:lvl2pPr>
              <a:defRPr sz="1600">
                <a:solidFill>
                  <a:schemeClr val="tx1"/>
                </a:solidFill>
              </a:defRPr>
            </a:lvl2pPr>
            <a:lvl3pPr>
              <a:defRPr sz="1600">
                <a:solidFill>
                  <a:schemeClr val="tx1"/>
                </a:solidFill>
              </a:defRPr>
            </a:lvl3pPr>
            <a:lvl4pPr>
              <a:defRPr sz="1600">
                <a:solidFill>
                  <a:schemeClr val="tx1"/>
                </a:solidFill>
              </a:defRPr>
            </a:lvl4pPr>
            <a:lvl5pPr>
              <a:defRPr sz="1600">
                <a:solidFill>
                  <a:schemeClr val="tx1"/>
                </a:solidFill>
              </a:defRPr>
            </a:lvl5pPr>
            <a:lvl6pPr>
              <a:defRPr sz="2160"/>
            </a:lvl6pPr>
            <a:lvl7pPr>
              <a:defRPr sz="2160"/>
            </a:lvl7pPr>
            <a:lvl8pPr>
              <a:defRPr sz="2160"/>
            </a:lvl8pPr>
            <a:lvl9pPr>
              <a:defRPr sz="2160"/>
            </a:lvl9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9" name="Inhaltsplatzhalter 2"/>
          <p:cNvSpPr>
            <a:spLocks noGrp="1"/>
          </p:cNvSpPr>
          <p:nvPr>
            <p:ph sz="half" idx="10"/>
          </p:nvPr>
        </p:nvSpPr>
        <p:spPr>
          <a:xfrm>
            <a:off x="4440000" y="2112000"/>
            <a:ext cx="3504000" cy="3936000"/>
          </a:xfrm>
        </p:spPr>
        <p:txBody>
          <a:bodyPr/>
          <a:lstStyle>
            <a:lvl1pPr marL="0" indent="0">
              <a:defRPr sz="1600">
                <a:solidFill>
                  <a:schemeClr val="tx1"/>
                </a:solidFill>
              </a:defRPr>
            </a:lvl1pPr>
            <a:lvl2pPr>
              <a:defRPr sz="1600">
                <a:solidFill>
                  <a:schemeClr val="tx1"/>
                </a:solidFill>
              </a:defRPr>
            </a:lvl2pPr>
            <a:lvl3pPr>
              <a:defRPr sz="1600">
                <a:solidFill>
                  <a:schemeClr val="tx1"/>
                </a:solidFill>
              </a:defRPr>
            </a:lvl3pPr>
            <a:lvl4pPr>
              <a:defRPr sz="1600">
                <a:solidFill>
                  <a:schemeClr val="tx1"/>
                </a:solidFill>
              </a:defRPr>
            </a:lvl4pPr>
            <a:lvl5pPr>
              <a:defRPr sz="1600">
                <a:solidFill>
                  <a:schemeClr val="tx1"/>
                </a:solidFill>
              </a:defRPr>
            </a:lvl5pPr>
            <a:lvl6pPr>
              <a:defRPr sz="2160"/>
            </a:lvl6pPr>
            <a:lvl7pPr>
              <a:defRPr sz="2160"/>
            </a:lvl7pPr>
            <a:lvl8pPr>
              <a:defRPr sz="2160"/>
            </a:lvl8pPr>
            <a:lvl9pPr>
              <a:defRPr sz="2160"/>
            </a:lvl9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1" name="Inhaltsplatzhalter 2"/>
          <p:cNvSpPr>
            <a:spLocks noGrp="1"/>
          </p:cNvSpPr>
          <p:nvPr>
            <p:ph sz="half" idx="12"/>
          </p:nvPr>
        </p:nvSpPr>
        <p:spPr>
          <a:xfrm>
            <a:off x="8208000" y="2112000"/>
            <a:ext cx="3504000" cy="3936000"/>
          </a:xfrm>
        </p:spPr>
        <p:txBody>
          <a:bodyPr/>
          <a:lstStyle>
            <a:lvl1pPr marL="0" indent="0">
              <a:defRPr sz="1600">
                <a:solidFill>
                  <a:schemeClr val="tx1"/>
                </a:solidFill>
              </a:defRPr>
            </a:lvl1pPr>
            <a:lvl2pPr>
              <a:defRPr sz="1600">
                <a:solidFill>
                  <a:schemeClr val="tx1"/>
                </a:solidFill>
              </a:defRPr>
            </a:lvl2pPr>
            <a:lvl3pPr>
              <a:defRPr sz="1600">
                <a:solidFill>
                  <a:schemeClr val="tx1"/>
                </a:solidFill>
              </a:defRPr>
            </a:lvl3pPr>
            <a:lvl4pPr>
              <a:defRPr sz="1600">
                <a:solidFill>
                  <a:schemeClr val="tx1"/>
                </a:solidFill>
              </a:defRPr>
            </a:lvl4pPr>
            <a:lvl5pPr>
              <a:defRPr sz="1600">
                <a:solidFill>
                  <a:schemeClr val="tx1"/>
                </a:solidFill>
              </a:defRPr>
            </a:lvl5pPr>
            <a:lvl6pPr>
              <a:defRPr sz="2160"/>
            </a:lvl6pPr>
            <a:lvl7pPr>
              <a:defRPr sz="2160"/>
            </a:lvl7pPr>
            <a:lvl8pPr>
              <a:defRPr sz="2160"/>
            </a:lvl8pPr>
            <a:lvl9pPr>
              <a:defRPr sz="2160"/>
            </a:lvl9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6" name="Rectangle 4"/>
          <p:cNvSpPr>
            <a:spLocks noGrp="1" noChangeArrowheads="1"/>
          </p:cNvSpPr>
          <p:nvPr>
            <p:ph type="subTitle" idx="11" hasCustomPrompt="1"/>
          </p:nvPr>
        </p:nvSpPr>
        <p:spPr>
          <a:xfrm>
            <a:off x="671076" y="1152001"/>
            <a:ext cx="9120000" cy="789519"/>
          </a:xfrm>
        </p:spPr>
        <p:txBody>
          <a:bodyPr lIns="0" tIns="0" rIns="0" bIns="0"/>
          <a:lstStyle>
            <a:lvl1pPr marL="0" indent="0">
              <a:spcBef>
                <a:spcPct val="0"/>
              </a:spcBef>
              <a:buFont typeface="Wingdings" pitchFamily="2" charset="2"/>
              <a:buNone/>
              <a:defRPr sz="2200" b="0" i="0">
                <a:solidFill>
                  <a:schemeClr val="tx1"/>
                </a:solidFill>
                <a:latin typeface="+mj-lt"/>
                <a:ea typeface="Verdana" charset="0"/>
                <a:cs typeface="Verdana" charset="0"/>
              </a:defRPr>
            </a:lvl1pPr>
          </a:lstStyle>
          <a:p>
            <a:r>
              <a:rPr lang="de-DE" dirty="0"/>
              <a:t>Sub-Titel</a:t>
            </a:r>
          </a:p>
          <a:p>
            <a:r>
              <a:rPr lang="de-DE" dirty="0"/>
              <a:t>Sub-Sub-Titel</a:t>
            </a:r>
          </a:p>
        </p:txBody>
      </p:sp>
    </p:spTree>
    <p:extLst>
      <p:ext uri="{BB962C8B-B14F-4D97-AF65-F5344CB8AC3E}">
        <p14:creationId xmlns:p14="http://schemas.microsoft.com/office/powerpoint/2010/main" val="3833493896"/>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6_Titelfolie">
    <p:spTree>
      <p:nvGrpSpPr>
        <p:cNvPr id="1" name=""/>
        <p:cNvGrpSpPr/>
        <p:nvPr/>
      </p:nvGrpSpPr>
      <p:grpSpPr>
        <a:xfrm>
          <a:off x="0" y="0"/>
          <a:ext cx="0" cy="0"/>
          <a:chOff x="0" y="0"/>
          <a:chExt cx="0" cy="0"/>
        </a:xfrm>
      </p:grpSpPr>
      <p:sp>
        <p:nvSpPr>
          <p:cNvPr id="14" name="Rechteck 13"/>
          <p:cNvSpPr/>
          <p:nvPr/>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rgbClr val="00715E"/>
              </a:solidFill>
            </a:endParaRPr>
          </a:p>
        </p:txBody>
      </p:sp>
      <p:sp>
        <p:nvSpPr>
          <p:cNvPr id="12" name="Titel 11"/>
          <p:cNvSpPr>
            <a:spLocks noGrp="1"/>
          </p:cNvSpPr>
          <p:nvPr>
            <p:ph type="title" hasCustomPrompt="1"/>
          </p:nvPr>
        </p:nvSpPr>
        <p:spPr>
          <a:xfrm>
            <a:off x="672001" y="480000"/>
            <a:ext cx="9120000" cy="480000"/>
          </a:xfrm>
        </p:spPr>
        <p:txBody>
          <a:bodyPr/>
          <a:lstStyle>
            <a:lvl1pPr>
              <a:defRPr sz="3200">
                <a:solidFill>
                  <a:srgbClr val="FDCA00"/>
                </a:solidFill>
              </a:defRPr>
            </a:lvl1pPr>
          </a:lstStyle>
          <a:p>
            <a:r>
              <a:rPr lang="de-DE" dirty="0"/>
              <a:t>TITELMASTERFORMAT DURCH KLICKEN</a:t>
            </a:r>
          </a:p>
        </p:txBody>
      </p:sp>
      <p:pic>
        <p:nvPicPr>
          <p:cNvPr id="15" name="Bild 1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80914" y="5740751"/>
            <a:ext cx="11192933" cy="609600"/>
          </a:xfrm>
          <a:prstGeom prst="rect">
            <a:avLst/>
          </a:prstGeom>
        </p:spPr>
      </p:pic>
      <p:sp>
        <p:nvSpPr>
          <p:cNvPr id="9" name="Titel 2"/>
          <p:cNvSpPr txBox="1">
            <a:spLocks/>
          </p:cNvSpPr>
          <p:nvPr/>
        </p:nvSpPr>
        <p:spPr bwMode="auto">
          <a:xfrm>
            <a:off x="2596318" y="5384375"/>
            <a:ext cx="1812295" cy="1117600"/>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lvl1pPr algn="l" rtl="0" eaLnBrk="1" fontAlgn="base" hangingPunct="1">
              <a:spcBef>
                <a:spcPct val="0"/>
              </a:spcBef>
              <a:spcAft>
                <a:spcPct val="0"/>
              </a:spcAft>
              <a:defRPr sz="2800" b="1" i="0">
                <a:solidFill>
                  <a:srgbClr val="FDCA00"/>
                </a:solidFill>
                <a:latin typeface="+mj-lt"/>
                <a:ea typeface="Verdana" charset="0"/>
                <a:cs typeface="Verdana" charset="0"/>
              </a:defRPr>
            </a:lvl1pPr>
            <a:lvl2pPr algn="l" rtl="0" eaLnBrk="1" fontAlgn="base" hangingPunct="1">
              <a:spcBef>
                <a:spcPct val="0"/>
              </a:spcBef>
              <a:spcAft>
                <a:spcPct val="0"/>
              </a:spcAft>
              <a:defRPr sz="2400" b="1">
                <a:solidFill>
                  <a:schemeClr val="tx1"/>
                </a:solidFill>
                <a:latin typeface="Arial" charset="0"/>
              </a:defRPr>
            </a:lvl2pPr>
            <a:lvl3pPr algn="l" rtl="0" eaLnBrk="1" fontAlgn="base" hangingPunct="1">
              <a:spcBef>
                <a:spcPct val="0"/>
              </a:spcBef>
              <a:spcAft>
                <a:spcPct val="0"/>
              </a:spcAft>
              <a:defRPr sz="2400" b="1">
                <a:solidFill>
                  <a:schemeClr val="tx1"/>
                </a:solidFill>
                <a:latin typeface="Arial" charset="0"/>
              </a:defRPr>
            </a:lvl3pPr>
            <a:lvl4pPr algn="l" rtl="0" eaLnBrk="1" fontAlgn="base" hangingPunct="1">
              <a:spcBef>
                <a:spcPct val="0"/>
              </a:spcBef>
              <a:spcAft>
                <a:spcPct val="0"/>
              </a:spcAft>
              <a:defRPr sz="2400" b="1">
                <a:solidFill>
                  <a:schemeClr val="tx1"/>
                </a:solidFill>
                <a:latin typeface="Arial" charset="0"/>
              </a:defRPr>
            </a:lvl4pPr>
            <a:lvl5pPr algn="l" rtl="0" eaLnBrk="1" fontAlgn="base" hangingPunct="1">
              <a:spcBef>
                <a:spcPct val="0"/>
              </a:spcBef>
              <a:spcAft>
                <a:spcPct val="0"/>
              </a:spcAft>
              <a:defRPr sz="2400" b="1">
                <a:solidFill>
                  <a:schemeClr val="tx1"/>
                </a:solidFill>
                <a:latin typeface="Arial" charset="0"/>
              </a:defRPr>
            </a:lvl5pPr>
            <a:lvl6pPr marL="457200" algn="l" rtl="0" eaLnBrk="1" fontAlgn="base" hangingPunct="1">
              <a:spcBef>
                <a:spcPct val="0"/>
              </a:spcBef>
              <a:spcAft>
                <a:spcPct val="0"/>
              </a:spcAft>
              <a:defRPr sz="2400" b="1">
                <a:solidFill>
                  <a:schemeClr val="tx1"/>
                </a:solidFill>
                <a:latin typeface="Arial" charset="0"/>
              </a:defRPr>
            </a:lvl6pPr>
            <a:lvl7pPr marL="914400" algn="l" rtl="0" eaLnBrk="1" fontAlgn="base" hangingPunct="1">
              <a:spcBef>
                <a:spcPct val="0"/>
              </a:spcBef>
              <a:spcAft>
                <a:spcPct val="0"/>
              </a:spcAft>
              <a:defRPr sz="2400" b="1">
                <a:solidFill>
                  <a:schemeClr val="tx1"/>
                </a:solidFill>
                <a:latin typeface="Arial" charset="0"/>
              </a:defRPr>
            </a:lvl7pPr>
            <a:lvl8pPr marL="1371600" algn="l" rtl="0" eaLnBrk="1" fontAlgn="base" hangingPunct="1">
              <a:spcBef>
                <a:spcPct val="0"/>
              </a:spcBef>
              <a:spcAft>
                <a:spcPct val="0"/>
              </a:spcAft>
              <a:defRPr sz="2400" b="1">
                <a:solidFill>
                  <a:schemeClr val="tx1"/>
                </a:solidFill>
                <a:latin typeface="Arial" charset="0"/>
              </a:defRPr>
            </a:lvl8pPr>
            <a:lvl9pPr marL="1828800" algn="l" rtl="0" eaLnBrk="1" fontAlgn="base" hangingPunct="1">
              <a:spcBef>
                <a:spcPct val="0"/>
              </a:spcBef>
              <a:spcAft>
                <a:spcPct val="0"/>
              </a:spcAft>
              <a:defRPr sz="2400" b="1">
                <a:solidFill>
                  <a:schemeClr val="tx1"/>
                </a:solidFill>
                <a:latin typeface="Arial" charset="0"/>
              </a:defRPr>
            </a:lvl9pPr>
          </a:lstStyle>
          <a:p>
            <a:endParaRPr lang="de-DE" sz="4533" b="0" kern="0" dirty="0">
              <a:solidFill>
                <a:schemeClr val="accent1"/>
              </a:solidFill>
              <a:latin typeface="+mj-lt"/>
            </a:endParaRPr>
          </a:p>
        </p:txBody>
      </p:sp>
      <p:sp>
        <p:nvSpPr>
          <p:cNvPr id="50" name="Textfeld 49"/>
          <p:cNvSpPr txBox="1"/>
          <p:nvPr userDrawn="1"/>
        </p:nvSpPr>
        <p:spPr>
          <a:xfrm>
            <a:off x="5376000" y="2880000"/>
            <a:ext cx="6144000" cy="2575770"/>
          </a:xfrm>
          <a:prstGeom prst="rect">
            <a:avLst/>
          </a:prstGeom>
          <a:noFill/>
        </p:spPr>
        <p:txBody>
          <a:bodyPr wrap="square" rtlCol="0">
            <a:spAutoFit/>
          </a:bodyPr>
          <a:lstStyle/>
          <a:p>
            <a:pPr marL="0" indent="0">
              <a:lnSpc>
                <a:spcPct val="100000"/>
              </a:lnSpc>
              <a:spcBef>
                <a:spcPts val="0"/>
              </a:spcBef>
              <a:spcAft>
                <a:spcPts val="0"/>
              </a:spcAft>
              <a:buNone/>
            </a:pPr>
            <a:r>
              <a:rPr lang="de-DE" sz="1467" dirty="0">
                <a:solidFill>
                  <a:schemeClr val="accent1"/>
                </a:solidFill>
              </a:rPr>
              <a:t>Prof. Tobias </a:t>
            </a:r>
            <a:r>
              <a:rPr lang="de-DE" sz="1467" dirty="0" err="1">
                <a:solidFill>
                  <a:schemeClr val="accent1"/>
                </a:solidFill>
              </a:rPr>
              <a:t>Melz</a:t>
            </a:r>
            <a:endParaRPr lang="de-DE" sz="1467" dirty="0">
              <a:solidFill>
                <a:schemeClr val="accent1"/>
              </a:solidFill>
            </a:endParaRPr>
          </a:p>
          <a:p>
            <a:pPr marL="0" indent="0">
              <a:lnSpc>
                <a:spcPct val="100000"/>
              </a:lnSpc>
              <a:spcBef>
                <a:spcPts val="0"/>
              </a:spcBef>
              <a:spcAft>
                <a:spcPts val="0"/>
              </a:spcAft>
              <a:buNone/>
            </a:pPr>
            <a:endParaRPr lang="de-DE" sz="1467" dirty="0">
              <a:solidFill>
                <a:schemeClr val="accent1"/>
              </a:solidFill>
            </a:endParaRPr>
          </a:p>
          <a:p>
            <a:pPr marL="0" indent="0">
              <a:lnSpc>
                <a:spcPct val="100000"/>
              </a:lnSpc>
              <a:spcBef>
                <a:spcPts val="0"/>
              </a:spcBef>
              <a:spcAft>
                <a:spcPts val="0"/>
              </a:spcAft>
              <a:buNone/>
            </a:pPr>
            <a:r>
              <a:rPr lang="de-DE" sz="1467" dirty="0">
                <a:solidFill>
                  <a:schemeClr val="accent1"/>
                </a:solidFill>
              </a:rPr>
              <a:t>Technische Universität Darmstadt</a:t>
            </a:r>
          </a:p>
          <a:p>
            <a:pPr marL="0" indent="0">
              <a:lnSpc>
                <a:spcPct val="100000"/>
              </a:lnSpc>
              <a:spcBef>
                <a:spcPts val="0"/>
              </a:spcBef>
              <a:spcAft>
                <a:spcPts val="0"/>
              </a:spcAft>
              <a:buNone/>
            </a:pPr>
            <a:r>
              <a:rPr lang="de-DE" sz="1467" dirty="0">
                <a:solidFill>
                  <a:schemeClr val="accent1"/>
                </a:solidFill>
              </a:rPr>
              <a:t>Fachgebiet Systemzuverlässigkeit, </a:t>
            </a:r>
            <a:r>
              <a:rPr lang="de-DE" sz="1467" dirty="0" err="1">
                <a:solidFill>
                  <a:schemeClr val="accent1"/>
                </a:solidFill>
              </a:rPr>
              <a:t>Adaptronik</a:t>
            </a:r>
            <a:r>
              <a:rPr lang="de-DE" sz="1467" dirty="0">
                <a:solidFill>
                  <a:schemeClr val="accent1"/>
                </a:solidFill>
              </a:rPr>
              <a:t> und Maschinenakustik SAM</a:t>
            </a:r>
          </a:p>
          <a:p>
            <a:pPr marL="0" indent="0">
              <a:lnSpc>
                <a:spcPct val="100000"/>
              </a:lnSpc>
              <a:spcBef>
                <a:spcPts val="0"/>
              </a:spcBef>
              <a:spcAft>
                <a:spcPts val="0"/>
              </a:spcAft>
              <a:buNone/>
            </a:pPr>
            <a:r>
              <a:rPr lang="de-DE" sz="1467" dirty="0">
                <a:solidFill>
                  <a:schemeClr val="accent1"/>
                </a:solidFill>
              </a:rPr>
              <a:t>Otto-Berndt-Straße 2, Gebäude L1|01</a:t>
            </a:r>
          </a:p>
          <a:p>
            <a:pPr marL="0" indent="0">
              <a:lnSpc>
                <a:spcPct val="100000"/>
              </a:lnSpc>
              <a:spcBef>
                <a:spcPts val="0"/>
              </a:spcBef>
              <a:spcAft>
                <a:spcPts val="0"/>
              </a:spcAft>
              <a:buNone/>
            </a:pPr>
            <a:r>
              <a:rPr lang="de-DE" sz="1467" dirty="0">
                <a:solidFill>
                  <a:schemeClr val="accent1"/>
                </a:solidFill>
              </a:rPr>
              <a:t>64287 Darmstadt</a:t>
            </a:r>
          </a:p>
          <a:p>
            <a:pPr marL="0" indent="0">
              <a:lnSpc>
                <a:spcPct val="100000"/>
              </a:lnSpc>
              <a:spcBef>
                <a:spcPts val="0"/>
              </a:spcBef>
              <a:spcAft>
                <a:spcPts val="0"/>
              </a:spcAft>
              <a:buNone/>
            </a:pPr>
            <a:r>
              <a:rPr lang="de-DE" sz="1467" dirty="0">
                <a:solidFill>
                  <a:schemeClr val="accent1"/>
                </a:solidFill>
              </a:rPr>
              <a:t>Tel.: 06151 16-23510</a:t>
            </a:r>
          </a:p>
          <a:p>
            <a:pPr marL="0" indent="0">
              <a:lnSpc>
                <a:spcPct val="100000"/>
              </a:lnSpc>
              <a:spcBef>
                <a:spcPts val="0"/>
              </a:spcBef>
              <a:spcAft>
                <a:spcPts val="0"/>
              </a:spcAft>
              <a:buNone/>
            </a:pPr>
            <a:r>
              <a:rPr lang="de-DE" sz="1467" dirty="0">
                <a:solidFill>
                  <a:schemeClr val="accent1"/>
                </a:solidFill>
              </a:rPr>
              <a:t>tobias.melz@lbf.fraunhofer.de</a:t>
            </a:r>
          </a:p>
          <a:p>
            <a:pPr marL="0" indent="0">
              <a:lnSpc>
                <a:spcPct val="100000"/>
              </a:lnSpc>
              <a:spcBef>
                <a:spcPts val="0"/>
              </a:spcBef>
              <a:spcAft>
                <a:spcPts val="0"/>
              </a:spcAft>
              <a:buNone/>
            </a:pPr>
            <a:r>
              <a:rPr lang="de-DE" sz="1467" dirty="0">
                <a:solidFill>
                  <a:schemeClr val="accent1"/>
                </a:solidFill>
              </a:rPr>
              <a:t>www.sam.tu-darmstadt.de </a:t>
            </a:r>
            <a:br>
              <a:rPr lang="de-DE" sz="1467" dirty="0">
                <a:solidFill>
                  <a:schemeClr val="accent1"/>
                </a:solidFill>
              </a:rPr>
            </a:br>
            <a:r>
              <a:rPr lang="de-DE" sz="1467" dirty="0">
                <a:solidFill>
                  <a:schemeClr val="accent1"/>
                </a:solidFill>
              </a:rPr>
              <a:t>www.lbf.fraunhofer.de</a:t>
            </a:r>
          </a:p>
        </p:txBody>
      </p:sp>
      <p:sp>
        <p:nvSpPr>
          <p:cNvPr id="52" name="Rectangle 4"/>
          <p:cNvSpPr>
            <a:spLocks noGrp="1" noChangeArrowheads="1"/>
          </p:cNvSpPr>
          <p:nvPr>
            <p:ph type="subTitle" idx="1"/>
          </p:nvPr>
        </p:nvSpPr>
        <p:spPr>
          <a:xfrm>
            <a:off x="671076" y="1152001"/>
            <a:ext cx="9120000" cy="789519"/>
          </a:xfrm>
        </p:spPr>
        <p:txBody>
          <a:bodyPr lIns="0" tIns="0" rIns="0" bIns="0"/>
          <a:lstStyle>
            <a:lvl1pPr marL="0" indent="0">
              <a:spcBef>
                <a:spcPct val="0"/>
              </a:spcBef>
              <a:buFont typeface="Wingdings" pitchFamily="2" charset="2"/>
              <a:buNone/>
              <a:defRPr sz="2200" b="0" i="0">
                <a:solidFill>
                  <a:srgbClr val="FDCA00"/>
                </a:solidFill>
                <a:latin typeface="+mj-lt"/>
                <a:ea typeface="Verdana" charset="0"/>
                <a:cs typeface="Verdana" charset="0"/>
              </a:defRPr>
            </a:lvl1pPr>
          </a:lstStyle>
          <a:p>
            <a:r>
              <a:rPr lang="de-DE" dirty="0"/>
              <a:t>Master-Untertitelformat bearbeiten</a:t>
            </a:r>
          </a:p>
        </p:txBody>
      </p:sp>
      <p:grpSp>
        <p:nvGrpSpPr>
          <p:cNvPr id="45" name="Gruppierung 9"/>
          <p:cNvGrpSpPr/>
          <p:nvPr userDrawn="1"/>
        </p:nvGrpSpPr>
        <p:grpSpPr>
          <a:xfrm>
            <a:off x="9887088" y="477223"/>
            <a:ext cx="2304912" cy="870205"/>
            <a:chOff x="7415316" y="357917"/>
            <a:chExt cx="1728684" cy="652654"/>
          </a:xfrm>
          <a:solidFill>
            <a:schemeClr val="bg1"/>
          </a:solidFill>
        </p:grpSpPr>
        <p:sp>
          <p:nvSpPr>
            <p:cNvPr id="46" name="Rechteck 45"/>
            <p:cNvSpPr/>
            <p:nvPr/>
          </p:nvSpPr>
          <p:spPr>
            <a:xfrm>
              <a:off x="7415316" y="357917"/>
              <a:ext cx="1728684" cy="65265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47" name="Picture 9" descr="tud_logo"/>
            <p:cNvPicPr>
              <a:picLocks noChangeAspect="1" noChangeArrowheads="1"/>
            </p:cNvPicPr>
            <p:nvPr/>
          </p:nvPicPr>
          <p:blipFill rotWithShape="1">
            <a:blip r:embed="rId3" cstate="print">
              <a:clrChange>
                <a:clrFrom>
                  <a:srgbClr val="FDFDFD"/>
                </a:clrFrom>
                <a:clrTo>
                  <a:srgbClr val="FDFDFD">
                    <a:alpha val="0"/>
                  </a:srgbClr>
                </a:clrTo>
              </a:clrChange>
              <a:extLst>
                <a:ext uri="{28A0092B-C50C-407E-A947-70E740481C1C}">
                  <a14:useLocalDpi xmlns:a14="http://schemas.microsoft.com/office/drawing/2010/main" val="0"/>
                </a:ext>
              </a:extLst>
            </a:blip>
            <a:srcRect l="7733" t="6878" r="5453" b="9546"/>
            <a:stretch/>
          </p:blipFill>
          <p:spPr bwMode="auto">
            <a:xfrm>
              <a:off x="7608875" y="407299"/>
              <a:ext cx="1404584" cy="540631"/>
            </a:xfrm>
            <a:prstGeom prst="rect">
              <a:avLst/>
            </a:prstGeom>
            <a:grpFill/>
            <a:ln w="9525">
              <a:noFill/>
              <a:miter lim="800000"/>
              <a:headEnd/>
              <a:tailEnd/>
            </a:ln>
          </p:spPr>
        </p:pic>
      </p:grpSp>
      <p:sp>
        <p:nvSpPr>
          <p:cNvPr id="84" name="Rechteck 83"/>
          <p:cNvSpPr/>
          <p:nvPr userDrawn="1"/>
        </p:nvSpPr>
        <p:spPr>
          <a:xfrm>
            <a:off x="9887088" y="1345096"/>
            <a:ext cx="2304912" cy="429605"/>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51" name="Group 4"/>
          <p:cNvGrpSpPr>
            <a:grpSpLocks noChangeAspect="1"/>
          </p:cNvGrpSpPr>
          <p:nvPr userDrawn="1"/>
        </p:nvGrpSpPr>
        <p:grpSpPr bwMode="auto">
          <a:xfrm>
            <a:off x="11268361" y="1286959"/>
            <a:ext cx="601441" cy="445749"/>
            <a:chOff x="5478" y="637"/>
            <a:chExt cx="282" cy="209"/>
          </a:xfrm>
        </p:grpSpPr>
        <p:sp>
          <p:nvSpPr>
            <p:cNvPr id="53" name="AutoShape 3"/>
            <p:cNvSpPr>
              <a:spLocks noChangeAspect="1" noChangeArrowheads="1" noTextEdit="1"/>
            </p:cNvSpPr>
            <p:nvPr userDrawn="1"/>
          </p:nvSpPr>
          <p:spPr bwMode="auto">
            <a:xfrm>
              <a:off x="5478" y="637"/>
              <a:ext cx="282" cy="2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pic>
          <p:nvPicPr>
            <p:cNvPr id="54" name="Picture 5"/>
            <p:cNvPicPr>
              <a:picLocks noChangeAspect="1" noChangeArrowheads="1"/>
            </p:cNvPicPr>
            <p:nvPr userDrawn="1"/>
          </p:nvPicPr>
          <p:blipFill>
            <a:blip r:embed="rId4" cstate="hqprint">
              <a:extLst>
                <a:ext uri="{28A0092B-C50C-407E-A947-70E740481C1C}">
                  <a14:useLocalDpi xmlns:a14="http://schemas.microsoft.com/office/drawing/2010/main" val="0"/>
                </a:ext>
              </a:extLst>
            </a:blip>
            <a:srcRect/>
            <a:stretch>
              <a:fillRect/>
            </a:stretch>
          </p:blipFill>
          <p:spPr bwMode="auto">
            <a:xfrm>
              <a:off x="5478" y="637"/>
              <a:ext cx="282" cy="2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5" name="Freeform 6"/>
            <p:cNvSpPr>
              <a:spLocks noEditPoints="1"/>
            </p:cNvSpPr>
            <p:nvPr userDrawn="1"/>
          </p:nvSpPr>
          <p:spPr bwMode="auto">
            <a:xfrm>
              <a:off x="5486" y="647"/>
              <a:ext cx="185" cy="183"/>
            </a:xfrm>
            <a:custGeom>
              <a:avLst/>
              <a:gdLst>
                <a:gd name="T0" fmla="*/ 554 w 554"/>
                <a:gd name="T1" fmla="*/ 275 h 550"/>
                <a:gd name="T2" fmla="*/ 549 w 554"/>
                <a:gd name="T3" fmla="*/ 331 h 550"/>
                <a:gd name="T4" fmla="*/ 533 w 554"/>
                <a:gd name="T5" fmla="*/ 382 h 550"/>
                <a:gd name="T6" fmla="*/ 507 w 554"/>
                <a:gd name="T7" fmla="*/ 429 h 550"/>
                <a:gd name="T8" fmla="*/ 473 w 554"/>
                <a:gd name="T9" fmla="*/ 470 h 550"/>
                <a:gd name="T10" fmla="*/ 433 w 554"/>
                <a:gd name="T11" fmla="*/ 503 h 550"/>
                <a:gd name="T12" fmla="*/ 385 w 554"/>
                <a:gd name="T13" fmla="*/ 529 h 550"/>
                <a:gd name="T14" fmla="*/ 334 w 554"/>
                <a:gd name="T15" fmla="*/ 544 h 550"/>
                <a:gd name="T16" fmla="*/ 278 w 554"/>
                <a:gd name="T17" fmla="*/ 550 h 550"/>
                <a:gd name="T18" fmla="*/ 249 w 554"/>
                <a:gd name="T19" fmla="*/ 549 h 550"/>
                <a:gd name="T20" fmla="*/ 195 w 554"/>
                <a:gd name="T21" fmla="*/ 539 h 550"/>
                <a:gd name="T22" fmla="*/ 145 w 554"/>
                <a:gd name="T23" fmla="*/ 517 h 550"/>
                <a:gd name="T24" fmla="*/ 102 w 554"/>
                <a:gd name="T25" fmla="*/ 487 h 550"/>
                <a:gd name="T26" fmla="*/ 63 w 554"/>
                <a:gd name="T27" fmla="*/ 450 h 550"/>
                <a:gd name="T28" fmla="*/ 33 w 554"/>
                <a:gd name="T29" fmla="*/ 406 h 550"/>
                <a:gd name="T30" fmla="*/ 13 w 554"/>
                <a:gd name="T31" fmla="*/ 358 h 550"/>
                <a:gd name="T32" fmla="*/ 2 w 554"/>
                <a:gd name="T33" fmla="*/ 303 h 550"/>
                <a:gd name="T34" fmla="*/ 0 w 554"/>
                <a:gd name="T35" fmla="*/ 275 h 550"/>
                <a:gd name="T36" fmla="*/ 6 w 554"/>
                <a:gd name="T37" fmla="*/ 219 h 550"/>
                <a:gd name="T38" fmla="*/ 22 w 554"/>
                <a:gd name="T39" fmla="*/ 168 h 550"/>
                <a:gd name="T40" fmla="*/ 48 w 554"/>
                <a:gd name="T41" fmla="*/ 121 h 550"/>
                <a:gd name="T42" fmla="*/ 82 w 554"/>
                <a:gd name="T43" fmla="*/ 80 h 550"/>
                <a:gd name="T44" fmla="*/ 122 w 554"/>
                <a:gd name="T45" fmla="*/ 47 h 550"/>
                <a:gd name="T46" fmla="*/ 169 w 554"/>
                <a:gd name="T47" fmla="*/ 21 h 550"/>
                <a:gd name="T48" fmla="*/ 222 w 554"/>
                <a:gd name="T49" fmla="*/ 6 h 550"/>
                <a:gd name="T50" fmla="*/ 278 w 554"/>
                <a:gd name="T51" fmla="*/ 0 h 550"/>
                <a:gd name="T52" fmla="*/ 305 w 554"/>
                <a:gd name="T53" fmla="*/ 1 h 550"/>
                <a:gd name="T54" fmla="*/ 360 w 554"/>
                <a:gd name="T55" fmla="*/ 11 h 550"/>
                <a:gd name="T56" fmla="*/ 410 w 554"/>
                <a:gd name="T57" fmla="*/ 33 h 550"/>
                <a:gd name="T58" fmla="*/ 454 w 554"/>
                <a:gd name="T59" fmla="*/ 63 h 550"/>
                <a:gd name="T60" fmla="*/ 491 w 554"/>
                <a:gd name="T61" fmla="*/ 100 h 550"/>
                <a:gd name="T62" fmla="*/ 521 w 554"/>
                <a:gd name="T63" fmla="*/ 144 h 550"/>
                <a:gd name="T64" fmla="*/ 541 w 554"/>
                <a:gd name="T65" fmla="*/ 192 h 550"/>
                <a:gd name="T66" fmla="*/ 553 w 554"/>
                <a:gd name="T67" fmla="*/ 246 h 550"/>
                <a:gd name="T68" fmla="*/ 554 w 554"/>
                <a:gd name="T69" fmla="*/ 275 h 550"/>
                <a:gd name="T70" fmla="*/ 554 w 554"/>
                <a:gd name="T71" fmla="*/ 275 h 5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54" h="550">
                  <a:moveTo>
                    <a:pt x="554" y="275"/>
                  </a:moveTo>
                  <a:lnTo>
                    <a:pt x="554" y="275"/>
                  </a:lnTo>
                  <a:lnTo>
                    <a:pt x="553" y="303"/>
                  </a:lnTo>
                  <a:lnTo>
                    <a:pt x="549" y="331"/>
                  </a:lnTo>
                  <a:lnTo>
                    <a:pt x="541" y="358"/>
                  </a:lnTo>
                  <a:lnTo>
                    <a:pt x="533" y="382"/>
                  </a:lnTo>
                  <a:lnTo>
                    <a:pt x="521" y="406"/>
                  </a:lnTo>
                  <a:lnTo>
                    <a:pt x="507" y="429"/>
                  </a:lnTo>
                  <a:lnTo>
                    <a:pt x="491" y="450"/>
                  </a:lnTo>
                  <a:lnTo>
                    <a:pt x="473" y="470"/>
                  </a:lnTo>
                  <a:lnTo>
                    <a:pt x="454" y="487"/>
                  </a:lnTo>
                  <a:lnTo>
                    <a:pt x="433" y="503"/>
                  </a:lnTo>
                  <a:lnTo>
                    <a:pt x="410" y="517"/>
                  </a:lnTo>
                  <a:lnTo>
                    <a:pt x="385" y="529"/>
                  </a:lnTo>
                  <a:lnTo>
                    <a:pt x="360" y="539"/>
                  </a:lnTo>
                  <a:lnTo>
                    <a:pt x="334" y="544"/>
                  </a:lnTo>
                  <a:lnTo>
                    <a:pt x="305" y="549"/>
                  </a:lnTo>
                  <a:lnTo>
                    <a:pt x="278" y="550"/>
                  </a:lnTo>
                  <a:lnTo>
                    <a:pt x="278" y="550"/>
                  </a:lnTo>
                  <a:lnTo>
                    <a:pt x="249" y="549"/>
                  </a:lnTo>
                  <a:lnTo>
                    <a:pt x="222" y="544"/>
                  </a:lnTo>
                  <a:lnTo>
                    <a:pt x="195" y="539"/>
                  </a:lnTo>
                  <a:lnTo>
                    <a:pt x="169" y="529"/>
                  </a:lnTo>
                  <a:lnTo>
                    <a:pt x="145" y="517"/>
                  </a:lnTo>
                  <a:lnTo>
                    <a:pt x="122" y="503"/>
                  </a:lnTo>
                  <a:lnTo>
                    <a:pt x="102" y="487"/>
                  </a:lnTo>
                  <a:lnTo>
                    <a:pt x="82" y="470"/>
                  </a:lnTo>
                  <a:lnTo>
                    <a:pt x="63" y="450"/>
                  </a:lnTo>
                  <a:lnTo>
                    <a:pt x="48" y="429"/>
                  </a:lnTo>
                  <a:lnTo>
                    <a:pt x="33" y="406"/>
                  </a:lnTo>
                  <a:lnTo>
                    <a:pt x="22" y="382"/>
                  </a:lnTo>
                  <a:lnTo>
                    <a:pt x="13" y="358"/>
                  </a:lnTo>
                  <a:lnTo>
                    <a:pt x="6" y="331"/>
                  </a:lnTo>
                  <a:lnTo>
                    <a:pt x="2" y="303"/>
                  </a:lnTo>
                  <a:lnTo>
                    <a:pt x="0" y="275"/>
                  </a:lnTo>
                  <a:lnTo>
                    <a:pt x="0" y="275"/>
                  </a:lnTo>
                  <a:lnTo>
                    <a:pt x="2" y="246"/>
                  </a:lnTo>
                  <a:lnTo>
                    <a:pt x="6" y="219"/>
                  </a:lnTo>
                  <a:lnTo>
                    <a:pt x="13" y="192"/>
                  </a:lnTo>
                  <a:lnTo>
                    <a:pt x="22" y="168"/>
                  </a:lnTo>
                  <a:lnTo>
                    <a:pt x="33" y="144"/>
                  </a:lnTo>
                  <a:lnTo>
                    <a:pt x="48" y="121"/>
                  </a:lnTo>
                  <a:lnTo>
                    <a:pt x="63" y="100"/>
                  </a:lnTo>
                  <a:lnTo>
                    <a:pt x="82" y="80"/>
                  </a:lnTo>
                  <a:lnTo>
                    <a:pt x="102" y="63"/>
                  </a:lnTo>
                  <a:lnTo>
                    <a:pt x="122" y="47"/>
                  </a:lnTo>
                  <a:lnTo>
                    <a:pt x="145" y="33"/>
                  </a:lnTo>
                  <a:lnTo>
                    <a:pt x="169" y="21"/>
                  </a:lnTo>
                  <a:lnTo>
                    <a:pt x="195" y="11"/>
                  </a:lnTo>
                  <a:lnTo>
                    <a:pt x="222" y="6"/>
                  </a:lnTo>
                  <a:lnTo>
                    <a:pt x="249" y="1"/>
                  </a:lnTo>
                  <a:lnTo>
                    <a:pt x="278" y="0"/>
                  </a:lnTo>
                  <a:lnTo>
                    <a:pt x="278" y="0"/>
                  </a:lnTo>
                  <a:lnTo>
                    <a:pt x="305" y="1"/>
                  </a:lnTo>
                  <a:lnTo>
                    <a:pt x="334" y="6"/>
                  </a:lnTo>
                  <a:lnTo>
                    <a:pt x="360" y="11"/>
                  </a:lnTo>
                  <a:lnTo>
                    <a:pt x="385" y="21"/>
                  </a:lnTo>
                  <a:lnTo>
                    <a:pt x="410" y="33"/>
                  </a:lnTo>
                  <a:lnTo>
                    <a:pt x="433" y="47"/>
                  </a:lnTo>
                  <a:lnTo>
                    <a:pt x="454" y="63"/>
                  </a:lnTo>
                  <a:lnTo>
                    <a:pt x="473" y="80"/>
                  </a:lnTo>
                  <a:lnTo>
                    <a:pt x="491" y="100"/>
                  </a:lnTo>
                  <a:lnTo>
                    <a:pt x="507" y="121"/>
                  </a:lnTo>
                  <a:lnTo>
                    <a:pt x="521" y="144"/>
                  </a:lnTo>
                  <a:lnTo>
                    <a:pt x="533" y="168"/>
                  </a:lnTo>
                  <a:lnTo>
                    <a:pt x="541" y="192"/>
                  </a:lnTo>
                  <a:lnTo>
                    <a:pt x="549" y="219"/>
                  </a:lnTo>
                  <a:lnTo>
                    <a:pt x="553" y="246"/>
                  </a:lnTo>
                  <a:lnTo>
                    <a:pt x="554" y="275"/>
                  </a:lnTo>
                  <a:lnTo>
                    <a:pt x="554" y="275"/>
                  </a:lnTo>
                  <a:close/>
                  <a:moveTo>
                    <a:pt x="554" y="275"/>
                  </a:moveTo>
                  <a:lnTo>
                    <a:pt x="554" y="275"/>
                  </a:lnTo>
                  <a:close/>
                </a:path>
              </a:pathLst>
            </a:custGeom>
            <a:solidFill>
              <a:srgbClr val="B61F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6" name="Freeform 7"/>
            <p:cNvSpPr>
              <a:spLocks/>
            </p:cNvSpPr>
            <p:nvPr userDrawn="1"/>
          </p:nvSpPr>
          <p:spPr bwMode="auto">
            <a:xfrm>
              <a:off x="5486" y="647"/>
              <a:ext cx="185" cy="183"/>
            </a:xfrm>
            <a:custGeom>
              <a:avLst/>
              <a:gdLst>
                <a:gd name="T0" fmla="*/ 554 w 554"/>
                <a:gd name="T1" fmla="*/ 275 h 550"/>
                <a:gd name="T2" fmla="*/ 549 w 554"/>
                <a:gd name="T3" fmla="*/ 331 h 550"/>
                <a:gd name="T4" fmla="*/ 533 w 554"/>
                <a:gd name="T5" fmla="*/ 382 h 550"/>
                <a:gd name="T6" fmla="*/ 507 w 554"/>
                <a:gd name="T7" fmla="*/ 429 h 550"/>
                <a:gd name="T8" fmla="*/ 473 w 554"/>
                <a:gd name="T9" fmla="*/ 470 h 550"/>
                <a:gd name="T10" fmla="*/ 433 w 554"/>
                <a:gd name="T11" fmla="*/ 503 h 550"/>
                <a:gd name="T12" fmla="*/ 385 w 554"/>
                <a:gd name="T13" fmla="*/ 529 h 550"/>
                <a:gd name="T14" fmla="*/ 334 w 554"/>
                <a:gd name="T15" fmla="*/ 544 h 550"/>
                <a:gd name="T16" fmla="*/ 278 w 554"/>
                <a:gd name="T17" fmla="*/ 550 h 550"/>
                <a:gd name="T18" fmla="*/ 249 w 554"/>
                <a:gd name="T19" fmla="*/ 549 h 550"/>
                <a:gd name="T20" fmla="*/ 195 w 554"/>
                <a:gd name="T21" fmla="*/ 539 h 550"/>
                <a:gd name="T22" fmla="*/ 145 w 554"/>
                <a:gd name="T23" fmla="*/ 517 h 550"/>
                <a:gd name="T24" fmla="*/ 102 w 554"/>
                <a:gd name="T25" fmla="*/ 487 h 550"/>
                <a:gd name="T26" fmla="*/ 63 w 554"/>
                <a:gd name="T27" fmla="*/ 450 h 550"/>
                <a:gd name="T28" fmla="*/ 33 w 554"/>
                <a:gd name="T29" fmla="*/ 406 h 550"/>
                <a:gd name="T30" fmla="*/ 13 w 554"/>
                <a:gd name="T31" fmla="*/ 358 h 550"/>
                <a:gd name="T32" fmla="*/ 2 w 554"/>
                <a:gd name="T33" fmla="*/ 303 h 550"/>
                <a:gd name="T34" fmla="*/ 0 w 554"/>
                <a:gd name="T35" fmla="*/ 275 h 550"/>
                <a:gd name="T36" fmla="*/ 6 w 554"/>
                <a:gd name="T37" fmla="*/ 219 h 550"/>
                <a:gd name="T38" fmla="*/ 22 w 554"/>
                <a:gd name="T39" fmla="*/ 168 h 550"/>
                <a:gd name="T40" fmla="*/ 48 w 554"/>
                <a:gd name="T41" fmla="*/ 121 h 550"/>
                <a:gd name="T42" fmla="*/ 82 w 554"/>
                <a:gd name="T43" fmla="*/ 80 h 550"/>
                <a:gd name="T44" fmla="*/ 122 w 554"/>
                <a:gd name="T45" fmla="*/ 47 h 550"/>
                <a:gd name="T46" fmla="*/ 169 w 554"/>
                <a:gd name="T47" fmla="*/ 21 h 550"/>
                <a:gd name="T48" fmla="*/ 222 w 554"/>
                <a:gd name="T49" fmla="*/ 6 h 550"/>
                <a:gd name="T50" fmla="*/ 278 w 554"/>
                <a:gd name="T51" fmla="*/ 0 h 550"/>
                <a:gd name="T52" fmla="*/ 305 w 554"/>
                <a:gd name="T53" fmla="*/ 1 h 550"/>
                <a:gd name="T54" fmla="*/ 360 w 554"/>
                <a:gd name="T55" fmla="*/ 11 h 550"/>
                <a:gd name="T56" fmla="*/ 410 w 554"/>
                <a:gd name="T57" fmla="*/ 33 h 550"/>
                <a:gd name="T58" fmla="*/ 454 w 554"/>
                <a:gd name="T59" fmla="*/ 63 h 550"/>
                <a:gd name="T60" fmla="*/ 491 w 554"/>
                <a:gd name="T61" fmla="*/ 100 h 550"/>
                <a:gd name="T62" fmla="*/ 521 w 554"/>
                <a:gd name="T63" fmla="*/ 144 h 550"/>
                <a:gd name="T64" fmla="*/ 541 w 554"/>
                <a:gd name="T65" fmla="*/ 192 h 550"/>
                <a:gd name="T66" fmla="*/ 553 w 554"/>
                <a:gd name="T67" fmla="*/ 246 h 550"/>
                <a:gd name="T68" fmla="*/ 554 w 554"/>
                <a:gd name="T69" fmla="*/ 275 h 5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54" h="550">
                  <a:moveTo>
                    <a:pt x="554" y="275"/>
                  </a:moveTo>
                  <a:lnTo>
                    <a:pt x="554" y="275"/>
                  </a:lnTo>
                  <a:lnTo>
                    <a:pt x="553" y="303"/>
                  </a:lnTo>
                  <a:lnTo>
                    <a:pt x="549" y="331"/>
                  </a:lnTo>
                  <a:lnTo>
                    <a:pt x="541" y="358"/>
                  </a:lnTo>
                  <a:lnTo>
                    <a:pt x="533" y="382"/>
                  </a:lnTo>
                  <a:lnTo>
                    <a:pt x="521" y="406"/>
                  </a:lnTo>
                  <a:lnTo>
                    <a:pt x="507" y="429"/>
                  </a:lnTo>
                  <a:lnTo>
                    <a:pt x="491" y="450"/>
                  </a:lnTo>
                  <a:lnTo>
                    <a:pt x="473" y="470"/>
                  </a:lnTo>
                  <a:lnTo>
                    <a:pt x="454" y="487"/>
                  </a:lnTo>
                  <a:lnTo>
                    <a:pt x="433" y="503"/>
                  </a:lnTo>
                  <a:lnTo>
                    <a:pt x="410" y="517"/>
                  </a:lnTo>
                  <a:lnTo>
                    <a:pt x="385" y="529"/>
                  </a:lnTo>
                  <a:lnTo>
                    <a:pt x="360" y="539"/>
                  </a:lnTo>
                  <a:lnTo>
                    <a:pt x="334" y="544"/>
                  </a:lnTo>
                  <a:lnTo>
                    <a:pt x="305" y="549"/>
                  </a:lnTo>
                  <a:lnTo>
                    <a:pt x="278" y="550"/>
                  </a:lnTo>
                  <a:lnTo>
                    <a:pt x="278" y="550"/>
                  </a:lnTo>
                  <a:lnTo>
                    <a:pt x="249" y="549"/>
                  </a:lnTo>
                  <a:lnTo>
                    <a:pt x="222" y="544"/>
                  </a:lnTo>
                  <a:lnTo>
                    <a:pt x="195" y="539"/>
                  </a:lnTo>
                  <a:lnTo>
                    <a:pt x="169" y="529"/>
                  </a:lnTo>
                  <a:lnTo>
                    <a:pt x="145" y="517"/>
                  </a:lnTo>
                  <a:lnTo>
                    <a:pt x="122" y="503"/>
                  </a:lnTo>
                  <a:lnTo>
                    <a:pt x="102" y="487"/>
                  </a:lnTo>
                  <a:lnTo>
                    <a:pt x="82" y="470"/>
                  </a:lnTo>
                  <a:lnTo>
                    <a:pt x="63" y="450"/>
                  </a:lnTo>
                  <a:lnTo>
                    <a:pt x="48" y="429"/>
                  </a:lnTo>
                  <a:lnTo>
                    <a:pt x="33" y="406"/>
                  </a:lnTo>
                  <a:lnTo>
                    <a:pt x="22" y="382"/>
                  </a:lnTo>
                  <a:lnTo>
                    <a:pt x="13" y="358"/>
                  </a:lnTo>
                  <a:lnTo>
                    <a:pt x="6" y="331"/>
                  </a:lnTo>
                  <a:lnTo>
                    <a:pt x="2" y="303"/>
                  </a:lnTo>
                  <a:lnTo>
                    <a:pt x="0" y="275"/>
                  </a:lnTo>
                  <a:lnTo>
                    <a:pt x="0" y="275"/>
                  </a:lnTo>
                  <a:lnTo>
                    <a:pt x="2" y="246"/>
                  </a:lnTo>
                  <a:lnTo>
                    <a:pt x="6" y="219"/>
                  </a:lnTo>
                  <a:lnTo>
                    <a:pt x="13" y="192"/>
                  </a:lnTo>
                  <a:lnTo>
                    <a:pt x="22" y="168"/>
                  </a:lnTo>
                  <a:lnTo>
                    <a:pt x="33" y="144"/>
                  </a:lnTo>
                  <a:lnTo>
                    <a:pt x="48" y="121"/>
                  </a:lnTo>
                  <a:lnTo>
                    <a:pt x="63" y="100"/>
                  </a:lnTo>
                  <a:lnTo>
                    <a:pt x="82" y="80"/>
                  </a:lnTo>
                  <a:lnTo>
                    <a:pt x="102" y="63"/>
                  </a:lnTo>
                  <a:lnTo>
                    <a:pt x="122" y="47"/>
                  </a:lnTo>
                  <a:lnTo>
                    <a:pt x="145" y="33"/>
                  </a:lnTo>
                  <a:lnTo>
                    <a:pt x="169" y="21"/>
                  </a:lnTo>
                  <a:lnTo>
                    <a:pt x="195" y="11"/>
                  </a:lnTo>
                  <a:lnTo>
                    <a:pt x="222" y="6"/>
                  </a:lnTo>
                  <a:lnTo>
                    <a:pt x="249" y="1"/>
                  </a:lnTo>
                  <a:lnTo>
                    <a:pt x="278" y="0"/>
                  </a:lnTo>
                  <a:lnTo>
                    <a:pt x="278" y="0"/>
                  </a:lnTo>
                  <a:lnTo>
                    <a:pt x="305" y="1"/>
                  </a:lnTo>
                  <a:lnTo>
                    <a:pt x="334" y="6"/>
                  </a:lnTo>
                  <a:lnTo>
                    <a:pt x="360" y="11"/>
                  </a:lnTo>
                  <a:lnTo>
                    <a:pt x="385" y="21"/>
                  </a:lnTo>
                  <a:lnTo>
                    <a:pt x="410" y="33"/>
                  </a:lnTo>
                  <a:lnTo>
                    <a:pt x="433" y="47"/>
                  </a:lnTo>
                  <a:lnTo>
                    <a:pt x="454" y="63"/>
                  </a:lnTo>
                  <a:lnTo>
                    <a:pt x="473" y="80"/>
                  </a:lnTo>
                  <a:lnTo>
                    <a:pt x="491" y="100"/>
                  </a:lnTo>
                  <a:lnTo>
                    <a:pt x="507" y="121"/>
                  </a:lnTo>
                  <a:lnTo>
                    <a:pt x="521" y="144"/>
                  </a:lnTo>
                  <a:lnTo>
                    <a:pt x="533" y="168"/>
                  </a:lnTo>
                  <a:lnTo>
                    <a:pt x="541" y="192"/>
                  </a:lnTo>
                  <a:lnTo>
                    <a:pt x="549" y="219"/>
                  </a:lnTo>
                  <a:lnTo>
                    <a:pt x="553" y="246"/>
                  </a:lnTo>
                  <a:lnTo>
                    <a:pt x="554" y="275"/>
                  </a:lnTo>
                  <a:lnTo>
                    <a:pt x="554" y="27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7" name="Line 8"/>
            <p:cNvSpPr>
              <a:spLocks noChangeShapeType="1"/>
            </p:cNvSpPr>
            <p:nvPr userDrawn="1"/>
          </p:nvSpPr>
          <p:spPr bwMode="auto">
            <a:xfrm>
              <a:off x="5671" y="739"/>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8" name="Freeform 9"/>
            <p:cNvSpPr>
              <a:spLocks/>
            </p:cNvSpPr>
            <p:nvPr userDrawn="1"/>
          </p:nvSpPr>
          <p:spPr bwMode="auto">
            <a:xfrm>
              <a:off x="5486" y="647"/>
              <a:ext cx="185" cy="183"/>
            </a:xfrm>
            <a:custGeom>
              <a:avLst/>
              <a:gdLst>
                <a:gd name="T0" fmla="*/ 554 w 554"/>
                <a:gd name="T1" fmla="*/ 275 h 550"/>
                <a:gd name="T2" fmla="*/ 549 w 554"/>
                <a:gd name="T3" fmla="*/ 331 h 550"/>
                <a:gd name="T4" fmla="*/ 533 w 554"/>
                <a:gd name="T5" fmla="*/ 382 h 550"/>
                <a:gd name="T6" fmla="*/ 507 w 554"/>
                <a:gd name="T7" fmla="*/ 429 h 550"/>
                <a:gd name="T8" fmla="*/ 473 w 554"/>
                <a:gd name="T9" fmla="*/ 470 h 550"/>
                <a:gd name="T10" fmla="*/ 433 w 554"/>
                <a:gd name="T11" fmla="*/ 503 h 550"/>
                <a:gd name="T12" fmla="*/ 385 w 554"/>
                <a:gd name="T13" fmla="*/ 529 h 550"/>
                <a:gd name="T14" fmla="*/ 334 w 554"/>
                <a:gd name="T15" fmla="*/ 544 h 550"/>
                <a:gd name="T16" fmla="*/ 278 w 554"/>
                <a:gd name="T17" fmla="*/ 550 h 550"/>
                <a:gd name="T18" fmla="*/ 249 w 554"/>
                <a:gd name="T19" fmla="*/ 549 h 550"/>
                <a:gd name="T20" fmla="*/ 195 w 554"/>
                <a:gd name="T21" fmla="*/ 539 h 550"/>
                <a:gd name="T22" fmla="*/ 145 w 554"/>
                <a:gd name="T23" fmla="*/ 517 h 550"/>
                <a:gd name="T24" fmla="*/ 102 w 554"/>
                <a:gd name="T25" fmla="*/ 487 h 550"/>
                <a:gd name="T26" fmla="*/ 63 w 554"/>
                <a:gd name="T27" fmla="*/ 450 h 550"/>
                <a:gd name="T28" fmla="*/ 33 w 554"/>
                <a:gd name="T29" fmla="*/ 406 h 550"/>
                <a:gd name="T30" fmla="*/ 13 w 554"/>
                <a:gd name="T31" fmla="*/ 358 h 550"/>
                <a:gd name="T32" fmla="*/ 2 w 554"/>
                <a:gd name="T33" fmla="*/ 303 h 550"/>
                <a:gd name="T34" fmla="*/ 0 w 554"/>
                <a:gd name="T35" fmla="*/ 275 h 550"/>
                <a:gd name="T36" fmla="*/ 6 w 554"/>
                <a:gd name="T37" fmla="*/ 219 h 550"/>
                <a:gd name="T38" fmla="*/ 22 w 554"/>
                <a:gd name="T39" fmla="*/ 168 h 550"/>
                <a:gd name="T40" fmla="*/ 48 w 554"/>
                <a:gd name="T41" fmla="*/ 121 h 550"/>
                <a:gd name="T42" fmla="*/ 82 w 554"/>
                <a:gd name="T43" fmla="*/ 80 h 550"/>
                <a:gd name="T44" fmla="*/ 122 w 554"/>
                <a:gd name="T45" fmla="*/ 47 h 550"/>
                <a:gd name="T46" fmla="*/ 169 w 554"/>
                <a:gd name="T47" fmla="*/ 21 h 550"/>
                <a:gd name="T48" fmla="*/ 222 w 554"/>
                <a:gd name="T49" fmla="*/ 6 h 550"/>
                <a:gd name="T50" fmla="*/ 278 w 554"/>
                <a:gd name="T51" fmla="*/ 0 h 550"/>
                <a:gd name="T52" fmla="*/ 305 w 554"/>
                <a:gd name="T53" fmla="*/ 1 h 550"/>
                <a:gd name="T54" fmla="*/ 360 w 554"/>
                <a:gd name="T55" fmla="*/ 11 h 550"/>
                <a:gd name="T56" fmla="*/ 410 w 554"/>
                <a:gd name="T57" fmla="*/ 33 h 550"/>
                <a:gd name="T58" fmla="*/ 454 w 554"/>
                <a:gd name="T59" fmla="*/ 63 h 550"/>
                <a:gd name="T60" fmla="*/ 491 w 554"/>
                <a:gd name="T61" fmla="*/ 100 h 550"/>
                <a:gd name="T62" fmla="*/ 521 w 554"/>
                <a:gd name="T63" fmla="*/ 144 h 550"/>
                <a:gd name="T64" fmla="*/ 541 w 554"/>
                <a:gd name="T65" fmla="*/ 192 h 550"/>
                <a:gd name="T66" fmla="*/ 553 w 554"/>
                <a:gd name="T67" fmla="*/ 246 h 550"/>
                <a:gd name="T68" fmla="*/ 554 w 554"/>
                <a:gd name="T69" fmla="*/ 275 h 5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54" h="550">
                  <a:moveTo>
                    <a:pt x="554" y="275"/>
                  </a:moveTo>
                  <a:lnTo>
                    <a:pt x="554" y="275"/>
                  </a:lnTo>
                  <a:lnTo>
                    <a:pt x="553" y="303"/>
                  </a:lnTo>
                  <a:lnTo>
                    <a:pt x="549" y="331"/>
                  </a:lnTo>
                  <a:lnTo>
                    <a:pt x="541" y="358"/>
                  </a:lnTo>
                  <a:lnTo>
                    <a:pt x="533" y="382"/>
                  </a:lnTo>
                  <a:lnTo>
                    <a:pt x="521" y="406"/>
                  </a:lnTo>
                  <a:lnTo>
                    <a:pt x="507" y="429"/>
                  </a:lnTo>
                  <a:lnTo>
                    <a:pt x="491" y="450"/>
                  </a:lnTo>
                  <a:lnTo>
                    <a:pt x="473" y="470"/>
                  </a:lnTo>
                  <a:lnTo>
                    <a:pt x="454" y="487"/>
                  </a:lnTo>
                  <a:lnTo>
                    <a:pt x="433" y="503"/>
                  </a:lnTo>
                  <a:lnTo>
                    <a:pt x="410" y="517"/>
                  </a:lnTo>
                  <a:lnTo>
                    <a:pt x="385" y="529"/>
                  </a:lnTo>
                  <a:lnTo>
                    <a:pt x="360" y="539"/>
                  </a:lnTo>
                  <a:lnTo>
                    <a:pt x="334" y="544"/>
                  </a:lnTo>
                  <a:lnTo>
                    <a:pt x="305" y="549"/>
                  </a:lnTo>
                  <a:lnTo>
                    <a:pt x="278" y="550"/>
                  </a:lnTo>
                  <a:lnTo>
                    <a:pt x="278" y="550"/>
                  </a:lnTo>
                  <a:lnTo>
                    <a:pt x="249" y="549"/>
                  </a:lnTo>
                  <a:lnTo>
                    <a:pt x="222" y="544"/>
                  </a:lnTo>
                  <a:lnTo>
                    <a:pt x="195" y="539"/>
                  </a:lnTo>
                  <a:lnTo>
                    <a:pt x="169" y="529"/>
                  </a:lnTo>
                  <a:lnTo>
                    <a:pt x="145" y="517"/>
                  </a:lnTo>
                  <a:lnTo>
                    <a:pt x="122" y="503"/>
                  </a:lnTo>
                  <a:lnTo>
                    <a:pt x="102" y="487"/>
                  </a:lnTo>
                  <a:lnTo>
                    <a:pt x="82" y="470"/>
                  </a:lnTo>
                  <a:lnTo>
                    <a:pt x="63" y="450"/>
                  </a:lnTo>
                  <a:lnTo>
                    <a:pt x="48" y="429"/>
                  </a:lnTo>
                  <a:lnTo>
                    <a:pt x="33" y="406"/>
                  </a:lnTo>
                  <a:lnTo>
                    <a:pt x="22" y="382"/>
                  </a:lnTo>
                  <a:lnTo>
                    <a:pt x="13" y="358"/>
                  </a:lnTo>
                  <a:lnTo>
                    <a:pt x="6" y="331"/>
                  </a:lnTo>
                  <a:lnTo>
                    <a:pt x="2" y="303"/>
                  </a:lnTo>
                  <a:lnTo>
                    <a:pt x="0" y="275"/>
                  </a:lnTo>
                  <a:lnTo>
                    <a:pt x="0" y="275"/>
                  </a:lnTo>
                  <a:lnTo>
                    <a:pt x="2" y="246"/>
                  </a:lnTo>
                  <a:lnTo>
                    <a:pt x="6" y="219"/>
                  </a:lnTo>
                  <a:lnTo>
                    <a:pt x="13" y="192"/>
                  </a:lnTo>
                  <a:lnTo>
                    <a:pt x="22" y="168"/>
                  </a:lnTo>
                  <a:lnTo>
                    <a:pt x="33" y="144"/>
                  </a:lnTo>
                  <a:lnTo>
                    <a:pt x="48" y="121"/>
                  </a:lnTo>
                  <a:lnTo>
                    <a:pt x="63" y="100"/>
                  </a:lnTo>
                  <a:lnTo>
                    <a:pt x="82" y="80"/>
                  </a:lnTo>
                  <a:lnTo>
                    <a:pt x="102" y="63"/>
                  </a:lnTo>
                  <a:lnTo>
                    <a:pt x="122" y="47"/>
                  </a:lnTo>
                  <a:lnTo>
                    <a:pt x="145" y="33"/>
                  </a:lnTo>
                  <a:lnTo>
                    <a:pt x="169" y="21"/>
                  </a:lnTo>
                  <a:lnTo>
                    <a:pt x="195" y="11"/>
                  </a:lnTo>
                  <a:lnTo>
                    <a:pt x="222" y="6"/>
                  </a:lnTo>
                  <a:lnTo>
                    <a:pt x="249" y="1"/>
                  </a:lnTo>
                  <a:lnTo>
                    <a:pt x="278" y="0"/>
                  </a:lnTo>
                  <a:lnTo>
                    <a:pt x="278" y="0"/>
                  </a:lnTo>
                  <a:lnTo>
                    <a:pt x="305" y="1"/>
                  </a:lnTo>
                  <a:lnTo>
                    <a:pt x="334" y="6"/>
                  </a:lnTo>
                  <a:lnTo>
                    <a:pt x="360" y="11"/>
                  </a:lnTo>
                  <a:lnTo>
                    <a:pt x="385" y="21"/>
                  </a:lnTo>
                  <a:lnTo>
                    <a:pt x="410" y="33"/>
                  </a:lnTo>
                  <a:lnTo>
                    <a:pt x="433" y="47"/>
                  </a:lnTo>
                  <a:lnTo>
                    <a:pt x="454" y="63"/>
                  </a:lnTo>
                  <a:lnTo>
                    <a:pt x="473" y="80"/>
                  </a:lnTo>
                  <a:lnTo>
                    <a:pt x="491" y="100"/>
                  </a:lnTo>
                  <a:lnTo>
                    <a:pt x="507" y="121"/>
                  </a:lnTo>
                  <a:lnTo>
                    <a:pt x="521" y="144"/>
                  </a:lnTo>
                  <a:lnTo>
                    <a:pt x="533" y="168"/>
                  </a:lnTo>
                  <a:lnTo>
                    <a:pt x="541" y="192"/>
                  </a:lnTo>
                  <a:lnTo>
                    <a:pt x="549" y="219"/>
                  </a:lnTo>
                  <a:lnTo>
                    <a:pt x="553" y="246"/>
                  </a:lnTo>
                  <a:lnTo>
                    <a:pt x="554" y="275"/>
                  </a:lnTo>
                  <a:lnTo>
                    <a:pt x="554" y="275"/>
                  </a:lnTo>
                </a:path>
              </a:pathLst>
            </a:custGeom>
            <a:noFill/>
            <a:ln w="1588">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59" name="Line 10"/>
            <p:cNvSpPr>
              <a:spLocks noChangeShapeType="1"/>
            </p:cNvSpPr>
            <p:nvPr userDrawn="1"/>
          </p:nvSpPr>
          <p:spPr bwMode="auto">
            <a:xfrm>
              <a:off x="5671" y="739"/>
              <a:ext cx="0" cy="0"/>
            </a:xfrm>
            <a:prstGeom prst="line">
              <a:avLst/>
            </a:prstGeom>
            <a:noFill/>
            <a:ln w="1588">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60" name="Freeform 11"/>
            <p:cNvSpPr>
              <a:spLocks noEditPoints="1"/>
            </p:cNvSpPr>
            <p:nvPr userDrawn="1"/>
          </p:nvSpPr>
          <p:spPr bwMode="auto">
            <a:xfrm>
              <a:off x="5497" y="659"/>
              <a:ext cx="170" cy="170"/>
            </a:xfrm>
            <a:custGeom>
              <a:avLst/>
              <a:gdLst>
                <a:gd name="T0" fmla="*/ 510 w 510"/>
                <a:gd name="T1" fmla="*/ 257 h 511"/>
                <a:gd name="T2" fmla="*/ 504 w 510"/>
                <a:gd name="T3" fmla="*/ 309 h 511"/>
                <a:gd name="T4" fmla="*/ 490 w 510"/>
                <a:gd name="T5" fmla="*/ 356 h 511"/>
                <a:gd name="T6" fmla="*/ 465 w 510"/>
                <a:gd name="T7" fmla="*/ 399 h 511"/>
                <a:gd name="T8" fmla="*/ 434 w 510"/>
                <a:gd name="T9" fmla="*/ 437 h 511"/>
                <a:gd name="T10" fmla="*/ 397 w 510"/>
                <a:gd name="T11" fmla="*/ 467 h 511"/>
                <a:gd name="T12" fmla="*/ 354 w 510"/>
                <a:gd name="T13" fmla="*/ 491 h 511"/>
                <a:gd name="T14" fmla="*/ 307 w 510"/>
                <a:gd name="T15" fmla="*/ 505 h 511"/>
                <a:gd name="T16" fmla="*/ 255 w 510"/>
                <a:gd name="T17" fmla="*/ 511 h 511"/>
                <a:gd name="T18" fmla="*/ 229 w 510"/>
                <a:gd name="T19" fmla="*/ 510 h 511"/>
                <a:gd name="T20" fmla="*/ 179 w 510"/>
                <a:gd name="T21" fmla="*/ 500 h 511"/>
                <a:gd name="T22" fmla="*/ 133 w 510"/>
                <a:gd name="T23" fmla="*/ 480 h 511"/>
                <a:gd name="T24" fmla="*/ 93 w 510"/>
                <a:gd name="T25" fmla="*/ 453 h 511"/>
                <a:gd name="T26" fmla="*/ 59 w 510"/>
                <a:gd name="T27" fmla="*/ 419 h 511"/>
                <a:gd name="T28" fmla="*/ 30 w 510"/>
                <a:gd name="T29" fmla="*/ 379 h 511"/>
                <a:gd name="T30" fmla="*/ 12 w 510"/>
                <a:gd name="T31" fmla="*/ 333 h 511"/>
                <a:gd name="T32" fmla="*/ 2 w 510"/>
                <a:gd name="T33" fmla="*/ 283 h 511"/>
                <a:gd name="T34" fmla="*/ 0 w 510"/>
                <a:gd name="T35" fmla="*/ 257 h 511"/>
                <a:gd name="T36" fmla="*/ 6 w 510"/>
                <a:gd name="T37" fmla="*/ 206 h 511"/>
                <a:gd name="T38" fmla="*/ 20 w 510"/>
                <a:gd name="T39" fmla="*/ 158 h 511"/>
                <a:gd name="T40" fmla="*/ 43 w 510"/>
                <a:gd name="T41" fmla="*/ 115 h 511"/>
                <a:gd name="T42" fmla="*/ 75 w 510"/>
                <a:gd name="T43" fmla="*/ 77 h 511"/>
                <a:gd name="T44" fmla="*/ 112 w 510"/>
                <a:gd name="T45" fmla="*/ 44 h 511"/>
                <a:gd name="T46" fmla="*/ 156 w 510"/>
                <a:gd name="T47" fmla="*/ 21 h 511"/>
                <a:gd name="T48" fmla="*/ 204 w 510"/>
                <a:gd name="T49" fmla="*/ 5 h 511"/>
                <a:gd name="T50" fmla="*/ 255 w 510"/>
                <a:gd name="T51" fmla="*/ 0 h 511"/>
                <a:gd name="T52" fmla="*/ 284 w 510"/>
                <a:gd name="T53" fmla="*/ 1 h 511"/>
                <a:gd name="T54" fmla="*/ 337 w 510"/>
                <a:gd name="T55" fmla="*/ 11 h 511"/>
                <a:gd name="T56" fmla="*/ 384 w 510"/>
                <a:gd name="T57" fmla="*/ 31 h 511"/>
                <a:gd name="T58" fmla="*/ 424 w 510"/>
                <a:gd name="T59" fmla="*/ 59 h 511"/>
                <a:gd name="T60" fmla="*/ 457 w 510"/>
                <a:gd name="T61" fmla="*/ 95 h 511"/>
                <a:gd name="T62" fmla="*/ 481 w 510"/>
                <a:gd name="T63" fmla="*/ 136 h 511"/>
                <a:gd name="T64" fmla="*/ 500 w 510"/>
                <a:gd name="T65" fmla="*/ 182 h 511"/>
                <a:gd name="T66" fmla="*/ 508 w 510"/>
                <a:gd name="T67" fmla="*/ 232 h 511"/>
                <a:gd name="T68" fmla="*/ 510 w 510"/>
                <a:gd name="T69" fmla="*/ 257 h 511"/>
                <a:gd name="T70" fmla="*/ 510 w 510"/>
                <a:gd name="T71" fmla="*/ 257 h 5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0" h="511">
                  <a:moveTo>
                    <a:pt x="510" y="257"/>
                  </a:moveTo>
                  <a:lnTo>
                    <a:pt x="510" y="257"/>
                  </a:lnTo>
                  <a:lnTo>
                    <a:pt x="508" y="283"/>
                  </a:lnTo>
                  <a:lnTo>
                    <a:pt x="504" y="309"/>
                  </a:lnTo>
                  <a:lnTo>
                    <a:pt x="498" y="333"/>
                  </a:lnTo>
                  <a:lnTo>
                    <a:pt x="490" y="356"/>
                  </a:lnTo>
                  <a:lnTo>
                    <a:pt x="478" y="379"/>
                  </a:lnTo>
                  <a:lnTo>
                    <a:pt x="465" y="399"/>
                  </a:lnTo>
                  <a:lnTo>
                    <a:pt x="451" y="419"/>
                  </a:lnTo>
                  <a:lnTo>
                    <a:pt x="434" y="437"/>
                  </a:lnTo>
                  <a:lnTo>
                    <a:pt x="417" y="453"/>
                  </a:lnTo>
                  <a:lnTo>
                    <a:pt x="397" y="467"/>
                  </a:lnTo>
                  <a:lnTo>
                    <a:pt x="377" y="480"/>
                  </a:lnTo>
                  <a:lnTo>
                    <a:pt x="354" y="491"/>
                  </a:lnTo>
                  <a:lnTo>
                    <a:pt x="331" y="500"/>
                  </a:lnTo>
                  <a:lnTo>
                    <a:pt x="307" y="505"/>
                  </a:lnTo>
                  <a:lnTo>
                    <a:pt x="281" y="510"/>
                  </a:lnTo>
                  <a:lnTo>
                    <a:pt x="255" y="511"/>
                  </a:lnTo>
                  <a:lnTo>
                    <a:pt x="255" y="511"/>
                  </a:lnTo>
                  <a:lnTo>
                    <a:pt x="229" y="510"/>
                  </a:lnTo>
                  <a:lnTo>
                    <a:pt x="204" y="505"/>
                  </a:lnTo>
                  <a:lnTo>
                    <a:pt x="179" y="500"/>
                  </a:lnTo>
                  <a:lnTo>
                    <a:pt x="156" y="491"/>
                  </a:lnTo>
                  <a:lnTo>
                    <a:pt x="133" y="480"/>
                  </a:lnTo>
                  <a:lnTo>
                    <a:pt x="112" y="467"/>
                  </a:lnTo>
                  <a:lnTo>
                    <a:pt x="93" y="453"/>
                  </a:lnTo>
                  <a:lnTo>
                    <a:pt x="75" y="437"/>
                  </a:lnTo>
                  <a:lnTo>
                    <a:pt x="59" y="419"/>
                  </a:lnTo>
                  <a:lnTo>
                    <a:pt x="43" y="399"/>
                  </a:lnTo>
                  <a:lnTo>
                    <a:pt x="30" y="379"/>
                  </a:lnTo>
                  <a:lnTo>
                    <a:pt x="20" y="356"/>
                  </a:lnTo>
                  <a:lnTo>
                    <a:pt x="12" y="333"/>
                  </a:lnTo>
                  <a:lnTo>
                    <a:pt x="6" y="309"/>
                  </a:lnTo>
                  <a:lnTo>
                    <a:pt x="2" y="283"/>
                  </a:lnTo>
                  <a:lnTo>
                    <a:pt x="0" y="257"/>
                  </a:lnTo>
                  <a:lnTo>
                    <a:pt x="0" y="257"/>
                  </a:lnTo>
                  <a:lnTo>
                    <a:pt x="2" y="232"/>
                  </a:lnTo>
                  <a:lnTo>
                    <a:pt x="6" y="206"/>
                  </a:lnTo>
                  <a:lnTo>
                    <a:pt x="12" y="182"/>
                  </a:lnTo>
                  <a:lnTo>
                    <a:pt x="20" y="158"/>
                  </a:lnTo>
                  <a:lnTo>
                    <a:pt x="30" y="136"/>
                  </a:lnTo>
                  <a:lnTo>
                    <a:pt x="43" y="115"/>
                  </a:lnTo>
                  <a:lnTo>
                    <a:pt x="59" y="95"/>
                  </a:lnTo>
                  <a:lnTo>
                    <a:pt x="75" y="77"/>
                  </a:lnTo>
                  <a:lnTo>
                    <a:pt x="93" y="59"/>
                  </a:lnTo>
                  <a:lnTo>
                    <a:pt x="112" y="44"/>
                  </a:lnTo>
                  <a:lnTo>
                    <a:pt x="133" y="31"/>
                  </a:lnTo>
                  <a:lnTo>
                    <a:pt x="156" y="21"/>
                  </a:lnTo>
                  <a:lnTo>
                    <a:pt x="179" y="11"/>
                  </a:lnTo>
                  <a:lnTo>
                    <a:pt x="204" y="5"/>
                  </a:lnTo>
                  <a:lnTo>
                    <a:pt x="229" y="1"/>
                  </a:lnTo>
                  <a:lnTo>
                    <a:pt x="255" y="0"/>
                  </a:lnTo>
                  <a:lnTo>
                    <a:pt x="255" y="0"/>
                  </a:lnTo>
                  <a:lnTo>
                    <a:pt x="284" y="1"/>
                  </a:lnTo>
                  <a:lnTo>
                    <a:pt x="311" y="5"/>
                  </a:lnTo>
                  <a:lnTo>
                    <a:pt x="337" y="11"/>
                  </a:lnTo>
                  <a:lnTo>
                    <a:pt x="361" y="21"/>
                  </a:lnTo>
                  <a:lnTo>
                    <a:pt x="384" y="31"/>
                  </a:lnTo>
                  <a:lnTo>
                    <a:pt x="404" y="44"/>
                  </a:lnTo>
                  <a:lnTo>
                    <a:pt x="424" y="59"/>
                  </a:lnTo>
                  <a:lnTo>
                    <a:pt x="441" y="77"/>
                  </a:lnTo>
                  <a:lnTo>
                    <a:pt x="457" y="95"/>
                  </a:lnTo>
                  <a:lnTo>
                    <a:pt x="470" y="115"/>
                  </a:lnTo>
                  <a:lnTo>
                    <a:pt x="481" y="136"/>
                  </a:lnTo>
                  <a:lnTo>
                    <a:pt x="491" y="158"/>
                  </a:lnTo>
                  <a:lnTo>
                    <a:pt x="500" y="182"/>
                  </a:lnTo>
                  <a:lnTo>
                    <a:pt x="504" y="206"/>
                  </a:lnTo>
                  <a:lnTo>
                    <a:pt x="508" y="232"/>
                  </a:lnTo>
                  <a:lnTo>
                    <a:pt x="510" y="257"/>
                  </a:lnTo>
                  <a:lnTo>
                    <a:pt x="510" y="257"/>
                  </a:lnTo>
                  <a:close/>
                  <a:moveTo>
                    <a:pt x="510" y="257"/>
                  </a:moveTo>
                  <a:lnTo>
                    <a:pt x="510" y="257"/>
                  </a:lnTo>
                  <a:close/>
                </a:path>
              </a:pathLst>
            </a:custGeom>
            <a:solidFill>
              <a:srgbClr val="00987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61" name="Freeform 12"/>
            <p:cNvSpPr>
              <a:spLocks/>
            </p:cNvSpPr>
            <p:nvPr userDrawn="1"/>
          </p:nvSpPr>
          <p:spPr bwMode="auto">
            <a:xfrm>
              <a:off x="5497" y="659"/>
              <a:ext cx="170" cy="170"/>
            </a:xfrm>
            <a:custGeom>
              <a:avLst/>
              <a:gdLst>
                <a:gd name="T0" fmla="*/ 510 w 510"/>
                <a:gd name="T1" fmla="*/ 257 h 511"/>
                <a:gd name="T2" fmla="*/ 504 w 510"/>
                <a:gd name="T3" fmla="*/ 309 h 511"/>
                <a:gd name="T4" fmla="*/ 490 w 510"/>
                <a:gd name="T5" fmla="*/ 356 h 511"/>
                <a:gd name="T6" fmla="*/ 465 w 510"/>
                <a:gd name="T7" fmla="*/ 399 h 511"/>
                <a:gd name="T8" fmla="*/ 434 w 510"/>
                <a:gd name="T9" fmla="*/ 437 h 511"/>
                <a:gd name="T10" fmla="*/ 397 w 510"/>
                <a:gd name="T11" fmla="*/ 467 h 511"/>
                <a:gd name="T12" fmla="*/ 354 w 510"/>
                <a:gd name="T13" fmla="*/ 491 h 511"/>
                <a:gd name="T14" fmla="*/ 307 w 510"/>
                <a:gd name="T15" fmla="*/ 505 h 511"/>
                <a:gd name="T16" fmla="*/ 255 w 510"/>
                <a:gd name="T17" fmla="*/ 511 h 511"/>
                <a:gd name="T18" fmla="*/ 229 w 510"/>
                <a:gd name="T19" fmla="*/ 510 h 511"/>
                <a:gd name="T20" fmla="*/ 179 w 510"/>
                <a:gd name="T21" fmla="*/ 500 h 511"/>
                <a:gd name="T22" fmla="*/ 133 w 510"/>
                <a:gd name="T23" fmla="*/ 480 h 511"/>
                <a:gd name="T24" fmla="*/ 93 w 510"/>
                <a:gd name="T25" fmla="*/ 453 h 511"/>
                <a:gd name="T26" fmla="*/ 59 w 510"/>
                <a:gd name="T27" fmla="*/ 419 h 511"/>
                <a:gd name="T28" fmla="*/ 30 w 510"/>
                <a:gd name="T29" fmla="*/ 379 h 511"/>
                <a:gd name="T30" fmla="*/ 12 w 510"/>
                <a:gd name="T31" fmla="*/ 333 h 511"/>
                <a:gd name="T32" fmla="*/ 2 w 510"/>
                <a:gd name="T33" fmla="*/ 283 h 511"/>
                <a:gd name="T34" fmla="*/ 0 w 510"/>
                <a:gd name="T35" fmla="*/ 257 h 511"/>
                <a:gd name="T36" fmla="*/ 6 w 510"/>
                <a:gd name="T37" fmla="*/ 206 h 511"/>
                <a:gd name="T38" fmla="*/ 20 w 510"/>
                <a:gd name="T39" fmla="*/ 158 h 511"/>
                <a:gd name="T40" fmla="*/ 43 w 510"/>
                <a:gd name="T41" fmla="*/ 115 h 511"/>
                <a:gd name="T42" fmla="*/ 75 w 510"/>
                <a:gd name="T43" fmla="*/ 77 h 511"/>
                <a:gd name="T44" fmla="*/ 112 w 510"/>
                <a:gd name="T45" fmla="*/ 44 h 511"/>
                <a:gd name="T46" fmla="*/ 156 w 510"/>
                <a:gd name="T47" fmla="*/ 21 h 511"/>
                <a:gd name="T48" fmla="*/ 204 w 510"/>
                <a:gd name="T49" fmla="*/ 5 h 511"/>
                <a:gd name="T50" fmla="*/ 255 w 510"/>
                <a:gd name="T51" fmla="*/ 0 h 511"/>
                <a:gd name="T52" fmla="*/ 284 w 510"/>
                <a:gd name="T53" fmla="*/ 1 h 511"/>
                <a:gd name="T54" fmla="*/ 337 w 510"/>
                <a:gd name="T55" fmla="*/ 11 h 511"/>
                <a:gd name="T56" fmla="*/ 384 w 510"/>
                <a:gd name="T57" fmla="*/ 31 h 511"/>
                <a:gd name="T58" fmla="*/ 424 w 510"/>
                <a:gd name="T59" fmla="*/ 59 h 511"/>
                <a:gd name="T60" fmla="*/ 457 w 510"/>
                <a:gd name="T61" fmla="*/ 95 h 511"/>
                <a:gd name="T62" fmla="*/ 481 w 510"/>
                <a:gd name="T63" fmla="*/ 136 h 511"/>
                <a:gd name="T64" fmla="*/ 500 w 510"/>
                <a:gd name="T65" fmla="*/ 182 h 511"/>
                <a:gd name="T66" fmla="*/ 508 w 510"/>
                <a:gd name="T67" fmla="*/ 232 h 511"/>
                <a:gd name="T68" fmla="*/ 510 w 510"/>
                <a:gd name="T69" fmla="*/ 257 h 5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0" h="511">
                  <a:moveTo>
                    <a:pt x="510" y="257"/>
                  </a:moveTo>
                  <a:lnTo>
                    <a:pt x="510" y="257"/>
                  </a:lnTo>
                  <a:lnTo>
                    <a:pt x="508" y="283"/>
                  </a:lnTo>
                  <a:lnTo>
                    <a:pt x="504" y="309"/>
                  </a:lnTo>
                  <a:lnTo>
                    <a:pt x="498" y="333"/>
                  </a:lnTo>
                  <a:lnTo>
                    <a:pt x="490" y="356"/>
                  </a:lnTo>
                  <a:lnTo>
                    <a:pt x="478" y="379"/>
                  </a:lnTo>
                  <a:lnTo>
                    <a:pt x="465" y="399"/>
                  </a:lnTo>
                  <a:lnTo>
                    <a:pt x="451" y="419"/>
                  </a:lnTo>
                  <a:lnTo>
                    <a:pt x="434" y="437"/>
                  </a:lnTo>
                  <a:lnTo>
                    <a:pt x="417" y="453"/>
                  </a:lnTo>
                  <a:lnTo>
                    <a:pt x="397" y="467"/>
                  </a:lnTo>
                  <a:lnTo>
                    <a:pt x="377" y="480"/>
                  </a:lnTo>
                  <a:lnTo>
                    <a:pt x="354" y="491"/>
                  </a:lnTo>
                  <a:lnTo>
                    <a:pt x="331" y="500"/>
                  </a:lnTo>
                  <a:lnTo>
                    <a:pt x="307" y="505"/>
                  </a:lnTo>
                  <a:lnTo>
                    <a:pt x="281" y="510"/>
                  </a:lnTo>
                  <a:lnTo>
                    <a:pt x="255" y="511"/>
                  </a:lnTo>
                  <a:lnTo>
                    <a:pt x="255" y="511"/>
                  </a:lnTo>
                  <a:lnTo>
                    <a:pt x="229" y="510"/>
                  </a:lnTo>
                  <a:lnTo>
                    <a:pt x="204" y="505"/>
                  </a:lnTo>
                  <a:lnTo>
                    <a:pt x="179" y="500"/>
                  </a:lnTo>
                  <a:lnTo>
                    <a:pt x="156" y="491"/>
                  </a:lnTo>
                  <a:lnTo>
                    <a:pt x="133" y="480"/>
                  </a:lnTo>
                  <a:lnTo>
                    <a:pt x="112" y="467"/>
                  </a:lnTo>
                  <a:lnTo>
                    <a:pt x="93" y="453"/>
                  </a:lnTo>
                  <a:lnTo>
                    <a:pt x="75" y="437"/>
                  </a:lnTo>
                  <a:lnTo>
                    <a:pt x="59" y="419"/>
                  </a:lnTo>
                  <a:lnTo>
                    <a:pt x="43" y="399"/>
                  </a:lnTo>
                  <a:lnTo>
                    <a:pt x="30" y="379"/>
                  </a:lnTo>
                  <a:lnTo>
                    <a:pt x="20" y="356"/>
                  </a:lnTo>
                  <a:lnTo>
                    <a:pt x="12" y="333"/>
                  </a:lnTo>
                  <a:lnTo>
                    <a:pt x="6" y="309"/>
                  </a:lnTo>
                  <a:lnTo>
                    <a:pt x="2" y="283"/>
                  </a:lnTo>
                  <a:lnTo>
                    <a:pt x="0" y="257"/>
                  </a:lnTo>
                  <a:lnTo>
                    <a:pt x="0" y="257"/>
                  </a:lnTo>
                  <a:lnTo>
                    <a:pt x="2" y="232"/>
                  </a:lnTo>
                  <a:lnTo>
                    <a:pt x="6" y="206"/>
                  </a:lnTo>
                  <a:lnTo>
                    <a:pt x="12" y="182"/>
                  </a:lnTo>
                  <a:lnTo>
                    <a:pt x="20" y="158"/>
                  </a:lnTo>
                  <a:lnTo>
                    <a:pt x="30" y="136"/>
                  </a:lnTo>
                  <a:lnTo>
                    <a:pt x="43" y="115"/>
                  </a:lnTo>
                  <a:lnTo>
                    <a:pt x="59" y="95"/>
                  </a:lnTo>
                  <a:lnTo>
                    <a:pt x="75" y="77"/>
                  </a:lnTo>
                  <a:lnTo>
                    <a:pt x="93" y="59"/>
                  </a:lnTo>
                  <a:lnTo>
                    <a:pt x="112" y="44"/>
                  </a:lnTo>
                  <a:lnTo>
                    <a:pt x="133" y="31"/>
                  </a:lnTo>
                  <a:lnTo>
                    <a:pt x="156" y="21"/>
                  </a:lnTo>
                  <a:lnTo>
                    <a:pt x="179" y="11"/>
                  </a:lnTo>
                  <a:lnTo>
                    <a:pt x="204" y="5"/>
                  </a:lnTo>
                  <a:lnTo>
                    <a:pt x="229" y="1"/>
                  </a:lnTo>
                  <a:lnTo>
                    <a:pt x="255" y="0"/>
                  </a:lnTo>
                  <a:lnTo>
                    <a:pt x="255" y="0"/>
                  </a:lnTo>
                  <a:lnTo>
                    <a:pt x="284" y="1"/>
                  </a:lnTo>
                  <a:lnTo>
                    <a:pt x="311" y="5"/>
                  </a:lnTo>
                  <a:lnTo>
                    <a:pt x="337" y="11"/>
                  </a:lnTo>
                  <a:lnTo>
                    <a:pt x="361" y="21"/>
                  </a:lnTo>
                  <a:lnTo>
                    <a:pt x="384" y="31"/>
                  </a:lnTo>
                  <a:lnTo>
                    <a:pt x="404" y="44"/>
                  </a:lnTo>
                  <a:lnTo>
                    <a:pt x="424" y="59"/>
                  </a:lnTo>
                  <a:lnTo>
                    <a:pt x="441" y="77"/>
                  </a:lnTo>
                  <a:lnTo>
                    <a:pt x="457" y="95"/>
                  </a:lnTo>
                  <a:lnTo>
                    <a:pt x="470" y="115"/>
                  </a:lnTo>
                  <a:lnTo>
                    <a:pt x="481" y="136"/>
                  </a:lnTo>
                  <a:lnTo>
                    <a:pt x="491" y="158"/>
                  </a:lnTo>
                  <a:lnTo>
                    <a:pt x="500" y="182"/>
                  </a:lnTo>
                  <a:lnTo>
                    <a:pt x="504" y="206"/>
                  </a:lnTo>
                  <a:lnTo>
                    <a:pt x="508" y="232"/>
                  </a:lnTo>
                  <a:lnTo>
                    <a:pt x="510" y="257"/>
                  </a:lnTo>
                  <a:lnTo>
                    <a:pt x="510" y="25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62" name="Line 13"/>
            <p:cNvSpPr>
              <a:spLocks noChangeShapeType="1"/>
            </p:cNvSpPr>
            <p:nvPr userDrawn="1"/>
          </p:nvSpPr>
          <p:spPr bwMode="auto">
            <a:xfrm>
              <a:off x="5667" y="745"/>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pic>
          <p:nvPicPr>
            <p:cNvPr id="63" name="Picture 14"/>
            <p:cNvPicPr>
              <a:picLocks noChangeAspect="1" noChangeArrowheads="1"/>
            </p:cNvPicPr>
            <p:nvPr userDrawn="1"/>
          </p:nvPicPr>
          <p:blipFill>
            <a:blip r:embed="rId5" cstate="hqprint">
              <a:extLst>
                <a:ext uri="{28A0092B-C50C-407E-A947-70E740481C1C}">
                  <a14:useLocalDpi xmlns:a14="http://schemas.microsoft.com/office/drawing/2010/main" val="0"/>
                </a:ext>
              </a:extLst>
            </a:blip>
            <a:srcRect/>
            <a:stretch>
              <a:fillRect/>
            </a:stretch>
          </p:blipFill>
          <p:spPr bwMode="auto">
            <a:xfrm>
              <a:off x="5478" y="637"/>
              <a:ext cx="282" cy="2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4" name="Freeform 15"/>
            <p:cNvSpPr>
              <a:spLocks/>
            </p:cNvSpPr>
            <p:nvPr userDrawn="1"/>
          </p:nvSpPr>
          <p:spPr bwMode="auto">
            <a:xfrm>
              <a:off x="5525" y="658"/>
              <a:ext cx="121" cy="25"/>
            </a:xfrm>
            <a:custGeom>
              <a:avLst/>
              <a:gdLst>
                <a:gd name="T0" fmla="*/ 0 w 364"/>
                <a:gd name="T1" fmla="*/ 75 h 75"/>
                <a:gd name="T2" fmla="*/ 0 w 364"/>
                <a:gd name="T3" fmla="*/ 75 h 75"/>
                <a:gd name="T4" fmla="*/ 19 w 364"/>
                <a:gd name="T5" fmla="*/ 58 h 75"/>
                <a:gd name="T6" fmla="*/ 40 w 364"/>
                <a:gd name="T7" fmla="*/ 44 h 75"/>
                <a:gd name="T8" fmla="*/ 62 w 364"/>
                <a:gd name="T9" fmla="*/ 31 h 75"/>
                <a:gd name="T10" fmla="*/ 85 w 364"/>
                <a:gd name="T11" fmla="*/ 20 h 75"/>
                <a:gd name="T12" fmla="*/ 108 w 364"/>
                <a:gd name="T13" fmla="*/ 11 h 75"/>
                <a:gd name="T14" fmla="*/ 132 w 364"/>
                <a:gd name="T15" fmla="*/ 5 h 75"/>
                <a:gd name="T16" fmla="*/ 156 w 364"/>
                <a:gd name="T17" fmla="*/ 1 h 75"/>
                <a:gd name="T18" fmla="*/ 182 w 364"/>
                <a:gd name="T19" fmla="*/ 0 h 75"/>
                <a:gd name="T20" fmla="*/ 206 w 364"/>
                <a:gd name="T21" fmla="*/ 1 h 75"/>
                <a:gd name="T22" fmla="*/ 231 w 364"/>
                <a:gd name="T23" fmla="*/ 4 h 75"/>
                <a:gd name="T24" fmla="*/ 255 w 364"/>
                <a:gd name="T25" fmla="*/ 10 h 75"/>
                <a:gd name="T26" fmla="*/ 278 w 364"/>
                <a:gd name="T27" fmla="*/ 18 h 75"/>
                <a:gd name="T28" fmla="*/ 301 w 364"/>
                <a:gd name="T29" fmla="*/ 28 h 75"/>
                <a:gd name="T30" fmla="*/ 324 w 364"/>
                <a:gd name="T31" fmla="*/ 41 h 75"/>
                <a:gd name="T32" fmla="*/ 344 w 364"/>
                <a:gd name="T33" fmla="*/ 55 h 75"/>
                <a:gd name="T34" fmla="*/ 364 w 364"/>
                <a:gd name="T35" fmla="*/ 72 h 75"/>
                <a:gd name="T36" fmla="*/ 0 w 364"/>
                <a:gd name="T37"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4" h="75">
                  <a:moveTo>
                    <a:pt x="0" y="75"/>
                  </a:moveTo>
                  <a:lnTo>
                    <a:pt x="0" y="75"/>
                  </a:lnTo>
                  <a:lnTo>
                    <a:pt x="19" y="58"/>
                  </a:lnTo>
                  <a:lnTo>
                    <a:pt x="40" y="44"/>
                  </a:lnTo>
                  <a:lnTo>
                    <a:pt x="62" y="31"/>
                  </a:lnTo>
                  <a:lnTo>
                    <a:pt x="85" y="20"/>
                  </a:lnTo>
                  <a:lnTo>
                    <a:pt x="108" y="11"/>
                  </a:lnTo>
                  <a:lnTo>
                    <a:pt x="132" y="5"/>
                  </a:lnTo>
                  <a:lnTo>
                    <a:pt x="156" y="1"/>
                  </a:lnTo>
                  <a:lnTo>
                    <a:pt x="182" y="0"/>
                  </a:lnTo>
                  <a:lnTo>
                    <a:pt x="206" y="1"/>
                  </a:lnTo>
                  <a:lnTo>
                    <a:pt x="231" y="4"/>
                  </a:lnTo>
                  <a:lnTo>
                    <a:pt x="255" y="10"/>
                  </a:lnTo>
                  <a:lnTo>
                    <a:pt x="278" y="18"/>
                  </a:lnTo>
                  <a:lnTo>
                    <a:pt x="301" y="28"/>
                  </a:lnTo>
                  <a:lnTo>
                    <a:pt x="324" y="41"/>
                  </a:lnTo>
                  <a:lnTo>
                    <a:pt x="344" y="55"/>
                  </a:lnTo>
                  <a:lnTo>
                    <a:pt x="364" y="72"/>
                  </a:lnTo>
                  <a:lnTo>
                    <a:pt x="0" y="75"/>
                  </a:lnTo>
                  <a:close/>
                </a:path>
              </a:pathLst>
            </a:custGeom>
            <a:solidFill>
              <a:srgbClr val="00987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65" name="Freeform 16"/>
            <p:cNvSpPr>
              <a:spLocks/>
            </p:cNvSpPr>
            <p:nvPr userDrawn="1"/>
          </p:nvSpPr>
          <p:spPr bwMode="auto">
            <a:xfrm>
              <a:off x="5525" y="658"/>
              <a:ext cx="121" cy="25"/>
            </a:xfrm>
            <a:custGeom>
              <a:avLst/>
              <a:gdLst>
                <a:gd name="T0" fmla="*/ 0 w 364"/>
                <a:gd name="T1" fmla="*/ 75 h 75"/>
                <a:gd name="T2" fmla="*/ 0 w 364"/>
                <a:gd name="T3" fmla="*/ 75 h 75"/>
                <a:gd name="T4" fmla="*/ 19 w 364"/>
                <a:gd name="T5" fmla="*/ 58 h 75"/>
                <a:gd name="T6" fmla="*/ 40 w 364"/>
                <a:gd name="T7" fmla="*/ 44 h 75"/>
                <a:gd name="T8" fmla="*/ 62 w 364"/>
                <a:gd name="T9" fmla="*/ 31 h 75"/>
                <a:gd name="T10" fmla="*/ 85 w 364"/>
                <a:gd name="T11" fmla="*/ 20 h 75"/>
                <a:gd name="T12" fmla="*/ 108 w 364"/>
                <a:gd name="T13" fmla="*/ 11 h 75"/>
                <a:gd name="T14" fmla="*/ 132 w 364"/>
                <a:gd name="T15" fmla="*/ 5 h 75"/>
                <a:gd name="T16" fmla="*/ 156 w 364"/>
                <a:gd name="T17" fmla="*/ 1 h 75"/>
                <a:gd name="T18" fmla="*/ 182 w 364"/>
                <a:gd name="T19" fmla="*/ 0 h 75"/>
                <a:gd name="T20" fmla="*/ 206 w 364"/>
                <a:gd name="T21" fmla="*/ 1 h 75"/>
                <a:gd name="T22" fmla="*/ 231 w 364"/>
                <a:gd name="T23" fmla="*/ 4 h 75"/>
                <a:gd name="T24" fmla="*/ 255 w 364"/>
                <a:gd name="T25" fmla="*/ 10 h 75"/>
                <a:gd name="T26" fmla="*/ 278 w 364"/>
                <a:gd name="T27" fmla="*/ 18 h 75"/>
                <a:gd name="T28" fmla="*/ 301 w 364"/>
                <a:gd name="T29" fmla="*/ 28 h 75"/>
                <a:gd name="T30" fmla="*/ 324 w 364"/>
                <a:gd name="T31" fmla="*/ 41 h 75"/>
                <a:gd name="T32" fmla="*/ 344 w 364"/>
                <a:gd name="T33" fmla="*/ 55 h 75"/>
                <a:gd name="T34" fmla="*/ 364 w 364"/>
                <a:gd name="T35" fmla="*/ 7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64" h="75">
                  <a:moveTo>
                    <a:pt x="0" y="75"/>
                  </a:moveTo>
                  <a:lnTo>
                    <a:pt x="0" y="75"/>
                  </a:lnTo>
                  <a:lnTo>
                    <a:pt x="19" y="58"/>
                  </a:lnTo>
                  <a:lnTo>
                    <a:pt x="40" y="44"/>
                  </a:lnTo>
                  <a:lnTo>
                    <a:pt x="62" y="31"/>
                  </a:lnTo>
                  <a:lnTo>
                    <a:pt x="85" y="20"/>
                  </a:lnTo>
                  <a:lnTo>
                    <a:pt x="108" y="11"/>
                  </a:lnTo>
                  <a:lnTo>
                    <a:pt x="132" y="5"/>
                  </a:lnTo>
                  <a:lnTo>
                    <a:pt x="156" y="1"/>
                  </a:lnTo>
                  <a:lnTo>
                    <a:pt x="182" y="0"/>
                  </a:lnTo>
                  <a:lnTo>
                    <a:pt x="206" y="1"/>
                  </a:lnTo>
                  <a:lnTo>
                    <a:pt x="231" y="4"/>
                  </a:lnTo>
                  <a:lnTo>
                    <a:pt x="255" y="10"/>
                  </a:lnTo>
                  <a:lnTo>
                    <a:pt x="278" y="18"/>
                  </a:lnTo>
                  <a:lnTo>
                    <a:pt x="301" y="28"/>
                  </a:lnTo>
                  <a:lnTo>
                    <a:pt x="324" y="41"/>
                  </a:lnTo>
                  <a:lnTo>
                    <a:pt x="344" y="55"/>
                  </a:lnTo>
                  <a:lnTo>
                    <a:pt x="364" y="7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pic>
          <p:nvPicPr>
            <p:cNvPr id="66" name="Picture 17"/>
            <p:cNvPicPr>
              <a:picLocks noChangeAspect="1" noChangeArrowheads="1"/>
            </p:cNvPicPr>
            <p:nvPr userDrawn="1"/>
          </p:nvPicPr>
          <p:blipFill>
            <a:blip r:embed="rId6" cstate="hqprint">
              <a:extLst>
                <a:ext uri="{28A0092B-C50C-407E-A947-70E740481C1C}">
                  <a14:useLocalDpi xmlns:a14="http://schemas.microsoft.com/office/drawing/2010/main" val="0"/>
                </a:ext>
              </a:extLst>
            </a:blip>
            <a:srcRect/>
            <a:stretch>
              <a:fillRect/>
            </a:stretch>
          </p:blipFill>
          <p:spPr bwMode="auto">
            <a:xfrm>
              <a:off x="5478" y="637"/>
              <a:ext cx="282" cy="2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7" name="Freeform 18"/>
            <p:cNvSpPr>
              <a:spLocks noEditPoints="1"/>
            </p:cNvSpPr>
            <p:nvPr userDrawn="1"/>
          </p:nvSpPr>
          <p:spPr bwMode="auto">
            <a:xfrm>
              <a:off x="5510" y="659"/>
              <a:ext cx="160" cy="156"/>
            </a:xfrm>
            <a:custGeom>
              <a:avLst/>
              <a:gdLst>
                <a:gd name="T0" fmla="*/ 478 w 478"/>
                <a:gd name="T1" fmla="*/ 232 h 466"/>
                <a:gd name="T2" fmla="*/ 474 w 478"/>
                <a:gd name="T3" fmla="*/ 279 h 466"/>
                <a:gd name="T4" fmla="*/ 460 w 478"/>
                <a:gd name="T5" fmla="*/ 323 h 466"/>
                <a:gd name="T6" fmla="*/ 437 w 478"/>
                <a:gd name="T7" fmla="*/ 363 h 466"/>
                <a:gd name="T8" fmla="*/ 408 w 478"/>
                <a:gd name="T9" fmla="*/ 398 h 466"/>
                <a:gd name="T10" fmla="*/ 373 w 478"/>
                <a:gd name="T11" fmla="*/ 426 h 466"/>
                <a:gd name="T12" fmla="*/ 332 w 478"/>
                <a:gd name="T13" fmla="*/ 447 h 466"/>
                <a:gd name="T14" fmla="*/ 288 w 478"/>
                <a:gd name="T15" fmla="*/ 460 h 466"/>
                <a:gd name="T16" fmla="*/ 239 w 478"/>
                <a:gd name="T17" fmla="*/ 466 h 466"/>
                <a:gd name="T18" fmla="*/ 215 w 478"/>
                <a:gd name="T19" fmla="*/ 465 h 466"/>
                <a:gd name="T20" fmla="*/ 168 w 478"/>
                <a:gd name="T21" fmla="*/ 455 h 466"/>
                <a:gd name="T22" fmla="*/ 125 w 478"/>
                <a:gd name="T23" fmla="*/ 437 h 466"/>
                <a:gd name="T24" fmla="*/ 88 w 478"/>
                <a:gd name="T25" fmla="*/ 412 h 466"/>
                <a:gd name="T26" fmla="*/ 55 w 478"/>
                <a:gd name="T27" fmla="*/ 380 h 466"/>
                <a:gd name="T28" fmla="*/ 29 w 478"/>
                <a:gd name="T29" fmla="*/ 343 h 466"/>
                <a:gd name="T30" fmla="*/ 12 w 478"/>
                <a:gd name="T31" fmla="*/ 302 h 466"/>
                <a:gd name="T32" fmla="*/ 2 w 478"/>
                <a:gd name="T33" fmla="*/ 256 h 466"/>
                <a:gd name="T34" fmla="*/ 0 w 478"/>
                <a:gd name="T35" fmla="*/ 232 h 466"/>
                <a:gd name="T36" fmla="*/ 5 w 478"/>
                <a:gd name="T37" fmla="*/ 185 h 466"/>
                <a:gd name="T38" fmla="*/ 19 w 478"/>
                <a:gd name="T39" fmla="*/ 141 h 466"/>
                <a:gd name="T40" fmla="*/ 42 w 478"/>
                <a:gd name="T41" fmla="*/ 103 h 466"/>
                <a:gd name="T42" fmla="*/ 70 w 478"/>
                <a:gd name="T43" fmla="*/ 68 h 466"/>
                <a:gd name="T44" fmla="*/ 106 w 478"/>
                <a:gd name="T45" fmla="*/ 40 h 466"/>
                <a:gd name="T46" fmla="*/ 146 w 478"/>
                <a:gd name="T47" fmla="*/ 17 h 466"/>
                <a:gd name="T48" fmla="*/ 191 w 478"/>
                <a:gd name="T49" fmla="*/ 4 h 466"/>
                <a:gd name="T50" fmla="*/ 239 w 478"/>
                <a:gd name="T51" fmla="*/ 0 h 466"/>
                <a:gd name="T52" fmla="*/ 264 w 478"/>
                <a:gd name="T53" fmla="*/ 0 h 466"/>
                <a:gd name="T54" fmla="*/ 311 w 478"/>
                <a:gd name="T55" fmla="*/ 10 h 466"/>
                <a:gd name="T56" fmla="*/ 354 w 478"/>
                <a:gd name="T57" fmla="*/ 27 h 466"/>
                <a:gd name="T58" fmla="*/ 391 w 478"/>
                <a:gd name="T59" fmla="*/ 53 h 466"/>
                <a:gd name="T60" fmla="*/ 424 w 478"/>
                <a:gd name="T61" fmla="*/ 84 h 466"/>
                <a:gd name="T62" fmla="*/ 450 w 478"/>
                <a:gd name="T63" fmla="*/ 121 h 466"/>
                <a:gd name="T64" fmla="*/ 467 w 478"/>
                <a:gd name="T65" fmla="*/ 164 h 466"/>
                <a:gd name="T66" fmla="*/ 477 w 478"/>
                <a:gd name="T67" fmla="*/ 208 h 466"/>
                <a:gd name="T68" fmla="*/ 478 w 478"/>
                <a:gd name="T69" fmla="*/ 232 h 466"/>
                <a:gd name="T70" fmla="*/ 478 w 478"/>
                <a:gd name="T71" fmla="*/ 232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78" h="466">
                  <a:moveTo>
                    <a:pt x="478" y="232"/>
                  </a:moveTo>
                  <a:lnTo>
                    <a:pt x="478" y="232"/>
                  </a:lnTo>
                  <a:lnTo>
                    <a:pt x="477" y="256"/>
                  </a:lnTo>
                  <a:lnTo>
                    <a:pt x="474" y="279"/>
                  </a:lnTo>
                  <a:lnTo>
                    <a:pt x="467" y="302"/>
                  </a:lnTo>
                  <a:lnTo>
                    <a:pt x="460" y="323"/>
                  </a:lnTo>
                  <a:lnTo>
                    <a:pt x="450" y="343"/>
                  </a:lnTo>
                  <a:lnTo>
                    <a:pt x="437" y="363"/>
                  </a:lnTo>
                  <a:lnTo>
                    <a:pt x="424" y="380"/>
                  </a:lnTo>
                  <a:lnTo>
                    <a:pt x="408" y="398"/>
                  </a:lnTo>
                  <a:lnTo>
                    <a:pt x="391" y="412"/>
                  </a:lnTo>
                  <a:lnTo>
                    <a:pt x="373" y="426"/>
                  </a:lnTo>
                  <a:lnTo>
                    <a:pt x="354" y="437"/>
                  </a:lnTo>
                  <a:lnTo>
                    <a:pt x="332" y="447"/>
                  </a:lnTo>
                  <a:lnTo>
                    <a:pt x="311" y="455"/>
                  </a:lnTo>
                  <a:lnTo>
                    <a:pt x="288" y="460"/>
                  </a:lnTo>
                  <a:lnTo>
                    <a:pt x="264" y="465"/>
                  </a:lnTo>
                  <a:lnTo>
                    <a:pt x="239" y="466"/>
                  </a:lnTo>
                  <a:lnTo>
                    <a:pt x="239" y="466"/>
                  </a:lnTo>
                  <a:lnTo>
                    <a:pt x="215" y="465"/>
                  </a:lnTo>
                  <a:lnTo>
                    <a:pt x="191" y="460"/>
                  </a:lnTo>
                  <a:lnTo>
                    <a:pt x="168" y="455"/>
                  </a:lnTo>
                  <a:lnTo>
                    <a:pt x="146" y="447"/>
                  </a:lnTo>
                  <a:lnTo>
                    <a:pt x="125" y="437"/>
                  </a:lnTo>
                  <a:lnTo>
                    <a:pt x="106" y="426"/>
                  </a:lnTo>
                  <a:lnTo>
                    <a:pt x="88" y="412"/>
                  </a:lnTo>
                  <a:lnTo>
                    <a:pt x="70" y="398"/>
                  </a:lnTo>
                  <a:lnTo>
                    <a:pt x="55" y="380"/>
                  </a:lnTo>
                  <a:lnTo>
                    <a:pt x="42" y="363"/>
                  </a:lnTo>
                  <a:lnTo>
                    <a:pt x="29" y="343"/>
                  </a:lnTo>
                  <a:lnTo>
                    <a:pt x="19" y="323"/>
                  </a:lnTo>
                  <a:lnTo>
                    <a:pt x="12" y="302"/>
                  </a:lnTo>
                  <a:lnTo>
                    <a:pt x="5" y="279"/>
                  </a:lnTo>
                  <a:lnTo>
                    <a:pt x="2" y="256"/>
                  </a:lnTo>
                  <a:lnTo>
                    <a:pt x="0" y="232"/>
                  </a:lnTo>
                  <a:lnTo>
                    <a:pt x="0" y="232"/>
                  </a:lnTo>
                  <a:lnTo>
                    <a:pt x="2" y="208"/>
                  </a:lnTo>
                  <a:lnTo>
                    <a:pt x="5" y="185"/>
                  </a:lnTo>
                  <a:lnTo>
                    <a:pt x="12" y="164"/>
                  </a:lnTo>
                  <a:lnTo>
                    <a:pt x="19" y="141"/>
                  </a:lnTo>
                  <a:lnTo>
                    <a:pt x="29" y="121"/>
                  </a:lnTo>
                  <a:lnTo>
                    <a:pt x="42" y="103"/>
                  </a:lnTo>
                  <a:lnTo>
                    <a:pt x="55" y="84"/>
                  </a:lnTo>
                  <a:lnTo>
                    <a:pt x="70" y="68"/>
                  </a:lnTo>
                  <a:lnTo>
                    <a:pt x="88" y="53"/>
                  </a:lnTo>
                  <a:lnTo>
                    <a:pt x="106" y="40"/>
                  </a:lnTo>
                  <a:lnTo>
                    <a:pt x="125" y="27"/>
                  </a:lnTo>
                  <a:lnTo>
                    <a:pt x="146" y="17"/>
                  </a:lnTo>
                  <a:lnTo>
                    <a:pt x="168" y="10"/>
                  </a:lnTo>
                  <a:lnTo>
                    <a:pt x="191" y="4"/>
                  </a:lnTo>
                  <a:lnTo>
                    <a:pt x="215" y="0"/>
                  </a:lnTo>
                  <a:lnTo>
                    <a:pt x="239" y="0"/>
                  </a:lnTo>
                  <a:lnTo>
                    <a:pt x="239" y="0"/>
                  </a:lnTo>
                  <a:lnTo>
                    <a:pt x="264" y="0"/>
                  </a:lnTo>
                  <a:lnTo>
                    <a:pt x="288" y="4"/>
                  </a:lnTo>
                  <a:lnTo>
                    <a:pt x="311" y="10"/>
                  </a:lnTo>
                  <a:lnTo>
                    <a:pt x="332" y="17"/>
                  </a:lnTo>
                  <a:lnTo>
                    <a:pt x="354" y="27"/>
                  </a:lnTo>
                  <a:lnTo>
                    <a:pt x="373" y="40"/>
                  </a:lnTo>
                  <a:lnTo>
                    <a:pt x="391" y="53"/>
                  </a:lnTo>
                  <a:lnTo>
                    <a:pt x="408" y="67"/>
                  </a:lnTo>
                  <a:lnTo>
                    <a:pt x="424" y="84"/>
                  </a:lnTo>
                  <a:lnTo>
                    <a:pt x="437" y="103"/>
                  </a:lnTo>
                  <a:lnTo>
                    <a:pt x="450" y="121"/>
                  </a:lnTo>
                  <a:lnTo>
                    <a:pt x="460" y="141"/>
                  </a:lnTo>
                  <a:lnTo>
                    <a:pt x="467" y="164"/>
                  </a:lnTo>
                  <a:lnTo>
                    <a:pt x="474" y="185"/>
                  </a:lnTo>
                  <a:lnTo>
                    <a:pt x="477" y="208"/>
                  </a:lnTo>
                  <a:lnTo>
                    <a:pt x="478" y="232"/>
                  </a:lnTo>
                  <a:lnTo>
                    <a:pt x="478" y="232"/>
                  </a:lnTo>
                  <a:close/>
                  <a:moveTo>
                    <a:pt x="478" y="232"/>
                  </a:moveTo>
                  <a:lnTo>
                    <a:pt x="478" y="23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68" name="Freeform 19"/>
            <p:cNvSpPr>
              <a:spLocks/>
            </p:cNvSpPr>
            <p:nvPr userDrawn="1"/>
          </p:nvSpPr>
          <p:spPr bwMode="auto">
            <a:xfrm>
              <a:off x="5510" y="659"/>
              <a:ext cx="160" cy="156"/>
            </a:xfrm>
            <a:custGeom>
              <a:avLst/>
              <a:gdLst>
                <a:gd name="T0" fmla="*/ 478 w 478"/>
                <a:gd name="T1" fmla="*/ 232 h 466"/>
                <a:gd name="T2" fmla="*/ 474 w 478"/>
                <a:gd name="T3" fmla="*/ 279 h 466"/>
                <a:gd name="T4" fmla="*/ 460 w 478"/>
                <a:gd name="T5" fmla="*/ 323 h 466"/>
                <a:gd name="T6" fmla="*/ 437 w 478"/>
                <a:gd name="T7" fmla="*/ 363 h 466"/>
                <a:gd name="T8" fmla="*/ 408 w 478"/>
                <a:gd name="T9" fmla="*/ 398 h 466"/>
                <a:gd name="T10" fmla="*/ 373 w 478"/>
                <a:gd name="T11" fmla="*/ 426 h 466"/>
                <a:gd name="T12" fmla="*/ 332 w 478"/>
                <a:gd name="T13" fmla="*/ 447 h 466"/>
                <a:gd name="T14" fmla="*/ 288 w 478"/>
                <a:gd name="T15" fmla="*/ 460 h 466"/>
                <a:gd name="T16" fmla="*/ 239 w 478"/>
                <a:gd name="T17" fmla="*/ 466 h 466"/>
                <a:gd name="T18" fmla="*/ 215 w 478"/>
                <a:gd name="T19" fmla="*/ 465 h 466"/>
                <a:gd name="T20" fmla="*/ 168 w 478"/>
                <a:gd name="T21" fmla="*/ 455 h 466"/>
                <a:gd name="T22" fmla="*/ 125 w 478"/>
                <a:gd name="T23" fmla="*/ 437 h 466"/>
                <a:gd name="T24" fmla="*/ 88 w 478"/>
                <a:gd name="T25" fmla="*/ 412 h 466"/>
                <a:gd name="T26" fmla="*/ 55 w 478"/>
                <a:gd name="T27" fmla="*/ 380 h 466"/>
                <a:gd name="T28" fmla="*/ 29 w 478"/>
                <a:gd name="T29" fmla="*/ 343 h 466"/>
                <a:gd name="T30" fmla="*/ 12 w 478"/>
                <a:gd name="T31" fmla="*/ 302 h 466"/>
                <a:gd name="T32" fmla="*/ 2 w 478"/>
                <a:gd name="T33" fmla="*/ 256 h 466"/>
                <a:gd name="T34" fmla="*/ 0 w 478"/>
                <a:gd name="T35" fmla="*/ 232 h 466"/>
                <a:gd name="T36" fmla="*/ 5 w 478"/>
                <a:gd name="T37" fmla="*/ 185 h 466"/>
                <a:gd name="T38" fmla="*/ 19 w 478"/>
                <a:gd name="T39" fmla="*/ 141 h 466"/>
                <a:gd name="T40" fmla="*/ 42 w 478"/>
                <a:gd name="T41" fmla="*/ 103 h 466"/>
                <a:gd name="T42" fmla="*/ 70 w 478"/>
                <a:gd name="T43" fmla="*/ 68 h 466"/>
                <a:gd name="T44" fmla="*/ 106 w 478"/>
                <a:gd name="T45" fmla="*/ 40 h 466"/>
                <a:gd name="T46" fmla="*/ 146 w 478"/>
                <a:gd name="T47" fmla="*/ 17 h 466"/>
                <a:gd name="T48" fmla="*/ 191 w 478"/>
                <a:gd name="T49" fmla="*/ 4 h 466"/>
                <a:gd name="T50" fmla="*/ 239 w 478"/>
                <a:gd name="T51" fmla="*/ 0 h 466"/>
                <a:gd name="T52" fmla="*/ 264 w 478"/>
                <a:gd name="T53" fmla="*/ 0 h 466"/>
                <a:gd name="T54" fmla="*/ 311 w 478"/>
                <a:gd name="T55" fmla="*/ 10 h 466"/>
                <a:gd name="T56" fmla="*/ 354 w 478"/>
                <a:gd name="T57" fmla="*/ 27 h 466"/>
                <a:gd name="T58" fmla="*/ 391 w 478"/>
                <a:gd name="T59" fmla="*/ 53 h 466"/>
                <a:gd name="T60" fmla="*/ 424 w 478"/>
                <a:gd name="T61" fmla="*/ 84 h 466"/>
                <a:gd name="T62" fmla="*/ 450 w 478"/>
                <a:gd name="T63" fmla="*/ 121 h 466"/>
                <a:gd name="T64" fmla="*/ 467 w 478"/>
                <a:gd name="T65" fmla="*/ 164 h 466"/>
                <a:gd name="T66" fmla="*/ 477 w 478"/>
                <a:gd name="T67" fmla="*/ 208 h 466"/>
                <a:gd name="T68" fmla="*/ 478 w 478"/>
                <a:gd name="T69" fmla="*/ 232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78" h="466">
                  <a:moveTo>
                    <a:pt x="478" y="232"/>
                  </a:moveTo>
                  <a:lnTo>
                    <a:pt x="478" y="232"/>
                  </a:lnTo>
                  <a:lnTo>
                    <a:pt x="477" y="256"/>
                  </a:lnTo>
                  <a:lnTo>
                    <a:pt x="474" y="279"/>
                  </a:lnTo>
                  <a:lnTo>
                    <a:pt x="467" y="302"/>
                  </a:lnTo>
                  <a:lnTo>
                    <a:pt x="460" y="323"/>
                  </a:lnTo>
                  <a:lnTo>
                    <a:pt x="450" y="343"/>
                  </a:lnTo>
                  <a:lnTo>
                    <a:pt x="437" y="363"/>
                  </a:lnTo>
                  <a:lnTo>
                    <a:pt x="424" y="380"/>
                  </a:lnTo>
                  <a:lnTo>
                    <a:pt x="408" y="398"/>
                  </a:lnTo>
                  <a:lnTo>
                    <a:pt x="391" y="412"/>
                  </a:lnTo>
                  <a:lnTo>
                    <a:pt x="373" y="426"/>
                  </a:lnTo>
                  <a:lnTo>
                    <a:pt x="354" y="437"/>
                  </a:lnTo>
                  <a:lnTo>
                    <a:pt x="332" y="447"/>
                  </a:lnTo>
                  <a:lnTo>
                    <a:pt x="311" y="455"/>
                  </a:lnTo>
                  <a:lnTo>
                    <a:pt x="288" y="460"/>
                  </a:lnTo>
                  <a:lnTo>
                    <a:pt x="264" y="465"/>
                  </a:lnTo>
                  <a:lnTo>
                    <a:pt x="239" y="466"/>
                  </a:lnTo>
                  <a:lnTo>
                    <a:pt x="239" y="466"/>
                  </a:lnTo>
                  <a:lnTo>
                    <a:pt x="215" y="465"/>
                  </a:lnTo>
                  <a:lnTo>
                    <a:pt x="191" y="460"/>
                  </a:lnTo>
                  <a:lnTo>
                    <a:pt x="168" y="455"/>
                  </a:lnTo>
                  <a:lnTo>
                    <a:pt x="146" y="447"/>
                  </a:lnTo>
                  <a:lnTo>
                    <a:pt x="125" y="437"/>
                  </a:lnTo>
                  <a:lnTo>
                    <a:pt x="106" y="426"/>
                  </a:lnTo>
                  <a:lnTo>
                    <a:pt x="88" y="412"/>
                  </a:lnTo>
                  <a:lnTo>
                    <a:pt x="70" y="398"/>
                  </a:lnTo>
                  <a:lnTo>
                    <a:pt x="55" y="380"/>
                  </a:lnTo>
                  <a:lnTo>
                    <a:pt x="42" y="363"/>
                  </a:lnTo>
                  <a:lnTo>
                    <a:pt x="29" y="343"/>
                  </a:lnTo>
                  <a:lnTo>
                    <a:pt x="19" y="323"/>
                  </a:lnTo>
                  <a:lnTo>
                    <a:pt x="12" y="302"/>
                  </a:lnTo>
                  <a:lnTo>
                    <a:pt x="5" y="279"/>
                  </a:lnTo>
                  <a:lnTo>
                    <a:pt x="2" y="256"/>
                  </a:lnTo>
                  <a:lnTo>
                    <a:pt x="0" y="232"/>
                  </a:lnTo>
                  <a:lnTo>
                    <a:pt x="0" y="232"/>
                  </a:lnTo>
                  <a:lnTo>
                    <a:pt x="2" y="208"/>
                  </a:lnTo>
                  <a:lnTo>
                    <a:pt x="5" y="185"/>
                  </a:lnTo>
                  <a:lnTo>
                    <a:pt x="12" y="164"/>
                  </a:lnTo>
                  <a:lnTo>
                    <a:pt x="19" y="141"/>
                  </a:lnTo>
                  <a:lnTo>
                    <a:pt x="29" y="121"/>
                  </a:lnTo>
                  <a:lnTo>
                    <a:pt x="42" y="103"/>
                  </a:lnTo>
                  <a:lnTo>
                    <a:pt x="55" y="84"/>
                  </a:lnTo>
                  <a:lnTo>
                    <a:pt x="70" y="68"/>
                  </a:lnTo>
                  <a:lnTo>
                    <a:pt x="88" y="53"/>
                  </a:lnTo>
                  <a:lnTo>
                    <a:pt x="106" y="40"/>
                  </a:lnTo>
                  <a:lnTo>
                    <a:pt x="125" y="27"/>
                  </a:lnTo>
                  <a:lnTo>
                    <a:pt x="146" y="17"/>
                  </a:lnTo>
                  <a:lnTo>
                    <a:pt x="168" y="10"/>
                  </a:lnTo>
                  <a:lnTo>
                    <a:pt x="191" y="4"/>
                  </a:lnTo>
                  <a:lnTo>
                    <a:pt x="215" y="0"/>
                  </a:lnTo>
                  <a:lnTo>
                    <a:pt x="239" y="0"/>
                  </a:lnTo>
                  <a:lnTo>
                    <a:pt x="239" y="0"/>
                  </a:lnTo>
                  <a:lnTo>
                    <a:pt x="264" y="0"/>
                  </a:lnTo>
                  <a:lnTo>
                    <a:pt x="288" y="4"/>
                  </a:lnTo>
                  <a:lnTo>
                    <a:pt x="311" y="10"/>
                  </a:lnTo>
                  <a:lnTo>
                    <a:pt x="332" y="17"/>
                  </a:lnTo>
                  <a:lnTo>
                    <a:pt x="354" y="27"/>
                  </a:lnTo>
                  <a:lnTo>
                    <a:pt x="373" y="40"/>
                  </a:lnTo>
                  <a:lnTo>
                    <a:pt x="391" y="53"/>
                  </a:lnTo>
                  <a:lnTo>
                    <a:pt x="408" y="67"/>
                  </a:lnTo>
                  <a:lnTo>
                    <a:pt x="424" y="84"/>
                  </a:lnTo>
                  <a:lnTo>
                    <a:pt x="437" y="103"/>
                  </a:lnTo>
                  <a:lnTo>
                    <a:pt x="450" y="121"/>
                  </a:lnTo>
                  <a:lnTo>
                    <a:pt x="460" y="141"/>
                  </a:lnTo>
                  <a:lnTo>
                    <a:pt x="467" y="164"/>
                  </a:lnTo>
                  <a:lnTo>
                    <a:pt x="474" y="185"/>
                  </a:lnTo>
                  <a:lnTo>
                    <a:pt x="477" y="208"/>
                  </a:lnTo>
                  <a:lnTo>
                    <a:pt x="478" y="232"/>
                  </a:lnTo>
                  <a:lnTo>
                    <a:pt x="478" y="23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69" name="Line 20"/>
            <p:cNvSpPr>
              <a:spLocks noChangeShapeType="1"/>
            </p:cNvSpPr>
            <p:nvPr userDrawn="1"/>
          </p:nvSpPr>
          <p:spPr bwMode="auto">
            <a:xfrm>
              <a:off x="5670" y="737"/>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pic>
          <p:nvPicPr>
            <p:cNvPr id="70" name="Picture 21"/>
            <p:cNvPicPr>
              <a:picLocks noChangeAspect="1" noChangeArrowheads="1"/>
            </p:cNvPicPr>
            <p:nvPr userDrawn="1"/>
          </p:nvPicPr>
          <p:blipFill>
            <a:blip r:embed="rId7" cstate="hqprint">
              <a:extLst>
                <a:ext uri="{28A0092B-C50C-407E-A947-70E740481C1C}">
                  <a14:useLocalDpi xmlns:a14="http://schemas.microsoft.com/office/drawing/2010/main" val="0"/>
                </a:ext>
              </a:extLst>
            </a:blip>
            <a:srcRect/>
            <a:stretch>
              <a:fillRect/>
            </a:stretch>
          </p:blipFill>
          <p:spPr bwMode="auto">
            <a:xfrm>
              <a:off x="5478" y="637"/>
              <a:ext cx="282" cy="2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 name="Freeform 22"/>
            <p:cNvSpPr>
              <a:spLocks noEditPoints="1"/>
            </p:cNvSpPr>
            <p:nvPr userDrawn="1"/>
          </p:nvSpPr>
          <p:spPr bwMode="auto">
            <a:xfrm>
              <a:off x="5526" y="673"/>
              <a:ext cx="138" cy="139"/>
            </a:xfrm>
            <a:custGeom>
              <a:avLst/>
              <a:gdLst>
                <a:gd name="T0" fmla="*/ 415 w 415"/>
                <a:gd name="T1" fmla="*/ 209 h 417"/>
                <a:gd name="T2" fmla="*/ 411 w 415"/>
                <a:gd name="T3" fmla="*/ 251 h 417"/>
                <a:gd name="T4" fmla="*/ 400 w 415"/>
                <a:gd name="T5" fmla="*/ 291 h 417"/>
                <a:gd name="T6" fmla="*/ 379 w 415"/>
                <a:gd name="T7" fmla="*/ 325 h 417"/>
                <a:gd name="T8" fmla="*/ 355 w 415"/>
                <a:gd name="T9" fmla="*/ 356 h 417"/>
                <a:gd name="T10" fmla="*/ 324 w 415"/>
                <a:gd name="T11" fmla="*/ 382 h 417"/>
                <a:gd name="T12" fmla="*/ 289 w 415"/>
                <a:gd name="T13" fmla="*/ 400 h 417"/>
                <a:gd name="T14" fmla="*/ 249 w 415"/>
                <a:gd name="T15" fmla="*/ 413 h 417"/>
                <a:gd name="T16" fmla="*/ 208 w 415"/>
                <a:gd name="T17" fmla="*/ 417 h 417"/>
                <a:gd name="T18" fmla="*/ 186 w 415"/>
                <a:gd name="T19" fmla="*/ 416 h 417"/>
                <a:gd name="T20" fmla="*/ 146 w 415"/>
                <a:gd name="T21" fmla="*/ 407 h 417"/>
                <a:gd name="T22" fmla="*/ 109 w 415"/>
                <a:gd name="T23" fmla="*/ 392 h 417"/>
                <a:gd name="T24" fmla="*/ 76 w 415"/>
                <a:gd name="T25" fmla="*/ 370 h 417"/>
                <a:gd name="T26" fmla="*/ 47 w 415"/>
                <a:gd name="T27" fmla="*/ 342 h 417"/>
                <a:gd name="T28" fmla="*/ 26 w 415"/>
                <a:gd name="T29" fmla="*/ 308 h 417"/>
                <a:gd name="T30" fmla="*/ 10 w 415"/>
                <a:gd name="T31" fmla="*/ 271 h 417"/>
                <a:gd name="T32" fmla="*/ 2 w 415"/>
                <a:gd name="T33" fmla="*/ 229 h 417"/>
                <a:gd name="T34" fmla="*/ 0 w 415"/>
                <a:gd name="T35" fmla="*/ 209 h 417"/>
                <a:gd name="T36" fmla="*/ 4 w 415"/>
                <a:gd name="T37" fmla="*/ 167 h 417"/>
                <a:gd name="T38" fmla="*/ 16 w 415"/>
                <a:gd name="T39" fmla="*/ 128 h 417"/>
                <a:gd name="T40" fmla="*/ 36 w 415"/>
                <a:gd name="T41" fmla="*/ 93 h 417"/>
                <a:gd name="T42" fmla="*/ 62 w 415"/>
                <a:gd name="T43" fmla="*/ 61 h 417"/>
                <a:gd name="T44" fmla="*/ 92 w 415"/>
                <a:gd name="T45" fmla="*/ 36 h 417"/>
                <a:gd name="T46" fmla="*/ 128 w 415"/>
                <a:gd name="T47" fmla="*/ 17 h 417"/>
                <a:gd name="T48" fmla="*/ 166 w 415"/>
                <a:gd name="T49" fmla="*/ 4 h 417"/>
                <a:gd name="T50" fmla="*/ 208 w 415"/>
                <a:gd name="T51" fmla="*/ 0 h 417"/>
                <a:gd name="T52" fmla="*/ 229 w 415"/>
                <a:gd name="T53" fmla="*/ 1 h 417"/>
                <a:gd name="T54" fmla="*/ 269 w 415"/>
                <a:gd name="T55" fmla="*/ 10 h 417"/>
                <a:gd name="T56" fmla="*/ 306 w 415"/>
                <a:gd name="T57" fmla="*/ 26 h 417"/>
                <a:gd name="T58" fmla="*/ 339 w 415"/>
                <a:gd name="T59" fmla="*/ 48 h 417"/>
                <a:gd name="T60" fmla="*/ 368 w 415"/>
                <a:gd name="T61" fmla="*/ 75 h 417"/>
                <a:gd name="T62" fmla="*/ 391 w 415"/>
                <a:gd name="T63" fmla="*/ 110 h 417"/>
                <a:gd name="T64" fmla="*/ 407 w 415"/>
                <a:gd name="T65" fmla="*/ 147 h 417"/>
                <a:gd name="T66" fmla="*/ 414 w 415"/>
                <a:gd name="T67" fmla="*/ 188 h 417"/>
                <a:gd name="T68" fmla="*/ 415 w 415"/>
                <a:gd name="T69" fmla="*/ 209 h 417"/>
                <a:gd name="T70" fmla="*/ 415 w 415"/>
                <a:gd name="T71" fmla="*/ 209 h 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15" h="417">
                  <a:moveTo>
                    <a:pt x="415" y="209"/>
                  </a:moveTo>
                  <a:lnTo>
                    <a:pt x="415" y="209"/>
                  </a:lnTo>
                  <a:lnTo>
                    <a:pt x="414" y="229"/>
                  </a:lnTo>
                  <a:lnTo>
                    <a:pt x="411" y="251"/>
                  </a:lnTo>
                  <a:lnTo>
                    <a:pt x="407" y="271"/>
                  </a:lnTo>
                  <a:lnTo>
                    <a:pt x="400" y="291"/>
                  </a:lnTo>
                  <a:lnTo>
                    <a:pt x="391" y="308"/>
                  </a:lnTo>
                  <a:lnTo>
                    <a:pt x="379" y="325"/>
                  </a:lnTo>
                  <a:lnTo>
                    <a:pt x="368" y="342"/>
                  </a:lnTo>
                  <a:lnTo>
                    <a:pt x="355" y="356"/>
                  </a:lnTo>
                  <a:lnTo>
                    <a:pt x="339" y="370"/>
                  </a:lnTo>
                  <a:lnTo>
                    <a:pt x="324" y="382"/>
                  </a:lnTo>
                  <a:lnTo>
                    <a:pt x="306" y="392"/>
                  </a:lnTo>
                  <a:lnTo>
                    <a:pt x="289" y="400"/>
                  </a:lnTo>
                  <a:lnTo>
                    <a:pt x="269" y="407"/>
                  </a:lnTo>
                  <a:lnTo>
                    <a:pt x="249" y="413"/>
                  </a:lnTo>
                  <a:lnTo>
                    <a:pt x="229" y="416"/>
                  </a:lnTo>
                  <a:lnTo>
                    <a:pt x="208" y="417"/>
                  </a:lnTo>
                  <a:lnTo>
                    <a:pt x="208" y="417"/>
                  </a:lnTo>
                  <a:lnTo>
                    <a:pt x="186" y="416"/>
                  </a:lnTo>
                  <a:lnTo>
                    <a:pt x="166" y="413"/>
                  </a:lnTo>
                  <a:lnTo>
                    <a:pt x="146" y="407"/>
                  </a:lnTo>
                  <a:lnTo>
                    <a:pt x="128" y="400"/>
                  </a:lnTo>
                  <a:lnTo>
                    <a:pt x="109" y="392"/>
                  </a:lnTo>
                  <a:lnTo>
                    <a:pt x="92" y="382"/>
                  </a:lnTo>
                  <a:lnTo>
                    <a:pt x="76" y="370"/>
                  </a:lnTo>
                  <a:lnTo>
                    <a:pt x="62" y="356"/>
                  </a:lnTo>
                  <a:lnTo>
                    <a:pt x="47" y="342"/>
                  </a:lnTo>
                  <a:lnTo>
                    <a:pt x="36" y="325"/>
                  </a:lnTo>
                  <a:lnTo>
                    <a:pt x="26" y="308"/>
                  </a:lnTo>
                  <a:lnTo>
                    <a:pt x="16" y="291"/>
                  </a:lnTo>
                  <a:lnTo>
                    <a:pt x="10" y="271"/>
                  </a:lnTo>
                  <a:lnTo>
                    <a:pt x="4" y="251"/>
                  </a:lnTo>
                  <a:lnTo>
                    <a:pt x="2" y="229"/>
                  </a:lnTo>
                  <a:lnTo>
                    <a:pt x="0" y="209"/>
                  </a:lnTo>
                  <a:lnTo>
                    <a:pt x="0" y="209"/>
                  </a:lnTo>
                  <a:lnTo>
                    <a:pt x="2" y="188"/>
                  </a:lnTo>
                  <a:lnTo>
                    <a:pt x="4" y="167"/>
                  </a:lnTo>
                  <a:lnTo>
                    <a:pt x="10" y="147"/>
                  </a:lnTo>
                  <a:lnTo>
                    <a:pt x="16" y="128"/>
                  </a:lnTo>
                  <a:lnTo>
                    <a:pt x="26" y="110"/>
                  </a:lnTo>
                  <a:lnTo>
                    <a:pt x="36" y="93"/>
                  </a:lnTo>
                  <a:lnTo>
                    <a:pt x="47" y="75"/>
                  </a:lnTo>
                  <a:lnTo>
                    <a:pt x="62" y="61"/>
                  </a:lnTo>
                  <a:lnTo>
                    <a:pt x="76" y="48"/>
                  </a:lnTo>
                  <a:lnTo>
                    <a:pt x="92" y="36"/>
                  </a:lnTo>
                  <a:lnTo>
                    <a:pt x="109" y="26"/>
                  </a:lnTo>
                  <a:lnTo>
                    <a:pt x="128" y="17"/>
                  </a:lnTo>
                  <a:lnTo>
                    <a:pt x="146" y="10"/>
                  </a:lnTo>
                  <a:lnTo>
                    <a:pt x="166" y="4"/>
                  </a:lnTo>
                  <a:lnTo>
                    <a:pt x="186" y="1"/>
                  </a:lnTo>
                  <a:lnTo>
                    <a:pt x="208" y="0"/>
                  </a:lnTo>
                  <a:lnTo>
                    <a:pt x="208" y="0"/>
                  </a:lnTo>
                  <a:lnTo>
                    <a:pt x="229" y="1"/>
                  </a:lnTo>
                  <a:lnTo>
                    <a:pt x="249" y="4"/>
                  </a:lnTo>
                  <a:lnTo>
                    <a:pt x="269" y="10"/>
                  </a:lnTo>
                  <a:lnTo>
                    <a:pt x="289" y="17"/>
                  </a:lnTo>
                  <a:lnTo>
                    <a:pt x="306" y="26"/>
                  </a:lnTo>
                  <a:lnTo>
                    <a:pt x="324" y="36"/>
                  </a:lnTo>
                  <a:lnTo>
                    <a:pt x="339" y="48"/>
                  </a:lnTo>
                  <a:lnTo>
                    <a:pt x="355" y="61"/>
                  </a:lnTo>
                  <a:lnTo>
                    <a:pt x="368" y="75"/>
                  </a:lnTo>
                  <a:lnTo>
                    <a:pt x="379" y="93"/>
                  </a:lnTo>
                  <a:lnTo>
                    <a:pt x="391" y="110"/>
                  </a:lnTo>
                  <a:lnTo>
                    <a:pt x="400" y="128"/>
                  </a:lnTo>
                  <a:lnTo>
                    <a:pt x="407" y="147"/>
                  </a:lnTo>
                  <a:lnTo>
                    <a:pt x="411" y="167"/>
                  </a:lnTo>
                  <a:lnTo>
                    <a:pt x="414" y="188"/>
                  </a:lnTo>
                  <a:lnTo>
                    <a:pt x="415" y="209"/>
                  </a:lnTo>
                  <a:lnTo>
                    <a:pt x="415" y="209"/>
                  </a:lnTo>
                  <a:close/>
                  <a:moveTo>
                    <a:pt x="415" y="209"/>
                  </a:moveTo>
                  <a:lnTo>
                    <a:pt x="415" y="20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72" name="Freeform 23"/>
            <p:cNvSpPr>
              <a:spLocks/>
            </p:cNvSpPr>
            <p:nvPr userDrawn="1"/>
          </p:nvSpPr>
          <p:spPr bwMode="auto">
            <a:xfrm>
              <a:off x="5526" y="673"/>
              <a:ext cx="138" cy="139"/>
            </a:xfrm>
            <a:custGeom>
              <a:avLst/>
              <a:gdLst>
                <a:gd name="T0" fmla="*/ 415 w 415"/>
                <a:gd name="T1" fmla="*/ 209 h 417"/>
                <a:gd name="T2" fmla="*/ 411 w 415"/>
                <a:gd name="T3" fmla="*/ 251 h 417"/>
                <a:gd name="T4" fmla="*/ 400 w 415"/>
                <a:gd name="T5" fmla="*/ 291 h 417"/>
                <a:gd name="T6" fmla="*/ 379 w 415"/>
                <a:gd name="T7" fmla="*/ 325 h 417"/>
                <a:gd name="T8" fmla="*/ 355 w 415"/>
                <a:gd name="T9" fmla="*/ 356 h 417"/>
                <a:gd name="T10" fmla="*/ 324 w 415"/>
                <a:gd name="T11" fmla="*/ 382 h 417"/>
                <a:gd name="T12" fmla="*/ 289 w 415"/>
                <a:gd name="T13" fmla="*/ 400 h 417"/>
                <a:gd name="T14" fmla="*/ 249 w 415"/>
                <a:gd name="T15" fmla="*/ 413 h 417"/>
                <a:gd name="T16" fmla="*/ 208 w 415"/>
                <a:gd name="T17" fmla="*/ 417 h 417"/>
                <a:gd name="T18" fmla="*/ 186 w 415"/>
                <a:gd name="T19" fmla="*/ 416 h 417"/>
                <a:gd name="T20" fmla="*/ 146 w 415"/>
                <a:gd name="T21" fmla="*/ 407 h 417"/>
                <a:gd name="T22" fmla="*/ 109 w 415"/>
                <a:gd name="T23" fmla="*/ 392 h 417"/>
                <a:gd name="T24" fmla="*/ 76 w 415"/>
                <a:gd name="T25" fmla="*/ 370 h 417"/>
                <a:gd name="T26" fmla="*/ 47 w 415"/>
                <a:gd name="T27" fmla="*/ 342 h 417"/>
                <a:gd name="T28" fmla="*/ 26 w 415"/>
                <a:gd name="T29" fmla="*/ 308 h 417"/>
                <a:gd name="T30" fmla="*/ 10 w 415"/>
                <a:gd name="T31" fmla="*/ 271 h 417"/>
                <a:gd name="T32" fmla="*/ 2 w 415"/>
                <a:gd name="T33" fmla="*/ 229 h 417"/>
                <a:gd name="T34" fmla="*/ 0 w 415"/>
                <a:gd name="T35" fmla="*/ 209 h 417"/>
                <a:gd name="T36" fmla="*/ 4 w 415"/>
                <a:gd name="T37" fmla="*/ 167 h 417"/>
                <a:gd name="T38" fmla="*/ 16 w 415"/>
                <a:gd name="T39" fmla="*/ 128 h 417"/>
                <a:gd name="T40" fmla="*/ 36 w 415"/>
                <a:gd name="T41" fmla="*/ 93 h 417"/>
                <a:gd name="T42" fmla="*/ 62 w 415"/>
                <a:gd name="T43" fmla="*/ 61 h 417"/>
                <a:gd name="T44" fmla="*/ 92 w 415"/>
                <a:gd name="T45" fmla="*/ 36 h 417"/>
                <a:gd name="T46" fmla="*/ 128 w 415"/>
                <a:gd name="T47" fmla="*/ 17 h 417"/>
                <a:gd name="T48" fmla="*/ 166 w 415"/>
                <a:gd name="T49" fmla="*/ 4 h 417"/>
                <a:gd name="T50" fmla="*/ 208 w 415"/>
                <a:gd name="T51" fmla="*/ 0 h 417"/>
                <a:gd name="T52" fmla="*/ 229 w 415"/>
                <a:gd name="T53" fmla="*/ 1 h 417"/>
                <a:gd name="T54" fmla="*/ 269 w 415"/>
                <a:gd name="T55" fmla="*/ 10 h 417"/>
                <a:gd name="T56" fmla="*/ 306 w 415"/>
                <a:gd name="T57" fmla="*/ 26 h 417"/>
                <a:gd name="T58" fmla="*/ 339 w 415"/>
                <a:gd name="T59" fmla="*/ 48 h 417"/>
                <a:gd name="T60" fmla="*/ 368 w 415"/>
                <a:gd name="T61" fmla="*/ 75 h 417"/>
                <a:gd name="T62" fmla="*/ 391 w 415"/>
                <a:gd name="T63" fmla="*/ 110 h 417"/>
                <a:gd name="T64" fmla="*/ 407 w 415"/>
                <a:gd name="T65" fmla="*/ 147 h 417"/>
                <a:gd name="T66" fmla="*/ 414 w 415"/>
                <a:gd name="T67" fmla="*/ 188 h 417"/>
                <a:gd name="T68" fmla="*/ 415 w 415"/>
                <a:gd name="T69" fmla="*/ 209 h 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15" h="417">
                  <a:moveTo>
                    <a:pt x="415" y="209"/>
                  </a:moveTo>
                  <a:lnTo>
                    <a:pt x="415" y="209"/>
                  </a:lnTo>
                  <a:lnTo>
                    <a:pt x="414" y="229"/>
                  </a:lnTo>
                  <a:lnTo>
                    <a:pt x="411" y="251"/>
                  </a:lnTo>
                  <a:lnTo>
                    <a:pt x="407" y="271"/>
                  </a:lnTo>
                  <a:lnTo>
                    <a:pt x="400" y="291"/>
                  </a:lnTo>
                  <a:lnTo>
                    <a:pt x="391" y="308"/>
                  </a:lnTo>
                  <a:lnTo>
                    <a:pt x="379" y="325"/>
                  </a:lnTo>
                  <a:lnTo>
                    <a:pt x="368" y="342"/>
                  </a:lnTo>
                  <a:lnTo>
                    <a:pt x="355" y="356"/>
                  </a:lnTo>
                  <a:lnTo>
                    <a:pt x="339" y="370"/>
                  </a:lnTo>
                  <a:lnTo>
                    <a:pt x="324" y="382"/>
                  </a:lnTo>
                  <a:lnTo>
                    <a:pt x="306" y="392"/>
                  </a:lnTo>
                  <a:lnTo>
                    <a:pt x="289" y="400"/>
                  </a:lnTo>
                  <a:lnTo>
                    <a:pt x="269" y="407"/>
                  </a:lnTo>
                  <a:lnTo>
                    <a:pt x="249" y="413"/>
                  </a:lnTo>
                  <a:lnTo>
                    <a:pt x="229" y="416"/>
                  </a:lnTo>
                  <a:lnTo>
                    <a:pt x="208" y="417"/>
                  </a:lnTo>
                  <a:lnTo>
                    <a:pt x="208" y="417"/>
                  </a:lnTo>
                  <a:lnTo>
                    <a:pt x="186" y="416"/>
                  </a:lnTo>
                  <a:lnTo>
                    <a:pt x="166" y="413"/>
                  </a:lnTo>
                  <a:lnTo>
                    <a:pt x="146" y="407"/>
                  </a:lnTo>
                  <a:lnTo>
                    <a:pt x="128" y="400"/>
                  </a:lnTo>
                  <a:lnTo>
                    <a:pt x="109" y="392"/>
                  </a:lnTo>
                  <a:lnTo>
                    <a:pt x="92" y="382"/>
                  </a:lnTo>
                  <a:lnTo>
                    <a:pt x="76" y="370"/>
                  </a:lnTo>
                  <a:lnTo>
                    <a:pt x="62" y="356"/>
                  </a:lnTo>
                  <a:lnTo>
                    <a:pt x="47" y="342"/>
                  </a:lnTo>
                  <a:lnTo>
                    <a:pt x="36" y="325"/>
                  </a:lnTo>
                  <a:lnTo>
                    <a:pt x="26" y="308"/>
                  </a:lnTo>
                  <a:lnTo>
                    <a:pt x="16" y="291"/>
                  </a:lnTo>
                  <a:lnTo>
                    <a:pt x="10" y="271"/>
                  </a:lnTo>
                  <a:lnTo>
                    <a:pt x="4" y="251"/>
                  </a:lnTo>
                  <a:lnTo>
                    <a:pt x="2" y="229"/>
                  </a:lnTo>
                  <a:lnTo>
                    <a:pt x="0" y="209"/>
                  </a:lnTo>
                  <a:lnTo>
                    <a:pt x="0" y="209"/>
                  </a:lnTo>
                  <a:lnTo>
                    <a:pt x="2" y="188"/>
                  </a:lnTo>
                  <a:lnTo>
                    <a:pt x="4" y="167"/>
                  </a:lnTo>
                  <a:lnTo>
                    <a:pt x="10" y="147"/>
                  </a:lnTo>
                  <a:lnTo>
                    <a:pt x="16" y="128"/>
                  </a:lnTo>
                  <a:lnTo>
                    <a:pt x="26" y="110"/>
                  </a:lnTo>
                  <a:lnTo>
                    <a:pt x="36" y="93"/>
                  </a:lnTo>
                  <a:lnTo>
                    <a:pt x="47" y="75"/>
                  </a:lnTo>
                  <a:lnTo>
                    <a:pt x="62" y="61"/>
                  </a:lnTo>
                  <a:lnTo>
                    <a:pt x="76" y="48"/>
                  </a:lnTo>
                  <a:lnTo>
                    <a:pt x="92" y="36"/>
                  </a:lnTo>
                  <a:lnTo>
                    <a:pt x="109" y="26"/>
                  </a:lnTo>
                  <a:lnTo>
                    <a:pt x="128" y="17"/>
                  </a:lnTo>
                  <a:lnTo>
                    <a:pt x="146" y="10"/>
                  </a:lnTo>
                  <a:lnTo>
                    <a:pt x="166" y="4"/>
                  </a:lnTo>
                  <a:lnTo>
                    <a:pt x="186" y="1"/>
                  </a:lnTo>
                  <a:lnTo>
                    <a:pt x="208" y="0"/>
                  </a:lnTo>
                  <a:lnTo>
                    <a:pt x="208" y="0"/>
                  </a:lnTo>
                  <a:lnTo>
                    <a:pt x="229" y="1"/>
                  </a:lnTo>
                  <a:lnTo>
                    <a:pt x="249" y="4"/>
                  </a:lnTo>
                  <a:lnTo>
                    <a:pt x="269" y="10"/>
                  </a:lnTo>
                  <a:lnTo>
                    <a:pt x="289" y="17"/>
                  </a:lnTo>
                  <a:lnTo>
                    <a:pt x="306" y="26"/>
                  </a:lnTo>
                  <a:lnTo>
                    <a:pt x="324" y="36"/>
                  </a:lnTo>
                  <a:lnTo>
                    <a:pt x="339" y="48"/>
                  </a:lnTo>
                  <a:lnTo>
                    <a:pt x="355" y="61"/>
                  </a:lnTo>
                  <a:lnTo>
                    <a:pt x="368" y="75"/>
                  </a:lnTo>
                  <a:lnTo>
                    <a:pt x="379" y="93"/>
                  </a:lnTo>
                  <a:lnTo>
                    <a:pt x="391" y="110"/>
                  </a:lnTo>
                  <a:lnTo>
                    <a:pt x="400" y="128"/>
                  </a:lnTo>
                  <a:lnTo>
                    <a:pt x="407" y="147"/>
                  </a:lnTo>
                  <a:lnTo>
                    <a:pt x="411" y="167"/>
                  </a:lnTo>
                  <a:lnTo>
                    <a:pt x="414" y="188"/>
                  </a:lnTo>
                  <a:lnTo>
                    <a:pt x="415" y="209"/>
                  </a:lnTo>
                  <a:lnTo>
                    <a:pt x="415" y="20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73" name="Line 24"/>
            <p:cNvSpPr>
              <a:spLocks noChangeShapeType="1"/>
            </p:cNvSpPr>
            <p:nvPr userDrawn="1"/>
          </p:nvSpPr>
          <p:spPr bwMode="auto">
            <a:xfrm>
              <a:off x="5664" y="742"/>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pic>
          <p:nvPicPr>
            <p:cNvPr id="74" name="Picture 25"/>
            <p:cNvPicPr>
              <a:picLocks noChangeAspect="1" noChangeArrowheads="1"/>
            </p:cNvPicPr>
            <p:nvPr userDrawn="1"/>
          </p:nvPicPr>
          <p:blipFill>
            <a:blip r:embed="rId8" cstate="hqprint">
              <a:extLst>
                <a:ext uri="{28A0092B-C50C-407E-A947-70E740481C1C}">
                  <a14:useLocalDpi xmlns:a14="http://schemas.microsoft.com/office/drawing/2010/main" val="0"/>
                </a:ext>
              </a:extLst>
            </a:blip>
            <a:srcRect/>
            <a:stretch>
              <a:fillRect/>
            </a:stretch>
          </p:blipFill>
          <p:spPr bwMode="auto">
            <a:xfrm>
              <a:off x="5478" y="637"/>
              <a:ext cx="282" cy="2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5" name="Freeform 26"/>
            <p:cNvSpPr>
              <a:spLocks noEditPoints="1"/>
            </p:cNvSpPr>
            <p:nvPr userDrawn="1"/>
          </p:nvSpPr>
          <p:spPr bwMode="auto">
            <a:xfrm>
              <a:off x="5563" y="717"/>
              <a:ext cx="44" cy="62"/>
            </a:xfrm>
            <a:custGeom>
              <a:avLst/>
              <a:gdLst>
                <a:gd name="T0" fmla="*/ 6 w 133"/>
                <a:gd name="T1" fmla="*/ 187 h 187"/>
                <a:gd name="T2" fmla="*/ 1 w 133"/>
                <a:gd name="T3" fmla="*/ 179 h 187"/>
                <a:gd name="T4" fmla="*/ 1 w 133"/>
                <a:gd name="T5" fmla="*/ 151 h 187"/>
                <a:gd name="T6" fmla="*/ 6 w 133"/>
                <a:gd name="T7" fmla="*/ 143 h 187"/>
                <a:gd name="T8" fmla="*/ 61 w 133"/>
                <a:gd name="T9" fmla="*/ 144 h 187"/>
                <a:gd name="T10" fmla="*/ 73 w 133"/>
                <a:gd name="T11" fmla="*/ 144 h 187"/>
                <a:gd name="T12" fmla="*/ 87 w 133"/>
                <a:gd name="T13" fmla="*/ 143 h 187"/>
                <a:gd name="T14" fmla="*/ 91 w 133"/>
                <a:gd name="T15" fmla="*/ 136 h 187"/>
                <a:gd name="T16" fmla="*/ 93 w 133"/>
                <a:gd name="T17" fmla="*/ 130 h 187"/>
                <a:gd name="T18" fmla="*/ 90 w 133"/>
                <a:gd name="T19" fmla="*/ 124 h 187"/>
                <a:gd name="T20" fmla="*/ 66 w 133"/>
                <a:gd name="T21" fmla="*/ 114 h 187"/>
                <a:gd name="T22" fmla="*/ 51 w 133"/>
                <a:gd name="T23" fmla="*/ 107 h 187"/>
                <a:gd name="T24" fmla="*/ 30 w 133"/>
                <a:gd name="T25" fmla="*/ 96 h 187"/>
                <a:gd name="T26" fmla="*/ 17 w 133"/>
                <a:gd name="T27" fmla="*/ 83 h 187"/>
                <a:gd name="T28" fmla="*/ 11 w 133"/>
                <a:gd name="T29" fmla="*/ 76 h 187"/>
                <a:gd name="T30" fmla="*/ 7 w 133"/>
                <a:gd name="T31" fmla="*/ 60 h 187"/>
                <a:gd name="T32" fmla="*/ 6 w 133"/>
                <a:gd name="T33" fmla="*/ 52 h 187"/>
                <a:gd name="T34" fmla="*/ 10 w 133"/>
                <a:gd name="T35" fmla="*/ 27 h 187"/>
                <a:gd name="T36" fmla="*/ 24 w 133"/>
                <a:gd name="T37" fmla="*/ 10 h 187"/>
                <a:gd name="T38" fmla="*/ 28 w 133"/>
                <a:gd name="T39" fmla="*/ 8 h 187"/>
                <a:gd name="T40" fmla="*/ 44 w 133"/>
                <a:gd name="T41" fmla="*/ 2 h 187"/>
                <a:gd name="T42" fmla="*/ 73 w 133"/>
                <a:gd name="T43" fmla="*/ 0 h 187"/>
                <a:gd name="T44" fmla="*/ 121 w 133"/>
                <a:gd name="T45" fmla="*/ 0 h 187"/>
                <a:gd name="T46" fmla="*/ 126 w 133"/>
                <a:gd name="T47" fmla="*/ 9 h 187"/>
                <a:gd name="T48" fmla="*/ 126 w 133"/>
                <a:gd name="T49" fmla="*/ 33 h 187"/>
                <a:gd name="T50" fmla="*/ 121 w 133"/>
                <a:gd name="T51" fmla="*/ 42 h 187"/>
                <a:gd name="T52" fmla="*/ 79 w 133"/>
                <a:gd name="T53" fmla="*/ 42 h 187"/>
                <a:gd name="T54" fmla="*/ 54 w 133"/>
                <a:gd name="T55" fmla="*/ 43 h 187"/>
                <a:gd name="T56" fmla="*/ 47 w 133"/>
                <a:gd name="T57" fmla="*/ 46 h 187"/>
                <a:gd name="T58" fmla="*/ 44 w 133"/>
                <a:gd name="T59" fmla="*/ 53 h 187"/>
                <a:gd name="T60" fmla="*/ 46 w 133"/>
                <a:gd name="T61" fmla="*/ 59 h 187"/>
                <a:gd name="T62" fmla="*/ 57 w 133"/>
                <a:gd name="T63" fmla="*/ 69 h 187"/>
                <a:gd name="T64" fmla="*/ 79 w 133"/>
                <a:gd name="T65" fmla="*/ 79 h 187"/>
                <a:gd name="T66" fmla="*/ 86 w 133"/>
                <a:gd name="T67" fmla="*/ 80 h 187"/>
                <a:gd name="T68" fmla="*/ 116 w 133"/>
                <a:gd name="T69" fmla="*/ 93 h 187"/>
                <a:gd name="T70" fmla="*/ 121 w 133"/>
                <a:gd name="T71" fmla="*/ 99 h 187"/>
                <a:gd name="T72" fmla="*/ 130 w 133"/>
                <a:gd name="T73" fmla="*/ 113 h 187"/>
                <a:gd name="T74" fmla="*/ 133 w 133"/>
                <a:gd name="T75" fmla="*/ 132 h 187"/>
                <a:gd name="T76" fmla="*/ 131 w 133"/>
                <a:gd name="T77" fmla="*/ 143 h 187"/>
                <a:gd name="T78" fmla="*/ 123 w 133"/>
                <a:gd name="T79" fmla="*/ 164 h 187"/>
                <a:gd name="T80" fmla="*/ 114 w 133"/>
                <a:gd name="T81" fmla="*/ 173 h 187"/>
                <a:gd name="T82" fmla="*/ 94 w 133"/>
                <a:gd name="T83" fmla="*/ 184 h 187"/>
                <a:gd name="T84" fmla="*/ 69 w 133"/>
                <a:gd name="T85" fmla="*/ 187 h 187"/>
                <a:gd name="T86" fmla="*/ 6 w 133"/>
                <a:gd name="T87"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3" h="187">
                  <a:moveTo>
                    <a:pt x="6" y="187"/>
                  </a:moveTo>
                  <a:lnTo>
                    <a:pt x="6" y="187"/>
                  </a:lnTo>
                  <a:lnTo>
                    <a:pt x="3" y="184"/>
                  </a:lnTo>
                  <a:lnTo>
                    <a:pt x="1" y="179"/>
                  </a:lnTo>
                  <a:lnTo>
                    <a:pt x="0" y="166"/>
                  </a:lnTo>
                  <a:lnTo>
                    <a:pt x="1" y="151"/>
                  </a:lnTo>
                  <a:lnTo>
                    <a:pt x="3" y="147"/>
                  </a:lnTo>
                  <a:lnTo>
                    <a:pt x="6" y="143"/>
                  </a:lnTo>
                  <a:lnTo>
                    <a:pt x="6" y="143"/>
                  </a:lnTo>
                  <a:lnTo>
                    <a:pt x="61" y="144"/>
                  </a:lnTo>
                  <a:lnTo>
                    <a:pt x="61" y="144"/>
                  </a:lnTo>
                  <a:lnTo>
                    <a:pt x="73" y="144"/>
                  </a:lnTo>
                  <a:lnTo>
                    <a:pt x="83" y="144"/>
                  </a:lnTo>
                  <a:lnTo>
                    <a:pt x="87" y="143"/>
                  </a:lnTo>
                  <a:lnTo>
                    <a:pt x="90" y="140"/>
                  </a:lnTo>
                  <a:lnTo>
                    <a:pt x="91" y="136"/>
                  </a:lnTo>
                  <a:lnTo>
                    <a:pt x="93" y="130"/>
                  </a:lnTo>
                  <a:lnTo>
                    <a:pt x="93" y="130"/>
                  </a:lnTo>
                  <a:lnTo>
                    <a:pt x="91" y="127"/>
                  </a:lnTo>
                  <a:lnTo>
                    <a:pt x="90" y="124"/>
                  </a:lnTo>
                  <a:lnTo>
                    <a:pt x="84" y="122"/>
                  </a:lnTo>
                  <a:lnTo>
                    <a:pt x="66" y="114"/>
                  </a:lnTo>
                  <a:lnTo>
                    <a:pt x="51" y="107"/>
                  </a:lnTo>
                  <a:lnTo>
                    <a:pt x="51" y="107"/>
                  </a:lnTo>
                  <a:lnTo>
                    <a:pt x="40" y="102"/>
                  </a:lnTo>
                  <a:lnTo>
                    <a:pt x="30" y="96"/>
                  </a:lnTo>
                  <a:lnTo>
                    <a:pt x="23" y="89"/>
                  </a:lnTo>
                  <a:lnTo>
                    <a:pt x="17" y="83"/>
                  </a:lnTo>
                  <a:lnTo>
                    <a:pt x="17" y="83"/>
                  </a:lnTo>
                  <a:lnTo>
                    <a:pt x="11" y="76"/>
                  </a:lnTo>
                  <a:lnTo>
                    <a:pt x="8" y="69"/>
                  </a:lnTo>
                  <a:lnTo>
                    <a:pt x="7" y="60"/>
                  </a:lnTo>
                  <a:lnTo>
                    <a:pt x="6" y="52"/>
                  </a:lnTo>
                  <a:lnTo>
                    <a:pt x="6" y="52"/>
                  </a:lnTo>
                  <a:lnTo>
                    <a:pt x="7" y="39"/>
                  </a:lnTo>
                  <a:lnTo>
                    <a:pt x="10" y="27"/>
                  </a:lnTo>
                  <a:lnTo>
                    <a:pt x="16" y="19"/>
                  </a:lnTo>
                  <a:lnTo>
                    <a:pt x="24" y="10"/>
                  </a:lnTo>
                  <a:lnTo>
                    <a:pt x="24" y="10"/>
                  </a:lnTo>
                  <a:lnTo>
                    <a:pt x="28" y="8"/>
                  </a:lnTo>
                  <a:lnTo>
                    <a:pt x="33" y="5"/>
                  </a:lnTo>
                  <a:lnTo>
                    <a:pt x="44" y="2"/>
                  </a:lnTo>
                  <a:lnTo>
                    <a:pt x="58" y="0"/>
                  </a:lnTo>
                  <a:lnTo>
                    <a:pt x="73" y="0"/>
                  </a:lnTo>
                  <a:lnTo>
                    <a:pt x="121" y="0"/>
                  </a:lnTo>
                  <a:lnTo>
                    <a:pt x="121" y="0"/>
                  </a:lnTo>
                  <a:lnTo>
                    <a:pt x="124" y="3"/>
                  </a:lnTo>
                  <a:lnTo>
                    <a:pt x="126" y="9"/>
                  </a:lnTo>
                  <a:lnTo>
                    <a:pt x="127" y="20"/>
                  </a:lnTo>
                  <a:lnTo>
                    <a:pt x="126" y="33"/>
                  </a:lnTo>
                  <a:lnTo>
                    <a:pt x="124" y="39"/>
                  </a:lnTo>
                  <a:lnTo>
                    <a:pt x="121" y="42"/>
                  </a:lnTo>
                  <a:lnTo>
                    <a:pt x="79" y="42"/>
                  </a:lnTo>
                  <a:lnTo>
                    <a:pt x="79" y="42"/>
                  </a:lnTo>
                  <a:lnTo>
                    <a:pt x="66" y="42"/>
                  </a:lnTo>
                  <a:lnTo>
                    <a:pt x="54" y="43"/>
                  </a:lnTo>
                  <a:lnTo>
                    <a:pt x="50" y="45"/>
                  </a:lnTo>
                  <a:lnTo>
                    <a:pt x="47" y="46"/>
                  </a:lnTo>
                  <a:lnTo>
                    <a:pt x="46" y="49"/>
                  </a:lnTo>
                  <a:lnTo>
                    <a:pt x="44" y="53"/>
                  </a:lnTo>
                  <a:lnTo>
                    <a:pt x="44" y="53"/>
                  </a:lnTo>
                  <a:lnTo>
                    <a:pt x="46" y="59"/>
                  </a:lnTo>
                  <a:lnTo>
                    <a:pt x="51" y="63"/>
                  </a:lnTo>
                  <a:lnTo>
                    <a:pt x="57" y="69"/>
                  </a:lnTo>
                  <a:lnTo>
                    <a:pt x="64" y="72"/>
                  </a:lnTo>
                  <a:lnTo>
                    <a:pt x="79" y="79"/>
                  </a:lnTo>
                  <a:lnTo>
                    <a:pt x="86" y="80"/>
                  </a:lnTo>
                  <a:lnTo>
                    <a:pt x="86" y="80"/>
                  </a:lnTo>
                  <a:lnTo>
                    <a:pt x="109" y="89"/>
                  </a:lnTo>
                  <a:lnTo>
                    <a:pt x="116" y="93"/>
                  </a:lnTo>
                  <a:lnTo>
                    <a:pt x="121" y="99"/>
                  </a:lnTo>
                  <a:lnTo>
                    <a:pt x="121" y="99"/>
                  </a:lnTo>
                  <a:lnTo>
                    <a:pt x="127" y="104"/>
                  </a:lnTo>
                  <a:lnTo>
                    <a:pt x="130" y="113"/>
                  </a:lnTo>
                  <a:lnTo>
                    <a:pt x="133" y="122"/>
                  </a:lnTo>
                  <a:lnTo>
                    <a:pt x="133" y="132"/>
                  </a:lnTo>
                  <a:lnTo>
                    <a:pt x="133" y="132"/>
                  </a:lnTo>
                  <a:lnTo>
                    <a:pt x="131" y="143"/>
                  </a:lnTo>
                  <a:lnTo>
                    <a:pt x="129" y="154"/>
                  </a:lnTo>
                  <a:lnTo>
                    <a:pt x="123" y="164"/>
                  </a:lnTo>
                  <a:lnTo>
                    <a:pt x="114" y="173"/>
                  </a:lnTo>
                  <a:lnTo>
                    <a:pt x="114" y="173"/>
                  </a:lnTo>
                  <a:lnTo>
                    <a:pt x="104" y="180"/>
                  </a:lnTo>
                  <a:lnTo>
                    <a:pt x="94" y="184"/>
                  </a:lnTo>
                  <a:lnTo>
                    <a:pt x="83" y="187"/>
                  </a:lnTo>
                  <a:lnTo>
                    <a:pt x="69" y="187"/>
                  </a:lnTo>
                  <a:lnTo>
                    <a:pt x="6" y="187"/>
                  </a:lnTo>
                  <a:close/>
                  <a:moveTo>
                    <a:pt x="6" y="187"/>
                  </a:moveTo>
                  <a:lnTo>
                    <a:pt x="6" y="18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76" name="Freeform 27"/>
            <p:cNvSpPr>
              <a:spLocks/>
            </p:cNvSpPr>
            <p:nvPr userDrawn="1"/>
          </p:nvSpPr>
          <p:spPr bwMode="auto">
            <a:xfrm>
              <a:off x="5563" y="717"/>
              <a:ext cx="44" cy="62"/>
            </a:xfrm>
            <a:custGeom>
              <a:avLst/>
              <a:gdLst>
                <a:gd name="T0" fmla="*/ 6 w 133"/>
                <a:gd name="T1" fmla="*/ 187 h 187"/>
                <a:gd name="T2" fmla="*/ 1 w 133"/>
                <a:gd name="T3" fmla="*/ 179 h 187"/>
                <a:gd name="T4" fmla="*/ 1 w 133"/>
                <a:gd name="T5" fmla="*/ 151 h 187"/>
                <a:gd name="T6" fmla="*/ 6 w 133"/>
                <a:gd name="T7" fmla="*/ 143 h 187"/>
                <a:gd name="T8" fmla="*/ 61 w 133"/>
                <a:gd name="T9" fmla="*/ 144 h 187"/>
                <a:gd name="T10" fmla="*/ 73 w 133"/>
                <a:gd name="T11" fmla="*/ 144 h 187"/>
                <a:gd name="T12" fmla="*/ 87 w 133"/>
                <a:gd name="T13" fmla="*/ 143 h 187"/>
                <a:gd name="T14" fmla="*/ 91 w 133"/>
                <a:gd name="T15" fmla="*/ 136 h 187"/>
                <a:gd name="T16" fmla="*/ 93 w 133"/>
                <a:gd name="T17" fmla="*/ 130 h 187"/>
                <a:gd name="T18" fmla="*/ 90 w 133"/>
                <a:gd name="T19" fmla="*/ 124 h 187"/>
                <a:gd name="T20" fmla="*/ 66 w 133"/>
                <a:gd name="T21" fmla="*/ 114 h 187"/>
                <a:gd name="T22" fmla="*/ 51 w 133"/>
                <a:gd name="T23" fmla="*/ 107 h 187"/>
                <a:gd name="T24" fmla="*/ 30 w 133"/>
                <a:gd name="T25" fmla="*/ 96 h 187"/>
                <a:gd name="T26" fmla="*/ 17 w 133"/>
                <a:gd name="T27" fmla="*/ 83 h 187"/>
                <a:gd name="T28" fmla="*/ 11 w 133"/>
                <a:gd name="T29" fmla="*/ 76 h 187"/>
                <a:gd name="T30" fmla="*/ 7 w 133"/>
                <a:gd name="T31" fmla="*/ 60 h 187"/>
                <a:gd name="T32" fmla="*/ 6 w 133"/>
                <a:gd name="T33" fmla="*/ 52 h 187"/>
                <a:gd name="T34" fmla="*/ 10 w 133"/>
                <a:gd name="T35" fmla="*/ 27 h 187"/>
                <a:gd name="T36" fmla="*/ 24 w 133"/>
                <a:gd name="T37" fmla="*/ 10 h 187"/>
                <a:gd name="T38" fmla="*/ 28 w 133"/>
                <a:gd name="T39" fmla="*/ 8 h 187"/>
                <a:gd name="T40" fmla="*/ 44 w 133"/>
                <a:gd name="T41" fmla="*/ 2 h 187"/>
                <a:gd name="T42" fmla="*/ 73 w 133"/>
                <a:gd name="T43" fmla="*/ 0 h 187"/>
                <a:gd name="T44" fmla="*/ 121 w 133"/>
                <a:gd name="T45" fmla="*/ 0 h 187"/>
                <a:gd name="T46" fmla="*/ 126 w 133"/>
                <a:gd name="T47" fmla="*/ 9 h 187"/>
                <a:gd name="T48" fmla="*/ 126 w 133"/>
                <a:gd name="T49" fmla="*/ 33 h 187"/>
                <a:gd name="T50" fmla="*/ 121 w 133"/>
                <a:gd name="T51" fmla="*/ 42 h 187"/>
                <a:gd name="T52" fmla="*/ 79 w 133"/>
                <a:gd name="T53" fmla="*/ 42 h 187"/>
                <a:gd name="T54" fmla="*/ 54 w 133"/>
                <a:gd name="T55" fmla="*/ 43 h 187"/>
                <a:gd name="T56" fmla="*/ 47 w 133"/>
                <a:gd name="T57" fmla="*/ 46 h 187"/>
                <a:gd name="T58" fmla="*/ 44 w 133"/>
                <a:gd name="T59" fmla="*/ 53 h 187"/>
                <a:gd name="T60" fmla="*/ 46 w 133"/>
                <a:gd name="T61" fmla="*/ 59 h 187"/>
                <a:gd name="T62" fmla="*/ 57 w 133"/>
                <a:gd name="T63" fmla="*/ 69 h 187"/>
                <a:gd name="T64" fmla="*/ 79 w 133"/>
                <a:gd name="T65" fmla="*/ 79 h 187"/>
                <a:gd name="T66" fmla="*/ 86 w 133"/>
                <a:gd name="T67" fmla="*/ 80 h 187"/>
                <a:gd name="T68" fmla="*/ 116 w 133"/>
                <a:gd name="T69" fmla="*/ 93 h 187"/>
                <a:gd name="T70" fmla="*/ 121 w 133"/>
                <a:gd name="T71" fmla="*/ 99 h 187"/>
                <a:gd name="T72" fmla="*/ 130 w 133"/>
                <a:gd name="T73" fmla="*/ 113 h 187"/>
                <a:gd name="T74" fmla="*/ 133 w 133"/>
                <a:gd name="T75" fmla="*/ 132 h 187"/>
                <a:gd name="T76" fmla="*/ 131 w 133"/>
                <a:gd name="T77" fmla="*/ 143 h 187"/>
                <a:gd name="T78" fmla="*/ 123 w 133"/>
                <a:gd name="T79" fmla="*/ 164 h 187"/>
                <a:gd name="T80" fmla="*/ 114 w 133"/>
                <a:gd name="T81" fmla="*/ 173 h 187"/>
                <a:gd name="T82" fmla="*/ 94 w 133"/>
                <a:gd name="T83" fmla="*/ 184 h 187"/>
                <a:gd name="T84" fmla="*/ 69 w 133"/>
                <a:gd name="T85"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33" h="187">
                  <a:moveTo>
                    <a:pt x="6" y="187"/>
                  </a:moveTo>
                  <a:lnTo>
                    <a:pt x="6" y="187"/>
                  </a:lnTo>
                  <a:lnTo>
                    <a:pt x="3" y="184"/>
                  </a:lnTo>
                  <a:lnTo>
                    <a:pt x="1" y="179"/>
                  </a:lnTo>
                  <a:lnTo>
                    <a:pt x="0" y="166"/>
                  </a:lnTo>
                  <a:lnTo>
                    <a:pt x="1" y="151"/>
                  </a:lnTo>
                  <a:lnTo>
                    <a:pt x="3" y="147"/>
                  </a:lnTo>
                  <a:lnTo>
                    <a:pt x="6" y="143"/>
                  </a:lnTo>
                  <a:lnTo>
                    <a:pt x="6" y="143"/>
                  </a:lnTo>
                  <a:lnTo>
                    <a:pt x="61" y="144"/>
                  </a:lnTo>
                  <a:lnTo>
                    <a:pt x="61" y="144"/>
                  </a:lnTo>
                  <a:lnTo>
                    <a:pt x="73" y="144"/>
                  </a:lnTo>
                  <a:lnTo>
                    <a:pt x="83" y="144"/>
                  </a:lnTo>
                  <a:lnTo>
                    <a:pt x="87" y="143"/>
                  </a:lnTo>
                  <a:lnTo>
                    <a:pt x="90" y="140"/>
                  </a:lnTo>
                  <a:lnTo>
                    <a:pt x="91" y="136"/>
                  </a:lnTo>
                  <a:lnTo>
                    <a:pt x="93" y="130"/>
                  </a:lnTo>
                  <a:lnTo>
                    <a:pt x="93" y="130"/>
                  </a:lnTo>
                  <a:lnTo>
                    <a:pt x="91" y="127"/>
                  </a:lnTo>
                  <a:lnTo>
                    <a:pt x="90" y="124"/>
                  </a:lnTo>
                  <a:lnTo>
                    <a:pt x="84" y="122"/>
                  </a:lnTo>
                  <a:lnTo>
                    <a:pt x="66" y="114"/>
                  </a:lnTo>
                  <a:lnTo>
                    <a:pt x="51" y="107"/>
                  </a:lnTo>
                  <a:lnTo>
                    <a:pt x="51" y="107"/>
                  </a:lnTo>
                  <a:lnTo>
                    <a:pt x="40" y="102"/>
                  </a:lnTo>
                  <a:lnTo>
                    <a:pt x="30" y="96"/>
                  </a:lnTo>
                  <a:lnTo>
                    <a:pt x="23" y="89"/>
                  </a:lnTo>
                  <a:lnTo>
                    <a:pt x="17" y="83"/>
                  </a:lnTo>
                  <a:lnTo>
                    <a:pt x="17" y="83"/>
                  </a:lnTo>
                  <a:lnTo>
                    <a:pt x="11" y="76"/>
                  </a:lnTo>
                  <a:lnTo>
                    <a:pt x="8" y="69"/>
                  </a:lnTo>
                  <a:lnTo>
                    <a:pt x="7" y="60"/>
                  </a:lnTo>
                  <a:lnTo>
                    <a:pt x="6" y="52"/>
                  </a:lnTo>
                  <a:lnTo>
                    <a:pt x="6" y="52"/>
                  </a:lnTo>
                  <a:lnTo>
                    <a:pt x="7" y="39"/>
                  </a:lnTo>
                  <a:lnTo>
                    <a:pt x="10" y="27"/>
                  </a:lnTo>
                  <a:lnTo>
                    <a:pt x="16" y="19"/>
                  </a:lnTo>
                  <a:lnTo>
                    <a:pt x="24" y="10"/>
                  </a:lnTo>
                  <a:lnTo>
                    <a:pt x="24" y="10"/>
                  </a:lnTo>
                  <a:lnTo>
                    <a:pt x="28" y="8"/>
                  </a:lnTo>
                  <a:lnTo>
                    <a:pt x="33" y="5"/>
                  </a:lnTo>
                  <a:lnTo>
                    <a:pt x="44" y="2"/>
                  </a:lnTo>
                  <a:lnTo>
                    <a:pt x="58" y="0"/>
                  </a:lnTo>
                  <a:lnTo>
                    <a:pt x="73" y="0"/>
                  </a:lnTo>
                  <a:lnTo>
                    <a:pt x="121" y="0"/>
                  </a:lnTo>
                  <a:lnTo>
                    <a:pt x="121" y="0"/>
                  </a:lnTo>
                  <a:lnTo>
                    <a:pt x="124" y="3"/>
                  </a:lnTo>
                  <a:lnTo>
                    <a:pt x="126" y="9"/>
                  </a:lnTo>
                  <a:lnTo>
                    <a:pt x="127" y="20"/>
                  </a:lnTo>
                  <a:lnTo>
                    <a:pt x="126" y="33"/>
                  </a:lnTo>
                  <a:lnTo>
                    <a:pt x="124" y="39"/>
                  </a:lnTo>
                  <a:lnTo>
                    <a:pt x="121" y="42"/>
                  </a:lnTo>
                  <a:lnTo>
                    <a:pt x="79" y="42"/>
                  </a:lnTo>
                  <a:lnTo>
                    <a:pt x="79" y="42"/>
                  </a:lnTo>
                  <a:lnTo>
                    <a:pt x="66" y="42"/>
                  </a:lnTo>
                  <a:lnTo>
                    <a:pt x="54" y="43"/>
                  </a:lnTo>
                  <a:lnTo>
                    <a:pt x="50" y="45"/>
                  </a:lnTo>
                  <a:lnTo>
                    <a:pt x="47" y="46"/>
                  </a:lnTo>
                  <a:lnTo>
                    <a:pt x="46" y="49"/>
                  </a:lnTo>
                  <a:lnTo>
                    <a:pt x="44" y="53"/>
                  </a:lnTo>
                  <a:lnTo>
                    <a:pt x="44" y="53"/>
                  </a:lnTo>
                  <a:lnTo>
                    <a:pt x="46" y="59"/>
                  </a:lnTo>
                  <a:lnTo>
                    <a:pt x="51" y="63"/>
                  </a:lnTo>
                  <a:lnTo>
                    <a:pt x="57" y="69"/>
                  </a:lnTo>
                  <a:lnTo>
                    <a:pt x="64" y="72"/>
                  </a:lnTo>
                  <a:lnTo>
                    <a:pt x="79" y="79"/>
                  </a:lnTo>
                  <a:lnTo>
                    <a:pt x="86" y="80"/>
                  </a:lnTo>
                  <a:lnTo>
                    <a:pt x="86" y="80"/>
                  </a:lnTo>
                  <a:lnTo>
                    <a:pt x="109" y="89"/>
                  </a:lnTo>
                  <a:lnTo>
                    <a:pt x="116" y="93"/>
                  </a:lnTo>
                  <a:lnTo>
                    <a:pt x="121" y="99"/>
                  </a:lnTo>
                  <a:lnTo>
                    <a:pt x="121" y="99"/>
                  </a:lnTo>
                  <a:lnTo>
                    <a:pt x="127" y="104"/>
                  </a:lnTo>
                  <a:lnTo>
                    <a:pt x="130" y="113"/>
                  </a:lnTo>
                  <a:lnTo>
                    <a:pt x="133" y="122"/>
                  </a:lnTo>
                  <a:lnTo>
                    <a:pt x="133" y="132"/>
                  </a:lnTo>
                  <a:lnTo>
                    <a:pt x="133" y="132"/>
                  </a:lnTo>
                  <a:lnTo>
                    <a:pt x="131" y="143"/>
                  </a:lnTo>
                  <a:lnTo>
                    <a:pt x="129" y="154"/>
                  </a:lnTo>
                  <a:lnTo>
                    <a:pt x="123" y="164"/>
                  </a:lnTo>
                  <a:lnTo>
                    <a:pt x="114" y="173"/>
                  </a:lnTo>
                  <a:lnTo>
                    <a:pt x="114" y="173"/>
                  </a:lnTo>
                  <a:lnTo>
                    <a:pt x="104" y="180"/>
                  </a:lnTo>
                  <a:lnTo>
                    <a:pt x="94" y="184"/>
                  </a:lnTo>
                  <a:lnTo>
                    <a:pt x="83" y="187"/>
                  </a:lnTo>
                  <a:lnTo>
                    <a:pt x="69" y="187"/>
                  </a:lnTo>
                  <a:lnTo>
                    <a:pt x="6" y="18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77" name="Line 28"/>
            <p:cNvSpPr>
              <a:spLocks noChangeShapeType="1"/>
            </p:cNvSpPr>
            <p:nvPr userDrawn="1"/>
          </p:nvSpPr>
          <p:spPr bwMode="auto">
            <a:xfrm>
              <a:off x="5565" y="779"/>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78" name="Freeform 29"/>
            <p:cNvSpPr>
              <a:spLocks noEditPoints="1"/>
            </p:cNvSpPr>
            <p:nvPr userDrawn="1"/>
          </p:nvSpPr>
          <p:spPr bwMode="auto">
            <a:xfrm>
              <a:off x="5671" y="717"/>
              <a:ext cx="80" cy="63"/>
            </a:xfrm>
            <a:custGeom>
              <a:avLst/>
              <a:gdLst>
                <a:gd name="T0" fmla="*/ 0 w 242"/>
                <a:gd name="T1" fmla="*/ 0 h 191"/>
                <a:gd name="T2" fmla="*/ 198 w 242"/>
                <a:gd name="T3" fmla="*/ 0 h 191"/>
                <a:gd name="T4" fmla="*/ 218 w 242"/>
                <a:gd name="T5" fmla="*/ 3 h 191"/>
                <a:gd name="T6" fmla="*/ 231 w 242"/>
                <a:gd name="T7" fmla="*/ 12 h 191"/>
                <a:gd name="T8" fmla="*/ 239 w 242"/>
                <a:gd name="T9" fmla="*/ 27 h 191"/>
                <a:gd name="T10" fmla="*/ 242 w 242"/>
                <a:gd name="T11" fmla="*/ 52 h 191"/>
                <a:gd name="T12" fmla="*/ 242 w 242"/>
                <a:gd name="T13" fmla="*/ 186 h 191"/>
                <a:gd name="T14" fmla="*/ 234 w 242"/>
                <a:gd name="T15" fmla="*/ 190 h 191"/>
                <a:gd name="T16" fmla="*/ 221 w 242"/>
                <a:gd name="T17" fmla="*/ 191 h 191"/>
                <a:gd name="T18" fmla="*/ 209 w 242"/>
                <a:gd name="T19" fmla="*/ 190 h 191"/>
                <a:gd name="T20" fmla="*/ 201 w 242"/>
                <a:gd name="T21" fmla="*/ 186 h 191"/>
                <a:gd name="T22" fmla="*/ 201 w 242"/>
                <a:gd name="T23" fmla="*/ 66 h 191"/>
                <a:gd name="T24" fmla="*/ 198 w 242"/>
                <a:gd name="T25" fmla="*/ 55 h 191"/>
                <a:gd name="T26" fmla="*/ 191 w 242"/>
                <a:gd name="T27" fmla="*/ 46 h 191"/>
                <a:gd name="T28" fmla="*/ 182 w 242"/>
                <a:gd name="T29" fmla="*/ 42 h 191"/>
                <a:gd name="T30" fmla="*/ 161 w 242"/>
                <a:gd name="T31" fmla="*/ 40 h 191"/>
                <a:gd name="T32" fmla="*/ 142 w 242"/>
                <a:gd name="T33" fmla="*/ 43 h 191"/>
                <a:gd name="T34" fmla="*/ 142 w 242"/>
                <a:gd name="T35" fmla="*/ 186 h 191"/>
                <a:gd name="T36" fmla="*/ 133 w 242"/>
                <a:gd name="T37" fmla="*/ 190 h 191"/>
                <a:gd name="T38" fmla="*/ 122 w 242"/>
                <a:gd name="T39" fmla="*/ 191 h 191"/>
                <a:gd name="T40" fmla="*/ 109 w 242"/>
                <a:gd name="T41" fmla="*/ 190 h 191"/>
                <a:gd name="T42" fmla="*/ 101 w 242"/>
                <a:gd name="T43" fmla="*/ 186 h 191"/>
                <a:gd name="T44" fmla="*/ 101 w 242"/>
                <a:gd name="T45" fmla="*/ 67 h 191"/>
                <a:gd name="T46" fmla="*/ 98 w 242"/>
                <a:gd name="T47" fmla="*/ 55 h 191"/>
                <a:gd name="T48" fmla="*/ 92 w 242"/>
                <a:gd name="T49" fmla="*/ 46 h 191"/>
                <a:gd name="T50" fmla="*/ 82 w 242"/>
                <a:gd name="T51" fmla="*/ 42 h 191"/>
                <a:gd name="T52" fmla="*/ 60 w 242"/>
                <a:gd name="T53" fmla="*/ 40 h 191"/>
                <a:gd name="T54" fmla="*/ 43 w 242"/>
                <a:gd name="T55" fmla="*/ 43 h 191"/>
                <a:gd name="T56" fmla="*/ 43 w 242"/>
                <a:gd name="T57" fmla="*/ 186 h 191"/>
                <a:gd name="T58" fmla="*/ 33 w 242"/>
                <a:gd name="T59" fmla="*/ 190 h 191"/>
                <a:gd name="T60" fmla="*/ 22 w 242"/>
                <a:gd name="T61" fmla="*/ 191 h 191"/>
                <a:gd name="T62" fmla="*/ 9 w 242"/>
                <a:gd name="T63" fmla="*/ 190 h 191"/>
                <a:gd name="T64" fmla="*/ 0 w 242"/>
                <a:gd name="T65" fmla="*/ 186 h 191"/>
                <a:gd name="T66" fmla="*/ 0 w 242"/>
                <a:gd name="T67" fmla="*/ 186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42" h="191">
                  <a:moveTo>
                    <a:pt x="0" y="186"/>
                  </a:moveTo>
                  <a:lnTo>
                    <a:pt x="0" y="0"/>
                  </a:lnTo>
                  <a:lnTo>
                    <a:pt x="198" y="0"/>
                  </a:lnTo>
                  <a:lnTo>
                    <a:pt x="198" y="0"/>
                  </a:lnTo>
                  <a:lnTo>
                    <a:pt x="208" y="0"/>
                  </a:lnTo>
                  <a:lnTo>
                    <a:pt x="218" y="3"/>
                  </a:lnTo>
                  <a:lnTo>
                    <a:pt x="225" y="6"/>
                  </a:lnTo>
                  <a:lnTo>
                    <a:pt x="231" y="12"/>
                  </a:lnTo>
                  <a:lnTo>
                    <a:pt x="237" y="19"/>
                  </a:lnTo>
                  <a:lnTo>
                    <a:pt x="239" y="27"/>
                  </a:lnTo>
                  <a:lnTo>
                    <a:pt x="242" y="39"/>
                  </a:lnTo>
                  <a:lnTo>
                    <a:pt x="242" y="52"/>
                  </a:lnTo>
                  <a:lnTo>
                    <a:pt x="242" y="186"/>
                  </a:lnTo>
                  <a:lnTo>
                    <a:pt x="242" y="186"/>
                  </a:lnTo>
                  <a:lnTo>
                    <a:pt x="239" y="189"/>
                  </a:lnTo>
                  <a:lnTo>
                    <a:pt x="234" y="190"/>
                  </a:lnTo>
                  <a:lnTo>
                    <a:pt x="228" y="191"/>
                  </a:lnTo>
                  <a:lnTo>
                    <a:pt x="221" y="191"/>
                  </a:lnTo>
                  <a:lnTo>
                    <a:pt x="215" y="191"/>
                  </a:lnTo>
                  <a:lnTo>
                    <a:pt x="209" y="190"/>
                  </a:lnTo>
                  <a:lnTo>
                    <a:pt x="204" y="189"/>
                  </a:lnTo>
                  <a:lnTo>
                    <a:pt x="201" y="186"/>
                  </a:lnTo>
                  <a:lnTo>
                    <a:pt x="201" y="66"/>
                  </a:lnTo>
                  <a:lnTo>
                    <a:pt x="201" y="66"/>
                  </a:lnTo>
                  <a:lnTo>
                    <a:pt x="199" y="60"/>
                  </a:lnTo>
                  <a:lnTo>
                    <a:pt x="198" y="55"/>
                  </a:lnTo>
                  <a:lnTo>
                    <a:pt x="195" y="50"/>
                  </a:lnTo>
                  <a:lnTo>
                    <a:pt x="191" y="46"/>
                  </a:lnTo>
                  <a:lnTo>
                    <a:pt x="186" y="43"/>
                  </a:lnTo>
                  <a:lnTo>
                    <a:pt x="182" y="42"/>
                  </a:lnTo>
                  <a:lnTo>
                    <a:pt x="171" y="40"/>
                  </a:lnTo>
                  <a:lnTo>
                    <a:pt x="161" y="40"/>
                  </a:lnTo>
                  <a:lnTo>
                    <a:pt x="152" y="40"/>
                  </a:lnTo>
                  <a:lnTo>
                    <a:pt x="142" y="43"/>
                  </a:lnTo>
                  <a:lnTo>
                    <a:pt x="142" y="186"/>
                  </a:lnTo>
                  <a:lnTo>
                    <a:pt x="142" y="186"/>
                  </a:lnTo>
                  <a:lnTo>
                    <a:pt x="139" y="189"/>
                  </a:lnTo>
                  <a:lnTo>
                    <a:pt x="133" y="190"/>
                  </a:lnTo>
                  <a:lnTo>
                    <a:pt x="128" y="191"/>
                  </a:lnTo>
                  <a:lnTo>
                    <a:pt x="122" y="191"/>
                  </a:lnTo>
                  <a:lnTo>
                    <a:pt x="115" y="191"/>
                  </a:lnTo>
                  <a:lnTo>
                    <a:pt x="109" y="190"/>
                  </a:lnTo>
                  <a:lnTo>
                    <a:pt x="103" y="189"/>
                  </a:lnTo>
                  <a:lnTo>
                    <a:pt x="101" y="186"/>
                  </a:lnTo>
                  <a:lnTo>
                    <a:pt x="101" y="67"/>
                  </a:lnTo>
                  <a:lnTo>
                    <a:pt x="101" y="67"/>
                  </a:lnTo>
                  <a:lnTo>
                    <a:pt x="99" y="60"/>
                  </a:lnTo>
                  <a:lnTo>
                    <a:pt x="98" y="55"/>
                  </a:lnTo>
                  <a:lnTo>
                    <a:pt x="95" y="50"/>
                  </a:lnTo>
                  <a:lnTo>
                    <a:pt x="92" y="46"/>
                  </a:lnTo>
                  <a:lnTo>
                    <a:pt x="88" y="43"/>
                  </a:lnTo>
                  <a:lnTo>
                    <a:pt x="82" y="42"/>
                  </a:lnTo>
                  <a:lnTo>
                    <a:pt x="72" y="40"/>
                  </a:lnTo>
                  <a:lnTo>
                    <a:pt x="60" y="40"/>
                  </a:lnTo>
                  <a:lnTo>
                    <a:pt x="52" y="40"/>
                  </a:lnTo>
                  <a:lnTo>
                    <a:pt x="43" y="43"/>
                  </a:lnTo>
                  <a:lnTo>
                    <a:pt x="43" y="186"/>
                  </a:lnTo>
                  <a:lnTo>
                    <a:pt x="43" y="186"/>
                  </a:lnTo>
                  <a:lnTo>
                    <a:pt x="39" y="189"/>
                  </a:lnTo>
                  <a:lnTo>
                    <a:pt x="33" y="190"/>
                  </a:lnTo>
                  <a:lnTo>
                    <a:pt x="28" y="191"/>
                  </a:lnTo>
                  <a:lnTo>
                    <a:pt x="22" y="191"/>
                  </a:lnTo>
                  <a:lnTo>
                    <a:pt x="15" y="191"/>
                  </a:lnTo>
                  <a:lnTo>
                    <a:pt x="9" y="190"/>
                  </a:lnTo>
                  <a:lnTo>
                    <a:pt x="5" y="189"/>
                  </a:lnTo>
                  <a:lnTo>
                    <a:pt x="0" y="186"/>
                  </a:lnTo>
                  <a:lnTo>
                    <a:pt x="0" y="186"/>
                  </a:lnTo>
                  <a:close/>
                  <a:moveTo>
                    <a:pt x="0" y="186"/>
                  </a:moveTo>
                  <a:lnTo>
                    <a:pt x="0" y="18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79" name="Freeform 30"/>
            <p:cNvSpPr>
              <a:spLocks/>
            </p:cNvSpPr>
            <p:nvPr userDrawn="1"/>
          </p:nvSpPr>
          <p:spPr bwMode="auto">
            <a:xfrm>
              <a:off x="5671" y="717"/>
              <a:ext cx="80" cy="63"/>
            </a:xfrm>
            <a:custGeom>
              <a:avLst/>
              <a:gdLst>
                <a:gd name="T0" fmla="*/ 0 w 242"/>
                <a:gd name="T1" fmla="*/ 0 h 191"/>
                <a:gd name="T2" fmla="*/ 198 w 242"/>
                <a:gd name="T3" fmla="*/ 0 h 191"/>
                <a:gd name="T4" fmla="*/ 218 w 242"/>
                <a:gd name="T5" fmla="*/ 3 h 191"/>
                <a:gd name="T6" fmla="*/ 231 w 242"/>
                <a:gd name="T7" fmla="*/ 12 h 191"/>
                <a:gd name="T8" fmla="*/ 239 w 242"/>
                <a:gd name="T9" fmla="*/ 27 h 191"/>
                <a:gd name="T10" fmla="*/ 242 w 242"/>
                <a:gd name="T11" fmla="*/ 52 h 191"/>
                <a:gd name="T12" fmla="*/ 242 w 242"/>
                <a:gd name="T13" fmla="*/ 186 h 191"/>
                <a:gd name="T14" fmla="*/ 234 w 242"/>
                <a:gd name="T15" fmla="*/ 190 h 191"/>
                <a:gd name="T16" fmla="*/ 221 w 242"/>
                <a:gd name="T17" fmla="*/ 191 h 191"/>
                <a:gd name="T18" fmla="*/ 209 w 242"/>
                <a:gd name="T19" fmla="*/ 190 h 191"/>
                <a:gd name="T20" fmla="*/ 201 w 242"/>
                <a:gd name="T21" fmla="*/ 186 h 191"/>
                <a:gd name="T22" fmla="*/ 201 w 242"/>
                <a:gd name="T23" fmla="*/ 66 h 191"/>
                <a:gd name="T24" fmla="*/ 198 w 242"/>
                <a:gd name="T25" fmla="*/ 55 h 191"/>
                <a:gd name="T26" fmla="*/ 191 w 242"/>
                <a:gd name="T27" fmla="*/ 46 h 191"/>
                <a:gd name="T28" fmla="*/ 182 w 242"/>
                <a:gd name="T29" fmla="*/ 42 h 191"/>
                <a:gd name="T30" fmla="*/ 161 w 242"/>
                <a:gd name="T31" fmla="*/ 40 h 191"/>
                <a:gd name="T32" fmla="*/ 142 w 242"/>
                <a:gd name="T33" fmla="*/ 43 h 191"/>
                <a:gd name="T34" fmla="*/ 142 w 242"/>
                <a:gd name="T35" fmla="*/ 186 h 191"/>
                <a:gd name="T36" fmla="*/ 133 w 242"/>
                <a:gd name="T37" fmla="*/ 190 h 191"/>
                <a:gd name="T38" fmla="*/ 122 w 242"/>
                <a:gd name="T39" fmla="*/ 191 h 191"/>
                <a:gd name="T40" fmla="*/ 109 w 242"/>
                <a:gd name="T41" fmla="*/ 190 h 191"/>
                <a:gd name="T42" fmla="*/ 101 w 242"/>
                <a:gd name="T43" fmla="*/ 186 h 191"/>
                <a:gd name="T44" fmla="*/ 101 w 242"/>
                <a:gd name="T45" fmla="*/ 67 h 191"/>
                <a:gd name="T46" fmla="*/ 98 w 242"/>
                <a:gd name="T47" fmla="*/ 55 h 191"/>
                <a:gd name="T48" fmla="*/ 92 w 242"/>
                <a:gd name="T49" fmla="*/ 46 h 191"/>
                <a:gd name="T50" fmla="*/ 82 w 242"/>
                <a:gd name="T51" fmla="*/ 42 h 191"/>
                <a:gd name="T52" fmla="*/ 60 w 242"/>
                <a:gd name="T53" fmla="*/ 40 h 191"/>
                <a:gd name="T54" fmla="*/ 43 w 242"/>
                <a:gd name="T55" fmla="*/ 43 h 191"/>
                <a:gd name="T56" fmla="*/ 43 w 242"/>
                <a:gd name="T57" fmla="*/ 186 h 191"/>
                <a:gd name="T58" fmla="*/ 33 w 242"/>
                <a:gd name="T59" fmla="*/ 190 h 191"/>
                <a:gd name="T60" fmla="*/ 22 w 242"/>
                <a:gd name="T61" fmla="*/ 191 h 191"/>
                <a:gd name="T62" fmla="*/ 9 w 242"/>
                <a:gd name="T63" fmla="*/ 190 h 191"/>
                <a:gd name="T64" fmla="*/ 0 w 242"/>
                <a:gd name="T65" fmla="*/ 186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2" h="191">
                  <a:moveTo>
                    <a:pt x="0" y="186"/>
                  </a:moveTo>
                  <a:lnTo>
                    <a:pt x="0" y="0"/>
                  </a:lnTo>
                  <a:lnTo>
                    <a:pt x="198" y="0"/>
                  </a:lnTo>
                  <a:lnTo>
                    <a:pt x="198" y="0"/>
                  </a:lnTo>
                  <a:lnTo>
                    <a:pt x="208" y="0"/>
                  </a:lnTo>
                  <a:lnTo>
                    <a:pt x="218" y="3"/>
                  </a:lnTo>
                  <a:lnTo>
                    <a:pt x="225" y="6"/>
                  </a:lnTo>
                  <a:lnTo>
                    <a:pt x="231" y="12"/>
                  </a:lnTo>
                  <a:lnTo>
                    <a:pt x="237" y="19"/>
                  </a:lnTo>
                  <a:lnTo>
                    <a:pt x="239" y="27"/>
                  </a:lnTo>
                  <a:lnTo>
                    <a:pt x="242" y="39"/>
                  </a:lnTo>
                  <a:lnTo>
                    <a:pt x="242" y="52"/>
                  </a:lnTo>
                  <a:lnTo>
                    <a:pt x="242" y="186"/>
                  </a:lnTo>
                  <a:lnTo>
                    <a:pt x="242" y="186"/>
                  </a:lnTo>
                  <a:lnTo>
                    <a:pt x="239" y="189"/>
                  </a:lnTo>
                  <a:lnTo>
                    <a:pt x="234" y="190"/>
                  </a:lnTo>
                  <a:lnTo>
                    <a:pt x="228" y="191"/>
                  </a:lnTo>
                  <a:lnTo>
                    <a:pt x="221" y="191"/>
                  </a:lnTo>
                  <a:lnTo>
                    <a:pt x="215" y="191"/>
                  </a:lnTo>
                  <a:lnTo>
                    <a:pt x="209" y="190"/>
                  </a:lnTo>
                  <a:lnTo>
                    <a:pt x="204" y="189"/>
                  </a:lnTo>
                  <a:lnTo>
                    <a:pt x="201" y="186"/>
                  </a:lnTo>
                  <a:lnTo>
                    <a:pt x="201" y="66"/>
                  </a:lnTo>
                  <a:lnTo>
                    <a:pt x="201" y="66"/>
                  </a:lnTo>
                  <a:lnTo>
                    <a:pt x="199" y="60"/>
                  </a:lnTo>
                  <a:lnTo>
                    <a:pt x="198" y="55"/>
                  </a:lnTo>
                  <a:lnTo>
                    <a:pt x="195" y="50"/>
                  </a:lnTo>
                  <a:lnTo>
                    <a:pt x="191" y="46"/>
                  </a:lnTo>
                  <a:lnTo>
                    <a:pt x="186" y="43"/>
                  </a:lnTo>
                  <a:lnTo>
                    <a:pt x="182" y="42"/>
                  </a:lnTo>
                  <a:lnTo>
                    <a:pt x="171" y="40"/>
                  </a:lnTo>
                  <a:lnTo>
                    <a:pt x="161" y="40"/>
                  </a:lnTo>
                  <a:lnTo>
                    <a:pt x="152" y="40"/>
                  </a:lnTo>
                  <a:lnTo>
                    <a:pt x="142" y="43"/>
                  </a:lnTo>
                  <a:lnTo>
                    <a:pt x="142" y="186"/>
                  </a:lnTo>
                  <a:lnTo>
                    <a:pt x="142" y="186"/>
                  </a:lnTo>
                  <a:lnTo>
                    <a:pt x="139" y="189"/>
                  </a:lnTo>
                  <a:lnTo>
                    <a:pt x="133" y="190"/>
                  </a:lnTo>
                  <a:lnTo>
                    <a:pt x="128" y="191"/>
                  </a:lnTo>
                  <a:lnTo>
                    <a:pt x="122" y="191"/>
                  </a:lnTo>
                  <a:lnTo>
                    <a:pt x="115" y="191"/>
                  </a:lnTo>
                  <a:lnTo>
                    <a:pt x="109" y="190"/>
                  </a:lnTo>
                  <a:lnTo>
                    <a:pt x="103" y="189"/>
                  </a:lnTo>
                  <a:lnTo>
                    <a:pt x="101" y="186"/>
                  </a:lnTo>
                  <a:lnTo>
                    <a:pt x="101" y="67"/>
                  </a:lnTo>
                  <a:lnTo>
                    <a:pt x="101" y="67"/>
                  </a:lnTo>
                  <a:lnTo>
                    <a:pt x="99" y="60"/>
                  </a:lnTo>
                  <a:lnTo>
                    <a:pt x="98" y="55"/>
                  </a:lnTo>
                  <a:lnTo>
                    <a:pt x="95" y="50"/>
                  </a:lnTo>
                  <a:lnTo>
                    <a:pt x="92" y="46"/>
                  </a:lnTo>
                  <a:lnTo>
                    <a:pt x="88" y="43"/>
                  </a:lnTo>
                  <a:lnTo>
                    <a:pt x="82" y="42"/>
                  </a:lnTo>
                  <a:lnTo>
                    <a:pt x="72" y="40"/>
                  </a:lnTo>
                  <a:lnTo>
                    <a:pt x="60" y="40"/>
                  </a:lnTo>
                  <a:lnTo>
                    <a:pt x="52" y="40"/>
                  </a:lnTo>
                  <a:lnTo>
                    <a:pt x="43" y="43"/>
                  </a:lnTo>
                  <a:lnTo>
                    <a:pt x="43" y="186"/>
                  </a:lnTo>
                  <a:lnTo>
                    <a:pt x="43" y="186"/>
                  </a:lnTo>
                  <a:lnTo>
                    <a:pt x="39" y="189"/>
                  </a:lnTo>
                  <a:lnTo>
                    <a:pt x="33" y="190"/>
                  </a:lnTo>
                  <a:lnTo>
                    <a:pt x="28" y="191"/>
                  </a:lnTo>
                  <a:lnTo>
                    <a:pt x="22" y="191"/>
                  </a:lnTo>
                  <a:lnTo>
                    <a:pt x="15" y="191"/>
                  </a:lnTo>
                  <a:lnTo>
                    <a:pt x="9" y="190"/>
                  </a:lnTo>
                  <a:lnTo>
                    <a:pt x="5" y="189"/>
                  </a:lnTo>
                  <a:lnTo>
                    <a:pt x="0" y="186"/>
                  </a:lnTo>
                  <a:lnTo>
                    <a:pt x="0" y="18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80" name="Line 31"/>
            <p:cNvSpPr>
              <a:spLocks noChangeShapeType="1"/>
            </p:cNvSpPr>
            <p:nvPr userDrawn="1"/>
          </p:nvSpPr>
          <p:spPr bwMode="auto">
            <a:xfrm>
              <a:off x="5671" y="779"/>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81" name="Freeform 32"/>
            <p:cNvSpPr>
              <a:spLocks noEditPoints="1"/>
            </p:cNvSpPr>
            <p:nvPr userDrawn="1"/>
          </p:nvSpPr>
          <p:spPr bwMode="auto">
            <a:xfrm>
              <a:off x="5615" y="717"/>
              <a:ext cx="45" cy="63"/>
            </a:xfrm>
            <a:custGeom>
              <a:avLst/>
              <a:gdLst>
                <a:gd name="T0" fmla="*/ 93 w 135"/>
                <a:gd name="T1" fmla="*/ 109 h 191"/>
                <a:gd name="T2" fmla="*/ 93 w 135"/>
                <a:gd name="T3" fmla="*/ 42 h 191"/>
                <a:gd name="T4" fmla="*/ 93 w 135"/>
                <a:gd name="T5" fmla="*/ 42 h 191"/>
                <a:gd name="T6" fmla="*/ 86 w 135"/>
                <a:gd name="T7" fmla="*/ 40 h 191"/>
                <a:gd name="T8" fmla="*/ 78 w 135"/>
                <a:gd name="T9" fmla="*/ 39 h 191"/>
                <a:gd name="T10" fmla="*/ 68 w 135"/>
                <a:gd name="T11" fmla="*/ 37 h 191"/>
                <a:gd name="T12" fmla="*/ 59 w 135"/>
                <a:gd name="T13" fmla="*/ 40 h 191"/>
                <a:gd name="T14" fmla="*/ 55 w 135"/>
                <a:gd name="T15" fmla="*/ 42 h 191"/>
                <a:gd name="T16" fmla="*/ 50 w 135"/>
                <a:gd name="T17" fmla="*/ 45 h 191"/>
                <a:gd name="T18" fmla="*/ 48 w 135"/>
                <a:gd name="T19" fmla="*/ 49 h 191"/>
                <a:gd name="T20" fmla="*/ 45 w 135"/>
                <a:gd name="T21" fmla="*/ 53 h 191"/>
                <a:gd name="T22" fmla="*/ 43 w 135"/>
                <a:gd name="T23" fmla="*/ 59 h 191"/>
                <a:gd name="T24" fmla="*/ 42 w 135"/>
                <a:gd name="T25" fmla="*/ 67 h 191"/>
                <a:gd name="T26" fmla="*/ 42 w 135"/>
                <a:gd name="T27" fmla="*/ 109 h 191"/>
                <a:gd name="T28" fmla="*/ 93 w 135"/>
                <a:gd name="T29" fmla="*/ 109 h 191"/>
                <a:gd name="T30" fmla="*/ 42 w 135"/>
                <a:gd name="T31" fmla="*/ 144 h 191"/>
                <a:gd name="T32" fmla="*/ 42 w 135"/>
                <a:gd name="T33" fmla="*/ 186 h 191"/>
                <a:gd name="T34" fmla="*/ 42 w 135"/>
                <a:gd name="T35" fmla="*/ 186 h 191"/>
                <a:gd name="T36" fmla="*/ 39 w 135"/>
                <a:gd name="T37" fmla="*/ 189 h 191"/>
                <a:gd name="T38" fmla="*/ 35 w 135"/>
                <a:gd name="T39" fmla="*/ 190 h 191"/>
                <a:gd name="T40" fmla="*/ 27 w 135"/>
                <a:gd name="T41" fmla="*/ 191 h 191"/>
                <a:gd name="T42" fmla="*/ 22 w 135"/>
                <a:gd name="T43" fmla="*/ 191 h 191"/>
                <a:gd name="T44" fmla="*/ 15 w 135"/>
                <a:gd name="T45" fmla="*/ 191 h 191"/>
                <a:gd name="T46" fmla="*/ 9 w 135"/>
                <a:gd name="T47" fmla="*/ 190 h 191"/>
                <a:gd name="T48" fmla="*/ 3 w 135"/>
                <a:gd name="T49" fmla="*/ 189 h 191"/>
                <a:gd name="T50" fmla="*/ 0 w 135"/>
                <a:gd name="T51" fmla="*/ 186 h 191"/>
                <a:gd name="T52" fmla="*/ 0 w 135"/>
                <a:gd name="T53" fmla="*/ 0 h 191"/>
                <a:gd name="T54" fmla="*/ 102 w 135"/>
                <a:gd name="T55" fmla="*/ 0 h 191"/>
                <a:gd name="T56" fmla="*/ 102 w 135"/>
                <a:gd name="T57" fmla="*/ 0 h 191"/>
                <a:gd name="T58" fmla="*/ 110 w 135"/>
                <a:gd name="T59" fmla="*/ 0 h 191"/>
                <a:gd name="T60" fmla="*/ 118 w 135"/>
                <a:gd name="T61" fmla="*/ 3 h 191"/>
                <a:gd name="T62" fmla="*/ 123 w 135"/>
                <a:gd name="T63" fmla="*/ 6 h 191"/>
                <a:gd name="T64" fmla="*/ 128 w 135"/>
                <a:gd name="T65" fmla="*/ 12 h 191"/>
                <a:gd name="T66" fmla="*/ 132 w 135"/>
                <a:gd name="T67" fmla="*/ 19 h 191"/>
                <a:gd name="T68" fmla="*/ 133 w 135"/>
                <a:gd name="T69" fmla="*/ 27 h 191"/>
                <a:gd name="T70" fmla="*/ 135 w 135"/>
                <a:gd name="T71" fmla="*/ 39 h 191"/>
                <a:gd name="T72" fmla="*/ 135 w 135"/>
                <a:gd name="T73" fmla="*/ 52 h 191"/>
                <a:gd name="T74" fmla="*/ 135 w 135"/>
                <a:gd name="T75" fmla="*/ 186 h 191"/>
                <a:gd name="T76" fmla="*/ 135 w 135"/>
                <a:gd name="T77" fmla="*/ 186 h 191"/>
                <a:gd name="T78" fmla="*/ 132 w 135"/>
                <a:gd name="T79" fmla="*/ 189 h 191"/>
                <a:gd name="T80" fmla="*/ 128 w 135"/>
                <a:gd name="T81" fmla="*/ 190 h 191"/>
                <a:gd name="T82" fmla="*/ 121 w 135"/>
                <a:gd name="T83" fmla="*/ 191 h 191"/>
                <a:gd name="T84" fmla="*/ 115 w 135"/>
                <a:gd name="T85" fmla="*/ 191 h 191"/>
                <a:gd name="T86" fmla="*/ 108 w 135"/>
                <a:gd name="T87" fmla="*/ 191 h 191"/>
                <a:gd name="T88" fmla="*/ 102 w 135"/>
                <a:gd name="T89" fmla="*/ 190 h 191"/>
                <a:gd name="T90" fmla="*/ 96 w 135"/>
                <a:gd name="T91" fmla="*/ 189 h 191"/>
                <a:gd name="T92" fmla="*/ 93 w 135"/>
                <a:gd name="T93" fmla="*/ 186 h 191"/>
                <a:gd name="T94" fmla="*/ 93 w 135"/>
                <a:gd name="T95" fmla="*/ 144 h 191"/>
                <a:gd name="T96" fmla="*/ 110 w 135"/>
                <a:gd name="T97" fmla="*/ 144 h 191"/>
                <a:gd name="T98" fmla="*/ 42 w 135"/>
                <a:gd name="T99" fmla="*/ 144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35" h="191">
                  <a:moveTo>
                    <a:pt x="93" y="109"/>
                  </a:moveTo>
                  <a:lnTo>
                    <a:pt x="93" y="42"/>
                  </a:lnTo>
                  <a:lnTo>
                    <a:pt x="93" y="42"/>
                  </a:lnTo>
                  <a:lnTo>
                    <a:pt x="86" y="40"/>
                  </a:lnTo>
                  <a:lnTo>
                    <a:pt x="78" y="39"/>
                  </a:lnTo>
                  <a:lnTo>
                    <a:pt x="68" y="37"/>
                  </a:lnTo>
                  <a:lnTo>
                    <a:pt x="59" y="40"/>
                  </a:lnTo>
                  <a:lnTo>
                    <a:pt x="55" y="42"/>
                  </a:lnTo>
                  <a:lnTo>
                    <a:pt x="50" y="45"/>
                  </a:lnTo>
                  <a:lnTo>
                    <a:pt x="48" y="49"/>
                  </a:lnTo>
                  <a:lnTo>
                    <a:pt x="45" y="53"/>
                  </a:lnTo>
                  <a:lnTo>
                    <a:pt x="43" y="59"/>
                  </a:lnTo>
                  <a:lnTo>
                    <a:pt x="42" y="67"/>
                  </a:lnTo>
                  <a:lnTo>
                    <a:pt x="42" y="109"/>
                  </a:lnTo>
                  <a:lnTo>
                    <a:pt x="93" y="109"/>
                  </a:lnTo>
                  <a:close/>
                  <a:moveTo>
                    <a:pt x="42" y="144"/>
                  </a:moveTo>
                  <a:lnTo>
                    <a:pt x="42" y="186"/>
                  </a:lnTo>
                  <a:lnTo>
                    <a:pt x="42" y="186"/>
                  </a:lnTo>
                  <a:lnTo>
                    <a:pt x="39" y="189"/>
                  </a:lnTo>
                  <a:lnTo>
                    <a:pt x="35" y="190"/>
                  </a:lnTo>
                  <a:lnTo>
                    <a:pt x="27" y="191"/>
                  </a:lnTo>
                  <a:lnTo>
                    <a:pt x="22" y="191"/>
                  </a:lnTo>
                  <a:lnTo>
                    <a:pt x="15" y="191"/>
                  </a:lnTo>
                  <a:lnTo>
                    <a:pt x="9" y="190"/>
                  </a:lnTo>
                  <a:lnTo>
                    <a:pt x="3" y="189"/>
                  </a:lnTo>
                  <a:lnTo>
                    <a:pt x="0" y="186"/>
                  </a:lnTo>
                  <a:lnTo>
                    <a:pt x="0" y="0"/>
                  </a:lnTo>
                  <a:lnTo>
                    <a:pt x="102" y="0"/>
                  </a:lnTo>
                  <a:lnTo>
                    <a:pt x="102" y="0"/>
                  </a:lnTo>
                  <a:lnTo>
                    <a:pt x="110" y="0"/>
                  </a:lnTo>
                  <a:lnTo>
                    <a:pt x="118" y="3"/>
                  </a:lnTo>
                  <a:lnTo>
                    <a:pt x="123" y="6"/>
                  </a:lnTo>
                  <a:lnTo>
                    <a:pt x="128" y="12"/>
                  </a:lnTo>
                  <a:lnTo>
                    <a:pt x="132" y="19"/>
                  </a:lnTo>
                  <a:lnTo>
                    <a:pt x="133" y="27"/>
                  </a:lnTo>
                  <a:lnTo>
                    <a:pt x="135" y="39"/>
                  </a:lnTo>
                  <a:lnTo>
                    <a:pt x="135" y="52"/>
                  </a:lnTo>
                  <a:lnTo>
                    <a:pt x="135" y="186"/>
                  </a:lnTo>
                  <a:lnTo>
                    <a:pt x="135" y="186"/>
                  </a:lnTo>
                  <a:lnTo>
                    <a:pt x="132" y="189"/>
                  </a:lnTo>
                  <a:lnTo>
                    <a:pt x="128" y="190"/>
                  </a:lnTo>
                  <a:lnTo>
                    <a:pt x="121" y="191"/>
                  </a:lnTo>
                  <a:lnTo>
                    <a:pt x="115" y="191"/>
                  </a:lnTo>
                  <a:lnTo>
                    <a:pt x="108" y="191"/>
                  </a:lnTo>
                  <a:lnTo>
                    <a:pt x="102" y="190"/>
                  </a:lnTo>
                  <a:lnTo>
                    <a:pt x="96" y="189"/>
                  </a:lnTo>
                  <a:lnTo>
                    <a:pt x="93" y="186"/>
                  </a:lnTo>
                  <a:lnTo>
                    <a:pt x="93" y="144"/>
                  </a:lnTo>
                  <a:lnTo>
                    <a:pt x="110" y="144"/>
                  </a:lnTo>
                  <a:lnTo>
                    <a:pt x="42" y="14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82" name="Freeform 33"/>
            <p:cNvSpPr>
              <a:spLocks/>
            </p:cNvSpPr>
            <p:nvPr userDrawn="1"/>
          </p:nvSpPr>
          <p:spPr bwMode="auto">
            <a:xfrm>
              <a:off x="5629" y="729"/>
              <a:ext cx="17" cy="24"/>
            </a:xfrm>
            <a:custGeom>
              <a:avLst/>
              <a:gdLst>
                <a:gd name="T0" fmla="*/ 51 w 51"/>
                <a:gd name="T1" fmla="*/ 72 h 72"/>
                <a:gd name="T2" fmla="*/ 51 w 51"/>
                <a:gd name="T3" fmla="*/ 5 h 72"/>
                <a:gd name="T4" fmla="*/ 51 w 51"/>
                <a:gd name="T5" fmla="*/ 5 h 72"/>
                <a:gd name="T6" fmla="*/ 44 w 51"/>
                <a:gd name="T7" fmla="*/ 3 h 72"/>
                <a:gd name="T8" fmla="*/ 36 w 51"/>
                <a:gd name="T9" fmla="*/ 2 h 72"/>
                <a:gd name="T10" fmla="*/ 26 w 51"/>
                <a:gd name="T11" fmla="*/ 0 h 72"/>
                <a:gd name="T12" fmla="*/ 17 w 51"/>
                <a:gd name="T13" fmla="*/ 3 h 72"/>
                <a:gd name="T14" fmla="*/ 13 w 51"/>
                <a:gd name="T15" fmla="*/ 5 h 72"/>
                <a:gd name="T16" fmla="*/ 8 w 51"/>
                <a:gd name="T17" fmla="*/ 8 h 72"/>
                <a:gd name="T18" fmla="*/ 6 w 51"/>
                <a:gd name="T19" fmla="*/ 12 h 72"/>
                <a:gd name="T20" fmla="*/ 3 w 51"/>
                <a:gd name="T21" fmla="*/ 16 h 72"/>
                <a:gd name="T22" fmla="*/ 1 w 51"/>
                <a:gd name="T23" fmla="*/ 22 h 72"/>
                <a:gd name="T24" fmla="*/ 0 w 51"/>
                <a:gd name="T25" fmla="*/ 30 h 72"/>
                <a:gd name="T26" fmla="*/ 0 w 51"/>
                <a:gd name="T27"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1" h="72">
                  <a:moveTo>
                    <a:pt x="51" y="72"/>
                  </a:moveTo>
                  <a:lnTo>
                    <a:pt x="51" y="5"/>
                  </a:lnTo>
                  <a:lnTo>
                    <a:pt x="51" y="5"/>
                  </a:lnTo>
                  <a:lnTo>
                    <a:pt x="44" y="3"/>
                  </a:lnTo>
                  <a:lnTo>
                    <a:pt x="36" y="2"/>
                  </a:lnTo>
                  <a:lnTo>
                    <a:pt x="26" y="0"/>
                  </a:lnTo>
                  <a:lnTo>
                    <a:pt x="17" y="3"/>
                  </a:lnTo>
                  <a:lnTo>
                    <a:pt x="13" y="5"/>
                  </a:lnTo>
                  <a:lnTo>
                    <a:pt x="8" y="8"/>
                  </a:lnTo>
                  <a:lnTo>
                    <a:pt x="6" y="12"/>
                  </a:lnTo>
                  <a:lnTo>
                    <a:pt x="3" y="16"/>
                  </a:lnTo>
                  <a:lnTo>
                    <a:pt x="1" y="22"/>
                  </a:lnTo>
                  <a:lnTo>
                    <a:pt x="0" y="30"/>
                  </a:lnTo>
                  <a:lnTo>
                    <a:pt x="0" y="7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83" name="Freeform 34"/>
            <p:cNvSpPr>
              <a:spLocks/>
            </p:cNvSpPr>
            <p:nvPr userDrawn="1"/>
          </p:nvSpPr>
          <p:spPr bwMode="auto">
            <a:xfrm>
              <a:off x="5615" y="717"/>
              <a:ext cx="45" cy="63"/>
            </a:xfrm>
            <a:custGeom>
              <a:avLst/>
              <a:gdLst>
                <a:gd name="T0" fmla="*/ 42 w 135"/>
                <a:gd name="T1" fmla="*/ 144 h 191"/>
                <a:gd name="T2" fmla="*/ 42 w 135"/>
                <a:gd name="T3" fmla="*/ 186 h 191"/>
                <a:gd name="T4" fmla="*/ 42 w 135"/>
                <a:gd name="T5" fmla="*/ 186 h 191"/>
                <a:gd name="T6" fmla="*/ 39 w 135"/>
                <a:gd name="T7" fmla="*/ 189 h 191"/>
                <a:gd name="T8" fmla="*/ 35 w 135"/>
                <a:gd name="T9" fmla="*/ 190 h 191"/>
                <a:gd name="T10" fmla="*/ 27 w 135"/>
                <a:gd name="T11" fmla="*/ 191 h 191"/>
                <a:gd name="T12" fmla="*/ 22 w 135"/>
                <a:gd name="T13" fmla="*/ 191 h 191"/>
                <a:gd name="T14" fmla="*/ 15 w 135"/>
                <a:gd name="T15" fmla="*/ 191 h 191"/>
                <a:gd name="T16" fmla="*/ 9 w 135"/>
                <a:gd name="T17" fmla="*/ 190 h 191"/>
                <a:gd name="T18" fmla="*/ 3 w 135"/>
                <a:gd name="T19" fmla="*/ 189 h 191"/>
                <a:gd name="T20" fmla="*/ 0 w 135"/>
                <a:gd name="T21" fmla="*/ 186 h 191"/>
                <a:gd name="T22" fmla="*/ 0 w 135"/>
                <a:gd name="T23" fmla="*/ 0 h 191"/>
                <a:gd name="T24" fmla="*/ 102 w 135"/>
                <a:gd name="T25" fmla="*/ 0 h 191"/>
                <a:gd name="T26" fmla="*/ 102 w 135"/>
                <a:gd name="T27" fmla="*/ 0 h 191"/>
                <a:gd name="T28" fmla="*/ 110 w 135"/>
                <a:gd name="T29" fmla="*/ 0 h 191"/>
                <a:gd name="T30" fmla="*/ 118 w 135"/>
                <a:gd name="T31" fmla="*/ 3 h 191"/>
                <a:gd name="T32" fmla="*/ 123 w 135"/>
                <a:gd name="T33" fmla="*/ 6 h 191"/>
                <a:gd name="T34" fmla="*/ 128 w 135"/>
                <a:gd name="T35" fmla="*/ 12 h 191"/>
                <a:gd name="T36" fmla="*/ 132 w 135"/>
                <a:gd name="T37" fmla="*/ 19 h 191"/>
                <a:gd name="T38" fmla="*/ 133 w 135"/>
                <a:gd name="T39" fmla="*/ 27 h 191"/>
                <a:gd name="T40" fmla="*/ 135 w 135"/>
                <a:gd name="T41" fmla="*/ 39 h 191"/>
                <a:gd name="T42" fmla="*/ 135 w 135"/>
                <a:gd name="T43" fmla="*/ 52 h 191"/>
                <a:gd name="T44" fmla="*/ 135 w 135"/>
                <a:gd name="T45" fmla="*/ 186 h 191"/>
                <a:gd name="T46" fmla="*/ 135 w 135"/>
                <a:gd name="T47" fmla="*/ 186 h 191"/>
                <a:gd name="T48" fmla="*/ 132 w 135"/>
                <a:gd name="T49" fmla="*/ 189 h 191"/>
                <a:gd name="T50" fmla="*/ 128 w 135"/>
                <a:gd name="T51" fmla="*/ 190 h 191"/>
                <a:gd name="T52" fmla="*/ 121 w 135"/>
                <a:gd name="T53" fmla="*/ 191 h 191"/>
                <a:gd name="T54" fmla="*/ 115 w 135"/>
                <a:gd name="T55" fmla="*/ 191 h 191"/>
                <a:gd name="T56" fmla="*/ 108 w 135"/>
                <a:gd name="T57" fmla="*/ 191 h 191"/>
                <a:gd name="T58" fmla="*/ 102 w 135"/>
                <a:gd name="T59" fmla="*/ 190 h 191"/>
                <a:gd name="T60" fmla="*/ 96 w 135"/>
                <a:gd name="T61" fmla="*/ 189 h 191"/>
                <a:gd name="T62" fmla="*/ 93 w 135"/>
                <a:gd name="T63" fmla="*/ 186 h 191"/>
                <a:gd name="T64" fmla="*/ 93 w 135"/>
                <a:gd name="T65" fmla="*/ 144 h 191"/>
                <a:gd name="T66" fmla="*/ 110 w 135"/>
                <a:gd name="T67" fmla="*/ 144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5" h="191">
                  <a:moveTo>
                    <a:pt x="42" y="144"/>
                  </a:moveTo>
                  <a:lnTo>
                    <a:pt x="42" y="186"/>
                  </a:lnTo>
                  <a:lnTo>
                    <a:pt x="42" y="186"/>
                  </a:lnTo>
                  <a:lnTo>
                    <a:pt x="39" y="189"/>
                  </a:lnTo>
                  <a:lnTo>
                    <a:pt x="35" y="190"/>
                  </a:lnTo>
                  <a:lnTo>
                    <a:pt x="27" y="191"/>
                  </a:lnTo>
                  <a:lnTo>
                    <a:pt x="22" y="191"/>
                  </a:lnTo>
                  <a:lnTo>
                    <a:pt x="15" y="191"/>
                  </a:lnTo>
                  <a:lnTo>
                    <a:pt x="9" y="190"/>
                  </a:lnTo>
                  <a:lnTo>
                    <a:pt x="3" y="189"/>
                  </a:lnTo>
                  <a:lnTo>
                    <a:pt x="0" y="186"/>
                  </a:lnTo>
                  <a:lnTo>
                    <a:pt x="0" y="0"/>
                  </a:lnTo>
                  <a:lnTo>
                    <a:pt x="102" y="0"/>
                  </a:lnTo>
                  <a:lnTo>
                    <a:pt x="102" y="0"/>
                  </a:lnTo>
                  <a:lnTo>
                    <a:pt x="110" y="0"/>
                  </a:lnTo>
                  <a:lnTo>
                    <a:pt x="118" y="3"/>
                  </a:lnTo>
                  <a:lnTo>
                    <a:pt x="123" y="6"/>
                  </a:lnTo>
                  <a:lnTo>
                    <a:pt x="128" y="12"/>
                  </a:lnTo>
                  <a:lnTo>
                    <a:pt x="132" y="19"/>
                  </a:lnTo>
                  <a:lnTo>
                    <a:pt x="133" y="27"/>
                  </a:lnTo>
                  <a:lnTo>
                    <a:pt x="135" y="39"/>
                  </a:lnTo>
                  <a:lnTo>
                    <a:pt x="135" y="52"/>
                  </a:lnTo>
                  <a:lnTo>
                    <a:pt x="135" y="186"/>
                  </a:lnTo>
                  <a:lnTo>
                    <a:pt x="135" y="186"/>
                  </a:lnTo>
                  <a:lnTo>
                    <a:pt x="132" y="189"/>
                  </a:lnTo>
                  <a:lnTo>
                    <a:pt x="128" y="190"/>
                  </a:lnTo>
                  <a:lnTo>
                    <a:pt x="121" y="191"/>
                  </a:lnTo>
                  <a:lnTo>
                    <a:pt x="115" y="191"/>
                  </a:lnTo>
                  <a:lnTo>
                    <a:pt x="108" y="191"/>
                  </a:lnTo>
                  <a:lnTo>
                    <a:pt x="102" y="190"/>
                  </a:lnTo>
                  <a:lnTo>
                    <a:pt x="96" y="189"/>
                  </a:lnTo>
                  <a:lnTo>
                    <a:pt x="93" y="186"/>
                  </a:lnTo>
                  <a:lnTo>
                    <a:pt x="93" y="144"/>
                  </a:lnTo>
                  <a:lnTo>
                    <a:pt x="110" y="14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sp>
        <p:nvSpPr>
          <p:cNvPr id="117" name="Textfeld 116"/>
          <p:cNvSpPr txBox="1"/>
          <p:nvPr userDrawn="1"/>
        </p:nvSpPr>
        <p:spPr>
          <a:xfrm>
            <a:off x="10029282" y="1249779"/>
            <a:ext cx="1320124" cy="461665"/>
          </a:xfrm>
          <a:prstGeom prst="rect">
            <a:avLst/>
          </a:prstGeom>
          <a:noFill/>
        </p:spPr>
        <p:txBody>
          <a:bodyPr wrap="square" rtlCol="0">
            <a:spAutoFit/>
          </a:bodyPr>
          <a:lstStyle/>
          <a:p>
            <a:pPr algn="l">
              <a:lnSpc>
                <a:spcPct val="100000"/>
              </a:lnSpc>
              <a:spcAft>
                <a:spcPts val="167"/>
              </a:spcAft>
            </a:pPr>
            <a:r>
              <a:rPr lang="de-DE" sz="600" b="0" spc="0" baseline="0" dirty="0">
                <a:solidFill>
                  <a:schemeClr val="tx1"/>
                </a:solidFill>
                <a:latin typeface="+mj-lt"/>
              </a:rPr>
              <a:t>FACHGEBIET SYSTEMZUVERLÄSSIGKEIT, ADAPTRONIK UND MASCHINENAKUSTIK</a:t>
            </a:r>
          </a:p>
        </p:txBody>
      </p:sp>
      <p:pic>
        <p:nvPicPr>
          <p:cNvPr id="49" name="Picture 5"/>
          <p:cNvPicPr>
            <a:picLocks/>
          </p:cNvPicPr>
          <p:nvPr userDrawn="1"/>
        </p:nvPicPr>
        <p:blipFill>
          <a:blip r:embed="rId9" cstate="print">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a:xfrm flipH="1">
            <a:off x="680913" y="2604700"/>
            <a:ext cx="4407215" cy="2925377"/>
          </a:xfrm>
          <a:prstGeom prst="rect">
            <a:avLst/>
          </a:prstGeom>
          <a:noFill/>
          <a:ln w="19050">
            <a:noFill/>
            <a:miter lim="800000"/>
            <a:headEnd/>
            <a:tailEnd/>
          </a:ln>
          <a:effectLst/>
        </p:spPr>
      </p:pic>
      <p:pic>
        <p:nvPicPr>
          <p:cNvPr id="2" name="Grafik 1"/>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1170428" y="2364229"/>
            <a:ext cx="4177800" cy="3178055"/>
          </a:xfrm>
          <a:prstGeom prst="rect">
            <a:avLst/>
          </a:prstGeom>
        </p:spPr>
      </p:pic>
    </p:spTree>
    <p:extLst>
      <p:ext uri="{BB962C8B-B14F-4D97-AF65-F5344CB8AC3E}">
        <p14:creationId xmlns:p14="http://schemas.microsoft.com/office/powerpoint/2010/main" val="813033290"/>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7_Titelfolie">
    <p:spTree>
      <p:nvGrpSpPr>
        <p:cNvPr id="1" name=""/>
        <p:cNvGrpSpPr/>
        <p:nvPr/>
      </p:nvGrpSpPr>
      <p:grpSpPr>
        <a:xfrm>
          <a:off x="0" y="0"/>
          <a:ext cx="0" cy="0"/>
          <a:chOff x="0" y="0"/>
          <a:chExt cx="0" cy="0"/>
        </a:xfrm>
      </p:grpSpPr>
      <p:sp>
        <p:nvSpPr>
          <p:cNvPr id="14" name="Rechteck 13"/>
          <p:cNvSpPr/>
          <p:nvPr/>
        </p:nvSpPr>
        <p:spPr>
          <a:xfrm>
            <a:off x="87" y="5141"/>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sp>
        <p:nvSpPr>
          <p:cNvPr id="12" name="Titel 11"/>
          <p:cNvSpPr>
            <a:spLocks noGrp="1"/>
          </p:cNvSpPr>
          <p:nvPr>
            <p:ph type="title" hasCustomPrompt="1"/>
          </p:nvPr>
        </p:nvSpPr>
        <p:spPr>
          <a:xfrm>
            <a:off x="672001" y="480000"/>
            <a:ext cx="9120000" cy="480000"/>
          </a:xfrm>
        </p:spPr>
        <p:txBody>
          <a:bodyPr/>
          <a:lstStyle>
            <a:lvl1pPr>
              <a:defRPr sz="3200">
                <a:solidFill>
                  <a:schemeClr val="tx2"/>
                </a:solidFill>
              </a:defRPr>
            </a:lvl1pPr>
          </a:lstStyle>
          <a:p>
            <a:r>
              <a:rPr lang="de-DE" dirty="0"/>
              <a:t>TITELMASTERFORMAT DURCH KLICKEN</a:t>
            </a:r>
          </a:p>
        </p:txBody>
      </p:sp>
      <p:pic>
        <p:nvPicPr>
          <p:cNvPr id="15" name="Bild 1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76262" y="5747403"/>
            <a:ext cx="11192933" cy="609600"/>
          </a:xfrm>
          <a:prstGeom prst="rect">
            <a:avLst/>
          </a:prstGeom>
        </p:spPr>
      </p:pic>
      <p:sp>
        <p:nvSpPr>
          <p:cNvPr id="9" name="Titel 2"/>
          <p:cNvSpPr txBox="1">
            <a:spLocks/>
          </p:cNvSpPr>
          <p:nvPr/>
        </p:nvSpPr>
        <p:spPr bwMode="auto">
          <a:xfrm>
            <a:off x="2596318" y="5384375"/>
            <a:ext cx="1812295" cy="1117600"/>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lvl1pPr algn="l" rtl="0" eaLnBrk="1" fontAlgn="base" hangingPunct="1">
              <a:spcBef>
                <a:spcPct val="0"/>
              </a:spcBef>
              <a:spcAft>
                <a:spcPct val="0"/>
              </a:spcAft>
              <a:defRPr sz="2800" b="1" i="0">
                <a:solidFill>
                  <a:srgbClr val="FDCA00"/>
                </a:solidFill>
                <a:latin typeface="+mj-lt"/>
                <a:ea typeface="Verdana" charset="0"/>
                <a:cs typeface="Verdana" charset="0"/>
              </a:defRPr>
            </a:lvl1pPr>
            <a:lvl2pPr algn="l" rtl="0" eaLnBrk="1" fontAlgn="base" hangingPunct="1">
              <a:spcBef>
                <a:spcPct val="0"/>
              </a:spcBef>
              <a:spcAft>
                <a:spcPct val="0"/>
              </a:spcAft>
              <a:defRPr sz="2400" b="1">
                <a:solidFill>
                  <a:schemeClr val="tx1"/>
                </a:solidFill>
                <a:latin typeface="Arial" charset="0"/>
              </a:defRPr>
            </a:lvl2pPr>
            <a:lvl3pPr algn="l" rtl="0" eaLnBrk="1" fontAlgn="base" hangingPunct="1">
              <a:spcBef>
                <a:spcPct val="0"/>
              </a:spcBef>
              <a:spcAft>
                <a:spcPct val="0"/>
              </a:spcAft>
              <a:defRPr sz="2400" b="1">
                <a:solidFill>
                  <a:schemeClr val="tx1"/>
                </a:solidFill>
                <a:latin typeface="Arial" charset="0"/>
              </a:defRPr>
            </a:lvl3pPr>
            <a:lvl4pPr algn="l" rtl="0" eaLnBrk="1" fontAlgn="base" hangingPunct="1">
              <a:spcBef>
                <a:spcPct val="0"/>
              </a:spcBef>
              <a:spcAft>
                <a:spcPct val="0"/>
              </a:spcAft>
              <a:defRPr sz="2400" b="1">
                <a:solidFill>
                  <a:schemeClr val="tx1"/>
                </a:solidFill>
                <a:latin typeface="Arial" charset="0"/>
              </a:defRPr>
            </a:lvl4pPr>
            <a:lvl5pPr algn="l" rtl="0" eaLnBrk="1" fontAlgn="base" hangingPunct="1">
              <a:spcBef>
                <a:spcPct val="0"/>
              </a:spcBef>
              <a:spcAft>
                <a:spcPct val="0"/>
              </a:spcAft>
              <a:defRPr sz="2400" b="1">
                <a:solidFill>
                  <a:schemeClr val="tx1"/>
                </a:solidFill>
                <a:latin typeface="Arial" charset="0"/>
              </a:defRPr>
            </a:lvl5pPr>
            <a:lvl6pPr marL="457200" algn="l" rtl="0" eaLnBrk="1" fontAlgn="base" hangingPunct="1">
              <a:spcBef>
                <a:spcPct val="0"/>
              </a:spcBef>
              <a:spcAft>
                <a:spcPct val="0"/>
              </a:spcAft>
              <a:defRPr sz="2400" b="1">
                <a:solidFill>
                  <a:schemeClr val="tx1"/>
                </a:solidFill>
                <a:latin typeface="Arial" charset="0"/>
              </a:defRPr>
            </a:lvl6pPr>
            <a:lvl7pPr marL="914400" algn="l" rtl="0" eaLnBrk="1" fontAlgn="base" hangingPunct="1">
              <a:spcBef>
                <a:spcPct val="0"/>
              </a:spcBef>
              <a:spcAft>
                <a:spcPct val="0"/>
              </a:spcAft>
              <a:defRPr sz="2400" b="1">
                <a:solidFill>
                  <a:schemeClr val="tx1"/>
                </a:solidFill>
                <a:latin typeface="Arial" charset="0"/>
              </a:defRPr>
            </a:lvl7pPr>
            <a:lvl8pPr marL="1371600" algn="l" rtl="0" eaLnBrk="1" fontAlgn="base" hangingPunct="1">
              <a:spcBef>
                <a:spcPct val="0"/>
              </a:spcBef>
              <a:spcAft>
                <a:spcPct val="0"/>
              </a:spcAft>
              <a:defRPr sz="2400" b="1">
                <a:solidFill>
                  <a:schemeClr val="tx1"/>
                </a:solidFill>
                <a:latin typeface="Arial" charset="0"/>
              </a:defRPr>
            </a:lvl8pPr>
            <a:lvl9pPr marL="1828800" algn="l" rtl="0" eaLnBrk="1" fontAlgn="base" hangingPunct="1">
              <a:spcBef>
                <a:spcPct val="0"/>
              </a:spcBef>
              <a:spcAft>
                <a:spcPct val="0"/>
              </a:spcAft>
              <a:defRPr sz="2400" b="1">
                <a:solidFill>
                  <a:schemeClr val="tx1"/>
                </a:solidFill>
                <a:latin typeface="Arial" charset="0"/>
              </a:defRPr>
            </a:lvl9pPr>
          </a:lstStyle>
          <a:p>
            <a:endParaRPr lang="de-DE" sz="4533" b="0" kern="0" dirty="0">
              <a:solidFill>
                <a:schemeClr val="tx2"/>
              </a:solidFill>
              <a:latin typeface="+mj-lt"/>
            </a:endParaRPr>
          </a:p>
        </p:txBody>
      </p:sp>
      <p:sp>
        <p:nvSpPr>
          <p:cNvPr id="50" name="Rectangle 4"/>
          <p:cNvSpPr>
            <a:spLocks noGrp="1" noChangeArrowheads="1"/>
          </p:cNvSpPr>
          <p:nvPr>
            <p:ph type="subTitle" idx="1"/>
          </p:nvPr>
        </p:nvSpPr>
        <p:spPr>
          <a:xfrm>
            <a:off x="671076" y="1152001"/>
            <a:ext cx="9120000" cy="789519"/>
          </a:xfrm>
        </p:spPr>
        <p:txBody>
          <a:bodyPr lIns="0" tIns="0" rIns="0" bIns="0"/>
          <a:lstStyle>
            <a:lvl1pPr marL="0" indent="0">
              <a:spcBef>
                <a:spcPct val="0"/>
              </a:spcBef>
              <a:buFont typeface="Wingdings" pitchFamily="2" charset="2"/>
              <a:buNone/>
              <a:defRPr sz="2200" b="0" i="0">
                <a:solidFill>
                  <a:schemeClr val="tx2"/>
                </a:solidFill>
                <a:latin typeface="+mj-lt"/>
                <a:ea typeface="Verdana" charset="0"/>
                <a:cs typeface="Verdana" charset="0"/>
              </a:defRPr>
            </a:lvl1pPr>
          </a:lstStyle>
          <a:p>
            <a:r>
              <a:rPr lang="de-DE" dirty="0"/>
              <a:t>Master-Untertitelformat bearbeiten</a:t>
            </a:r>
          </a:p>
        </p:txBody>
      </p:sp>
      <p:sp>
        <p:nvSpPr>
          <p:cNvPr id="51" name="Textfeld 50"/>
          <p:cNvSpPr txBox="1"/>
          <p:nvPr userDrawn="1"/>
        </p:nvSpPr>
        <p:spPr>
          <a:xfrm>
            <a:off x="5375999" y="2838156"/>
            <a:ext cx="6144000" cy="2575770"/>
          </a:xfrm>
          <a:prstGeom prst="rect">
            <a:avLst/>
          </a:prstGeom>
          <a:noFill/>
        </p:spPr>
        <p:txBody>
          <a:bodyPr wrap="square" rtlCol="0">
            <a:spAutoFit/>
          </a:bodyPr>
          <a:lstStyle/>
          <a:p>
            <a:pPr marL="0" indent="0">
              <a:lnSpc>
                <a:spcPct val="100000"/>
              </a:lnSpc>
              <a:spcBef>
                <a:spcPts val="0"/>
              </a:spcBef>
              <a:spcAft>
                <a:spcPts val="0"/>
              </a:spcAft>
              <a:buNone/>
            </a:pPr>
            <a:r>
              <a:rPr lang="de-DE" sz="1467" dirty="0">
                <a:solidFill>
                  <a:schemeClr val="tx2"/>
                </a:solidFill>
              </a:rPr>
              <a:t>Prof. Tobias </a:t>
            </a:r>
            <a:r>
              <a:rPr lang="de-DE" sz="1467" dirty="0" err="1">
                <a:solidFill>
                  <a:schemeClr val="tx2"/>
                </a:solidFill>
              </a:rPr>
              <a:t>Melz</a:t>
            </a:r>
            <a:endParaRPr lang="de-DE" sz="1467" dirty="0">
              <a:solidFill>
                <a:schemeClr val="tx2"/>
              </a:solidFill>
            </a:endParaRPr>
          </a:p>
          <a:p>
            <a:pPr marL="0" indent="0">
              <a:lnSpc>
                <a:spcPct val="100000"/>
              </a:lnSpc>
              <a:spcBef>
                <a:spcPts val="0"/>
              </a:spcBef>
              <a:spcAft>
                <a:spcPts val="0"/>
              </a:spcAft>
              <a:buNone/>
            </a:pPr>
            <a:endParaRPr lang="de-DE" sz="1467" dirty="0">
              <a:solidFill>
                <a:schemeClr val="tx2"/>
              </a:solidFill>
            </a:endParaRPr>
          </a:p>
          <a:p>
            <a:pPr marL="0" indent="0">
              <a:lnSpc>
                <a:spcPct val="100000"/>
              </a:lnSpc>
              <a:spcBef>
                <a:spcPts val="0"/>
              </a:spcBef>
              <a:spcAft>
                <a:spcPts val="0"/>
              </a:spcAft>
              <a:buNone/>
            </a:pPr>
            <a:r>
              <a:rPr lang="de-DE" sz="1467" dirty="0">
                <a:solidFill>
                  <a:schemeClr val="tx2"/>
                </a:solidFill>
              </a:rPr>
              <a:t>Technische Universität Darmstadt</a:t>
            </a:r>
          </a:p>
          <a:p>
            <a:pPr marL="0" indent="0">
              <a:lnSpc>
                <a:spcPct val="100000"/>
              </a:lnSpc>
              <a:spcBef>
                <a:spcPts val="0"/>
              </a:spcBef>
              <a:spcAft>
                <a:spcPts val="0"/>
              </a:spcAft>
              <a:buNone/>
            </a:pPr>
            <a:r>
              <a:rPr lang="de-DE" sz="1467" dirty="0">
                <a:solidFill>
                  <a:schemeClr val="tx2"/>
                </a:solidFill>
              </a:rPr>
              <a:t>Fachgebiet Systemzuverlässigkeit, </a:t>
            </a:r>
            <a:r>
              <a:rPr lang="de-DE" sz="1467" dirty="0" err="1">
                <a:solidFill>
                  <a:schemeClr val="tx2"/>
                </a:solidFill>
              </a:rPr>
              <a:t>Adaptronik</a:t>
            </a:r>
            <a:r>
              <a:rPr lang="de-DE" sz="1467" dirty="0">
                <a:solidFill>
                  <a:schemeClr val="tx2"/>
                </a:solidFill>
              </a:rPr>
              <a:t> und Maschinenakustik SAM</a:t>
            </a:r>
          </a:p>
          <a:p>
            <a:pPr marL="0" indent="0">
              <a:lnSpc>
                <a:spcPct val="100000"/>
              </a:lnSpc>
              <a:spcBef>
                <a:spcPts val="0"/>
              </a:spcBef>
              <a:spcAft>
                <a:spcPts val="0"/>
              </a:spcAft>
              <a:buNone/>
            </a:pPr>
            <a:r>
              <a:rPr lang="de-DE" sz="1467" dirty="0">
                <a:solidFill>
                  <a:schemeClr val="tx2"/>
                </a:solidFill>
              </a:rPr>
              <a:t>Otto-Berndt-Straße 2, Gebäude L1|01</a:t>
            </a:r>
          </a:p>
          <a:p>
            <a:pPr marL="0" indent="0">
              <a:lnSpc>
                <a:spcPct val="100000"/>
              </a:lnSpc>
              <a:spcBef>
                <a:spcPts val="0"/>
              </a:spcBef>
              <a:spcAft>
                <a:spcPts val="0"/>
              </a:spcAft>
              <a:buNone/>
            </a:pPr>
            <a:r>
              <a:rPr lang="de-DE" sz="1467" dirty="0">
                <a:solidFill>
                  <a:schemeClr val="tx2"/>
                </a:solidFill>
              </a:rPr>
              <a:t>64287 Darmstadt</a:t>
            </a:r>
          </a:p>
          <a:p>
            <a:pPr marL="0" indent="0">
              <a:lnSpc>
                <a:spcPct val="100000"/>
              </a:lnSpc>
              <a:spcBef>
                <a:spcPts val="0"/>
              </a:spcBef>
              <a:spcAft>
                <a:spcPts val="0"/>
              </a:spcAft>
              <a:buNone/>
            </a:pPr>
            <a:r>
              <a:rPr lang="de-DE" sz="1467" dirty="0">
                <a:solidFill>
                  <a:schemeClr val="tx2"/>
                </a:solidFill>
              </a:rPr>
              <a:t>Tel.: 06151 16-23510</a:t>
            </a:r>
          </a:p>
          <a:p>
            <a:pPr marL="0" indent="0">
              <a:lnSpc>
                <a:spcPct val="100000"/>
              </a:lnSpc>
              <a:spcBef>
                <a:spcPts val="0"/>
              </a:spcBef>
              <a:spcAft>
                <a:spcPts val="0"/>
              </a:spcAft>
              <a:buNone/>
            </a:pPr>
            <a:r>
              <a:rPr lang="de-DE" sz="1467" dirty="0">
                <a:solidFill>
                  <a:schemeClr val="tx2"/>
                </a:solidFill>
              </a:rPr>
              <a:t>tobias.melz@lbf.fraunhofer.de</a:t>
            </a:r>
          </a:p>
          <a:p>
            <a:pPr marL="0" indent="0">
              <a:lnSpc>
                <a:spcPct val="100000"/>
              </a:lnSpc>
              <a:spcBef>
                <a:spcPts val="0"/>
              </a:spcBef>
              <a:spcAft>
                <a:spcPts val="0"/>
              </a:spcAft>
              <a:buNone/>
            </a:pPr>
            <a:r>
              <a:rPr lang="de-DE" sz="1467" dirty="0">
                <a:solidFill>
                  <a:schemeClr val="tx2"/>
                </a:solidFill>
              </a:rPr>
              <a:t>www.sam.tu-darmstadt.de </a:t>
            </a:r>
            <a:br>
              <a:rPr lang="de-DE" sz="1467" dirty="0">
                <a:solidFill>
                  <a:schemeClr val="tx2"/>
                </a:solidFill>
              </a:rPr>
            </a:br>
            <a:r>
              <a:rPr lang="de-DE" sz="1467" dirty="0">
                <a:solidFill>
                  <a:schemeClr val="tx2"/>
                </a:solidFill>
              </a:rPr>
              <a:t>www.lbf.fraunhofer.de</a:t>
            </a:r>
          </a:p>
        </p:txBody>
      </p:sp>
      <p:grpSp>
        <p:nvGrpSpPr>
          <p:cNvPr id="84" name="Gruppierung 9"/>
          <p:cNvGrpSpPr/>
          <p:nvPr userDrawn="1"/>
        </p:nvGrpSpPr>
        <p:grpSpPr>
          <a:xfrm>
            <a:off x="9887088" y="477223"/>
            <a:ext cx="2304912" cy="870205"/>
            <a:chOff x="7415316" y="357917"/>
            <a:chExt cx="1728684" cy="652654"/>
          </a:xfrm>
          <a:solidFill>
            <a:schemeClr val="bg1"/>
          </a:solidFill>
        </p:grpSpPr>
        <p:sp>
          <p:nvSpPr>
            <p:cNvPr id="85" name="Rechteck 84"/>
            <p:cNvSpPr/>
            <p:nvPr/>
          </p:nvSpPr>
          <p:spPr>
            <a:xfrm>
              <a:off x="7415316" y="357917"/>
              <a:ext cx="1728684" cy="65265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86" name="Picture 9" descr="tud_logo"/>
            <p:cNvPicPr>
              <a:picLocks noChangeAspect="1" noChangeArrowheads="1"/>
            </p:cNvPicPr>
            <p:nvPr/>
          </p:nvPicPr>
          <p:blipFill rotWithShape="1">
            <a:blip r:embed="rId3" cstate="print">
              <a:clrChange>
                <a:clrFrom>
                  <a:srgbClr val="FDFDFD"/>
                </a:clrFrom>
                <a:clrTo>
                  <a:srgbClr val="FDFDFD">
                    <a:alpha val="0"/>
                  </a:srgbClr>
                </a:clrTo>
              </a:clrChange>
              <a:extLst>
                <a:ext uri="{28A0092B-C50C-407E-A947-70E740481C1C}">
                  <a14:useLocalDpi xmlns:a14="http://schemas.microsoft.com/office/drawing/2010/main" val="0"/>
                </a:ext>
              </a:extLst>
            </a:blip>
            <a:srcRect l="7733" t="6878" r="5453" b="9546"/>
            <a:stretch/>
          </p:blipFill>
          <p:spPr bwMode="auto">
            <a:xfrm>
              <a:off x="7608875" y="407299"/>
              <a:ext cx="1404584" cy="540631"/>
            </a:xfrm>
            <a:prstGeom prst="rect">
              <a:avLst/>
            </a:prstGeom>
            <a:grpFill/>
            <a:ln w="9525">
              <a:noFill/>
              <a:miter lim="800000"/>
              <a:headEnd/>
              <a:tailEnd/>
            </a:ln>
          </p:spPr>
        </p:pic>
      </p:grpSp>
      <p:sp>
        <p:nvSpPr>
          <p:cNvPr id="46" name="Rechteck 45"/>
          <p:cNvSpPr/>
          <p:nvPr userDrawn="1"/>
        </p:nvSpPr>
        <p:spPr>
          <a:xfrm>
            <a:off x="9887088" y="1345096"/>
            <a:ext cx="2304912" cy="429605"/>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47" name="Group 4"/>
          <p:cNvGrpSpPr>
            <a:grpSpLocks noChangeAspect="1"/>
          </p:cNvGrpSpPr>
          <p:nvPr userDrawn="1"/>
        </p:nvGrpSpPr>
        <p:grpSpPr bwMode="auto">
          <a:xfrm>
            <a:off x="11268361" y="1286959"/>
            <a:ext cx="601441" cy="445749"/>
            <a:chOff x="5478" y="637"/>
            <a:chExt cx="282" cy="209"/>
          </a:xfrm>
        </p:grpSpPr>
        <p:sp>
          <p:nvSpPr>
            <p:cNvPr id="49" name="AutoShape 3"/>
            <p:cNvSpPr>
              <a:spLocks noChangeAspect="1" noChangeArrowheads="1" noTextEdit="1"/>
            </p:cNvSpPr>
            <p:nvPr userDrawn="1"/>
          </p:nvSpPr>
          <p:spPr bwMode="auto">
            <a:xfrm>
              <a:off x="5478" y="637"/>
              <a:ext cx="282" cy="2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pic>
          <p:nvPicPr>
            <p:cNvPr id="52" name="Picture 5"/>
            <p:cNvPicPr>
              <a:picLocks noChangeAspect="1" noChangeArrowheads="1"/>
            </p:cNvPicPr>
            <p:nvPr userDrawn="1"/>
          </p:nvPicPr>
          <p:blipFill>
            <a:blip r:embed="rId4" cstate="hqprint">
              <a:extLst>
                <a:ext uri="{28A0092B-C50C-407E-A947-70E740481C1C}">
                  <a14:useLocalDpi xmlns:a14="http://schemas.microsoft.com/office/drawing/2010/main" val="0"/>
                </a:ext>
              </a:extLst>
            </a:blip>
            <a:srcRect/>
            <a:stretch>
              <a:fillRect/>
            </a:stretch>
          </p:blipFill>
          <p:spPr bwMode="auto">
            <a:xfrm>
              <a:off x="5478" y="637"/>
              <a:ext cx="282" cy="2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3" name="Freeform 6"/>
            <p:cNvSpPr>
              <a:spLocks noEditPoints="1"/>
            </p:cNvSpPr>
            <p:nvPr userDrawn="1"/>
          </p:nvSpPr>
          <p:spPr bwMode="auto">
            <a:xfrm>
              <a:off x="5486" y="647"/>
              <a:ext cx="185" cy="183"/>
            </a:xfrm>
            <a:custGeom>
              <a:avLst/>
              <a:gdLst>
                <a:gd name="T0" fmla="*/ 554 w 554"/>
                <a:gd name="T1" fmla="*/ 275 h 550"/>
                <a:gd name="T2" fmla="*/ 549 w 554"/>
                <a:gd name="T3" fmla="*/ 331 h 550"/>
                <a:gd name="T4" fmla="*/ 533 w 554"/>
                <a:gd name="T5" fmla="*/ 382 h 550"/>
                <a:gd name="T6" fmla="*/ 507 w 554"/>
                <a:gd name="T7" fmla="*/ 429 h 550"/>
                <a:gd name="T8" fmla="*/ 473 w 554"/>
                <a:gd name="T9" fmla="*/ 470 h 550"/>
                <a:gd name="T10" fmla="*/ 433 w 554"/>
                <a:gd name="T11" fmla="*/ 503 h 550"/>
                <a:gd name="T12" fmla="*/ 385 w 554"/>
                <a:gd name="T13" fmla="*/ 529 h 550"/>
                <a:gd name="T14" fmla="*/ 334 w 554"/>
                <a:gd name="T15" fmla="*/ 544 h 550"/>
                <a:gd name="T16" fmla="*/ 278 w 554"/>
                <a:gd name="T17" fmla="*/ 550 h 550"/>
                <a:gd name="T18" fmla="*/ 249 w 554"/>
                <a:gd name="T19" fmla="*/ 549 h 550"/>
                <a:gd name="T20" fmla="*/ 195 w 554"/>
                <a:gd name="T21" fmla="*/ 539 h 550"/>
                <a:gd name="T22" fmla="*/ 145 w 554"/>
                <a:gd name="T23" fmla="*/ 517 h 550"/>
                <a:gd name="T24" fmla="*/ 102 w 554"/>
                <a:gd name="T25" fmla="*/ 487 h 550"/>
                <a:gd name="T26" fmla="*/ 63 w 554"/>
                <a:gd name="T27" fmla="*/ 450 h 550"/>
                <a:gd name="T28" fmla="*/ 33 w 554"/>
                <a:gd name="T29" fmla="*/ 406 h 550"/>
                <a:gd name="T30" fmla="*/ 13 w 554"/>
                <a:gd name="T31" fmla="*/ 358 h 550"/>
                <a:gd name="T32" fmla="*/ 2 w 554"/>
                <a:gd name="T33" fmla="*/ 303 h 550"/>
                <a:gd name="T34" fmla="*/ 0 w 554"/>
                <a:gd name="T35" fmla="*/ 275 h 550"/>
                <a:gd name="T36" fmla="*/ 6 w 554"/>
                <a:gd name="T37" fmla="*/ 219 h 550"/>
                <a:gd name="T38" fmla="*/ 22 w 554"/>
                <a:gd name="T39" fmla="*/ 168 h 550"/>
                <a:gd name="T40" fmla="*/ 48 w 554"/>
                <a:gd name="T41" fmla="*/ 121 h 550"/>
                <a:gd name="T42" fmla="*/ 82 w 554"/>
                <a:gd name="T43" fmla="*/ 80 h 550"/>
                <a:gd name="T44" fmla="*/ 122 w 554"/>
                <a:gd name="T45" fmla="*/ 47 h 550"/>
                <a:gd name="T46" fmla="*/ 169 w 554"/>
                <a:gd name="T47" fmla="*/ 21 h 550"/>
                <a:gd name="T48" fmla="*/ 222 w 554"/>
                <a:gd name="T49" fmla="*/ 6 h 550"/>
                <a:gd name="T50" fmla="*/ 278 w 554"/>
                <a:gd name="T51" fmla="*/ 0 h 550"/>
                <a:gd name="T52" fmla="*/ 305 w 554"/>
                <a:gd name="T53" fmla="*/ 1 h 550"/>
                <a:gd name="T54" fmla="*/ 360 w 554"/>
                <a:gd name="T55" fmla="*/ 11 h 550"/>
                <a:gd name="T56" fmla="*/ 410 w 554"/>
                <a:gd name="T57" fmla="*/ 33 h 550"/>
                <a:gd name="T58" fmla="*/ 454 w 554"/>
                <a:gd name="T59" fmla="*/ 63 h 550"/>
                <a:gd name="T60" fmla="*/ 491 w 554"/>
                <a:gd name="T61" fmla="*/ 100 h 550"/>
                <a:gd name="T62" fmla="*/ 521 w 554"/>
                <a:gd name="T63" fmla="*/ 144 h 550"/>
                <a:gd name="T64" fmla="*/ 541 w 554"/>
                <a:gd name="T65" fmla="*/ 192 h 550"/>
                <a:gd name="T66" fmla="*/ 553 w 554"/>
                <a:gd name="T67" fmla="*/ 246 h 550"/>
                <a:gd name="T68" fmla="*/ 554 w 554"/>
                <a:gd name="T69" fmla="*/ 275 h 550"/>
                <a:gd name="T70" fmla="*/ 554 w 554"/>
                <a:gd name="T71" fmla="*/ 275 h 5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54" h="550">
                  <a:moveTo>
                    <a:pt x="554" y="275"/>
                  </a:moveTo>
                  <a:lnTo>
                    <a:pt x="554" y="275"/>
                  </a:lnTo>
                  <a:lnTo>
                    <a:pt x="553" y="303"/>
                  </a:lnTo>
                  <a:lnTo>
                    <a:pt x="549" y="331"/>
                  </a:lnTo>
                  <a:lnTo>
                    <a:pt x="541" y="358"/>
                  </a:lnTo>
                  <a:lnTo>
                    <a:pt x="533" y="382"/>
                  </a:lnTo>
                  <a:lnTo>
                    <a:pt x="521" y="406"/>
                  </a:lnTo>
                  <a:lnTo>
                    <a:pt x="507" y="429"/>
                  </a:lnTo>
                  <a:lnTo>
                    <a:pt x="491" y="450"/>
                  </a:lnTo>
                  <a:lnTo>
                    <a:pt x="473" y="470"/>
                  </a:lnTo>
                  <a:lnTo>
                    <a:pt x="454" y="487"/>
                  </a:lnTo>
                  <a:lnTo>
                    <a:pt x="433" y="503"/>
                  </a:lnTo>
                  <a:lnTo>
                    <a:pt x="410" y="517"/>
                  </a:lnTo>
                  <a:lnTo>
                    <a:pt x="385" y="529"/>
                  </a:lnTo>
                  <a:lnTo>
                    <a:pt x="360" y="539"/>
                  </a:lnTo>
                  <a:lnTo>
                    <a:pt x="334" y="544"/>
                  </a:lnTo>
                  <a:lnTo>
                    <a:pt x="305" y="549"/>
                  </a:lnTo>
                  <a:lnTo>
                    <a:pt x="278" y="550"/>
                  </a:lnTo>
                  <a:lnTo>
                    <a:pt x="278" y="550"/>
                  </a:lnTo>
                  <a:lnTo>
                    <a:pt x="249" y="549"/>
                  </a:lnTo>
                  <a:lnTo>
                    <a:pt x="222" y="544"/>
                  </a:lnTo>
                  <a:lnTo>
                    <a:pt x="195" y="539"/>
                  </a:lnTo>
                  <a:lnTo>
                    <a:pt x="169" y="529"/>
                  </a:lnTo>
                  <a:lnTo>
                    <a:pt x="145" y="517"/>
                  </a:lnTo>
                  <a:lnTo>
                    <a:pt x="122" y="503"/>
                  </a:lnTo>
                  <a:lnTo>
                    <a:pt x="102" y="487"/>
                  </a:lnTo>
                  <a:lnTo>
                    <a:pt x="82" y="470"/>
                  </a:lnTo>
                  <a:lnTo>
                    <a:pt x="63" y="450"/>
                  </a:lnTo>
                  <a:lnTo>
                    <a:pt x="48" y="429"/>
                  </a:lnTo>
                  <a:lnTo>
                    <a:pt x="33" y="406"/>
                  </a:lnTo>
                  <a:lnTo>
                    <a:pt x="22" y="382"/>
                  </a:lnTo>
                  <a:lnTo>
                    <a:pt x="13" y="358"/>
                  </a:lnTo>
                  <a:lnTo>
                    <a:pt x="6" y="331"/>
                  </a:lnTo>
                  <a:lnTo>
                    <a:pt x="2" y="303"/>
                  </a:lnTo>
                  <a:lnTo>
                    <a:pt x="0" y="275"/>
                  </a:lnTo>
                  <a:lnTo>
                    <a:pt x="0" y="275"/>
                  </a:lnTo>
                  <a:lnTo>
                    <a:pt x="2" y="246"/>
                  </a:lnTo>
                  <a:lnTo>
                    <a:pt x="6" y="219"/>
                  </a:lnTo>
                  <a:lnTo>
                    <a:pt x="13" y="192"/>
                  </a:lnTo>
                  <a:lnTo>
                    <a:pt x="22" y="168"/>
                  </a:lnTo>
                  <a:lnTo>
                    <a:pt x="33" y="144"/>
                  </a:lnTo>
                  <a:lnTo>
                    <a:pt x="48" y="121"/>
                  </a:lnTo>
                  <a:lnTo>
                    <a:pt x="63" y="100"/>
                  </a:lnTo>
                  <a:lnTo>
                    <a:pt x="82" y="80"/>
                  </a:lnTo>
                  <a:lnTo>
                    <a:pt x="102" y="63"/>
                  </a:lnTo>
                  <a:lnTo>
                    <a:pt x="122" y="47"/>
                  </a:lnTo>
                  <a:lnTo>
                    <a:pt x="145" y="33"/>
                  </a:lnTo>
                  <a:lnTo>
                    <a:pt x="169" y="21"/>
                  </a:lnTo>
                  <a:lnTo>
                    <a:pt x="195" y="11"/>
                  </a:lnTo>
                  <a:lnTo>
                    <a:pt x="222" y="6"/>
                  </a:lnTo>
                  <a:lnTo>
                    <a:pt x="249" y="1"/>
                  </a:lnTo>
                  <a:lnTo>
                    <a:pt x="278" y="0"/>
                  </a:lnTo>
                  <a:lnTo>
                    <a:pt x="278" y="0"/>
                  </a:lnTo>
                  <a:lnTo>
                    <a:pt x="305" y="1"/>
                  </a:lnTo>
                  <a:lnTo>
                    <a:pt x="334" y="6"/>
                  </a:lnTo>
                  <a:lnTo>
                    <a:pt x="360" y="11"/>
                  </a:lnTo>
                  <a:lnTo>
                    <a:pt x="385" y="21"/>
                  </a:lnTo>
                  <a:lnTo>
                    <a:pt x="410" y="33"/>
                  </a:lnTo>
                  <a:lnTo>
                    <a:pt x="433" y="47"/>
                  </a:lnTo>
                  <a:lnTo>
                    <a:pt x="454" y="63"/>
                  </a:lnTo>
                  <a:lnTo>
                    <a:pt x="473" y="80"/>
                  </a:lnTo>
                  <a:lnTo>
                    <a:pt x="491" y="100"/>
                  </a:lnTo>
                  <a:lnTo>
                    <a:pt x="507" y="121"/>
                  </a:lnTo>
                  <a:lnTo>
                    <a:pt x="521" y="144"/>
                  </a:lnTo>
                  <a:lnTo>
                    <a:pt x="533" y="168"/>
                  </a:lnTo>
                  <a:lnTo>
                    <a:pt x="541" y="192"/>
                  </a:lnTo>
                  <a:lnTo>
                    <a:pt x="549" y="219"/>
                  </a:lnTo>
                  <a:lnTo>
                    <a:pt x="553" y="246"/>
                  </a:lnTo>
                  <a:lnTo>
                    <a:pt x="554" y="275"/>
                  </a:lnTo>
                  <a:lnTo>
                    <a:pt x="554" y="275"/>
                  </a:lnTo>
                  <a:close/>
                  <a:moveTo>
                    <a:pt x="554" y="275"/>
                  </a:moveTo>
                  <a:lnTo>
                    <a:pt x="554" y="275"/>
                  </a:lnTo>
                  <a:close/>
                </a:path>
              </a:pathLst>
            </a:custGeom>
            <a:solidFill>
              <a:srgbClr val="B61F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4" name="Freeform 7"/>
            <p:cNvSpPr>
              <a:spLocks/>
            </p:cNvSpPr>
            <p:nvPr userDrawn="1"/>
          </p:nvSpPr>
          <p:spPr bwMode="auto">
            <a:xfrm>
              <a:off x="5486" y="647"/>
              <a:ext cx="185" cy="183"/>
            </a:xfrm>
            <a:custGeom>
              <a:avLst/>
              <a:gdLst>
                <a:gd name="T0" fmla="*/ 554 w 554"/>
                <a:gd name="T1" fmla="*/ 275 h 550"/>
                <a:gd name="T2" fmla="*/ 549 w 554"/>
                <a:gd name="T3" fmla="*/ 331 h 550"/>
                <a:gd name="T4" fmla="*/ 533 w 554"/>
                <a:gd name="T5" fmla="*/ 382 h 550"/>
                <a:gd name="T6" fmla="*/ 507 w 554"/>
                <a:gd name="T7" fmla="*/ 429 h 550"/>
                <a:gd name="T8" fmla="*/ 473 w 554"/>
                <a:gd name="T9" fmla="*/ 470 h 550"/>
                <a:gd name="T10" fmla="*/ 433 w 554"/>
                <a:gd name="T11" fmla="*/ 503 h 550"/>
                <a:gd name="T12" fmla="*/ 385 w 554"/>
                <a:gd name="T13" fmla="*/ 529 h 550"/>
                <a:gd name="T14" fmla="*/ 334 w 554"/>
                <a:gd name="T15" fmla="*/ 544 h 550"/>
                <a:gd name="T16" fmla="*/ 278 w 554"/>
                <a:gd name="T17" fmla="*/ 550 h 550"/>
                <a:gd name="T18" fmla="*/ 249 w 554"/>
                <a:gd name="T19" fmla="*/ 549 h 550"/>
                <a:gd name="T20" fmla="*/ 195 w 554"/>
                <a:gd name="T21" fmla="*/ 539 h 550"/>
                <a:gd name="T22" fmla="*/ 145 w 554"/>
                <a:gd name="T23" fmla="*/ 517 h 550"/>
                <a:gd name="T24" fmla="*/ 102 w 554"/>
                <a:gd name="T25" fmla="*/ 487 h 550"/>
                <a:gd name="T26" fmla="*/ 63 w 554"/>
                <a:gd name="T27" fmla="*/ 450 h 550"/>
                <a:gd name="T28" fmla="*/ 33 w 554"/>
                <a:gd name="T29" fmla="*/ 406 h 550"/>
                <a:gd name="T30" fmla="*/ 13 w 554"/>
                <a:gd name="T31" fmla="*/ 358 h 550"/>
                <a:gd name="T32" fmla="*/ 2 w 554"/>
                <a:gd name="T33" fmla="*/ 303 h 550"/>
                <a:gd name="T34" fmla="*/ 0 w 554"/>
                <a:gd name="T35" fmla="*/ 275 h 550"/>
                <a:gd name="T36" fmla="*/ 6 w 554"/>
                <a:gd name="T37" fmla="*/ 219 h 550"/>
                <a:gd name="T38" fmla="*/ 22 w 554"/>
                <a:gd name="T39" fmla="*/ 168 h 550"/>
                <a:gd name="T40" fmla="*/ 48 w 554"/>
                <a:gd name="T41" fmla="*/ 121 h 550"/>
                <a:gd name="T42" fmla="*/ 82 w 554"/>
                <a:gd name="T43" fmla="*/ 80 h 550"/>
                <a:gd name="T44" fmla="*/ 122 w 554"/>
                <a:gd name="T45" fmla="*/ 47 h 550"/>
                <a:gd name="T46" fmla="*/ 169 w 554"/>
                <a:gd name="T47" fmla="*/ 21 h 550"/>
                <a:gd name="T48" fmla="*/ 222 w 554"/>
                <a:gd name="T49" fmla="*/ 6 h 550"/>
                <a:gd name="T50" fmla="*/ 278 w 554"/>
                <a:gd name="T51" fmla="*/ 0 h 550"/>
                <a:gd name="T52" fmla="*/ 305 w 554"/>
                <a:gd name="T53" fmla="*/ 1 h 550"/>
                <a:gd name="T54" fmla="*/ 360 w 554"/>
                <a:gd name="T55" fmla="*/ 11 h 550"/>
                <a:gd name="T56" fmla="*/ 410 w 554"/>
                <a:gd name="T57" fmla="*/ 33 h 550"/>
                <a:gd name="T58" fmla="*/ 454 w 554"/>
                <a:gd name="T59" fmla="*/ 63 h 550"/>
                <a:gd name="T60" fmla="*/ 491 w 554"/>
                <a:gd name="T61" fmla="*/ 100 h 550"/>
                <a:gd name="T62" fmla="*/ 521 w 554"/>
                <a:gd name="T63" fmla="*/ 144 h 550"/>
                <a:gd name="T64" fmla="*/ 541 w 554"/>
                <a:gd name="T65" fmla="*/ 192 h 550"/>
                <a:gd name="T66" fmla="*/ 553 w 554"/>
                <a:gd name="T67" fmla="*/ 246 h 550"/>
                <a:gd name="T68" fmla="*/ 554 w 554"/>
                <a:gd name="T69" fmla="*/ 275 h 5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54" h="550">
                  <a:moveTo>
                    <a:pt x="554" y="275"/>
                  </a:moveTo>
                  <a:lnTo>
                    <a:pt x="554" y="275"/>
                  </a:lnTo>
                  <a:lnTo>
                    <a:pt x="553" y="303"/>
                  </a:lnTo>
                  <a:lnTo>
                    <a:pt x="549" y="331"/>
                  </a:lnTo>
                  <a:lnTo>
                    <a:pt x="541" y="358"/>
                  </a:lnTo>
                  <a:lnTo>
                    <a:pt x="533" y="382"/>
                  </a:lnTo>
                  <a:lnTo>
                    <a:pt x="521" y="406"/>
                  </a:lnTo>
                  <a:lnTo>
                    <a:pt x="507" y="429"/>
                  </a:lnTo>
                  <a:lnTo>
                    <a:pt x="491" y="450"/>
                  </a:lnTo>
                  <a:lnTo>
                    <a:pt x="473" y="470"/>
                  </a:lnTo>
                  <a:lnTo>
                    <a:pt x="454" y="487"/>
                  </a:lnTo>
                  <a:lnTo>
                    <a:pt x="433" y="503"/>
                  </a:lnTo>
                  <a:lnTo>
                    <a:pt x="410" y="517"/>
                  </a:lnTo>
                  <a:lnTo>
                    <a:pt x="385" y="529"/>
                  </a:lnTo>
                  <a:lnTo>
                    <a:pt x="360" y="539"/>
                  </a:lnTo>
                  <a:lnTo>
                    <a:pt x="334" y="544"/>
                  </a:lnTo>
                  <a:lnTo>
                    <a:pt x="305" y="549"/>
                  </a:lnTo>
                  <a:lnTo>
                    <a:pt x="278" y="550"/>
                  </a:lnTo>
                  <a:lnTo>
                    <a:pt x="278" y="550"/>
                  </a:lnTo>
                  <a:lnTo>
                    <a:pt x="249" y="549"/>
                  </a:lnTo>
                  <a:lnTo>
                    <a:pt x="222" y="544"/>
                  </a:lnTo>
                  <a:lnTo>
                    <a:pt x="195" y="539"/>
                  </a:lnTo>
                  <a:lnTo>
                    <a:pt x="169" y="529"/>
                  </a:lnTo>
                  <a:lnTo>
                    <a:pt x="145" y="517"/>
                  </a:lnTo>
                  <a:lnTo>
                    <a:pt x="122" y="503"/>
                  </a:lnTo>
                  <a:lnTo>
                    <a:pt x="102" y="487"/>
                  </a:lnTo>
                  <a:lnTo>
                    <a:pt x="82" y="470"/>
                  </a:lnTo>
                  <a:lnTo>
                    <a:pt x="63" y="450"/>
                  </a:lnTo>
                  <a:lnTo>
                    <a:pt x="48" y="429"/>
                  </a:lnTo>
                  <a:lnTo>
                    <a:pt x="33" y="406"/>
                  </a:lnTo>
                  <a:lnTo>
                    <a:pt x="22" y="382"/>
                  </a:lnTo>
                  <a:lnTo>
                    <a:pt x="13" y="358"/>
                  </a:lnTo>
                  <a:lnTo>
                    <a:pt x="6" y="331"/>
                  </a:lnTo>
                  <a:lnTo>
                    <a:pt x="2" y="303"/>
                  </a:lnTo>
                  <a:lnTo>
                    <a:pt x="0" y="275"/>
                  </a:lnTo>
                  <a:lnTo>
                    <a:pt x="0" y="275"/>
                  </a:lnTo>
                  <a:lnTo>
                    <a:pt x="2" y="246"/>
                  </a:lnTo>
                  <a:lnTo>
                    <a:pt x="6" y="219"/>
                  </a:lnTo>
                  <a:lnTo>
                    <a:pt x="13" y="192"/>
                  </a:lnTo>
                  <a:lnTo>
                    <a:pt x="22" y="168"/>
                  </a:lnTo>
                  <a:lnTo>
                    <a:pt x="33" y="144"/>
                  </a:lnTo>
                  <a:lnTo>
                    <a:pt x="48" y="121"/>
                  </a:lnTo>
                  <a:lnTo>
                    <a:pt x="63" y="100"/>
                  </a:lnTo>
                  <a:lnTo>
                    <a:pt x="82" y="80"/>
                  </a:lnTo>
                  <a:lnTo>
                    <a:pt x="102" y="63"/>
                  </a:lnTo>
                  <a:lnTo>
                    <a:pt x="122" y="47"/>
                  </a:lnTo>
                  <a:lnTo>
                    <a:pt x="145" y="33"/>
                  </a:lnTo>
                  <a:lnTo>
                    <a:pt x="169" y="21"/>
                  </a:lnTo>
                  <a:lnTo>
                    <a:pt x="195" y="11"/>
                  </a:lnTo>
                  <a:lnTo>
                    <a:pt x="222" y="6"/>
                  </a:lnTo>
                  <a:lnTo>
                    <a:pt x="249" y="1"/>
                  </a:lnTo>
                  <a:lnTo>
                    <a:pt x="278" y="0"/>
                  </a:lnTo>
                  <a:lnTo>
                    <a:pt x="278" y="0"/>
                  </a:lnTo>
                  <a:lnTo>
                    <a:pt x="305" y="1"/>
                  </a:lnTo>
                  <a:lnTo>
                    <a:pt x="334" y="6"/>
                  </a:lnTo>
                  <a:lnTo>
                    <a:pt x="360" y="11"/>
                  </a:lnTo>
                  <a:lnTo>
                    <a:pt x="385" y="21"/>
                  </a:lnTo>
                  <a:lnTo>
                    <a:pt x="410" y="33"/>
                  </a:lnTo>
                  <a:lnTo>
                    <a:pt x="433" y="47"/>
                  </a:lnTo>
                  <a:lnTo>
                    <a:pt x="454" y="63"/>
                  </a:lnTo>
                  <a:lnTo>
                    <a:pt x="473" y="80"/>
                  </a:lnTo>
                  <a:lnTo>
                    <a:pt x="491" y="100"/>
                  </a:lnTo>
                  <a:lnTo>
                    <a:pt x="507" y="121"/>
                  </a:lnTo>
                  <a:lnTo>
                    <a:pt x="521" y="144"/>
                  </a:lnTo>
                  <a:lnTo>
                    <a:pt x="533" y="168"/>
                  </a:lnTo>
                  <a:lnTo>
                    <a:pt x="541" y="192"/>
                  </a:lnTo>
                  <a:lnTo>
                    <a:pt x="549" y="219"/>
                  </a:lnTo>
                  <a:lnTo>
                    <a:pt x="553" y="246"/>
                  </a:lnTo>
                  <a:lnTo>
                    <a:pt x="554" y="275"/>
                  </a:lnTo>
                  <a:lnTo>
                    <a:pt x="554" y="27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5" name="Line 8"/>
            <p:cNvSpPr>
              <a:spLocks noChangeShapeType="1"/>
            </p:cNvSpPr>
            <p:nvPr userDrawn="1"/>
          </p:nvSpPr>
          <p:spPr bwMode="auto">
            <a:xfrm>
              <a:off x="5671" y="739"/>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6" name="Freeform 9"/>
            <p:cNvSpPr>
              <a:spLocks/>
            </p:cNvSpPr>
            <p:nvPr userDrawn="1"/>
          </p:nvSpPr>
          <p:spPr bwMode="auto">
            <a:xfrm>
              <a:off x="5486" y="647"/>
              <a:ext cx="185" cy="183"/>
            </a:xfrm>
            <a:custGeom>
              <a:avLst/>
              <a:gdLst>
                <a:gd name="T0" fmla="*/ 554 w 554"/>
                <a:gd name="T1" fmla="*/ 275 h 550"/>
                <a:gd name="T2" fmla="*/ 549 w 554"/>
                <a:gd name="T3" fmla="*/ 331 h 550"/>
                <a:gd name="T4" fmla="*/ 533 w 554"/>
                <a:gd name="T5" fmla="*/ 382 h 550"/>
                <a:gd name="T6" fmla="*/ 507 w 554"/>
                <a:gd name="T7" fmla="*/ 429 h 550"/>
                <a:gd name="T8" fmla="*/ 473 w 554"/>
                <a:gd name="T9" fmla="*/ 470 h 550"/>
                <a:gd name="T10" fmla="*/ 433 w 554"/>
                <a:gd name="T11" fmla="*/ 503 h 550"/>
                <a:gd name="T12" fmla="*/ 385 w 554"/>
                <a:gd name="T13" fmla="*/ 529 h 550"/>
                <a:gd name="T14" fmla="*/ 334 w 554"/>
                <a:gd name="T15" fmla="*/ 544 h 550"/>
                <a:gd name="T16" fmla="*/ 278 w 554"/>
                <a:gd name="T17" fmla="*/ 550 h 550"/>
                <a:gd name="T18" fmla="*/ 249 w 554"/>
                <a:gd name="T19" fmla="*/ 549 h 550"/>
                <a:gd name="T20" fmla="*/ 195 w 554"/>
                <a:gd name="T21" fmla="*/ 539 h 550"/>
                <a:gd name="T22" fmla="*/ 145 w 554"/>
                <a:gd name="T23" fmla="*/ 517 h 550"/>
                <a:gd name="T24" fmla="*/ 102 w 554"/>
                <a:gd name="T25" fmla="*/ 487 h 550"/>
                <a:gd name="T26" fmla="*/ 63 w 554"/>
                <a:gd name="T27" fmla="*/ 450 h 550"/>
                <a:gd name="T28" fmla="*/ 33 w 554"/>
                <a:gd name="T29" fmla="*/ 406 h 550"/>
                <a:gd name="T30" fmla="*/ 13 w 554"/>
                <a:gd name="T31" fmla="*/ 358 h 550"/>
                <a:gd name="T32" fmla="*/ 2 w 554"/>
                <a:gd name="T33" fmla="*/ 303 h 550"/>
                <a:gd name="T34" fmla="*/ 0 w 554"/>
                <a:gd name="T35" fmla="*/ 275 h 550"/>
                <a:gd name="T36" fmla="*/ 6 w 554"/>
                <a:gd name="T37" fmla="*/ 219 h 550"/>
                <a:gd name="T38" fmla="*/ 22 w 554"/>
                <a:gd name="T39" fmla="*/ 168 h 550"/>
                <a:gd name="T40" fmla="*/ 48 w 554"/>
                <a:gd name="T41" fmla="*/ 121 h 550"/>
                <a:gd name="T42" fmla="*/ 82 w 554"/>
                <a:gd name="T43" fmla="*/ 80 h 550"/>
                <a:gd name="T44" fmla="*/ 122 w 554"/>
                <a:gd name="T45" fmla="*/ 47 h 550"/>
                <a:gd name="T46" fmla="*/ 169 w 554"/>
                <a:gd name="T47" fmla="*/ 21 h 550"/>
                <a:gd name="T48" fmla="*/ 222 w 554"/>
                <a:gd name="T49" fmla="*/ 6 h 550"/>
                <a:gd name="T50" fmla="*/ 278 w 554"/>
                <a:gd name="T51" fmla="*/ 0 h 550"/>
                <a:gd name="T52" fmla="*/ 305 w 554"/>
                <a:gd name="T53" fmla="*/ 1 h 550"/>
                <a:gd name="T54" fmla="*/ 360 w 554"/>
                <a:gd name="T55" fmla="*/ 11 h 550"/>
                <a:gd name="T56" fmla="*/ 410 w 554"/>
                <a:gd name="T57" fmla="*/ 33 h 550"/>
                <a:gd name="T58" fmla="*/ 454 w 554"/>
                <a:gd name="T59" fmla="*/ 63 h 550"/>
                <a:gd name="T60" fmla="*/ 491 w 554"/>
                <a:gd name="T61" fmla="*/ 100 h 550"/>
                <a:gd name="T62" fmla="*/ 521 w 554"/>
                <a:gd name="T63" fmla="*/ 144 h 550"/>
                <a:gd name="T64" fmla="*/ 541 w 554"/>
                <a:gd name="T65" fmla="*/ 192 h 550"/>
                <a:gd name="T66" fmla="*/ 553 w 554"/>
                <a:gd name="T67" fmla="*/ 246 h 550"/>
                <a:gd name="T68" fmla="*/ 554 w 554"/>
                <a:gd name="T69" fmla="*/ 275 h 5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54" h="550">
                  <a:moveTo>
                    <a:pt x="554" y="275"/>
                  </a:moveTo>
                  <a:lnTo>
                    <a:pt x="554" y="275"/>
                  </a:lnTo>
                  <a:lnTo>
                    <a:pt x="553" y="303"/>
                  </a:lnTo>
                  <a:lnTo>
                    <a:pt x="549" y="331"/>
                  </a:lnTo>
                  <a:lnTo>
                    <a:pt x="541" y="358"/>
                  </a:lnTo>
                  <a:lnTo>
                    <a:pt x="533" y="382"/>
                  </a:lnTo>
                  <a:lnTo>
                    <a:pt x="521" y="406"/>
                  </a:lnTo>
                  <a:lnTo>
                    <a:pt x="507" y="429"/>
                  </a:lnTo>
                  <a:lnTo>
                    <a:pt x="491" y="450"/>
                  </a:lnTo>
                  <a:lnTo>
                    <a:pt x="473" y="470"/>
                  </a:lnTo>
                  <a:lnTo>
                    <a:pt x="454" y="487"/>
                  </a:lnTo>
                  <a:lnTo>
                    <a:pt x="433" y="503"/>
                  </a:lnTo>
                  <a:lnTo>
                    <a:pt x="410" y="517"/>
                  </a:lnTo>
                  <a:lnTo>
                    <a:pt x="385" y="529"/>
                  </a:lnTo>
                  <a:lnTo>
                    <a:pt x="360" y="539"/>
                  </a:lnTo>
                  <a:lnTo>
                    <a:pt x="334" y="544"/>
                  </a:lnTo>
                  <a:lnTo>
                    <a:pt x="305" y="549"/>
                  </a:lnTo>
                  <a:lnTo>
                    <a:pt x="278" y="550"/>
                  </a:lnTo>
                  <a:lnTo>
                    <a:pt x="278" y="550"/>
                  </a:lnTo>
                  <a:lnTo>
                    <a:pt x="249" y="549"/>
                  </a:lnTo>
                  <a:lnTo>
                    <a:pt x="222" y="544"/>
                  </a:lnTo>
                  <a:lnTo>
                    <a:pt x="195" y="539"/>
                  </a:lnTo>
                  <a:lnTo>
                    <a:pt x="169" y="529"/>
                  </a:lnTo>
                  <a:lnTo>
                    <a:pt x="145" y="517"/>
                  </a:lnTo>
                  <a:lnTo>
                    <a:pt x="122" y="503"/>
                  </a:lnTo>
                  <a:lnTo>
                    <a:pt x="102" y="487"/>
                  </a:lnTo>
                  <a:lnTo>
                    <a:pt x="82" y="470"/>
                  </a:lnTo>
                  <a:lnTo>
                    <a:pt x="63" y="450"/>
                  </a:lnTo>
                  <a:lnTo>
                    <a:pt x="48" y="429"/>
                  </a:lnTo>
                  <a:lnTo>
                    <a:pt x="33" y="406"/>
                  </a:lnTo>
                  <a:lnTo>
                    <a:pt x="22" y="382"/>
                  </a:lnTo>
                  <a:lnTo>
                    <a:pt x="13" y="358"/>
                  </a:lnTo>
                  <a:lnTo>
                    <a:pt x="6" y="331"/>
                  </a:lnTo>
                  <a:lnTo>
                    <a:pt x="2" y="303"/>
                  </a:lnTo>
                  <a:lnTo>
                    <a:pt x="0" y="275"/>
                  </a:lnTo>
                  <a:lnTo>
                    <a:pt x="0" y="275"/>
                  </a:lnTo>
                  <a:lnTo>
                    <a:pt x="2" y="246"/>
                  </a:lnTo>
                  <a:lnTo>
                    <a:pt x="6" y="219"/>
                  </a:lnTo>
                  <a:lnTo>
                    <a:pt x="13" y="192"/>
                  </a:lnTo>
                  <a:lnTo>
                    <a:pt x="22" y="168"/>
                  </a:lnTo>
                  <a:lnTo>
                    <a:pt x="33" y="144"/>
                  </a:lnTo>
                  <a:lnTo>
                    <a:pt x="48" y="121"/>
                  </a:lnTo>
                  <a:lnTo>
                    <a:pt x="63" y="100"/>
                  </a:lnTo>
                  <a:lnTo>
                    <a:pt x="82" y="80"/>
                  </a:lnTo>
                  <a:lnTo>
                    <a:pt x="102" y="63"/>
                  </a:lnTo>
                  <a:lnTo>
                    <a:pt x="122" y="47"/>
                  </a:lnTo>
                  <a:lnTo>
                    <a:pt x="145" y="33"/>
                  </a:lnTo>
                  <a:lnTo>
                    <a:pt x="169" y="21"/>
                  </a:lnTo>
                  <a:lnTo>
                    <a:pt x="195" y="11"/>
                  </a:lnTo>
                  <a:lnTo>
                    <a:pt x="222" y="6"/>
                  </a:lnTo>
                  <a:lnTo>
                    <a:pt x="249" y="1"/>
                  </a:lnTo>
                  <a:lnTo>
                    <a:pt x="278" y="0"/>
                  </a:lnTo>
                  <a:lnTo>
                    <a:pt x="278" y="0"/>
                  </a:lnTo>
                  <a:lnTo>
                    <a:pt x="305" y="1"/>
                  </a:lnTo>
                  <a:lnTo>
                    <a:pt x="334" y="6"/>
                  </a:lnTo>
                  <a:lnTo>
                    <a:pt x="360" y="11"/>
                  </a:lnTo>
                  <a:lnTo>
                    <a:pt x="385" y="21"/>
                  </a:lnTo>
                  <a:lnTo>
                    <a:pt x="410" y="33"/>
                  </a:lnTo>
                  <a:lnTo>
                    <a:pt x="433" y="47"/>
                  </a:lnTo>
                  <a:lnTo>
                    <a:pt x="454" y="63"/>
                  </a:lnTo>
                  <a:lnTo>
                    <a:pt x="473" y="80"/>
                  </a:lnTo>
                  <a:lnTo>
                    <a:pt x="491" y="100"/>
                  </a:lnTo>
                  <a:lnTo>
                    <a:pt x="507" y="121"/>
                  </a:lnTo>
                  <a:lnTo>
                    <a:pt x="521" y="144"/>
                  </a:lnTo>
                  <a:lnTo>
                    <a:pt x="533" y="168"/>
                  </a:lnTo>
                  <a:lnTo>
                    <a:pt x="541" y="192"/>
                  </a:lnTo>
                  <a:lnTo>
                    <a:pt x="549" y="219"/>
                  </a:lnTo>
                  <a:lnTo>
                    <a:pt x="553" y="246"/>
                  </a:lnTo>
                  <a:lnTo>
                    <a:pt x="554" y="275"/>
                  </a:lnTo>
                  <a:lnTo>
                    <a:pt x="554" y="275"/>
                  </a:lnTo>
                </a:path>
              </a:pathLst>
            </a:custGeom>
            <a:noFill/>
            <a:ln w="1588">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57" name="Line 10"/>
            <p:cNvSpPr>
              <a:spLocks noChangeShapeType="1"/>
            </p:cNvSpPr>
            <p:nvPr userDrawn="1"/>
          </p:nvSpPr>
          <p:spPr bwMode="auto">
            <a:xfrm>
              <a:off x="5671" y="739"/>
              <a:ext cx="0" cy="0"/>
            </a:xfrm>
            <a:prstGeom prst="line">
              <a:avLst/>
            </a:prstGeom>
            <a:noFill/>
            <a:ln w="1588">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58" name="Freeform 11"/>
            <p:cNvSpPr>
              <a:spLocks noEditPoints="1"/>
            </p:cNvSpPr>
            <p:nvPr userDrawn="1"/>
          </p:nvSpPr>
          <p:spPr bwMode="auto">
            <a:xfrm>
              <a:off x="5497" y="659"/>
              <a:ext cx="170" cy="170"/>
            </a:xfrm>
            <a:custGeom>
              <a:avLst/>
              <a:gdLst>
                <a:gd name="T0" fmla="*/ 510 w 510"/>
                <a:gd name="T1" fmla="*/ 257 h 511"/>
                <a:gd name="T2" fmla="*/ 504 w 510"/>
                <a:gd name="T3" fmla="*/ 309 h 511"/>
                <a:gd name="T4" fmla="*/ 490 w 510"/>
                <a:gd name="T5" fmla="*/ 356 h 511"/>
                <a:gd name="T6" fmla="*/ 465 w 510"/>
                <a:gd name="T7" fmla="*/ 399 h 511"/>
                <a:gd name="T8" fmla="*/ 434 w 510"/>
                <a:gd name="T9" fmla="*/ 437 h 511"/>
                <a:gd name="T10" fmla="*/ 397 w 510"/>
                <a:gd name="T11" fmla="*/ 467 h 511"/>
                <a:gd name="T12" fmla="*/ 354 w 510"/>
                <a:gd name="T13" fmla="*/ 491 h 511"/>
                <a:gd name="T14" fmla="*/ 307 w 510"/>
                <a:gd name="T15" fmla="*/ 505 h 511"/>
                <a:gd name="T16" fmla="*/ 255 w 510"/>
                <a:gd name="T17" fmla="*/ 511 h 511"/>
                <a:gd name="T18" fmla="*/ 229 w 510"/>
                <a:gd name="T19" fmla="*/ 510 h 511"/>
                <a:gd name="T20" fmla="*/ 179 w 510"/>
                <a:gd name="T21" fmla="*/ 500 h 511"/>
                <a:gd name="T22" fmla="*/ 133 w 510"/>
                <a:gd name="T23" fmla="*/ 480 h 511"/>
                <a:gd name="T24" fmla="*/ 93 w 510"/>
                <a:gd name="T25" fmla="*/ 453 h 511"/>
                <a:gd name="T26" fmla="*/ 59 w 510"/>
                <a:gd name="T27" fmla="*/ 419 h 511"/>
                <a:gd name="T28" fmla="*/ 30 w 510"/>
                <a:gd name="T29" fmla="*/ 379 h 511"/>
                <a:gd name="T30" fmla="*/ 12 w 510"/>
                <a:gd name="T31" fmla="*/ 333 h 511"/>
                <a:gd name="T32" fmla="*/ 2 w 510"/>
                <a:gd name="T33" fmla="*/ 283 h 511"/>
                <a:gd name="T34" fmla="*/ 0 w 510"/>
                <a:gd name="T35" fmla="*/ 257 h 511"/>
                <a:gd name="T36" fmla="*/ 6 w 510"/>
                <a:gd name="T37" fmla="*/ 206 h 511"/>
                <a:gd name="T38" fmla="*/ 20 w 510"/>
                <a:gd name="T39" fmla="*/ 158 h 511"/>
                <a:gd name="T40" fmla="*/ 43 w 510"/>
                <a:gd name="T41" fmla="*/ 115 h 511"/>
                <a:gd name="T42" fmla="*/ 75 w 510"/>
                <a:gd name="T43" fmla="*/ 77 h 511"/>
                <a:gd name="T44" fmla="*/ 112 w 510"/>
                <a:gd name="T45" fmla="*/ 44 h 511"/>
                <a:gd name="T46" fmla="*/ 156 w 510"/>
                <a:gd name="T47" fmla="*/ 21 h 511"/>
                <a:gd name="T48" fmla="*/ 204 w 510"/>
                <a:gd name="T49" fmla="*/ 5 h 511"/>
                <a:gd name="T50" fmla="*/ 255 w 510"/>
                <a:gd name="T51" fmla="*/ 0 h 511"/>
                <a:gd name="T52" fmla="*/ 284 w 510"/>
                <a:gd name="T53" fmla="*/ 1 h 511"/>
                <a:gd name="T54" fmla="*/ 337 w 510"/>
                <a:gd name="T55" fmla="*/ 11 h 511"/>
                <a:gd name="T56" fmla="*/ 384 w 510"/>
                <a:gd name="T57" fmla="*/ 31 h 511"/>
                <a:gd name="T58" fmla="*/ 424 w 510"/>
                <a:gd name="T59" fmla="*/ 59 h 511"/>
                <a:gd name="T60" fmla="*/ 457 w 510"/>
                <a:gd name="T61" fmla="*/ 95 h 511"/>
                <a:gd name="T62" fmla="*/ 481 w 510"/>
                <a:gd name="T63" fmla="*/ 136 h 511"/>
                <a:gd name="T64" fmla="*/ 500 w 510"/>
                <a:gd name="T65" fmla="*/ 182 h 511"/>
                <a:gd name="T66" fmla="*/ 508 w 510"/>
                <a:gd name="T67" fmla="*/ 232 h 511"/>
                <a:gd name="T68" fmla="*/ 510 w 510"/>
                <a:gd name="T69" fmla="*/ 257 h 511"/>
                <a:gd name="T70" fmla="*/ 510 w 510"/>
                <a:gd name="T71" fmla="*/ 257 h 5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0" h="511">
                  <a:moveTo>
                    <a:pt x="510" y="257"/>
                  </a:moveTo>
                  <a:lnTo>
                    <a:pt x="510" y="257"/>
                  </a:lnTo>
                  <a:lnTo>
                    <a:pt x="508" y="283"/>
                  </a:lnTo>
                  <a:lnTo>
                    <a:pt x="504" y="309"/>
                  </a:lnTo>
                  <a:lnTo>
                    <a:pt x="498" y="333"/>
                  </a:lnTo>
                  <a:lnTo>
                    <a:pt x="490" y="356"/>
                  </a:lnTo>
                  <a:lnTo>
                    <a:pt x="478" y="379"/>
                  </a:lnTo>
                  <a:lnTo>
                    <a:pt x="465" y="399"/>
                  </a:lnTo>
                  <a:lnTo>
                    <a:pt x="451" y="419"/>
                  </a:lnTo>
                  <a:lnTo>
                    <a:pt x="434" y="437"/>
                  </a:lnTo>
                  <a:lnTo>
                    <a:pt x="417" y="453"/>
                  </a:lnTo>
                  <a:lnTo>
                    <a:pt x="397" y="467"/>
                  </a:lnTo>
                  <a:lnTo>
                    <a:pt x="377" y="480"/>
                  </a:lnTo>
                  <a:lnTo>
                    <a:pt x="354" y="491"/>
                  </a:lnTo>
                  <a:lnTo>
                    <a:pt x="331" y="500"/>
                  </a:lnTo>
                  <a:lnTo>
                    <a:pt x="307" y="505"/>
                  </a:lnTo>
                  <a:lnTo>
                    <a:pt x="281" y="510"/>
                  </a:lnTo>
                  <a:lnTo>
                    <a:pt x="255" y="511"/>
                  </a:lnTo>
                  <a:lnTo>
                    <a:pt x="255" y="511"/>
                  </a:lnTo>
                  <a:lnTo>
                    <a:pt x="229" y="510"/>
                  </a:lnTo>
                  <a:lnTo>
                    <a:pt x="204" y="505"/>
                  </a:lnTo>
                  <a:lnTo>
                    <a:pt x="179" y="500"/>
                  </a:lnTo>
                  <a:lnTo>
                    <a:pt x="156" y="491"/>
                  </a:lnTo>
                  <a:lnTo>
                    <a:pt x="133" y="480"/>
                  </a:lnTo>
                  <a:lnTo>
                    <a:pt x="112" y="467"/>
                  </a:lnTo>
                  <a:lnTo>
                    <a:pt x="93" y="453"/>
                  </a:lnTo>
                  <a:lnTo>
                    <a:pt x="75" y="437"/>
                  </a:lnTo>
                  <a:lnTo>
                    <a:pt x="59" y="419"/>
                  </a:lnTo>
                  <a:lnTo>
                    <a:pt x="43" y="399"/>
                  </a:lnTo>
                  <a:lnTo>
                    <a:pt x="30" y="379"/>
                  </a:lnTo>
                  <a:lnTo>
                    <a:pt x="20" y="356"/>
                  </a:lnTo>
                  <a:lnTo>
                    <a:pt x="12" y="333"/>
                  </a:lnTo>
                  <a:lnTo>
                    <a:pt x="6" y="309"/>
                  </a:lnTo>
                  <a:lnTo>
                    <a:pt x="2" y="283"/>
                  </a:lnTo>
                  <a:lnTo>
                    <a:pt x="0" y="257"/>
                  </a:lnTo>
                  <a:lnTo>
                    <a:pt x="0" y="257"/>
                  </a:lnTo>
                  <a:lnTo>
                    <a:pt x="2" y="232"/>
                  </a:lnTo>
                  <a:lnTo>
                    <a:pt x="6" y="206"/>
                  </a:lnTo>
                  <a:lnTo>
                    <a:pt x="12" y="182"/>
                  </a:lnTo>
                  <a:lnTo>
                    <a:pt x="20" y="158"/>
                  </a:lnTo>
                  <a:lnTo>
                    <a:pt x="30" y="136"/>
                  </a:lnTo>
                  <a:lnTo>
                    <a:pt x="43" y="115"/>
                  </a:lnTo>
                  <a:lnTo>
                    <a:pt x="59" y="95"/>
                  </a:lnTo>
                  <a:lnTo>
                    <a:pt x="75" y="77"/>
                  </a:lnTo>
                  <a:lnTo>
                    <a:pt x="93" y="59"/>
                  </a:lnTo>
                  <a:lnTo>
                    <a:pt x="112" y="44"/>
                  </a:lnTo>
                  <a:lnTo>
                    <a:pt x="133" y="31"/>
                  </a:lnTo>
                  <a:lnTo>
                    <a:pt x="156" y="21"/>
                  </a:lnTo>
                  <a:lnTo>
                    <a:pt x="179" y="11"/>
                  </a:lnTo>
                  <a:lnTo>
                    <a:pt x="204" y="5"/>
                  </a:lnTo>
                  <a:lnTo>
                    <a:pt x="229" y="1"/>
                  </a:lnTo>
                  <a:lnTo>
                    <a:pt x="255" y="0"/>
                  </a:lnTo>
                  <a:lnTo>
                    <a:pt x="255" y="0"/>
                  </a:lnTo>
                  <a:lnTo>
                    <a:pt x="284" y="1"/>
                  </a:lnTo>
                  <a:lnTo>
                    <a:pt x="311" y="5"/>
                  </a:lnTo>
                  <a:lnTo>
                    <a:pt x="337" y="11"/>
                  </a:lnTo>
                  <a:lnTo>
                    <a:pt x="361" y="21"/>
                  </a:lnTo>
                  <a:lnTo>
                    <a:pt x="384" y="31"/>
                  </a:lnTo>
                  <a:lnTo>
                    <a:pt x="404" y="44"/>
                  </a:lnTo>
                  <a:lnTo>
                    <a:pt x="424" y="59"/>
                  </a:lnTo>
                  <a:lnTo>
                    <a:pt x="441" y="77"/>
                  </a:lnTo>
                  <a:lnTo>
                    <a:pt x="457" y="95"/>
                  </a:lnTo>
                  <a:lnTo>
                    <a:pt x="470" y="115"/>
                  </a:lnTo>
                  <a:lnTo>
                    <a:pt x="481" y="136"/>
                  </a:lnTo>
                  <a:lnTo>
                    <a:pt x="491" y="158"/>
                  </a:lnTo>
                  <a:lnTo>
                    <a:pt x="500" y="182"/>
                  </a:lnTo>
                  <a:lnTo>
                    <a:pt x="504" y="206"/>
                  </a:lnTo>
                  <a:lnTo>
                    <a:pt x="508" y="232"/>
                  </a:lnTo>
                  <a:lnTo>
                    <a:pt x="510" y="257"/>
                  </a:lnTo>
                  <a:lnTo>
                    <a:pt x="510" y="257"/>
                  </a:lnTo>
                  <a:close/>
                  <a:moveTo>
                    <a:pt x="510" y="257"/>
                  </a:moveTo>
                  <a:lnTo>
                    <a:pt x="510" y="257"/>
                  </a:lnTo>
                  <a:close/>
                </a:path>
              </a:pathLst>
            </a:custGeom>
            <a:solidFill>
              <a:srgbClr val="00987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9" name="Freeform 12"/>
            <p:cNvSpPr>
              <a:spLocks/>
            </p:cNvSpPr>
            <p:nvPr userDrawn="1"/>
          </p:nvSpPr>
          <p:spPr bwMode="auto">
            <a:xfrm>
              <a:off x="5497" y="659"/>
              <a:ext cx="170" cy="170"/>
            </a:xfrm>
            <a:custGeom>
              <a:avLst/>
              <a:gdLst>
                <a:gd name="T0" fmla="*/ 510 w 510"/>
                <a:gd name="T1" fmla="*/ 257 h 511"/>
                <a:gd name="T2" fmla="*/ 504 w 510"/>
                <a:gd name="T3" fmla="*/ 309 h 511"/>
                <a:gd name="T4" fmla="*/ 490 w 510"/>
                <a:gd name="T5" fmla="*/ 356 h 511"/>
                <a:gd name="T6" fmla="*/ 465 w 510"/>
                <a:gd name="T7" fmla="*/ 399 h 511"/>
                <a:gd name="T8" fmla="*/ 434 w 510"/>
                <a:gd name="T9" fmla="*/ 437 h 511"/>
                <a:gd name="T10" fmla="*/ 397 w 510"/>
                <a:gd name="T11" fmla="*/ 467 h 511"/>
                <a:gd name="T12" fmla="*/ 354 w 510"/>
                <a:gd name="T13" fmla="*/ 491 h 511"/>
                <a:gd name="T14" fmla="*/ 307 w 510"/>
                <a:gd name="T15" fmla="*/ 505 h 511"/>
                <a:gd name="T16" fmla="*/ 255 w 510"/>
                <a:gd name="T17" fmla="*/ 511 h 511"/>
                <a:gd name="T18" fmla="*/ 229 w 510"/>
                <a:gd name="T19" fmla="*/ 510 h 511"/>
                <a:gd name="T20" fmla="*/ 179 w 510"/>
                <a:gd name="T21" fmla="*/ 500 h 511"/>
                <a:gd name="T22" fmla="*/ 133 w 510"/>
                <a:gd name="T23" fmla="*/ 480 h 511"/>
                <a:gd name="T24" fmla="*/ 93 w 510"/>
                <a:gd name="T25" fmla="*/ 453 h 511"/>
                <a:gd name="T26" fmla="*/ 59 w 510"/>
                <a:gd name="T27" fmla="*/ 419 h 511"/>
                <a:gd name="T28" fmla="*/ 30 w 510"/>
                <a:gd name="T29" fmla="*/ 379 h 511"/>
                <a:gd name="T30" fmla="*/ 12 w 510"/>
                <a:gd name="T31" fmla="*/ 333 h 511"/>
                <a:gd name="T32" fmla="*/ 2 w 510"/>
                <a:gd name="T33" fmla="*/ 283 h 511"/>
                <a:gd name="T34" fmla="*/ 0 w 510"/>
                <a:gd name="T35" fmla="*/ 257 h 511"/>
                <a:gd name="T36" fmla="*/ 6 w 510"/>
                <a:gd name="T37" fmla="*/ 206 h 511"/>
                <a:gd name="T38" fmla="*/ 20 w 510"/>
                <a:gd name="T39" fmla="*/ 158 h 511"/>
                <a:gd name="T40" fmla="*/ 43 w 510"/>
                <a:gd name="T41" fmla="*/ 115 h 511"/>
                <a:gd name="T42" fmla="*/ 75 w 510"/>
                <a:gd name="T43" fmla="*/ 77 h 511"/>
                <a:gd name="T44" fmla="*/ 112 w 510"/>
                <a:gd name="T45" fmla="*/ 44 h 511"/>
                <a:gd name="T46" fmla="*/ 156 w 510"/>
                <a:gd name="T47" fmla="*/ 21 h 511"/>
                <a:gd name="T48" fmla="*/ 204 w 510"/>
                <a:gd name="T49" fmla="*/ 5 h 511"/>
                <a:gd name="T50" fmla="*/ 255 w 510"/>
                <a:gd name="T51" fmla="*/ 0 h 511"/>
                <a:gd name="T52" fmla="*/ 284 w 510"/>
                <a:gd name="T53" fmla="*/ 1 h 511"/>
                <a:gd name="T54" fmla="*/ 337 w 510"/>
                <a:gd name="T55" fmla="*/ 11 h 511"/>
                <a:gd name="T56" fmla="*/ 384 w 510"/>
                <a:gd name="T57" fmla="*/ 31 h 511"/>
                <a:gd name="T58" fmla="*/ 424 w 510"/>
                <a:gd name="T59" fmla="*/ 59 h 511"/>
                <a:gd name="T60" fmla="*/ 457 w 510"/>
                <a:gd name="T61" fmla="*/ 95 h 511"/>
                <a:gd name="T62" fmla="*/ 481 w 510"/>
                <a:gd name="T63" fmla="*/ 136 h 511"/>
                <a:gd name="T64" fmla="*/ 500 w 510"/>
                <a:gd name="T65" fmla="*/ 182 h 511"/>
                <a:gd name="T66" fmla="*/ 508 w 510"/>
                <a:gd name="T67" fmla="*/ 232 h 511"/>
                <a:gd name="T68" fmla="*/ 510 w 510"/>
                <a:gd name="T69" fmla="*/ 257 h 5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0" h="511">
                  <a:moveTo>
                    <a:pt x="510" y="257"/>
                  </a:moveTo>
                  <a:lnTo>
                    <a:pt x="510" y="257"/>
                  </a:lnTo>
                  <a:lnTo>
                    <a:pt x="508" y="283"/>
                  </a:lnTo>
                  <a:lnTo>
                    <a:pt x="504" y="309"/>
                  </a:lnTo>
                  <a:lnTo>
                    <a:pt x="498" y="333"/>
                  </a:lnTo>
                  <a:lnTo>
                    <a:pt x="490" y="356"/>
                  </a:lnTo>
                  <a:lnTo>
                    <a:pt x="478" y="379"/>
                  </a:lnTo>
                  <a:lnTo>
                    <a:pt x="465" y="399"/>
                  </a:lnTo>
                  <a:lnTo>
                    <a:pt x="451" y="419"/>
                  </a:lnTo>
                  <a:lnTo>
                    <a:pt x="434" y="437"/>
                  </a:lnTo>
                  <a:lnTo>
                    <a:pt x="417" y="453"/>
                  </a:lnTo>
                  <a:lnTo>
                    <a:pt x="397" y="467"/>
                  </a:lnTo>
                  <a:lnTo>
                    <a:pt x="377" y="480"/>
                  </a:lnTo>
                  <a:lnTo>
                    <a:pt x="354" y="491"/>
                  </a:lnTo>
                  <a:lnTo>
                    <a:pt x="331" y="500"/>
                  </a:lnTo>
                  <a:lnTo>
                    <a:pt x="307" y="505"/>
                  </a:lnTo>
                  <a:lnTo>
                    <a:pt x="281" y="510"/>
                  </a:lnTo>
                  <a:lnTo>
                    <a:pt x="255" y="511"/>
                  </a:lnTo>
                  <a:lnTo>
                    <a:pt x="255" y="511"/>
                  </a:lnTo>
                  <a:lnTo>
                    <a:pt x="229" y="510"/>
                  </a:lnTo>
                  <a:lnTo>
                    <a:pt x="204" y="505"/>
                  </a:lnTo>
                  <a:lnTo>
                    <a:pt x="179" y="500"/>
                  </a:lnTo>
                  <a:lnTo>
                    <a:pt x="156" y="491"/>
                  </a:lnTo>
                  <a:lnTo>
                    <a:pt x="133" y="480"/>
                  </a:lnTo>
                  <a:lnTo>
                    <a:pt x="112" y="467"/>
                  </a:lnTo>
                  <a:lnTo>
                    <a:pt x="93" y="453"/>
                  </a:lnTo>
                  <a:lnTo>
                    <a:pt x="75" y="437"/>
                  </a:lnTo>
                  <a:lnTo>
                    <a:pt x="59" y="419"/>
                  </a:lnTo>
                  <a:lnTo>
                    <a:pt x="43" y="399"/>
                  </a:lnTo>
                  <a:lnTo>
                    <a:pt x="30" y="379"/>
                  </a:lnTo>
                  <a:lnTo>
                    <a:pt x="20" y="356"/>
                  </a:lnTo>
                  <a:lnTo>
                    <a:pt x="12" y="333"/>
                  </a:lnTo>
                  <a:lnTo>
                    <a:pt x="6" y="309"/>
                  </a:lnTo>
                  <a:lnTo>
                    <a:pt x="2" y="283"/>
                  </a:lnTo>
                  <a:lnTo>
                    <a:pt x="0" y="257"/>
                  </a:lnTo>
                  <a:lnTo>
                    <a:pt x="0" y="257"/>
                  </a:lnTo>
                  <a:lnTo>
                    <a:pt x="2" y="232"/>
                  </a:lnTo>
                  <a:lnTo>
                    <a:pt x="6" y="206"/>
                  </a:lnTo>
                  <a:lnTo>
                    <a:pt x="12" y="182"/>
                  </a:lnTo>
                  <a:lnTo>
                    <a:pt x="20" y="158"/>
                  </a:lnTo>
                  <a:lnTo>
                    <a:pt x="30" y="136"/>
                  </a:lnTo>
                  <a:lnTo>
                    <a:pt x="43" y="115"/>
                  </a:lnTo>
                  <a:lnTo>
                    <a:pt x="59" y="95"/>
                  </a:lnTo>
                  <a:lnTo>
                    <a:pt x="75" y="77"/>
                  </a:lnTo>
                  <a:lnTo>
                    <a:pt x="93" y="59"/>
                  </a:lnTo>
                  <a:lnTo>
                    <a:pt x="112" y="44"/>
                  </a:lnTo>
                  <a:lnTo>
                    <a:pt x="133" y="31"/>
                  </a:lnTo>
                  <a:lnTo>
                    <a:pt x="156" y="21"/>
                  </a:lnTo>
                  <a:lnTo>
                    <a:pt x="179" y="11"/>
                  </a:lnTo>
                  <a:lnTo>
                    <a:pt x="204" y="5"/>
                  </a:lnTo>
                  <a:lnTo>
                    <a:pt x="229" y="1"/>
                  </a:lnTo>
                  <a:lnTo>
                    <a:pt x="255" y="0"/>
                  </a:lnTo>
                  <a:lnTo>
                    <a:pt x="255" y="0"/>
                  </a:lnTo>
                  <a:lnTo>
                    <a:pt x="284" y="1"/>
                  </a:lnTo>
                  <a:lnTo>
                    <a:pt x="311" y="5"/>
                  </a:lnTo>
                  <a:lnTo>
                    <a:pt x="337" y="11"/>
                  </a:lnTo>
                  <a:lnTo>
                    <a:pt x="361" y="21"/>
                  </a:lnTo>
                  <a:lnTo>
                    <a:pt x="384" y="31"/>
                  </a:lnTo>
                  <a:lnTo>
                    <a:pt x="404" y="44"/>
                  </a:lnTo>
                  <a:lnTo>
                    <a:pt x="424" y="59"/>
                  </a:lnTo>
                  <a:lnTo>
                    <a:pt x="441" y="77"/>
                  </a:lnTo>
                  <a:lnTo>
                    <a:pt x="457" y="95"/>
                  </a:lnTo>
                  <a:lnTo>
                    <a:pt x="470" y="115"/>
                  </a:lnTo>
                  <a:lnTo>
                    <a:pt x="481" y="136"/>
                  </a:lnTo>
                  <a:lnTo>
                    <a:pt x="491" y="158"/>
                  </a:lnTo>
                  <a:lnTo>
                    <a:pt x="500" y="182"/>
                  </a:lnTo>
                  <a:lnTo>
                    <a:pt x="504" y="206"/>
                  </a:lnTo>
                  <a:lnTo>
                    <a:pt x="508" y="232"/>
                  </a:lnTo>
                  <a:lnTo>
                    <a:pt x="510" y="257"/>
                  </a:lnTo>
                  <a:lnTo>
                    <a:pt x="510" y="25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60" name="Line 13"/>
            <p:cNvSpPr>
              <a:spLocks noChangeShapeType="1"/>
            </p:cNvSpPr>
            <p:nvPr userDrawn="1"/>
          </p:nvSpPr>
          <p:spPr bwMode="auto">
            <a:xfrm>
              <a:off x="5667" y="745"/>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pic>
          <p:nvPicPr>
            <p:cNvPr id="61" name="Picture 14"/>
            <p:cNvPicPr>
              <a:picLocks noChangeAspect="1" noChangeArrowheads="1"/>
            </p:cNvPicPr>
            <p:nvPr userDrawn="1"/>
          </p:nvPicPr>
          <p:blipFill>
            <a:blip r:embed="rId5" cstate="hqprint">
              <a:extLst>
                <a:ext uri="{28A0092B-C50C-407E-A947-70E740481C1C}">
                  <a14:useLocalDpi xmlns:a14="http://schemas.microsoft.com/office/drawing/2010/main" val="0"/>
                </a:ext>
              </a:extLst>
            </a:blip>
            <a:srcRect/>
            <a:stretch>
              <a:fillRect/>
            </a:stretch>
          </p:blipFill>
          <p:spPr bwMode="auto">
            <a:xfrm>
              <a:off x="5478" y="637"/>
              <a:ext cx="282" cy="2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2" name="Freeform 15"/>
            <p:cNvSpPr>
              <a:spLocks/>
            </p:cNvSpPr>
            <p:nvPr userDrawn="1"/>
          </p:nvSpPr>
          <p:spPr bwMode="auto">
            <a:xfrm>
              <a:off x="5525" y="658"/>
              <a:ext cx="121" cy="25"/>
            </a:xfrm>
            <a:custGeom>
              <a:avLst/>
              <a:gdLst>
                <a:gd name="T0" fmla="*/ 0 w 364"/>
                <a:gd name="T1" fmla="*/ 75 h 75"/>
                <a:gd name="T2" fmla="*/ 0 w 364"/>
                <a:gd name="T3" fmla="*/ 75 h 75"/>
                <a:gd name="T4" fmla="*/ 19 w 364"/>
                <a:gd name="T5" fmla="*/ 58 h 75"/>
                <a:gd name="T6" fmla="*/ 40 w 364"/>
                <a:gd name="T7" fmla="*/ 44 h 75"/>
                <a:gd name="T8" fmla="*/ 62 w 364"/>
                <a:gd name="T9" fmla="*/ 31 h 75"/>
                <a:gd name="T10" fmla="*/ 85 w 364"/>
                <a:gd name="T11" fmla="*/ 20 h 75"/>
                <a:gd name="T12" fmla="*/ 108 w 364"/>
                <a:gd name="T13" fmla="*/ 11 h 75"/>
                <a:gd name="T14" fmla="*/ 132 w 364"/>
                <a:gd name="T15" fmla="*/ 5 h 75"/>
                <a:gd name="T16" fmla="*/ 156 w 364"/>
                <a:gd name="T17" fmla="*/ 1 h 75"/>
                <a:gd name="T18" fmla="*/ 182 w 364"/>
                <a:gd name="T19" fmla="*/ 0 h 75"/>
                <a:gd name="T20" fmla="*/ 206 w 364"/>
                <a:gd name="T21" fmla="*/ 1 h 75"/>
                <a:gd name="T22" fmla="*/ 231 w 364"/>
                <a:gd name="T23" fmla="*/ 4 h 75"/>
                <a:gd name="T24" fmla="*/ 255 w 364"/>
                <a:gd name="T25" fmla="*/ 10 h 75"/>
                <a:gd name="T26" fmla="*/ 278 w 364"/>
                <a:gd name="T27" fmla="*/ 18 h 75"/>
                <a:gd name="T28" fmla="*/ 301 w 364"/>
                <a:gd name="T29" fmla="*/ 28 h 75"/>
                <a:gd name="T30" fmla="*/ 324 w 364"/>
                <a:gd name="T31" fmla="*/ 41 h 75"/>
                <a:gd name="T32" fmla="*/ 344 w 364"/>
                <a:gd name="T33" fmla="*/ 55 h 75"/>
                <a:gd name="T34" fmla="*/ 364 w 364"/>
                <a:gd name="T35" fmla="*/ 72 h 75"/>
                <a:gd name="T36" fmla="*/ 0 w 364"/>
                <a:gd name="T37"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4" h="75">
                  <a:moveTo>
                    <a:pt x="0" y="75"/>
                  </a:moveTo>
                  <a:lnTo>
                    <a:pt x="0" y="75"/>
                  </a:lnTo>
                  <a:lnTo>
                    <a:pt x="19" y="58"/>
                  </a:lnTo>
                  <a:lnTo>
                    <a:pt x="40" y="44"/>
                  </a:lnTo>
                  <a:lnTo>
                    <a:pt x="62" y="31"/>
                  </a:lnTo>
                  <a:lnTo>
                    <a:pt x="85" y="20"/>
                  </a:lnTo>
                  <a:lnTo>
                    <a:pt x="108" y="11"/>
                  </a:lnTo>
                  <a:lnTo>
                    <a:pt x="132" y="5"/>
                  </a:lnTo>
                  <a:lnTo>
                    <a:pt x="156" y="1"/>
                  </a:lnTo>
                  <a:lnTo>
                    <a:pt x="182" y="0"/>
                  </a:lnTo>
                  <a:lnTo>
                    <a:pt x="206" y="1"/>
                  </a:lnTo>
                  <a:lnTo>
                    <a:pt x="231" y="4"/>
                  </a:lnTo>
                  <a:lnTo>
                    <a:pt x="255" y="10"/>
                  </a:lnTo>
                  <a:lnTo>
                    <a:pt x="278" y="18"/>
                  </a:lnTo>
                  <a:lnTo>
                    <a:pt x="301" y="28"/>
                  </a:lnTo>
                  <a:lnTo>
                    <a:pt x="324" y="41"/>
                  </a:lnTo>
                  <a:lnTo>
                    <a:pt x="344" y="55"/>
                  </a:lnTo>
                  <a:lnTo>
                    <a:pt x="364" y="72"/>
                  </a:lnTo>
                  <a:lnTo>
                    <a:pt x="0" y="75"/>
                  </a:lnTo>
                  <a:close/>
                </a:path>
              </a:pathLst>
            </a:custGeom>
            <a:solidFill>
              <a:srgbClr val="00987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63" name="Freeform 16"/>
            <p:cNvSpPr>
              <a:spLocks/>
            </p:cNvSpPr>
            <p:nvPr userDrawn="1"/>
          </p:nvSpPr>
          <p:spPr bwMode="auto">
            <a:xfrm>
              <a:off x="5525" y="658"/>
              <a:ext cx="121" cy="25"/>
            </a:xfrm>
            <a:custGeom>
              <a:avLst/>
              <a:gdLst>
                <a:gd name="T0" fmla="*/ 0 w 364"/>
                <a:gd name="T1" fmla="*/ 75 h 75"/>
                <a:gd name="T2" fmla="*/ 0 w 364"/>
                <a:gd name="T3" fmla="*/ 75 h 75"/>
                <a:gd name="T4" fmla="*/ 19 w 364"/>
                <a:gd name="T5" fmla="*/ 58 h 75"/>
                <a:gd name="T6" fmla="*/ 40 w 364"/>
                <a:gd name="T7" fmla="*/ 44 h 75"/>
                <a:gd name="T8" fmla="*/ 62 w 364"/>
                <a:gd name="T9" fmla="*/ 31 h 75"/>
                <a:gd name="T10" fmla="*/ 85 w 364"/>
                <a:gd name="T11" fmla="*/ 20 h 75"/>
                <a:gd name="T12" fmla="*/ 108 w 364"/>
                <a:gd name="T13" fmla="*/ 11 h 75"/>
                <a:gd name="T14" fmla="*/ 132 w 364"/>
                <a:gd name="T15" fmla="*/ 5 h 75"/>
                <a:gd name="T16" fmla="*/ 156 w 364"/>
                <a:gd name="T17" fmla="*/ 1 h 75"/>
                <a:gd name="T18" fmla="*/ 182 w 364"/>
                <a:gd name="T19" fmla="*/ 0 h 75"/>
                <a:gd name="T20" fmla="*/ 206 w 364"/>
                <a:gd name="T21" fmla="*/ 1 h 75"/>
                <a:gd name="T22" fmla="*/ 231 w 364"/>
                <a:gd name="T23" fmla="*/ 4 h 75"/>
                <a:gd name="T24" fmla="*/ 255 w 364"/>
                <a:gd name="T25" fmla="*/ 10 h 75"/>
                <a:gd name="T26" fmla="*/ 278 w 364"/>
                <a:gd name="T27" fmla="*/ 18 h 75"/>
                <a:gd name="T28" fmla="*/ 301 w 364"/>
                <a:gd name="T29" fmla="*/ 28 h 75"/>
                <a:gd name="T30" fmla="*/ 324 w 364"/>
                <a:gd name="T31" fmla="*/ 41 h 75"/>
                <a:gd name="T32" fmla="*/ 344 w 364"/>
                <a:gd name="T33" fmla="*/ 55 h 75"/>
                <a:gd name="T34" fmla="*/ 364 w 364"/>
                <a:gd name="T35" fmla="*/ 7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64" h="75">
                  <a:moveTo>
                    <a:pt x="0" y="75"/>
                  </a:moveTo>
                  <a:lnTo>
                    <a:pt x="0" y="75"/>
                  </a:lnTo>
                  <a:lnTo>
                    <a:pt x="19" y="58"/>
                  </a:lnTo>
                  <a:lnTo>
                    <a:pt x="40" y="44"/>
                  </a:lnTo>
                  <a:lnTo>
                    <a:pt x="62" y="31"/>
                  </a:lnTo>
                  <a:lnTo>
                    <a:pt x="85" y="20"/>
                  </a:lnTo>
                  <a:lnTo>
                    <a:pt x="108" y="11"/>
                  </a:lnTo>
                  <a:lnTo>
                    <a:pt x="132" y="5"/>
                  </a:lnTo>
                  <a:lnTo>
                    <a:pt x="156" y="1"/>
                  </a:lnTo>
                  <a:lnTo>
                    <a:pt x="182" y="0"/>
                  </a:lnTo>
                  <a:lnTo>
                    <a:pt x="206" y="1"/>
                  </a:lnTo>
                  <a:lnTo>
                    <a:pt x="231" y="4"/>
                  </a:lnTo>
                  <a:lnTo>
                    <a:pt x="255" y="10"/>
                  </a:lnTo>
                  <a:lnTo>
                    <a:pt x="278" y="18"/>
                  </a:lnTo>
                  <a:lnTo>
                    <a:pt x="301" y="28"/>
                  </a:lnTo>
                  <a:lnTo>
                    <a:pt x="324" y="41"/>
                  </a:lnTo>
                  <a:lnTo>
                    <a:pt x="344" y="55"/>
                  </a:lnTo>
                  <a:lnTo>
                    <a:pt x="364" y="7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pic>
          <p:nvPicPr>
            <p:cNvPr id="64" name="Picture 17"/>
            <p:cNvPicPr>
              <a:picLocks noChangeAspect="1" noChangeArrowheads="1"/>
            </p:cNvPicPr>
            <p:nvPr userDrawn="1"/>
          </p:nvPicPr>
          <p:blipFill>
            <a:blip r:embed="rId6" cstate="hqprint">
              <a:extLst>
                <a:ext uri="{28A0092B-C50C-407E-A947-70E740481C1C}">
                  <a14:useLocalDpi xmlns:a14="http://schemas.microsoft.com/office/drawing/2010/main" val="0"/>
                </a:ext>
              </a:extLst>
            </a:blip>
            <a:srcRect/>
            <a:stretch>
              <a:fillRect/>
            </a:stretch>
          </p:blipFill>
          <p:spPr bwMode="auto">
            <a:xfrm>
              <a:off x="5478" y="637"/>
              <a:ext cx="282" cy="2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5" name="Freeform 18"/>
            <p:cNvSpPr>
              <a:spLocks noEditPoints="1"/>
            </p:cNvSpPr>
            <p:nvPr userDrawn="1"/>
          </p:nvSpPr>
          <p:spPr bwMode="auto">
            <a:xfrm>
              <a:off x="5510" y="659"/>
              <a:ext cx="160" cy="156"/>
            </a:xfrm>
            <a:custGeom>
              <a:avLst/>
              <a:gdLst>
                <a:gd name="T0" fmla="*/ 478 w 478"/>
                <a:gd name="T1" fmla="*/ 232 h 466"/>
                <a:gd name="T2" fmla="*/ 474 w 478"/>
                <a:gd name="T3" fmla="*/ 279 h 466"/>
                <a:gd name="T4" fmla="*/ 460 w 478"/>
                <a:gd name="T5" fmla="*/ 323 h 466"/>
                <a:gd name="T6" fmla="*/ 437 w 478"/>
                <a:gd name="T7" fmla="*/ 363 h 466"/>
                <a:gd name="T8" fmla="*/ 408 w 478"/>
                <a:gd name="T9" fmla="*/ 398 h 466"/>
                <a:gd name="T10" fmla="*/ 373 w 478"/>
                <a:gd name="T11" fmla="*/ 426 h 466"/>
                <a:gd name="T12" fmla="*/ 332 w 478"/>
                <a:gd name="T13" fmla="*/ 447 h 466"/>
                <a:gd name="T14" fmla="*/ 288 w 478"/>
                <a:gd name="T15" fmla="*/ 460 h 466"/>
                <a:gd name="T16" fmla="*/ 239 w 478"/>
                <a:gd name="T17" fmla="*/ 466 h 466"/>
                <a:gd name="T18" fmla="*/ 215 w 478"/>
                <a:gd name="T19" fmla="*/ 465 h 466"/>
                <a:gd name="T20" fmla="*/ 168 w 478"/>
                <a:gd name="T21" fmla="*/ 455 h 466"/>
                <a:gd name="T22" fmla="*/ 125 w 478"/>
                <a:gd name="T23" fmla="*/ 437 h 466"/>
                <a:gd name="T24" fmla="*/ 88 w 478"/>
                <a:gd name="T25" fmla="*/ 412 h 466"/>
                <a:gd name="T26" fmla="*/ 55 w 478"/>
                <a:gd name="T27" fmla="*/ 380 h 466"/>
                <a:gd name="T28" fmla="*/ 29 w 478"/>
                <a:gd name="T29" fmla="*/ 343 h 466"/>
                <a:gd name="T30" fmla="*/ 12 w 478"/>
                <a:gd name="T31" fmla="*/ 302 h 466"/>
                <a:gd name="T32" fmla="*/ 2 w 478"/>
                <a:gd name="T33" fmla="*/ 256 h 466"/>
                <a:gd name="T34" fmla="*/ 0 w 478"/>
                <a:gd name="T35" fmla="*/ 232 h 466"/>
                <a:gd name="T36" fmla="*/ 5 w 478"/>
                <a:gd name="T37" fmla="*/ 185 h 466"/>
                <a:gd name="T38" fmla="*/ 19 w 478"/>
                <a:gd name="T39" fmla="*/ 141 h 466"/>
                <a:gd name="T40" fmla="*/ 42 w 478"/>
                <a:gd name="T41" fmla="*/ 103 h 466"/>
                <a:gd name="T42" fmla="*/ 70 w 478"/>
                <a:gd name="T43" fmla="*/ 68 h 466"/>
                <a:gd name="T44" fmla="*/ 106 w 478"/>
                <a:gd name="T45" fmla="*/ 40 h 466"/>
                <a:gd name="T46" fmla="*/ 146 w 478"/>
                <a:gd name="T47" fmla="*/ 17 h 466"/>
                <a:gd name="T48" fmla="*/ 191 w 478"/>
                <a:gd name="T49" fmla="*/ 4 h 466"/>
                <a:gd name="T50" fmla="*/ 239 w 478"/>
                <a:gd name="T51" fmla="*/ 0 h 466"/>
                <a:gd name="T52" fmla="*/ 264 w 478"/>
                <a:gd name="T53" fmla="*/ 0 h 466"/>
                <a:gd name="T54" fmla="*/ 311 w 478"/>
                <a:gd name="T55" fmla="*/ 10 h 466"/>
                <a:gd name="T56" fmla="*/ 354 w 478"/>
                <a:gd name="T57" fmla="*/ 27 h 466"/>
                <a:gd name="T58" fmla="*/ 391 w 478"/>
                <a:gd name="T59" fmla="*/ 53 h 466"/>
                <a:gd name="T60" fmla="*/ 424 w 478"/>
                <a:gd name="T61" fmla="*/ 84 h 466"/>
                <a:gd name="T62" fmla="*/ 450 w 478"/>
                <a:gd name="T63" fmla="*/ 121 h 466"/>
                <a:gd name="T64" fmla="*/ 467 w 478"/>
                <a:gd name="T65" fmla="*/ 164 h 466"/>
                <a:gd name="T66" fmla="*/ 477 w 478"/>
                <a:gd name="T67" fmla="*/ 208 h 466"/>
                <a:gd name="T68" fmla="*/ 478 w 478"/>
                <a:gd name="T69" fmla="*/ 232 h 466"/>
                <a:gd name="T70" fmla="*/ 478 w 478"/>
                <a:gd name="T71" fmla="*/ 232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78" h="466">
                  <a:moveTo>
                    <a:pt x="478" y="232"/>
                  </a:moveTo>
                  <a:lnTo>
                    <a:pt x="478" y="232"/>
                  </a:lnTo>
                  <a:lnTo>
                    <a:pt x="477" y="256"/>
                  </a:lnTo>
                  <a:lnTo>
                    <a:pt x="474" y="279"/>
                  </a:lnTo>
                  <a:lnTo>
                    <a:pt x="467" y="302"/>
                  </a:lnTo>
                  <a:lnTo>
                    <a:pt x="460" y="323"/>
                  </a:lnTo>
                  <a:lnTo>
                    <a:pt x="450" y="343"/>
                  </a:lnTo>
                  <a:lnTo>
                    <a:pt x="437" y="363"/>
                  </a:lnTo>
                  <a:lnTo>
                    <a:pt x="424" y="380"/>
                  </a:lnTo>
                  <a:lnTo>
                    <a:pt x="408" y="398"/>
                  </a:lnTo>
                  <a:lnTo>
                    <a:pt x="391" y="412"/>
                  </a:lnTo>
                  <a:lnTo>
                    <a:pt x="373" y="426"/>
                  </a:lnTo>
                  <a:lnTo>
                    <a:pt x="354" y="437"/>
                  </a:lnTo>
                  <a:lnTo>
                    <a:pt x="332" y="447"/>
                  </a:lnTo>
                  <a:lnTo>
                    <a:pt x="311" y="455"/>
                  </a:lnTo>
                  <a:lnTo>
                    <a:pt x="288" y="460"/>
                  </a:lnTo>
                  <a:lnTo>
                    <a:pt x="264" y="465"/>
                  </a:lnTo>
                  <a:lnTo>
                    <a:pt x="239" y="466"/>
                  </a:lnTo>
                  <a:lnTo>
                    <a:pt x="239" y="466"/>
                  </a:lnTo>
                  <a:lnTo>
                    <a:pt x="215" y="465"/>
                  </a:lnTo>
                  <a:lnTo>
                    <a:pt x="191" y="460"/>
                  </a:lnTo>
                  <a:lnTo>
                    <a:pt x="168" y="455"/>
                  </a:lnTo>
                  <a:lnTo>
                    <a:pt x="146" y="447"/>
                  </a:lnTo>
                  <a:lnTo>
                    <a:pt x="125" y="437"/>
                  </a:lnTo>
                  <a:lnTo>
                    <a:pt x="106" y="426"/>
                  </a:lnTo>
                  <a:lnTo>
                    <a:pt x="88" y="412"/>
                  </a:lnTo>
                  <a:lnTo>
                    <a:pt x="70" y="398"/>
                  </a:lnTo>
                  <a:lnTo>
                    <a:pt x="55" y="380"/>
                  </a:lnTo>
                  <a:lnTo>
                    <a:pt x="42" y="363"/>
                  </a:lnTo>
                  <a:lnTo>
                    <a:pt x="29" y="343"/>
                  </a:lnTo>
                  <a:lnTo>
                    <a:pt x="19" y="323"/>
                  </a:lnTo>
                  <a:lnTo>
                    <a:pt x="12" y="302"/>
                  </a:lnTo>
                  <a:lnTo>
                    <a:pt x="5" y="279"/>
                  </a:lnTo>
                  <a:lnTo>
                    <a:pt x="2" y="256"/>
                  </a:lnTo>
                  <a:lnTo>
                    <a:pt x="0" y="232"/>
                  </a:lnTo>
                  <a:lnTo>
                    <a:pt x="0" y="232"/>
                  </a:lnTo>
                  <a:lnTo>
                    <a:pt x="2" y="208"/>
                  </a:lnTo>
                  <a:lnTo>
                    <a:pt x="5" y="185"/>
                  </a:lnTo>
                  <a:lnTo>
                    <a:pt x="12" y="164"/>
                  </a:lnTo>
                  <a:lnTo>
                    <a:pt x="19" y="141"/>
                  </a:lnTo>
                  <a:lnTo>
                    <a:pt x="29" y="121"/>
                  </a:lnTo>
                  <a:lnTo>
                    <a:pt x="42" y="103"/>
                  </a:lnTo>
                  <a:lnTo>
                    <a:pt x="55" y="84"/>
                  </a:lnTo>
                  <a:lnTo>
                    <a:pt x="70" y="68"/>
                  </a:lnTo>
                  <a:lnTo>
                    <a:pt x="88" y="53"/>
                  </a:lnTo>
                  <a:lnTo>
                    <a:pt x="106" y="40"/>
                  </a:lnTo>
                  <a:lnTo>
                    <a:pt x="125" y="27"/>
                  </a:lnTo>
                  <a:lnTo>
                    <a:pt x="146" y="17"/>
                  </a:lnTo>
                  <a:lnTo>
                    <a:pt x="168" y="10"/>
                  </a:lnTo>
                  <a:lnTo>
                    <a:pt x="191" y="4"/>
                  </a:lnTo>
                  <a:lnTo>
                    <a:pt x="215" y="0"/>
                  </a:lnTo>
                  <a:lnTo>
                    <a:pt x="239" y="0"/>
                  </a:lnTo>
                  <a:lnTo>
                    <a:pt x="239" y="0"/>
                  </a:lnTo>
                  <a:lnTo>
                    <a:pt x="264" y="0"/>
                  </a:lnTo>
                  <a:lnTo>
                    <a:pt x="288" y="4"/>
                  </a:lnTo>
                  <a:lnTo>
                    <a:pt x="311" y="10"/>
                  </a:lnTo>
                  <a:lnTo>
                    <a:pt x="332" y="17"/>
                  </a:lnTo>
                  <a:lnTo>
                    <a:pt x="354" y="27"/>
                  </a:lnTo>
                  <a:lnTo>
                    <a:pt x="373" y="40"/>
                  </a:lnTo>
                  <a:lnTo>
                    <a:pt x="391" y="53"/>
                  </a:lnTo>
                  <a:lnTo>
                    <a:pt x="408" y="67"/>
                  </a:lnTo>
                  <a:lnTo>
                    <a:pt x="424" y="84"/>
                  </a:lnTo>
                  <a:lnTo>
                    <a:pt x="437" y="103"/>
                  </a:lnTo>
                  <a:lnTo>
                    <a:pt x="450" y="121"/>
                  </a:lnTo>
                  <a:lnTo>
                    <a:pt x="460" y="141"/>
                  </a:lnTo>
                  <a:lnTo>
                    <a:pt x="467" y="164"/>
                  </a:lnTo>
                  <a:lnTo>
                    <a:pt x="474" y="185"/>
                  </a:lnTo>
                  <a:lnTo>
                    <a:pt x="477" y="208"/>
                  </a:lnTo>
                  <a:lnTo>
                    <a:pt x="478" y="232"/>
                  </a:lnTo>
                  <a:lnTo>
                    <a:pt x="478" y="232"/>
                  </a:lnTo>
                  <a:close/>
                  <a:moveTo>
                    <a:pt x="478" y="232"/>
                  </a:moveTo>
                  <a:lnTo>
                    <a:pt x="478" y="23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66" name="Freeform 19"/>
            <p:cNvSpPr>
              <a:spLocks/>
            </p:cNvSpPr>
            <p:nvPr userDrawn="1"/>
          </p:nvSpPr>
          <p:spPr bwMode="auto">
            <a:xfrm>
              <a:off x="5510" y="659"/>
              <a:ext cx="160" cy="156"/>
            </a:xfrm>
            <a:custGeom>
              <a:avLst/>
              <a:gdLst>
                <a:gd name="T0" fmla="*/ 478 w 478"/>
                <a:gd name="T1" fmla="*/ 232 h 466"/>
                <a:gd name="T2" fmla="*/ 474 w 478"/>
                <a:gd name="T3" fmla="*/ 279 h 466"/>
                <a:gd name="T4" fmla="*/ 460 w 478"/>
                <a:gd name="T5" fmla="*/ 323 h 466"/>
                <a:gd name="T6" fmla="*/ 437 w 478"/>
                <a:gd name="T7" fmla="*/ 363 h 466"/>
                <a:gd name="T8" fmla="*/ 408 w 478"/>
                <a:gd name="T9" fmla="*/ 398 h 466"/>
                <a:gd name="T10" fmla="*/ 373 w 478"/>
                <a:gd name="T11" fmla="*/ 426 h 466"/>
                <a:gd name="T12" fmla="*/ 332 w 478"/>
                <a:gd name="T13" fmla="*/ 447 h 466"/>
                <a:gd name="T14" fmla="*/ 288 w 478"/>
                <a:gd name="T15" fmla="*/ 460 h 466"/>
                <a:gd name="T16" fmla="*/ 239 w 478"/>
                <a:gd name="T17" fmla="*/ 466 h 466"/>
                <a:gd name="T18" fmla="*/ 215 w 478"/>
                <a:gd name="T19" fmla="*/ 465 h 466"/>
                <a:gd name="T20" fmla="*/ 168 w 478"/>
                <a:gd name="T21" fmla="*/ 455 h 466"/>
                <a:gd name="T22" fmla="*/ 125 w 478"/>
                <a:gd name="T23" fmla="*/ 437 h 466"/>
                <a:gd name="T24" fmla="*/ 88 w 478"/>
                <a:gd name="T25" fmla="*/ 412 h 466"/>
                <a:gd name="T26" fmla="*/ 55 w 478"/>
                <a:gd name="T27" fmla="*/ 380 h 466"/>
                <a:gd name="T28" fmla="*/ 29 w 478"/>
                <a:gd name="T29" fmla="*/ 343 h 466"/>
                <a:gd name="T30" fmla="*/ 12 w 478"/>
                <a:gd name="T31" fmla="*/ 302 h 466"/>
                <a:gd name="T32" fmla="*/ 2 w 478"/>
                <a:gd name="T33" fmla="*/ 256 h 466"/>
                <a:gd name="T34" fmla="*/ 0 w 478"/>
                <a:gd name="T35" fmla="*/ 232 h 466"/>
                <a:gd name="T36" fmla="*/ 5 w 478"/>
                <a:gd name="T37" fmla="*/ 185 h 466"/>
                <a:gd name="T38" fmla="*/ 19 w 478"/>
                <a:gd name="T39" fmla="*/ 141 h 466"/>
                <a:gd name="T40" fmla="*/ 42 w 478"/>
                <a:gd name="T41" fmla="*/ 103 h 466"/>
                <a:gd name="T42" fmla="*/ 70 w 478"/>
                <a:gd name="T43" fmla="*/ 68 h 466"/>
                <a:gd name="T44" fmla="*/ 106 w 478"/>
                <a:gd name="T45" fmla="*/ 40 h 466"/>
                <a:gd name="T46" fmla="*/ 146 w 478"/>
                <a:gd name="T47" fmla="*/ 17 h 466"/>
                <a:gd name="T48" fmla="*/ 191 w 478"/>
                <a:gd name="T49" fmla="*/ 4 h 466"/>
                <a:gd name="T50" fmla="*/ 239 w 478"/>
                <a:gd name="T51" fmla="*/ 0 h 466"/>
                <a:gd name="T52" fmla="*/ 264 w 478"/>
                <a:gd name="T53" fmla="*/ 0 h 466"/>
                <a:gd name="T54" fmla="*/ 311 w 478"/>
                <a:gd name="T55" fmla="*/ 10 h 466"/>
                <a:gd name="T56" fmla="*/ 354 w 478"/>
                <a:gd name="T57" fmla="*/ 27 h 466"/>
                <a:gd name="T58" fmla="*/ 391 w 478"/>
                <a:gd name="T59" fmla="*/ 53 h 466"/>
                <a:gd name="T60" fmla="*/ 424 w 478"/>
                <a:gd name="T61" fmla="*/ 84 h 466"/>
                <a:gd name="T62" fmla="*/ 450 w 478"/>
                <a:gd name="T63" fmla="*/ 121 h 466"/>
                <a:gd name="T64" fmla="*/ 467 w 478"/>
                <a:gd name="T65" fmla="*/ 164 h 466"/>
                <a:gd name="T66" fmla="*/ 477 w 478"/>
                <a:gd name="T67" fmla="*/ 208 h 466"/>
                <a:gd name="T68" fmla="*/ 478 w 478"/>
                <a:gd name="T69" fmla="*/ 232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78" h="466">
                  <a:moveTo>
                    <a:pt x="478" y="232"/>
                  </a:moveTo>
                  <a:lnTo>
                    <a:pt x="478" y="232"/>
                  </a:lnTo>
                  <a:lnTo>
                    <a:pt x="477" y="256"/>
                  </a:lnTo>
                  <a:lnTo>
                    <a:pt x="474" y="279"/>
                  </a:lnTo>
                  <a:lnTo>
                    <a:pt x="467" y="302"/>
                  </a:lnTo>
                  <a:lnTo>
                    <a:pt x="460" y="323"/>
                  </a:lnTo>
                  <a:lnTo>
                    <a:pt x="450" y="343"/>
                  </a:lnTo>
                  <a:lnTo>
                    <a:pt x="437" y="363"/>
                  </a:lnTo>
                  <a:lnTo>
                    <a:pt x="424" y="380"/>
                  </a:lnTo>
                  <a:lnTo>
                    <a:pt x="408" y="398"/>
                  </a:lnTo>
                  <a:lnTo>
                    <a:pt x="391" y="412"/>
                  </a:lnTo>
                  <a:lnTo>
                    <a:pt x="373" y="426"/>
                  </a:lnTo>
                  <a:lnTo>
                    <a:pt x="354" y="437"/>
                  </a:lnTo>
                  <a:lnTo>
                    <a:pt x="332" y="447"/>
                  </a:lnTo>
                  <a:lnTo>
                    <a:pt x="311" y="455"/>
                  </a:lnTo>
                  <a:lnTo>
                    <a:pt x="288" y="460"/>
                  </a:lnTo>
                  <a:lnTo>
                    <a:pt x="264" y="465"/>
                  </a:lnTo>
                  <a:lnTo>
                    <a:pt x="239" y="466"/>
                  </a:lnTo>
                  <a:lnTo>
                    <a:pt x="239" y="466"/>
                  </a:lnTo>
                  <a:lnTo>
                    <a:pt x="215" y="465"/>
                  </a:lnTo>
                  <a:lnTo>
                    <a:pt x="191" y="460"/>
                  </a:lnTo>
                  <a:lnTo>
                    <a:pt x="168" y="455"/>
                  </a:lnTo>
                  <a:lnTo>
                    <a:pt x="146" y="447"/>
                  </a:lnTo>
                  <a:lnTo>
                    <a:pt x="125" y="437"/>
                  </a:lnTo>
                  <a:lnTo>
                    <a:pt x="106" y="426"/>
                  </a:lnTo>
                  <a:lnTo>
                    <a:pt x="88" y="412"/>
                  </a:lnTo>
                  <a:lnTo>
                    <a:pt x="70" y="398"/>
                  </a:lnTo>
                  <a:lnTo>
                    <a:pt x="55" y="380"/>
                  </a:lnTo>
                  <a:lnTo>
                    <a:pt x="42" y="363"/>
                  </a:lnTo>
                  <a:lnTo>
                    <a:pt x="29" y="343"/>
                  </a:lnTo>
                  <a:lnTo>
                    <a:pt x="19" y="323"/>
                  </a:lnTo>
                  <a:lnTo>
                    <a:pt x="12" y="302"/>
                  </a:lnTo>
                  <a:lnTo>
                    <a:pt x="5" y="279"/>
                  </a:lnTo>
                  <a:lnTo>
                    <a:pt x="2" y="256"/>
                  </a:lnTo>
                  <a:lnTo>
                    <a:pt x="0" y="232"/>
                  </a:lnTo>
                  <a:lnTo>
                    <a:pt x="0" y="232"/>
                  </a:lnTo>
                  <a:lnTo>
                    <a:pt x="2" y="208"/>
                  </a:lnTo>
                  <a:lnTo>
                    <a:pt x="5" y="185"/>
                  </a:lnTo>
                  <a:lnTo>
                    <a:pt x="12" y="164"/>
                  </a:lnTo>
                  <a:lnTo>
                    <a:pt x="19" y="141"/>
                  </a:lnTo>
                  <a:lnTo>
                    <a:pt x="29" y="121"/>
                  </a:lnTo>
                  <a:lnTo>
                    <a:pt x="42" y="103"/>
                  </a:lnTo>
                  <a:lnTo>
                    <a:pt x="55" y="84"/>
                  </a:lnTo>
                  <a:lnTo>
                    <a:pt x="70" y="68"/>
                  </a:lnTo>
                  <a:lnTo>
                    <a:pt x="88" y="53"/>
                  </a:lnTo>
                  <a:lnTo>
                    <a:pt x="106" y="40"/>
                  </a:lnTo>
                  <a:lnTo>
                    <a:pt x="125" y="27"/>
                  </a:lnTo>
                  <a:lnTo>
                    <a:pt x="146" y="17"/>
                  </a:lnTo>
                  <a:lnTo>
                    <a:pt x="168" y="10"/>
                  </a:lnTo>
                  <a:lnTo>
                    <a:pt x="191" y="4"/>
                  </a:lnTo>
                  <a:lnTo>
                    <a:pt x="215" y="0"/>
                  </a:lnTo>
                  <a:lnTo>
                    <a:pt x="239" y="0"/>
                  </a:lnTo>
                  <a:lnTo>
                    <a:pt x="239" y="0"/>
                  </a:lnTo>
                  <a:lnTo>
                    <a:pt x="264" y="0"/>
                  </a:lnTo>
                  <a:lnTo>
                    <a:pt x="288" y="4"/>
                  </a:lnTo>
                  <a:lnTo>
                    <a:pt x="311" y="10"/>
                  </a:lnTo>
                  <a:lnTo>
                    <a:pt x="332" y="17"/>
                  </a:lnTo>
                  <a:lnTo>
                    <a:pt x="354" y="27"/>
                  </a:lnTo>
                  <a:lnTo>
                    <a:pt x="373" y="40"/>
                  </a:lnTo>
                  <a:lnTo>
                    <a:pt x="391" y="53"/>
                  </a:lnTo>
                  <a:lnTo>
                    <a:pt x="408" y="67"/>
                  </a:lnTo>
                  <a:lnTo>
                    <a:pt x="424" y="84"/>
                  </a:lnTo>
                  <a:lnTo>
                    <a:pt x="437" y="103"/>
                  </a:lnTo>
                  <a:lnTo>
                    <a:pt x="450" y="121"/>
                  </a:lnTo>
                  <a:lnTo>
                    <a:pt x="460" y="141"/>
                  </a:lnTo>
                  <a:lnTo>
                    <a:pt x="467" y="164"/>
                  </a:lnTo>
                  <a:lnTo>
                    <a:pt x="474" y="185"/>
                  </a:lnTo>
                  <a:lnTo>
                    <a:pt x="477" y="208"/>
                  </a:lnTo>
                  <a:lnTo>
                    <a:pt x="478" y="232"/>
                  </a:lnTo>
                  <a:lnTo>
                    <a:pt x="478" y="23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67" name="Line 20"/>
            <p:cNvSpPr>
              <a:spLocks noChangeShapeType="1"/>
            </p:cNvSpPr>
            <p:nvPr userDrawn="1"/>
          </p:nvSpPr>
          <p:spPr bwMode="auto">
            <a:xfrm>
              <a:off x="5670" y="737"/>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pic>
          <p:nvPicPr>
            <p:cNvPr id="68" name="Picture 21"/>
            <p:cNvPicPr>
              <a:picLocks noChangeAspect="1" noChangeArrowheads="1"/>
            </p:cNvPicPr>
            <p:nvPr userDrawn="1"/>
          </p:nvPicPr>
          <p:blipFill>
            <a:blip r:embed="rId7" cstate="hqprint">
              <a:extLst>
                <a:ext uri="{28A0092B-C50C-407E-A947-70E740481C1C}">
                  <a14:useLocalDpi xmlns:a14="http://schemas.microsoft.com/office/drawing/2010/main" val="0"/>
                </a:ext>
              </a:extLst>
            </a:blip>
            <a:srcRect/>
            <a:stretch>
              <a:fillRect/>
            </a:stretch>
          </p:blipFill>
          <p:spPr bwMode="auto">
            <a:xfrm>
              <a:off x="5478" y="637"/>
              <a:ext cx="282" cy="2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9" name="Freeform 22"/>
            <p:cNvSpPr>
              <a:spLocks noEditPoints="1"/>
            </p:cNvSpPr>
            <p:nvPr userDrawn="1"/>
          </p:nvSpPr>
          <p:spPr bwMode="auto">
            <a:xfrm>
              <a:off x="5526" y="673"/>
              <a:ext cx="138" cy="139"/>
            </a:xfrm>
            <a:custGeom>
              <a:avLst/>
              <a:gdLst>
                <a:gd name="T0" fmla="*/ 415 w 415"/>
                <a:gd name="T1" fmla="*/ 209 h 417"/>
                <a:gd name="T2" fmla="*/ 411 w 415"/>
                <a:gd name="T3" fmla="*/ 251 h 417"/>
                <a:gd name="T4" fmla="*/ 400 w 415"/>
                <a:gd name="T5" fmla="*/ 291 h 417"/>
                <a:gd name="T6" fmla="*/ 379 w 415"/>
                <a:gd name="T7" fmla="*/ 325 h 417"/>
                <a:gd name="T8" fmla="*/ 355 w 415"/>
                <a:gd name="T9" fmla="*/ 356 h 417"/>
                <a:gd name="T10" fmla="*/ 324 w 415"/>
                <a:gd name="T11" fmla="*/ 382 h 417"/>
                <a:gd name="T12" fmla="*/ 289 w 415"/>
                <a:gd name="T13" fmla="*/ 400 h 417"/>
                <a:gd name="T14" fmla="*/ 249 w 415"/>
                <a:gd name="T15" fmla="*/ 413 h 417"/>
                <a:gd name="T16" fmla="*/ 208 w 415"/>
                <a:gd name="T17" fmla="*/ 417 h 417"/>
                <a:gd name="T18" fmla="*/ 186 w 415"/>
                <a:gd name="T19" fmla="*/ 416 h 417"/>
                <a:gd name="T20" fmla="*/ 146 w 415"/>
                <a:gd name="T21" fmla="*/ 407 h 417"/>
                <a:gd name="T22" fmla="*/ 109 w 415"/>
                <a:gd name="T23" fmla="*/ 392 h 417"/>
                <a:gd name="T24" fmla="*/ 76 w 415"/>
                <a:gd name="T25" fmla="*/ 370 h 417"/>
                <a:gd name="T26" fmla="*/ 47 w 415"/>
                <a:gd name="T27" fmla="*/ 342 h 417"/>
                <a:gd name="T28" fmla="*/ 26 w 415"/>
                <a:gd name="T29" fmla="*/ 308 h 417"/>
                <a:gd name="T30" fmla="*/ 10 w 415"/>
                <a:gd name="T31" fmla="*/ 271 h 417"/>
                <a:gd name="T32" fmla="*/ 2 w 415"/>
                <a:gd name="T33" fmla="*/ 229 h 417"/>
                <a:gd name="T34" fmla="*/ 0 w 415"/>
                <a:gd name="T35" fmla="*/ 209 h 417"/>
                <a:gd name="T36" fmla="*/ 4 w 415"/>
                <a:gd name="T37" fmla="*/ 167 h 417"/>
                <a:gd name="T38" fmla="*/ 16 w 415"/>
                <a:gd name="T39" fmla="*/ 128 h 417"/>
                <a:gd name="T40" fmla="*/ 36 w 415"/>
                <a:gd name="T41" fmla="*/ 93 h 417"/>
                <a:gd name="T42" fmla="*/ 62 w 415"/>
                <a:gd name="T43" fmla="*/ 61 h 417"/>
                <a:gd name="T44" fmla="*/ 92 w 415"/>
                <a:gd name="T45" fmla="*/ 36 h 417"/>
                <a:gd name="T46" fmla="*/ 128 w 415"/>
                <a:gd name="T47" fmla="*/ 17 h 417"/>
                <a:gd name="T48" fmla="*/ 166 w 415"/>
                <a:gd name="T49" fmla="*/ 4 h 417"/>
                <a:gd name="T50" fmla="*/ 208 w 415"/>
                <a:gd name="T51" fmla="*/ 0 h 417"/>
                <a:gd name="T52" fmla="*/ 229 w 415"/>
                <a:gd name="T53" fmla="*/ 1 h 417"/>
                <a:gd name="T54" fmla="*/ 269 w 415"/>
                <a:gd name="T55" fmla="*/ 10 h 417"/>
                <a:gd name="T56" fmla="*/ 306 w 415"/>
                <a:gd name="T57" fmla="*/ 26 h 417"/>
                <a:gd name="T58" fmla="*/ 339 w 415"/>
                <a:gd name="T59" fmla="*/ 48 h 417"/>
                <a:gd name="T60" fmla="*/ 368 w 415"/>
                <a:gd name="T61" fmla="*/ 75 h 417"/>
                <a:gd name="T62" fmla="*/ 391 w 415"/>
                <a:gd name="T63" fmla="*/ 110 h 417"/>
                <a:gd name="T64" fmla="*/ 407 w 415"/>
                <a:gd name="T65" fmla="*/ 147 h 417"/>
                <a:gd name="T66" fmla="*/ 414 w 415"/>
                <a:gd name="T67" fmla="*/ 188 h 417"/>
                <a:gd name="T68" fmla="*/ 415 w 415"/>
                <a:gd name="T69" fmla="*/ 209 h 417"/>
                <a:gd name="T70" fmla="*/ 415 w 415"/>
                <a:gd name="T71" fmla="*/ 209 h 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15" h="417">
                  <a:moveTo>
                    <a:pt x="415" y="209"/>
                  </a:moveTo>
                  <a:lnTo>
                    <a:pt x="415" y="209"/>
                  </a:lnTo>
                  <a:lnTo>
                    <a:pt x="414" y="229"/>
                  </a:lnTo>
                  <a:lnTo>
                    <a:pt x="411" y="251"/>
                  </a:lnTo>
                  <a:lnTo>
                    <a:pt x="407" y="271"/>
                  </a:lnTo>
                  <a:lnTo>
                    <a:pt x="400" y="291"/>
                  </a:lnTo>
                  <a:lnTo>
                    <a:pt x="391" y="308"/>
                  </a:lnTo>
                  <a:lnTo>
                    <a:pt x="379" y="325"/>
                  </a:lnTo>
                  <a:lnTo>
                    <a:pt x="368" y="342"/>
                  </a:lnTo>
                  <a:lnTo>
                    <a:pt x="355" y="356"/>
                  </a:lnTo>
                  <a:lnTo>
                    <a:pt x="339" y="370"/>
                  </a:lnTo>
                  <a:lnTo>
                    <a:pt x="324" y="382"/>
                  </a:lnTo>
                  <a:lnTo>
                    <a:pt x="306" y="392"/>
                  </a:lnTo>
                  <a:lnTo>
                    <a:pt x="289" y="400"/>
                  </a:lnTo>
                  <a:lnTo>
                    <a:pt x="269" y="407"/>
                  </a:lnTo>
                  <a:lnTo>
                    <a:pt x="249" y="413"/>
                  </a:lnTo>
                  <a:lnTo>
                    <a:pt x="229" y="416"/>
                  </a:lnTo>
                  <a:lnTo>
                    <a:pt x="208" y="417"/>
                  </a:lnTo>
                  <a:lnTo>
                    <a:pt x="208" y="417"/>
                  </a:lnTo>
                  <a:lnTo>
                    <a:pt x="186" y="416"/>
                  </a:lnTo>
                  <a:lnTo>
                    <a:pt x="166" y="413"/>
                  </a:lnTo>
                  <a:lnTo>
                    <a:pt x="146" y="407"/>
                  </a:lnTo>
                  <a:lnTo>
                    <a:pt x="128" y="400"/>
                  </a:lnTo>
                  <a:lnTo>
                    <a:pt x="109" y="392"/>
                  </a:lnTo>
                  <a:lnTo>
                    <a:pt x="92" y="382"/>
                  </a:lnTo>
                  <a:lnTo>
                    <a:pt x="76" y="370"/>
                  </a:lnTo>
                  <a:lnTo>
                    <a:pt x="62" y="356"/>
                  </a:lnTo>
                  <a:lnTo>
                    <a:pt x="47" y="342"/>
                  </a:lnTo>
                  <a:lnTo>
                    <a:pt x="36" y="325"/>
                  </a:lnTo>
                  <a:lnTo>
                    <a:pt x="26" y="308"/>
                  </a:lnTo>
                  <a:lnTo>
                    <a:pt x="16" y="291"/>
                  </a:lnTo>
                  <a:lnTo>
                    <a:pt x="10" y="271"/>
                  </a:lnTo>
                  <a:lnTo>
                    <a:pt x="4" y="251"/>
                  </a:lnTo>
                  <a:lnTo>
                    <a:pt x="2" y="229"/>
                  </a:lnTo>
                  <a:lnTo>
                    <a:pt x="0" y="209"/>
                  </a:lnTo>
                  <a:lnTo>
                    <a:pt x="0" y="209"/>
                  </a:lnTo>
                  <a:lnTo>
                    <a:pt x="2" y="188"/>
                  </a:lnTo>
                  <a:lnTo>
                    <a:pt x="4" y="167"/>
                  </a:lnTo>
                  <a:lnTo>
                    <a:pt x="10" y="147"/>
                  </a:lnTo>
                  <a:lnTo>
                    <a:pt x="16" y="128"/>
                  </a:lnTo>
                  <a:lnTo>
                    <a:pt x="26" y="110"/>
                  </a:lnTo>
                  <a:lnTo>
                    <a:pt x="36" y="93"/>
                  </a:lnTo>
                  <a:lnTo>
                    <a:pt x="47" y="75"/>
                  </a:lnTo>
                  <a:lnTo>
                    <a:pt x="62" y="61"/>
                  </a:lnTo>
                  <a:lnTo>
                    <a:pt x="76" y="48"/>
                  </a:lnTo>
                  <a:lnTo>
                    <a:pt x="92" y="36"/>
                  </a:lnTo>
                  <a:lnTo>
                    <a:pt x="109" y="26"/>
                  </a:lnTo>
                  <a:lnTo>
                    <a:pt x="128" y="17"/>
                  </a:lnTo>
                  <a:lnTo>
                    <a:pt x="146" y="10"/>
                  </a:lnTo>
                  <a:lnTo>
                    <a:pt x="166" y="4"/>
                  </a:lnTo>
                  <a:lnTo>
                    <a:pt x="186" y="1"/>
                  </a:lnTo>
                  <a:lnTo>
                    <a:pt x="208" y="0"/>
                  </a:lnTo>
                  <a:lnTo>
                    <a:pt x="208" y="0"/>
                  </a:lnTo>
                  <a:lnTo>
                    <a:pt x="229" y="1"/>
                  </a:lnTo>
                  <a:lnTo>
                    <a:pt x="249" y="4"/>
                  </a:lnTo>
                  <a:lnTo>
                    <a:pt x="269" y="10"/>
                  </a:lnTo>
                  <a:lnTo>
                    <a:pt x="289" y="17"/>
                  </a:lnTo>
                  <a:lnTo>
                    <a:pt x="306" y="26"/>
                  </a:lnTo>
                  <a:lnTo>
                    <a:pt x="324" y="36"/>
                  </a:lnTo>
                  <a:lnTo>
                    <a:pt x="339" y="48"/>
                  </a:lnTo>
                  <a:lnTo>
                    <a:pt x="355" y="61"/>
                  </a:lnTo>
                  <a:lnTo>
                    <a:pt x="368" y="75"/>
                  </a:lnTo>
                  <a:lnTo>
                    <a:pt x="379" y="93"/>
                  </a:lnTo>
                  <a:lnTo>
                    <a:pt x="391" y="110"/>
                  </a:lnTo>
                  <a:lnTo>
                    <a:pt x="400" y="128"/>
                  </a:lnTo>
                  <a:lnTo>
                    <a:pt x="407" y="147"/>
                  </a:lnTo>
                  <a:lnTo>
                    <a:pt x="411" y="167"/>
                  </a:lnTo>
                  <a:lnTo>
                    <a:pt x="414" y="188"/>
                  </a:lnTo>
                  <a:lnTo>
                    <a:pt x="415" y="209"/>
                  </a:lnTo>
                  <a:lnTo>
                    <a:pt x="415" y="209"/>
                  </a:lnTo>
                  <a:close/>
                  <a:moveTo>
                    <a:pt x="415" y="209"/>
                  </a:moveTo>
                  <a:lnTo>
                    <a:pt x="415" y="20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70" name="Freeform 23"/>
            <p:cNvSpPr>
              <a:spLocks/>
            </p:cNvSpPr>
            <p:nvPr userDrawn="1"/>
          </p:nvSpPr>
          <p:spPr bwMode="auto">
            <a:xfrm>
              <a:off x="5526" y="673"/>
              <a:ext cx="138" cy="139"/>
            </a:xfrm>
            <a:custGeom>
              <a:avLst/>
              <a:gdLst>
                <a:gd name="T0" fmla="*/ 415 w 415"/>
                <a:gd name="T1" fmla="*/ 209 h 417"/>
                <a:gd name="T2" fmla="*/ 411 w 415"/>
                <a:gd name="T3" fmla="*/ 251 h 417"/>
                <a:gd name="T4" fmla="*/ 400 w 415"/>
                <a:gd name="T5" fmla="*/ 291 h 417"/>
                <a:gd name="T6" fmla="*/ 379 w 415"/>
                <a:gd name="T7" fmla="*/ 325 h 417"/>
                <a:gd name="T8" fmla="*/ 355 w 415"/>
                <a:gd name="T9" fmla="*/ 356 h 417"/>
                <a:gd name="T10" fmla="*/ 324 w 415"/>
                <a:gd name="T11" fmla="*/ 382 h 417"/>
                <a:gd name="T12" fmla="*/ 289 w 415"/>
                <a:gd name="T13" fmla="*/ 400 h 417"/>
                <a:gd name="T14" fmla="*/ 249 w 415"/>
                <a:gd name="T15" fmla="*/ 413 h 417"/>
                <a:gd name="T16" fmla="*/ 208 w 415"/>
                <a:gd name="T17" fmla="*/ 417 h 417"/>
                <a:gd name="T18" fmla="*/ 186 w 415"/>
                <a:gd name="T19" fmla="*/ 416 h 417"/>
                <a:gd name="T20" fmla="*/ 146 w 415"/>
                <a:gd name="T21" fmla="*/ 407 h 417"/>
                <a:gd name="T22" fmla="*/ 109 w 415"/>
                <a:gd name="T23" fmla="*/ 392 h 417"/>
                <a:gd name="T24" fmla="*/ 76 w 415"/>
                <a:gd name="T25" fmla="*/ 370 h 417"/>
                <a:gd name="T26" fmla="*/ 47 w 415"/>
                <a:gd name="T27" fmla="*/ 342 h 417"/>
                <a:gd name="T28" fmla="*/ 26 w 415"/>
                <a:gd name="T29" fmla="*/ 308 h 417"/>
                <a:gd name="T30" fmla="*/ 10 w 415"/>
                <a:gd name="T31" fmla="*/ 271 h 417"/>
                <a:gd name="T32" fmla="*/ 2 w 415"/>
                <a:gd name="T33" fmla="*/ 229 h 417"/>
                <a:gd name="T34" fmla="*/ 0 w 415"/>
                <a:gd name="T35" fmla="*/ 209 h 417"/>
                <a:gd name="T36" fmla="*/ 4 w 415"/>
                <a:gd name="T37" fmla="*/ 167 h 417"/>
                <a:gd name="T38" fmla="*/ 16 w 415"/>
                <a:gd name="T39" fmla="*/ 128 h 417"/>
                <a:gd name="T40" fmla="*/ 36 w 415"/>
                <a:gd name="T41" fmla="*/ 93 h 417"/>
                <a:gd name="T42" fmla="*/ 62 w 415"/>
                <a:gd name="T43" fmla="*/ 61 h 417"/>
                <a:gd name="T44" fmla="*/ 92 w 415"/>
                <a:gd name="T45" fmla="*/ 36 h 417"/>
                <a:gd name="T46" fmla="*/ 128 w 415"/>
                <a:gd name="T47" fmla="*/ 17 h 417"/>
                <a:gd name="T48" fmla="*/ 166 w 415"/>
                <a:gd name="T49" fmla="*/ 4 h 417"/>
                <a:gd name="T50" fmla="*/ 208 w 415"/>
                <a:gd name="T51" fmla="*/ 0 h 417"/>
                <a:gd name="T52" fmla="*/ 229 w 415"/>
                <a:gd name="T53" fmla="*/ 1 h 417"/>
                <a:gd name="T54" fmla="*/ 269 w 415"/>
                <a:gd name="T55" fmla="*/ 10 h 417"/>
                <a:gd name="T56" fmla="*/ 306 w 415"/>
                <a:gd name="T57" fmla="*/ 26 h 417"/>
                <a:gd name="T58" fmla="*/ 339 w 415"/>
                <a:gd name="T59" fmla="*/ 48 h 417"/>
                <a:gd name="T60" fmla="*/ 368 w 415"/>
                <a:gd name="T61" fmla="*/ 75 h 417"/>
                <a:gd name="T62" fmla="*/ 391 w 415"/>
                <a:gd name="T63" fmla="*/ 110 h 417"/>
                <a:gd name="T64" fmla="*/ 407 w 415"/>
                <a:gd name="T65" fmla="*/ 147 h 417"/>
                <a:gd name="T66" fmla="*/ 414 w 415"/>
                <a:gd name="T67" fmla="*/ 188 h 417"/>
                <a:gd name="T68" fmla="*/ 415 w 415"/>
                <a:gd name="T69" fmla="*/ 209 h 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15" h="417">
                  <a:moveTo>
                    <a:pt x="415" y="209"/>
                  </a:moveTo>
                  <a:lnTo>
                    <a:pt x="415" y="209"/>
                  </a:lnTo>
                  <a:lnTo>
                    <a:pt x="414" y="229"/>
                  </a:lnTo>
                  <a:lnTo>
                    <a:pt x="411" y="251"/>
                  </a:lnTo>
                  <a:lnTo>
                    <a:pt x="407" y="271"/>
                  </a:lnTo>
                  <a:lnTo>
                    <a:pt x="400" y="291"/>
                  </a:lnTo>
                  <a:lnTo>
                    <a:pt x="391" y="308"/>
                  </a:lnTo>
                  <a:lnTo>
                    <a:pt x="379" y="325"/>
                  </a:lnTo>
                  <a:lnTo>
                    <a:pt x="368" y="342"/>
                  </a:lnTo>
                  <a:lnTo>
                    <a:pt x="355" y="356"/>
                  </a:lnTo>
                  <a:lnTo>
                    <a:pt x="339" y="370"/>
                  </a:lnTo>
                  <a:lnTo>
                    <a:pt x="324" y="382"/>
                  </a:lnTo>
                  <a:lnTo>
                    <a:pt x="306" y="392"/>
                  </a:lnTo>
                  <a:lnTo>
                    <a:pt x="289" y="400"/>
                  </a:lnTo>
                  <a:lnTo>
                    <a:pt x="269" y="407"/>
                  </a:lnTo>
                  <a:lnTo>
                    <a:pt x="249" y="413"/>
                  </a:lnTo>
                  <a:lnTo>
                    <a:pt x="229" y="416"/>
                  </a:lnTo>
                  <a:lnTo>
                    <a:pt x="208" y="417"/>
                  </a:lnTo>
                  <a:lnTo>
                    <a:pt x="208" y="417"/>
                  </a:lnTo>
                  <a:lnTo>
                    <a:pt x="186" y="416"/>
                  </a:lnTo>
                  <a:lnTo>
                    <a:pt x="166" y="413"/>
                  </a:lnTo>
                  <a:lnTo>
                    <a:pt x="146" y="407"/>
                  </a:lnTo>
                  <a:lnTo>
                    <a:pt x="128" y="400"/>
                  </a:lnTo>
                  <a:lnTo>
                    <a:pt x="109" y="392"/>
                  </a:lnTo>
                  <a:lnTo>
                    <a:pt x="92" y="382"/>
                  </a:lnTo>
                  <a:lnTo>
                    <a:pt x="76" y="370"/>
                  </a:lnTo>
                  <a:lnTo>
                    <a:pt x="62" y="356"/>
                  </a:lnTo>
                  <a:lnTo>
                    <a:pt x="47" y="342"/>
                  </a:lnTo>
                  <a:lnTo>
                    <a:pt x="36" y="325"/>
                  </a:lnTo>
                  <a:lnTo>
                    <a:pt x="26" y="308"/>
                  </a:lnTo>
                  <a:lnTo>
                    <a:pt x="16" y="291"/>
                  </a:lnTo>
                  <a:lnTo>
                    <a:pt x="10" y="271"/>
                  </a:lnTo>
                  <a:lnTo>
                    <a:pt x="4" y="251"/>
                  </a:lnTo>
                  <a:lnTo>
                    <a:pt x="2" y="229"/>
                  </a:lnTo>
                  <a:lnTo>
                    <a:pt x="0" y="209"/>
                  </a:lnTo>
                  <a:lnTo>
                    <a:pt x="0" y="209"/>
                  </a:lnTo>
                  <a:lnTo>
                    <a:pt x="2" y="188"/>
                  </a:lnTo>
                  <a:lnTo>
                    <a:pt x="4" y="167"/>
                  </a:lnTo>
                  <a:lnTo>
                    <a:pt x="10" y="147"/>
                  </a:lnTo>
                  <a:lnTo>
                    <a:pt x="16" y="128"/>
                  </a:lnTo>
                  <a:lnTo>
                    <a:pt x="26" y="110"/>
                  </a:lnTo>
                  <a:lnTo>
                    <a:pt x="36" y="93"/>
                  </a:lnTo>
                  <a:lnTo>
                    <a:pt x="47" y="75"/>
                  </a:lnTo>
                  <a:lnTo>
                    <a:pt x="62" y="61"/>
                  </a:lnTo>
                  <a:lnTo>
                    <a:pt x="76" y="48"/>
                  </a:lnTo>
                  <a:lnTo>
                    <a:pt x="92" y="36"/>
                  </a:lnTo>
                  <a:lnTo>
                    <a:pt x="109" y="26"/>
                  </a:lnTo>
                  <a:lnTo>
                    <a:pt x="128" y="17"/>
                  </a:lnTo>
                  <a:lnTo>
                    <a:pt x="146" y="10"/>
                  </a:lnTo>
                  <a:lnTo>
                    <a:pt x="166" y="4"/>
                  </a:lnTo>
                  <a:lnTo>
                    <a:pt x="186" y="1"/>
                  </a:lnTo>
                  <a:lnTo>
                    <a:pt x="208" y="0"/>
                  </a:lnTo>
                  <a:lnTo>
                    <a:pt x="208" y="0"/>
                  </a:lnTo>
                  <a:lnTo>
                    <a:pt x="229" y="1"/>
                  </a:lnTo>
                  <a:lnTo>
                    <a:pt x="249" y="4"/>
                  </a:lnTo>
                  <a:lnTo>
                    <a:pt x="269" y="10"/>
                  </a:lnTo>
                  <a:lnTo>
                    <a:pt x="289" y="17"/>
                  </a:lnTo>
                  <a:lnTo>
                    <a:pt x="306" y="26"/>
                  </a:lnTo>
                  <a:lnTo>
                    <a:pt x="324" y="36"/>
                  </a:lnTo>
                  <a:lnTo>
                    <a:pt x="339" y="48"/>
                  </a:lnTo>
                  <a:lnTo>
                    <a:pt x="355" y="61"/>
                  </a:lnTo>
                  <a:lnTo>
                    <a:pt x="368" y="75"/>
                  </a:lnTo>
                  <a:lnTo>
                    <a:pt x="379" y="93"/>
                  </a:lnTo>
                  <a:lnTo>
                    <a:pt x="391" y="110"/>
                  </a:lnTo>
                  <a:lnTo>
                    <a:pt x="400" y="128"/>
                  </a:lnTo>
                  <a:lnTo>
                    <a:pt x="407" y="147"/>
                  </a:lnTo>
                  <a:lnTo>
                    <a:pt x="411" y="167"/>
                  </a:lnTo>
                  <a:lnTo>
                    <a:pt x="414" y="188"/>
                  </a:lnTo>
                  <a:lnTo>
                    <a:pt x="415" y="209"/>
                  </a:lnTo>
                  <a:lnTo>
                    <a:pt x="415" y="20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71" name="Line 24"/>
            <p:cNvSpPr>
              <a:spLocks noChangeShapeType="1"/>
            </p:cNvSpPr>
            <p:nvPr userDrawn="1"/>
          </p:nvSpPr>
          <p:spPr bwMode="auto">
            <a:xfrm>
              <a:off x="5664" y="742"/>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pic>
          <p:nvPicPr>
            <p:cNvPr id="72" name="Picture 25"/>
            <p:cNvPicPr>
              <a:picLocks noChangeAspect="1" noChangeArrowheads="1"/>
            </p:cNvPicPr>
            <p:nvPr userDrawn="1"/>
          </p:nvPicPr>
          <p:blipFill>
            <a:blip r:embed="rId8" cstate="hqprint">
              <a:extLst>
                <a:ext uri="{28A0092B-C50C-407E-A947-70E740481C1C}">
                  <a14:useLocalDpi xmlns:a14="http://schemas.microsoft.com/office/drawing/2010/main" val="0"/>
                </a:ext>
              </a:extLst>
            </a:blip>
            <a:srcRect/>
            <a:stretch>
              <a:fillRect/>
            </a:stretch>
          </p:blipFill>
          <p:spPr bwMode="auto">
            <a:xfrm>
              <a:off x="5478" y="637"/>
              <a:ext cx="282" cy="2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3" name="Freeform 26"/>
            <p:cNvSpPr>
              <a:spLocks noEditPoints="1"/>
            </p:cNvSpPr>
            <p:nvPr userDrawn="1"/>
          </p:nvSpPr>
          <p:spPr bwMode="auto">
            <a:xfrm>
              <a:off x="5563" y="717"/>
              <a:ext cx="44" cy="62"/>
            </a:xfrm>
            <a:custGeom>
              <a:avLst/>
              <a:gdLst>
                <a:gd name="T0" fmla="*/ 6 w 133"/>
                <a:gd name="T1" fmla="*/ 187 h 187"/>
                <a:gd name="T2" fmla="*/ 1 w 133"/>
                <a:gd name="T3" fmla="*/ 179 h 187"/>
                <a:gd name="T4" fmla="*/ 1 w 133"/>
                <a:gd name="T5" fmla="*/ 151 h 187"/>
                <a:gd name="T6" fmla="*/ 6 w 133"/>
                <a:gd name="T7" fmla="*/ 143 h 187"/>
                <a:gd name="T8" fmla="*/ 61 w 133"/>
                <a:gd name="T9" fmla="*/ 144 h 187"/>
                <a:gd name="T10" fmla="*/ 73 w 133"/>
                <a:gd name="T11" fmla="*/ 144 h 187"/>
                <a:gd name="T12" fmla="*/ 87 w 133"/>
                <a:gd name="T13" fmla="*/ 143 h 187"/>
                <a:gd name="T14" fmla="*/ 91 w 133"/>
                <a:gd name="T15" fmla="*/ 136 h 187"/>
                <a:gd name="T16" fmla="*/ 93 w 133"/>
                <a:gd name="T17" fmla="*/ 130 h 187"/>
                <a:gd name="T18" fmla="*/ 90 w 133"/>
                <a:gd name="T19" fmla="*/ 124 h 187"/>
                <a:gd name="T20" fmla="*/ 66 w 133"/>
                <a:gd name="T21" fmla="*/ 114 h 187"/>
                <a:gd name="T22" fmla="*/ 51 w 133"/>
                <a:gd name="T23" fmla="*/ 107 h 187"/>
                <a:gd name="T24" fmla="*/ 30 w 133"/>
                <a:gd name="T25" fmla="*/ 96 h 187"/>
                <a:gd name="T26" fmla="*/ 17 w 133"/>
                <a:gd name="T27" fmla="*/ 83 h 187"/>
                <a:gd name="T28" fmla="*/ 11 w 133"/>
                <a:gd name="T29" fmla="*/ 76 h 187"/>
                <a:gd name="T30" fmla="*/ 7 w 133"/>
                <a:gd name="T31" fmla="*/ 60 h 187"/>
                <a:gd name="T32" fmla="*/ 6 w 133"/>
                <a:gd name="T33" fmla="*/ 52 h 187"/>
                <a:gd name="T34" fmla="*/ 10 w 133"/>
                <a:gd name="T35" fmla="*/ 27 h 187"/>
                <a:gd name="T36" fmla="*/ 24 w 133"/>
                <a:gd name="T37" fmla="*/ 10 h 187"/>
                <a:gd name="T38" fmla="*/ 28 w 133"/>
                <a:gd name="T39" fmla="*/ 8 h 187"/>
                <a:gd name="T40" fmla="*/ 44 w 133"/>
                <a:gd name="T41" fmla="*/ 2 h 187"/>
                <a:gd name="T42" fmla="*/ 73 w 133"/>
                <a:gd name="T43" fmla="*/ 0 h 187"/>
                <a:gd name="T44" fmla="*/ 121 w 133"/>
                <a:gd name="T45" fmla="*/ 0 h 187"/>
                <a:gd name="T46" fmla="*/ 126 w 133"/>
                <a:gd name="T47" fmla="*/ 9 h 187"/>
                <a:gd name="T48" fmla="*/ 126 w 133"/>
                <a:gd name="T49" fmla="*/ 33 h 187"/>
                <a:gd name="T50" fmla="*/ 121 w 133"/>
                <a:gd name="T51" fmla="*/ 42 h 187"/>
                <a:gd name="T52" fmla="*/ 79 w 133"/>
                <a:gd name="T53" fmla="*/ 42 h 187"/>
                <a:gd name="T54" fmla="*/ 54 w 133"/>
                <a:gd name="T55" fmla="*/ 43 h 187"/>
                <a:gd name="T56" fmla="*/ 47 w 133"/>
                <a:gd name="T57" fmla="*/ 46 h 187"/>
                <a:gd name="T58" fmla="*/ 44 w 133"/>
                <a:gd name="T59" fmla="*/ 53 h 187"/>
                <a:gd name="T60" fmla="*/ 46 w 133"/>
                <a:gd name="T61" fmla="*/ 59 h 187"/>
                <a:gd name="T62" fmla="*/ 57 w 133"/>
                <a:gd name="T63" fmla="*/ 69 h 187"/>
                <a:gd name="T64" fmla="*/ 79 w 133"/>
                <a:gd name="T65" fmla="*/ 79 h 187"/>
                <a:gd name="T66" fmla="*/ 86 w 133"/>
                <a:gd name="T67" fmla="*/ 80 h 187"/>
                <a:gd name="T68" fmla="*/ 116 w 133"/>
                <a:gd name="T69" fmla="*/ 93 h 187"/>
                <a:gd name="T70" fmla="*/ 121 w 133"/>
                <a:gd name="T71" fmla="*/ 99 h 187"/>
                <a:gd name="T72" fmla="*/ 130 w 133"/>
                <a:gd name="T73" fmla="*/ 113 h 187"/>
                <a:gd name="T74" fmla="*/ 133 w 133"/>
                <a:gd name="T75" fmla="*/ 132 h 187"/>
                <a:gd name="T76" fmla="*/ 131 w 133"/>
                <a:gd name="T77" fmla="*/ 143 h 187"/>
                <a:gd name="T78" fmla="*/ 123 w 133"/>
                <a:gd name="T79" fmla="*/ 164 h 187"/>
                <a:gd name="T80" fmla="*/ 114 w 133"/>
                <a:gd name="T81" fmla="*/ 173 h 187"/>
                <a:gd name="T82" fmla="*/ 94 w 133"/>
                <a:gd name="T83" fmla="*/ 184 h 187"/>
                <a:gd name="T84" fmla="*/ 69 w 133"/>
                <a:gd name="T85" fmla="*/ 187 h 187"/>
                <a:gd name="T86" fmla="*/ 6 w 133"/>
                <a:gd name="T87"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3" h="187">
                  <a:moveTo>
                    <a:pt x="6" y="187"/>
                  </a:moveTo>
                  <a:lnTo>
                    <a:pt x="6" y="187"/>
                  </a:lnTo>
                  <a:lnTo>
                    <a:pt x="3" y="184"/>
                  </a:lnTo>
                  <a:lnTo>
                    <a:pt x="1" y="179"/>
                  </a:lnTo>
                  <a:lnTo>
                    <a:pt x="0" y="166"/>
                  </a:lnTo>
                  <a:lnTo>
                    <a:pt x="1" y="151"/>
                  </a:lnTo>
                  <a:lnTo>
                    <a:pt x="3" y="147"/>
                  </a:lnTo>
                  <a:lnTo>
                    <a:pt x="6" y="143"/>
                  </a:lnTo>
                  <a:lnTo>
                    <a:pt x="6" y="143"/>
                  </a:lnTo>
                  <a:lnTo>
                    <a:pt x="61" y="144"/>
                  </a:lnTo>
                  <a:lnTo>
                    <a:pt x="61" y="144"/>
                  </a:lnTo>
                  <a:lnTo>
                    <a:pt x="73" y="144"/>
                  </a:lnTo>
                  <a:lnTo>
                    <a:pt x="83" y="144"/>
                  </a:lnTo>
                  <a:lnTo>
                    <a:pt x="87" y="143"/>
                  </a:lnTo>
                  <a:lnTo>
                    <a:pt x="90" y="140"/>
                  </a:lnTo>
                  <a:lnTo>
                    <a:pt x="91" y="136"/>
                  </a:lnTo>
                  <a:lnTo>
                    <a:pt x="93" y="130"/>
                  </a:lnTo>
                  <a:lnTo>
                    <a:pt x="93" y="130"/>
                  </a:lnTo>
                  <a:lnTo>
                    <a:pt x="91" y="127"/>
                  </a:lnTo>
                  <a:lnTo>
                    <a:pt x="90" y="124"/>
                  </a:lnTo>
                  <a:lnTo>
                    <a:pt x="84" y="122"/>
                  </a:lnTo>
                  <a:lnTo>
                    <a:pt x="66" y="114"/>
                  </a:lnTo>
                  <a:lnTo>
                    <a:pt x="51" y="107"/>
                  </a:lnTo>
                  <a:lnTo>
                    <a:pt x="51" y="107"/>
                  </a:lnTo>
                  <a:lnTo>
                    <a:pt x="40" y="102"/>
                  </a:lnTo>
                  <a:lnTo>
                    <a:pt x="30" y="96"/>
                  </a:lnTo>
                  <a:lnTo>
                    <a:pt x="23" y="89"/>
                  </a:lnTo>
                  <a:lnTo>
                    <a:pt x="17" y="83"/>
                  </a:lnTo>
                  <a:lnTo>
                    <a:pt x="17" y="83"/>
                  </a:lnTo>
                  <a:lnTo>
                    <a:pt x="11" y="76"/>
                  </a:lnTo>
                  <a:lnTo>
                    <a:pt x="8" y="69"/>
                  </a:lnTo>
                  <a:lnTo>
                    <a:pt x="7" y="60"/>
                  </a:lnTo>
                  <a:lnTo>
                    <a:pt x="6" y="52"/>
                  </a:lnTo>
                  <a:lnTo>
                    <a:pt x="6" y="52"/>
                  </a:lnTo>
                  <a:lnTo>
                    <a:pt x="7" y="39"/>
                  </a:lnTo>
                  <a:lnTo>
                    <a:pt x="10" y="27"/>
                  </a:lnTo>
                  <a:lnTo>
                    <a:pt x="16" y="19"/>
                  </a:lnTo>
                  <a:lnTo>
                    <a:pt x="24" y="10"/>
                  </a:lnTo>
                  <a:lnTo>
                    <a:pt x="24" y="10"/>
                  </a:lnTo>
                  <a:lnTo>
                    <a:pt x="28" y="8"/>
                  </a:lnTo>
                  <a:lnTo>
                    <a:pt x="33" y="5"/>
                  </a:lnTo>
                  <a:lnTo>
                    <a:pt x="44" y="2"/>
                  </a:lnTo>
                  <a:lnTo>
                    <a:pt x="58" y="0"/>
                  </a:lnTo>
                  <a:lnTo>
                    <a:pt x="73" y="0"/>
                  </a:lnTo>
                  <a:lnTo>
                    <a:pt x="121" y="0"/>
                  </a:lnTo>
                  <a:lnTo>
                    <a:pt x="121" y="0"/>
                  </a:lnTo>
                  <a:lnTo>
                    <a:pt x="124" y="3"/>
                  </a:lnTo>
                  <a:lnTo>
                    <a:pt x="126" y="9"/>
                  </a:lnTo>
                  <a:lnTo>
                    <a:pt x="127" y="20"/>
                  </a:lnTo>
                  <a:lnTo>
                    <a:pt x="126" y="33"/>
                  </a:lnTo>
                  <a:lnTo>
                    <a:pt x="124" y="39"/>
                  </a:lnTo>
                  <a:lnTo>
                    <a:pt x="121" y="42"/>
                  </a:lnTo>
                  <a:lnTo>
                    <a:pt x="79" y="42"/>
                  </a:lnTo>
                  <a:lnTo>
                    <a:pt x="79" y="42"/>
                  </a:lnTo>
                  <a:lnTo>
                    <a:pt x="66" y="42"/>
                  </a:lnTo>
                  <a:lnTo>
                    <a:pt x="54" y="43"/>
                  </a:lnTo>
                  <a:lnTo>
                    <a:pt x="50" y="45"/>
                  </a:lnTo>
                  <a:lnTo>
                    <a:pt x="47" y="46"/>
                  </a:lnTo>
                  <a:lnTo>
                    <a:pt x="46" y="49"/>
                  </a:lnTo>
                  <a:lnTo>
                    <a:pt x="44" y="53"/>
                  </a:lnTo>
                  <a:lnTo>
                    <a:pt x="44" y="53"/>
                  </a:lnTo>
                  <a:lnTo>
                    <a:pt x="46" y="59"/>
                  </a:lnTo>
                  <a:lnTo>
                    <a:pt x="51" y="63"/>
                  </a:lnTo>
                  <a:lnTo>
                    <a:pt x="57" y="69"/>
                  </a:lnTo>
                  <a:lnTo>
                    <a:pt x="64" y="72"/>
                  </a:lnTo>
                  <a:lnTo>
                    <a:pt x="79" y="79"/>
                  </a:lnTo>
                  <a:lnTo>
                    <a:pt x="86" y="80"/>
                  </a:lnTo>
                  <a:lnTo>
                    <a:pt x="86" y="80"/>
                  </a:lnTo>
                  <a:lnTo>
                    <a:pt x="109" y="89"/>
                  </a:lnTo>
                  <a:lnTo>
                    <a:pt x="116" y="93"/>
                  </a:lnTo>
                  <a:lnTo>
                    <a:pt x="121" y="99"/>
                  </a:lnTo>
                  <a:lnTo>
                    <a:pt x="121" y="99"/>
                  </a:lnTo>
                  <a:lnTo>
                    <a:pt x="127" y="104"/>
                  </a:lnTo>
                  <a:lnTo>
                    <a:pt x="130" y="113"/>
                  </a:lnTo>
                  <a:lnTo>
                    <a:pt x="133" y="122"/>
                  </a:lnTo>
                  <a:lnTo>
                    <a:pt x="133" y="132"/>
                  </a:lnTo>
                  <a:lnTo>
                    <a:pt x="133" y="132"/>
                  </a:lnTo>
                  <a:lnTo>
                    <a:pt x="131" y="143"/>
                  </a:lnTo>
                  <a:lnTo>
                    <a:pt x="129" y="154"/>
                  </a:lnTo>
                  <a:lnTo>
                    <a:pt x="123" y="164"/>
                  </a:lnTo>
                  <a:lnTo>
                    <a:pt x="114" y="173"/>
                  </a:lnTo>
                  <a:lnTo>
                    <a:pt x="114" y="173"/>
                  </a:lnTo>
                  <a:lnTo>
                    <a:pt x="104" y="180"/>
                  </a:lnTo>
                  <a:lnTo>
                    <a:pt x="94" y="184"/>
                  </a:lnTo>
                  <a:lnTo>
                    <a:pt x="83" y="187"/>
                  </a:lnTo>
                  <a:lnTo>
                    <a:pt x="69" y="187"/>
                  </a:lnTo>
                  <a:lnTo>
                    <a:pt x="6" y="187"/>
                  </a:lnTo>
                  <a:close/>
                  <a:moveTo>
                    <a:pt x="6" y="187"/>
                  </a:moveTo>
                  <a:lnTo>
                    <a:pt x="6" y="18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74" name="Freeform 27"/>
            <p:cNvSpPr>
              <a:spLocks/>
            </p:cNvSpPr>
            <p:nvPr userDrawn="1"/>
          </p:nvSpPr>
          <p:spPr bwMode="auto">
            <a:xfrm>
              <a:off x="5563" y="717"/>
              <a:ext cx="44" cy="62"/>
            </a:xfrm>
            <a:custGeom>
              <a:avLst/>
              <a:gdLst>
                <a:gd name="T0" fmla="*/ 6 w 133"/>
                <a:gd name="T1" fmla="*/ 187 h 187"/>
                <a:gd name="T2" fmla="*/ 1 w 133"/>
                <a:gd name="T3" fmla="*/ 179 h 187"/>
                <a:gd name="T4" fmla="*/ 1 w 133"/>
                <a:gd name="T5" fmla="*/ 151 h 187"/>
                <a:gd name="T6" fmla="*/ 6 w 133"/>
                <a:gd name="T7" fmla="*/ 143 h 187"/>
                <a:gd name="T8" fmla="*/ 61 w 133"/>
                <a:gd name="T9" fmla="*/ 144 h 187"/>
                <a:gd name="T10" fmla="*/ 73 w 133"/>
                <a:gd name="T11" fmla="*/ 144 h 187"/>
                <a:gd name="T12" fmla="*/ 87 w 133"/>
                <a:gd name="T13" fmla="*/ 143 h 187"/>
                <a:gd name="T14" fmla="*/ 91 w 133"/>
                <a:gd name="T15" fmla="*/ 136 h 187"/>
                <a:gd name="T16" fmla="*/ 93 w 133"/>
                <a:gd name="T17" fmla="*/ 130 h 187"/>
                <a:gd name="T18" fmla="*/ 90 w 133"/>
                <a:gd name="T19" fmla="*/ 124 h 187"/>
                <a:gd name="T20" fmla="*/ 66 w 133"/>
                <a:gd name="T21" fmla="*/ 114 h 187"/>
                <a:gd name="T22" fmla="*/ 51 w 133"/>
                <a:gd name="T23" fmla="*/ 107 h 187"/>
                <a:gd name="T24" fmla="*/ 30 w 133"/>
                <a:gd name="T25" fmla="*/ 96 h 187"/>
                <a:gd name="T26" fmla="*/ 17 w 133"/>
                <a:gd name="T27" fmla="*/ 83 h 187"/>
                <a:gd name="T28" fmla="*/ 11 w 133"/>
                <a:gd name="T29" fmla="*/ 76 h 187"/>
                <a:gd name="T30" fmla="*/ 7 w 133"/>
                <a:gd name="T31" fmla="*/ 60 h 187"/>
                <a:gd name="T32" fmla="*/ 6 w 133"/>
                <a:gd name="T33" fmla="*/ 52 h 187"/>
                <a:gd name="T34" fmla="*/ 10 w 133"/>
                <a:gd name="T35" fmla="*/ 27 h 187"/>
                <a:gd name="T36" fmla="*/ 24 w 133"/>
                <a:gd name="T37" fmla="*/ 10 h 187"/>
                <a:gd name="T38" fmla="*/ 28 w 133"/>
                <a:gd name="T39" fmla="*/ 8 h 187"/>
                <a:gd name="T40" fmla="*/ 44 w 133"/>
                <a:gd name="T41" fmla="*/ 2 h 187"/>
                <a:gd name="T42" fmla="*/ 73 w 133"/>
                <a:gd name="T43" fmla="*/ 0 h 187"/>
                <a:gd name="T44" fmla="*/ 121 w 133"/>
                <a:gd name="T45" fmla="*/ 0 h 187"/>
                <a:gd name="T46" fmla="*/ 126 w 133"/>
                <a:gd name="T47" fmla="*/ 9 h 187"/>
                <a:gd name="T48" fmla="*/ 126 w 133"/>
                <a:gd name="T49" fmla="*/ 33 h 187"/>
                <a:gd name="T50" fmla="*/ 121 w 133"/>
                <a:gd name="T51" fmla="*/ 42 h 187"/>
                <a:gd name="T52" fmla="*/ 79 w 133"/>
                <a:gd name="T53" fmla="*/ 42 h 187"/>
                <a:gd name="T54" fmla="*/ 54 w 133"/>
                <a:gd name="T55" fmla="*/ 43 h 187"/>
                <a:gd name="T56" fmla="*/ 47 w 133"/>
                <a:gd name="T57" fmla="*/ 46 h 187"/>
                <a:gd name="T58" fmla="*/ 44 w 133"/>
                <a:gd name="T59" fmla="*/ 53 h 187"/>
                <a:gd name="T60" fmla="*/ 46 w 133"/>
                <a:gd name="T61" fmla="*/ 59 h 187"/>
                <a:gd name="T62" fmla="*/ 57 w 133"/>
                <a:gd name="T63" fmla="*/ 69 h 187"/>
                <a:gd name="T64" fmla="*/ 79 w 133"/>
                <a:gd name="T65" fmla="*/ 79 h 187"/>
                <a:gd name="T66" fmla="*/ 86 w 133"/>
                <a:gd name="T67" fmla="*/ 80 h 187"/>
                <a:gd name="T68" fmla="*/ 116 w 133"/>
                <a:gd name="T69" fmla="*/ 93 h 187"/>
                <a:gd name="T70" fmla="*/ 121 w 133"/>
                <a:gd name="T71" fmla="*/ 99 h 187"/>
                <a:gd name="T72" fmla="*/ 130 w 133"/>
                <a:gd name="T73" fmla="*/ 113 h 187"/>
                <a:gd name="T74" fmla="*/ 133 w 133"/>
                <a:gd name="T75" fmla="*/ 132 h 187"/>
                <a:gd name="T76" fmla="*/ 131 w 133"/>
                <a:gd name="T77" fmla="*/ 143 h 187"/>
                <a:gd name="T78" fmla="*/ 123 w 133"/>
                <a:gd name="T79" fmla="*/ 164 h 187"/>
                <a:gd name="T80" fmla="*/ 114 w 133"/>
                <a:gd name="T81" fmla="*/ 173 h 187"/>
                <a:gd name="T82" fmla="*/ 94 w 133"/>
                <a:gd name="T83" fmla="*/ 184 h 187"/>
                <a:gd name="T84" fmla="*/ 69 w 133"/>
                <a:gd name="T85"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33" h="187">
                  <a:moveTo>
                    <a:pt x="6" y="187"/>
                  </a:moveTo>
                  <a:lnTo>
                    <a:pt x="6" y="187"/>
                  </a:lnTo>
                  <a:lnTo>
                    <a:pt x="3" y="184"/>
                  </a:lnTo>
                  <a:lnTo>
                    <a:pt x="1" y="179"/>
                  </a:lnTo>
                  <a:lnTo>
                    <a:pt x="0" y="166"/>
                  </a:lnTo>
                  <a:lnTo>
                    <a:pt x="1" y="151"/>
                  </a:lnTo>
                  <a:lnTo>
                    <a:pt x="3" y="147"/>
                  </a:lnTo>
                  <a:lnTo>
                    <a:pt x="6" y="143"/>
                  </a:lnTo>
                  <a:lnTo>
                    <a:pt x="6" y="143"/>
                  </a:lnTo>
                  <a:lnTo>
                    <a:pt x="61" y="144"/>
                  </a:lnTo>
                  <a:lnTo>
                    <a:pt x="61" y="144"/>
                  </a:lnTo>
                  <a:lnTo>
                    <a:pt x="73" y="144"/>
                  </a:lnTo>
                  <a:lnTo>
                    <a:pt x="83" y="144"/>
                  </a:lnTo>
                  <a:lnTo>
                    <a:pt x="87" y="143"/>
                  </a:lnTo>
                  <a:lnTo>
                    <a:pt x="90" y="140"/>
                  </a:lnTo>
                  <a:lnTo>
                    <a:pt x="91" y="136"/>
                  </a:lnTo>
                  <a:lnTo>
                    <a:pt x="93" y="130"/>
                  </a:lnTo>
                  <a:lnTo>
                    <a:pt x="93" y="130"/>
                  </a:lnTo>
                  <a:lnTo>
                    <a:pt x="91" y="127"/>
                  </a:lnTo>
                  <a:lnTo>
                    <a:pt x="90" y="124"/>
                  </a:lnTo>
                  <a:lnTo>
                    <a:pt x="84" y="122"/>
                  </a:lnTo>
                  <a:lnTo>
                    <a:pt x="66" y="114"/>
                  </a:lnTo>
                  <a:lnTo>
                    <a:pt x="51" y="107"/>
                  </a:lnTo>
                  <a:lnTo>
                    <a:pt x="51" y="107"/>
                  </a:lnTo>
                  <a:lnTo>
                    <a:pt x="40" y="102"/>
                  </a:lnTo>
                  <a:lnTo>
                    <a:pt x="30" y="96"/>
                  </a:lnTo>
                  <a:lnTo>
                    <a:pt x="23" y="89"/>
                  </a:lnTo>
                  <a:lnTo>
                    <a:pt x="17" y="83"/>
                  </a:lnTo>
                  <a:lnTo>
                    <a:pt x="17" y="83"/>
                  </a:lnTo>
                  <a:lnTo>
                    <a:pt x="11" y="76"/>
                  </a:lnTo>
                  <a:lnTo>
                    <a:pt x="8" y="69"/>
                  </a:lnTo>
                  <a:lnTo>
                    <a:pt x="7" y="60"/>
                  </a:lnTo>
                  <a:lnTo>
                    <a:pt x="6" y="52"/>
                  </a:lnTo>
                  <a:lnTo>
                    <a:pt x="6" y="52"/>
                  </a:lnTo>
                  <a:lnTo>
                    <a:pt x="7" y="39"/>
                  </a:lnTo>
                  <a:lnTo>
                    <a:pt x="10" y="27"/>
                  </a:lnTo>
                  <a:lnTo>
                    <a:pt x="16" y="19"/>
                  </a:lnTo>
                  <a:lnTo>
                    <a:pt x="24" y="10"/>
                  </a:lnTo>
                  <a:lnTo>
                    <a:pt x="24" y="10"/>
                  </a:lnTo>
                  <a:lnTo>
                    <a:pt x="28" y="8"/>
                  </a:lnTo>
                  <a:lnTo>
                    <a:pt x="33" y="5"/>
                  </a:lnTo>
                  <a:lnTo>
                    <a:pt x="44" y="2"/>
                  </a:lnTo>
                  <a:lnTo>
                    <a:pt x="58" y="0"/>
                  </a:lnTo>
                  <a:lnTo>
                    <a:pt x="73" y="0"/>
                  </a:lnTo>
                  <a:lnTo>
                    <a:pt x="121" y="0"/>
                  </a:lnTo>
                  <a:lnTo>
                    <a:pt x="121" y="0"/>
                  </a:lnTo>
                  <a:lnTo>
                    <a:pt x="124" y="3"/>
                  </a:lnTo>
                  <a:lnTo>
                    <a:pt x="126" y="9"/>
                  </a:lnTo>
                  <a:lnTo>
                    <a:pt x="127" y="20"/>
                  </a:lnTo>
                  <a:lnTo>
                    <a:pt x="126" y="33"/>
                  </a:lnTo>
                  <a:lnTo>
                    <a:pt x="124" y="39"/>
                  </a:lnTo>
                  <a:lnTo>
                    <a:pt x="121" y="42"/>
                  </a:lnTo>
                  <a:lnTo>
                    <a:pt x="79" y="42"/>
                  </a:lnTo>
                  <a:lnTo>
                    <a:pt x="79" y="42"/>
                  </a:lnTo>
                  <a:lnTo>
                    <a:pt x="66" y="42"/>
                  </a:lnTo>
                  <a:lnTo>
                    <a:pt x="54" y="43"/>
                  </a:lnTo>
                  <a:lnTo>
                    <a:pt x="50" y="45"/>
                  </a:lnTo>
                  <a:lnTo>
                    <a:pt x="47" y="46"/>
                  </a:lnTo>
                  <a:lnTo>
                    <a:pt x="46" y="49"/>
                  </a:lnTo>
                  <a:lnTo>
                    <a:pt x="44" y="53"/>
                  </a:lnTo>
                  <a:lnTo>
                    <a:pt x="44" y="53"/>
                  </a:lnTo>
                  <a:lnTo>
                    <a:pt x="46" y="59"/>
                  </a:lnTo>
                  <a:lnTo>
                    <a:pt x="51" y="63"/>
                  </a:lnTo>
                  <a:lnTo>
                    <a:pt x="57" y="69"/>
                  </a:lnTo>
                  <a:lnTo>
                    <a:pt x="64" y="72"/>
                  </a:lnTo>
                  <a:lnTo>
                    <a:pt x="79" y="79"/>
                  </a:lnTo>
                  <a:lnTo>
                    <a:pt x="86" y="80"/>
                  </a:lnTo>
                  <a:lnTo>
                    <a:pt x="86" y="80"/>
                  </a:lnTo>
                  <a:lnTo>
                    <a:pt x="109" y="89"/>
                  </a:lnTo>
                  <a:lnTo>
                    <a:pt x="116" y="93"/>
                  </a:lnTo>
                  <a:lnTo>
                    <a:pt x="121" y="99"/>
                  </a:lnTo>
                  <a:lnTo>
                    <a:pt x="121" y="99"/>
                  </a:lnTo>
                  <a:lnTo>
                    <a:pt x="127" y="104"/>
                  </a:lnTo>
                  <a:lnTo>
                    <a:pt x="130" y="113"/>
                  </a:lnTo>
                  <a:lnTo>
                    <a:pt x="133" y="122"/>
                  </a:lnTo>
                  <a:lnTo>
                    <a:pt x="133" y="132"/>
                  </a:lnTo>
                  <a:lnTo>
                    <a:pt x="133" y="132"/>
                  </a:lnTo>
                  <a:lnTo>
                    <a:pt x="131" y="143"/>
                  </a:lnTo>
                  <a:lnTo>
                    <a:pt x="129" y="154"/>
                  </a:lnTo>
                  <a:lnTo>
                    <a:pt x="123" y="164"/>
                  </a:lnTo>
                  <a:lnTo>
                    <a:pt x="114" y="173"/>
                  </a:lnTo>
                  <a:lnTo>
                    <a:pt x="114" y="173"/>
                  </a:lnTo>
                  <a:lnTo>
                    <a:pt x="104" y="180"/>
                  </a:lnTo>
                  <a:lnTo>
                    <a:pt x="94" y="184"/>
                  </a:lnTo>
                  <a:lnTo>
                    <a:pt x="83" y="187"/>
                  </a:lnTo>
                  <a:lnTo>
                    <a:pt x="69" y="187"/>
                  </a:lnTo>
                  <a:lnTo>
                    <a:pt x="6" y="18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75" name="Line 28"/>
            <p:cNvSpPr>
              <a:spLocks noChangeShapeType="1"/>
            </p:cNvSpPr>
            <p:nvPr userDrawn="1"/>
          </p:nvSpPr>
          <p:spPr bwMode="auto">
            <a:xfrm>
              <a:off x="5565" y="779"/>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76" name="Freeform 29"/>
            <p:cNvSpPr>
              <a:spLocks noEditPoints="1"/>
            </p:cNvSpPr>
            <p:nvPr userDrawn="1"/>
          </p:nvSpPr>
          <p:spPr bwMode="auto">
            <a:xfrm>
              <a:off x="5671" y="717"/>
              <a:ext cx="80" cy="63"/>
            </a:xfrm>
            <a:custGeom>
              <a:avLst/>
              <a:gdLst>
                <a:gd name="T0" fmla="*/ 0 w 242"/>
                <a:gd name="T1" fmla="*/ 0 h 191"/>
                <a:gd name="T2" fmla="*/ 198 w 242"/>
                <a:gd name="T3" fmla="*/ 0 h 191"/>
                <a:gd name="T4" fmla="*/ 218 w 242"/>
                <a:gd name="T5" fmla="*/ 3 h 191"/>
                <a:gd name="T6" fmla="*/ 231 w 242"/>
                <a:gd name="T7" fmla="*/ 12 h 191"/>
                <a:gd name="T8" fmla="*/ 239 w 242"/>
                <a:gd name="T9" fmla="*/ 27 h 191"/>
                <a:gd name="T10" fmla="*/ 242 w 242"/>
                <a:gd name="T11" fmla="*/ 52 h 191"/>
                <a:gd name="T12" fmla="*/ 242 w 242"/>
                <a:gd name="T13" fmla="*/ 186 h 191"/>
                <a:gd name="T14" fmla="*/ 234 w 242"/>
                <a:gd name="T15" fmla="*/ 190 h 191"/>
                <a:gd name="T16" fmla="*/ 221 w 242"/>
                <a:gd name="T17" fmla="*/ 191 h 191"/>
                <a:gd name="T18" fmla="*/ 209 w 242"/>
                <a:gd name="T19" fmla="*/ 190 h 191"/>
                <a:gd name="T20" fmla="*/ 201 w 242"/>
                <a:gd name="T21" fmla="*/ 186 h 191"/>
                <a:gd name="T22" fmla="*/ 201 w 242"/>
                <a:gd name="T23" fmla="*/ 66 h 191"/>
                <a:gd name="T24" fmla="*/ 198 w 242"/>
                <a:gd name="T25" fmla="*/ 55 h 191"/>
                <a:gd name="T26" fmla="*/ 191 w 242"/>
                <a:gd name="T27" fmla="*/ 46 h 191"/>
                <a:gd name="T28" fmla="*/ 182 w 242"/>
                <a:gd name="T29" fmla="*/ 42 h 191"/>
                <a:gd name="T30" fmla="*/ 161 w 242"/>
                <a:gd name="T31" fmla="*/ 40 h 191"/>
                <a:gd name="T32" fmla="*/ 142 w 242"/>
                <a:gd name="T33" fmla="*/ 43 h 191"/>
                <a:gd name="T34" fmla="*/ 142 w 242"/>
                <a:gd name="T35" fmla="*/ 186 h 191"/>
                <a:gd name="T36" fmla="*/ 133 w 242"/>
                <a:gd name="T37" fmla="*/ 190 h 191"/>
                <a:gd name="T38" fmla="*/ 122 w 242"/>
                <a:gd name="T39" fmla="*/ 191 h 191"/>
                <a:gd name="T40" fmla="*/ 109 w 242"/>
                <a:gd name="T41" fmla="*/ 190 h 191"/>
                <a:gd name="T42" fmla="*/ 101 w 242"/>
                <a:gd name="T43" fmla="*/ 186 h 191"/>
                <a:gd name="T44" fmla="*/ 101 w 242"/>
                <a:gd name="T45" fmla="*/ 67 h 191"/>
                <a:gd name="T46" fmla="*/ 98 w 242"/>
                <a:gd name="T47" fmla="*/ 55 h 191"/>
                <a:gd name="T48" fmla="*/ 92 w 242"/>
                <a:gd name="T49" fmla="*/ 46 h 191"/>
                <a:gd name="T50" fmla="*/ 82 w 242"/>
                <a:gd name="T51" fmla="*/ 42 h 191"/>
                <a:gd name="T52" fmla="*/ 60 w 242"/>
                <a:gd name="T53" fmla="*/ 40 h 191"/>
                <a:gd name="T54" fmla="*/ 43 w 242"/>
                <a:gd name="T55" fmla="*/ 43 h 191"/>
                <a:gd name="T56" fmla="*/ 43 w 242"/>
                <a:gd name="T57" fmla="*/ 186 h 191"/>
                <a:gd name="T58" fmla="*/ 33 w 242"/>
                <a:gd name="T59" fmla="*/ 190 h 191"/>
                <a:gd name="T60" fmla="*/ 22 w 242"/>
                <a:gd name="T61" fmla="*/ 191 h 191"/>
                <a:gd name="T62" fmla="*/ 9 w 242"/>
                <a:gd name="T63" fmla="*/ 190 h 191"/>
                <a:gd name="T64" fmla="*/ 0 w 242"/>
                <a:gd name="T65" fmla="*/ 186 h 191"/>
                <a:gd name="T66" fmla="*/ 0 w 242"/>
                <a:gd name="T67" fmla="*/ 186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42" h="191">
                  <a:moveTo>
                    <a:pt x="0" y="186"/>
                  </a:moveTo>
                  <a:lnTo>
                    <a:pt x="0" y="0"/>
                  </a:lnTo>
                  <a:lnTo>
                    <a:pt x="198" y="0"/>
                  </a:lnTo>
                  <a:lnTo>
                    <a:pt x="198" y="0"/>
                  </a:lnTo>
                  <a:lnTo>
                    <a:pt x="208" y="0"/>
                  </a:lnTo>
                  <a:lnTo>
                    <a:pt x="218" y="3"/>
                  </a:lnTo>
                  <a:lnTo>
                    <a:pt x="225" y="6"/>
                  </a:lnTo>
                  <a:lnTo>
                    <a:pt x="231" y="12"/>
                  </a:lnTo>
                  <a:lnTo>
                    <a:pt x="237" y="19"/>
                  </a:lnTo>
                  <a:lnTo>
                    <a:pt x="239" y="27"/>
                  </a:lnTo>
                  <a:lnTo>
                    <a:pt x="242" y="39"/>
                  </a:lnTo>
                  <a:lnTo>
                    <a:pt x="242" y="52"/>
                  </a:lnTo>
                  <a:lnTo>
                    <a:pt x="242" y="186"/>
                  </a:lnTo>
                  <a:lnTo>
                    <a:pt x="242" y="186"/>
                  </a:lnTo>
                  <a:lnTo>
                    <a:pt x="239" y="189"/>
                  </a:lnTo>
                  <a:lnTo>
                    <a:pt x="234" y="190"/>
                  </a:lnTo>
                  <a:lnTo>
                    <a:pt x="228" y="191"/>
                  </a:lnTo>
                  <a:lnTo>
                    <a:pt x="221" y="191"/>
                  </a:lnTo>
                  <a:lnTo>
                    <a:pt x="215" y="191"/>
                  </a:lnTo>
                  <a:lnTo>
                    <a:pt x="209" y="190"/>
                  </a:lnTo>
                  <a:lnTo>
                    <a:pt x="204" y="189"/>
                  </a:lnTo>
                  <a:lnTo>
                    <a:pt x="201" y="186"/>
                  </a:lnTo>
                  <a:lnTo>
                    <a:pt x="201" y="66"/>
                  </a:lnTo>
                  <a:lnTo>
                    <a:pt x="201" y="66"/>
                  </a:lnTo>
                  <a:lnTo>
                    <a:pt x="199" y="60"/>
                  </a:lnTo>
                  <a:lnTo>
                    <a:pt x="198" y="55"/>
                  </a:lnTo>
                  <a:lnTo>
                    <a:pt x="195" y="50"/>
                  </a:lnTo>
                  <a:lnTo>
                    <a:pt x="191" y="46"/>
                  </a:lnTo>
                  <a:lnTo>
                    <a:pt x="186" y="43"/>
                  </a:lnTo>
                  <a:lnTo>
                    <a:pt x="182" y="42"/>
                  </a:lnTo>
                  <a:lnTo>
                    <a:pt x="171" y="40"/>
                  </a:lnTo>
                  <a:lnTo>
                    <a:pt x="161" y="40"/>
                  </a:lnTo>
                  <a:lnTo>
                    <a:pt x="152" y="40"/>
                  </a:lnTo>
                  <a:lnTo>
                    <a:pt x="142" y="43"/>
                  </a:lnTo>
                  <a:lnTo>
                    <a:pt x="142" y="186"/>
                  </a:lnTo>
                  <a:lnTo>
                    <a:pt x="142" y="186"/>
                  </a:lnTo>
                  <a:lnTo>
                    <a:pt x="139" y="189"/>
                  </a:lnTo>
                  <a:lnTo>
                    <a:pt x="133" y="190"/>
                  </a:lnTo>
                  <a:lnTo>
                    <a:pt x="128" y="191"/>
                  </a:lnTo>
                  <a:lnTo>
                    <a:pt x="122" y="191"/>
                  </a:lnTo>
                  <a:lnTo>
                    <a:pt x="115" y="191"/>
                  </a:lnTo>
                  <a:lnTo>
                    <a:pt x="109" y="190"/>
                  </a:lnTo>
                  <a:lnTo>
                    <a:pt x="103" y="189"/>
                  </a:lnTo>
                  <a:lnTo>
                    <a:pt x="101" y="186"/>
                  </a:lnTo>
                  <a:lnTo>
                    <a:pt x="101" y="67"/>
                  </a:lnTo>
                  <a:lnTo>
                    <a:pt x="101" y="67"/>
                  </a:lnTo>
                  <a:lnTo>
                    <a:pt x="99" y="60"/>
                  </a:lnTo>
                  <a:lnTo>
                    <a:pt x="98" y="55"/>
                  </a:lnTo>
                  <a:lnTo>
                    <a:pt x="95" y="50"/>
                  </a:lnTo>
                  <a:lnTo>
                    <a:pt x="92" y="46"/>
                  </a:lnTo>
                  <a:lnTo>
                    <a:pt x="88" y="43"/>
                  </a:lnTo>
                  <a:lnTo>
                    <a:pt x="82" y="42"/>
                  </a:lnTo>
                  <a:lnTo>
                    <a:pt x="72" y="40"/>
                  </a:lnTo>
                  <a:lnTo>
                    <a:pt x="60" y="40"/>
                  </a:lnTo>
                  <a:lnTo>
                    <a:pt x="52" y="40"/>
                  </a:lnTo>
                  <a:lnTo>
                    <a:pt x="43" y="43"/>
                  </a:lnTo>
                  <a:lnTo>
                    <a:pt x="43" y="186"/>
                  </a:lnTo>
                  <a:lnTo>
                    <a:pt x="43" y="186"/>
                  </a:lnTo>
                  <a:lnTo>
                    <a:pt x="39" y="189"/>
                  </a:lnTo>
                  <a:lnTo>
                    <a:pt x="33" y="190"/>
                  </a:lnTo>
                  <a:lnTo>
                    <a:pt x="28" y="191"/>
                  </a:lnTo>
                  <a:lnTo>
                    <a:pt x="22" y="191"/>
                  </a:lnTo>
                  <a:lnTo>
                    <a:pt x="15" y="191"/>
                  </a:lnTo>
                  <a:lnTo>
                    <a:pt x="9" y="190"/>
                  </a:lnTo>
                  <a:lnTo>
                    <a:pt x="5" y="189"/>
                  </a:lnTo>
                  <a:lnTo>
                    <a:pt x="0" y="186"/>
                  </a:lnTo>
                  <a:lnTo>
                    <a:pt x="0" y="186"/>
                  </a:lnTo>
                  <a:close/>
                  <a:moveTo>
                    <a:pt x="0" y="186"/>
                  </a:moveTo>
                  <a:lnTo>
                    <a:pt x="0" y="18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77" name="Freeform 30"/>
            <p:cNvSpPr>
              <a:spLocks/>
            </p:cNvSpPr>
            <p:nvPr userDrawn="1"/>
          </p:nvSpPr>
          <p:spPr bwMode="auto">
            <a:xfrm>
              <a:off x="5671" y="717"/>
              <a:ext cx="80" cy="63"/>
            </a:xfrm>
            <a:custGeom>
              <a:avLst/>
              <a:gdLst>
                <a:gd name="T0" fmla="*/ 0 w 242"/>
                <a:gd name="T1" fmla="*/ 0 h 191"/>
                <a:gd name="T2" fmla="*/ 198 w 242"/>
                <a:gd name="T3" fmla="*/ 0 h 191"/>
                <a:gd name="T4" fmla="*/ 218 w 242"/>
                <a:gd name="T5" fmla="*/ 3 h 191"/>
                <a:gd name="T6" fmla="*/ 231 w 242"/>
                <a:gd name="T7" fmla="*/ 12 h 191"/>
                <a:gd name="T8" fmla="*/ 239 w 242"/>
                <a:gd name="T9" fmla="*/ 27 h 191"/>
                <a:gd name="T10" fmla="*/ 242 w 242"/>
                <a:gd name="T11" fmla="*/ 52 h 191"/>
                <a:gd name="T12" fmla="*/ 242 w 242"/>
                <a:gd name="T13" fmla="*/ 186 h 191"/>
                <a:gd name="T14" fmla="*/ 234 w 242"/>
                <a:gd name="T15" fmla="*/ 190 h 191"/>
                <a:gd name="T16" fmla="*/ 221 w 242"/>
                <a:gd name="T17" fmla="*/ 191 h 191"/>
                <a:gd name="T18" fmla="*/ 209 w 242"/>
                <a:gd name="T19" fmla="*/ 190 h 191"/>
                <a:gd name="T20" fmla="*/ 201 w 242"/>
                <a:gd name="T21" fmla="*/ 186 h 191"/>
                <a:gd name="T22" fmla="*/ 201 w 242"/>
                <a:gd name="T23" fmla="*/ 66 h 191"/>
                <a:gd name="T24" fmla="*/ 198 w 242"/>
                <a:gd name="T25" fmla="*/ 55 h 191"/>
                <a:gd name="T26" fmla="*/ 191 w 242"/>
                <a:gd name="T27" fmla="*/ 46 h 191"/>
                <a:gd name="T28" fmla="*/ 182 w 242"/>
                <a:gd name="T29" fmla="*/ 42 h 191"/>
                <a:gd name="T30" fmla="*/ 161 w 242"/>
                <a:gd name="T31" fmla="*/ 40 h 191"/>
                <a:gd name="T32" fmla="*/ 142 w 242"/>
                <a:gd name="T33" fmla="*/ 43 h 191"/>
                <a:gd name="T34" fmla="*/ 142 w 242"/>
                <a:gd name="T35" fmla="*/ 186 h 191"/>
                <a:gd name="T36" fmla="*/ 133 w 242"/>
                <a:gd name="T37" fmla="*/ 190 h 191"/>
                <a:gd name="T38" fmla="*/ 122 w 242"/>
                <a:gd name="T39" fmla="*/ 191 h 191"/>
                <a:gd name="T40" fmla="*/ 109 w 242"/>
                <a:gd name="T41" fmla="*/ 190 h 191"/>
                <a:gd name="T42" fmla="*/ 101 w 242"/>
                <a:gd name="T43" fmla="*/ 186 h 191"/>
                <a:gd name="T44" fmla="*/ 101 w 242"/>
                <a:gd name="T45" fmla="*/ 67 h 191"/>
                <a:gd name="T46" fmla="*/ 98 w 242"/>
                <a:gd name="T47" fmla="*/ 55 h 191"/>
                <a:gd name="T48" fmla="*/ 92 w 242"/>
                <a:gd name="T49" fmla="*/ 46 h 191"/>
                <a:gd name="T50" fmla="*/ 82 w 242"/>
                <a:gd name="T51" fmla="*/ 42 h 191"/>
                <a:gd name="T52" fmla="*/ 60 w 242"/>
                <a:gd name="T53" fmla="*/ 40 h 191"/>
                <a:gd name="T54" fmla="*/ 43 w 242"/>
                <a:gd name="T55" fmla="*/ 43 h 191"/>
                <a:gd name="T56" fmla="*/ 43 w 242"/>
                <a:gd name="T57" fmla="*/ 186 h 191"/>
                <a:gd name="T58" fmla="*/ 33 w 242"/>
                <a:gd name="T59" fmla="*/ 190 h 191"/>
                <a:gd name="T60" fmla="*/ 22 w 242"/>
                <a:gd name="T61" fmla="*/ 191 h 191"/>
                <a:gd name="T62" fmla="*/ 9 w 242"/>
                <a:gd name="T63" fmla="*/ 190 h 191"/>
                <a:gd name="T64" fmla="*/ 0 w 242"/>
                <a:gd name="T65" fmla="*/ 186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2" h="191">
                  <a:moveTo>
                    <a:pt x="0" y="186"/>
                  </a:moveTo>
                  <a:lnTo>
                    <a:pt x="0" y="0"/>
                  </a:lnTo>
                  <a:lnTo>
                    <a:pt x="198" y="0"/>
                  </a:lnTo>
                  <a:lnTo>
                    <a:pt x="198" y="0"/>
                  </a:lnTo>
                  <a:lnTo>
                    <a:pt x="208" y="0"/>
                  </a:lnTo>
                  <a:lnTo>
                    <a:pt x="218" y="3"/>
                  </a:lnTo>
                  <a:lnTo>
                    <a:pt x="225" y="6"/>
                  </a:lnTo>
                  <a:lnTo>
                    <a:pt x="231" y="12"/>
                  </a:lnTo>
                  <a:lnTo>
                    <a:pt x="237" y="19"/>
                  </a:lnTo>
                  <a:lnTo>
                    <a:pt x="239" y="27"/>
                  </a:lnTo>
                  <a:lnTo>
                    <a:pt x="242" y="39"/>
                  </a:lnTo>
                  <a:lnTo>
                    <a:pt x="242" y="52"/>
                  </a:lnTo>
                  <a:lnTo>
                    <a:pt x="242" y="186"/>
                  </a:lnTo>
                  <a:lnTo>
                    <a:pt x="242" y="186"/>
                  </a:lnTo>
                  <a:lnTo>
                    <a:pt x="239" y="189"/>
                  </a:lnTo>
                  <a:lnTo>
                    <a:pt x="234" y="190"/>
                  </a:lnTo>
                  <a:lnTo>
                    <a:pt x="228" y="191"/>
                  </a:lnTo>
                  <a:lnTo>
                    <a:pt x="221" y="191"/>
                  </a:lnTo>
                  <a:lnTo>
                    <a:pt x="215" y="191"/>
                  </a:lnTo>
                  <a:lnTo>
                    <a:pt x="209" y="190"/>
                  </a:lnTo>
                  <a:lnTo>
                    <a:pt x="204" y="189"/>
                  </a:lnTo>
                  <a:lnTo>
                    <a:pt x="201" y="186"/>
                  </a:lnTo>
                  <a:lnTo>
                    <a:pt x="201" y="66"/>
                  </a:lnTo>
                  <a:lnTo>
                    <a:pt x="201" y="66"/>
                  </a:lnTo>
                  <a:lnTo>
                    <a:pt x="199" y="60"/>
                  </a:lnTo>
                  <a:lnTo>
                    <a:pt x="198" y="55"/>
                  </a:lnTo>
                  <a:lnTo>
                    <a:pt x="195" y="50"/>
                  </a:lnTo>
                  <a:lnTo>
                    <a:pt x="191" y="46"/>
                  </a:lnTo>
                  <a:lnTo>
                    <a:pt x="186" y="43"/>
                  </a:lnTo>
                  <a:lnTo>
                    <a:pt x="182" y="42"/>
                  </a:lnTo>
                  <a:lnTo>
                    <a:pt x="171" y="40"/>
                  </a:lnTo>
                  <a:lnTo>
                    <a:pt x="161" y="40"/>
                  </a:lnTo>
                  <a:lnTo>
                    <a:pt x="152" y="40"/>
                  </a:lnTo>
                  <a:lnTo>
                    <a:pt x="142" y="43"/>
                  </a:lnTo>
                  <a:lnTo>
                    <a:pt x="142" y="186"/>
                  </a:lnTo>
                  <a:lnTo>
                    <a:pt x="142" y="186"/>
                  </a:lnTo>
                  <a:lnTo>
                    <a:pt x="139" y="189"/>
                  </a:lnTo>
                  <a:lnTo>
                    <a:pt x="133" y="190"/>
                  </a:lnTo>
                  <a:lnTo>
                    <a:pt x="128" y="191"/>
                  </a:lnTo>
                  <a:lnTo>
                    <a:pt x="122" y="191"/>
                  </a:lnTo>
                  <a:lnTo>
                    <a:pt x="115" y="191"/>
                  </a:lnTo>
                  <a:lnTo>
                    <a:pt x="109" y="190"/>
                  </a:lnTo>
                  <a:lnTo>
                    <a:pt x="103" y="189"/>
                  </a:lnTo>
                  <a:lnTo>
                    <a:pt x="101" y="186"/>
                  </a:lnTo>
                  <a:lnTo>
                    <a:pt x="101" y="67"/>
                  </a:lnTo>
                  <a:lnTo>
                    <a:pt x="101" y="67"/>
                  </a:lnTo>
                  <a:lnTo>
                    <a:pt x="99" y="60"/>
                  </a:lnTo>
                  <a:lnTo>
                    <a:pt x="98" y="55"/>
                  </a:lnTo>
                  <a:lnTo>
                    <a:pt x="95" y="50"/>
                  </a:lnTo>
                  <a:lnTo>
                    <a:pt x="92" y="46"/>
                  </a:lnTo>
                  <a:lnTo>
                    <a:pt x="88" y="43"/>
                  </a:lnTo>
                  <a:lnTo>
                    <a:pt x="82" y="42"/>
                  </a:lnTo>
                  <a:lnTo>
                    <a:pt x="72" y="40"/>
                  </a:lnTo>
                  <a:lnTo>
                    <a:pt x="60" y="40"/>
                  </a:lnTo>
                  <a:lnTo>
                    <a:pt x="52" y="40"/>
                  </a:lnTo>
                  <a:lnTo>
                    <a:pt x="43" y="43"/>
                  </a:lnTo>
                  <a:lnTo>
                    <a:pt x="43" y="186"/>
                  </a:lnTo>
                  <a:lnTo>
                    <a:pt x="43" y="186"/>
                  </a:lnTo>
                  <a:lnTo>
                    <a:pt x="39" y="189"/>
                  </a:lnTo>
                  <a:lnTo>
                    <a:pt x="33" y="190"/>
                  </a:lnTo>
                  <a:lnTo>
                    <a:pt x="28" y="191"/>
                  </a:lnTo>
                  <a:lnTo>
                    <a:pt x="22" y="191"/>
                  </a:lnTo>
                  <a:lnTo>
                    <a:pt x="15" y="191"/>
                  </a:lnTo>
                  <a:lnTo>
                    <a:pt x="9" y="190"/>
                  </a:lnTo>
                  <a:lnTo>
                    <a:pt x="5" y="189"/>
                  </a:lnTo>
                  <a:lnTo>
                    <a:pt x="0" y="186"/>
                  </a:lnTo>
                  <a:lnTo>
                    <a:pt x="0" y="18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78" name="Line 31"/>
            <p:cNvSpPr>
              <a:spLocks noChangeShapeType="1"/>
            </p:cNvSpPr>
            <p:nvPr userDrawn="1"/>
          </p:nvSpPr>
          <p:spPr bwMode="auto">
            <a:xfrm>
              <a:off x="5671" y="779"/>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79" name="Freeform 32"/>
            <p:cNvSpPr>
              <a:spLocks noEditPoints="1"/>
            </p:cNvSpPr>
            <p:nvPr userDrawn="1"/>
          </p:nvSpPr>
          <p:spPr bwMode="auto">
            <a:xfrm>
              <a:off x="5615" y="717"/>
              <a:ext cx="45" cy="63"/>
            </a:xfrm>
            <a:custGeom>
              <a:avLst/>
              <a:gdLst>
                <a:gd name="T0" fmla="*/ 93 w 135"/>
                <a:gd name="T1" fmla="*/ 109 h 191"/>
                <a:gd name="T2" fmla="*/ 93 w 135"/>
                <a:gd name="T3" fmla="*/ 42 h 191"/>
                <a:gd name="T4" fmla="*/ 93 w 135"/>
                <a:gd name="T5" fmla="*/ 42 h 191"/>
                <a:gd name="T6" fmla="*/ 86 w 135"/>
                <a:gd name="T7" fmla="*/ 40 h 191"/>
                <a:gd name="T8" fmla="*/ 78 w 135"/>
                <a:gd name="T9" fmla="*/ 39 h 191"/>
                <a:gd name="T10" fmla="*/ 68 w 135"/>
                <a:gd name="T11" fmla="*/ 37 h 191"/>
                <a:gd name="T12" fmla="*/ 59 w 135"/>
                <a:gd name="T13" fmla="*/ 40 h 191"/>
                <a:gd name="T14" fmla="*/ 55 w 135"/>
                <a:gd name="T15" fmla="*/ 42 h 191"/>
                <a:gd name="T16" fmla="*/ 50 w 135"/>
                <a:gd name="T17" fmla="*/ 45 h 191"/>
                <a:gd name="T18" fmla="*/ 48 w 135"/>
                <a:gd name="T19" fmla="*/ 49 h 191"/>
                <a:gd name="T20" fmla="*/ 45 w 135"/>
                <a:gd name="T21" fmla="*/ 53 h 191"/>
                <a:gd name="T22" fmla="*/ 43 w 135"/>
                <a:gd name="T23" fmla="*/ 59 h 191"/>
                <a:gd name="T24" fmla="*/ 42 w 135"/>
                <a:gd name="T25" fmla="*/ 67 h 191"/>
                <a:gd name="T26" fmla="*/ 42 w 135"/>
                <a:gd name="T27" fmla="*/ 109 h 191"/>
                <a:gd name="T28" fmla="*/ 93 w 135"/>
                <a:gd name="T29" fmla="*/ 109 h 191"/>
                <a:gd name="T30" fmla="*/ 42 w 135"/>
                <a:gd name="T31" fmla="*/ 144 h 191"/>
                <a:gd name="T32" fmla="*/ 42 w 135"/>
                <a:gd name="T33" fmla="*/ 186 h 191"/>
                <a:gd name="T34" fmla="*/ 42 w 135"/>
                <a:gd name="T35" fmla="*/ 186 h 191"/>
                <a:gd name="T36" fmla="*/ 39 w 135"/>
                <a:gd name="T37" fmla="*/ 189 h 191"/>
                <a:gd name="T38" fmla="*/ 35 w 135"/>
                <a:gd name="T39" fmla="*/ 190 h 191"/>
                <a:gd name="T40" fmla="*/ 27 w 135"/>
                <a:gd name="T41" fmla="*/ 191 h 191"/>
                <a:gd name="T42" fmla="*/ 22 w 135"/>
                <a:gd name="T43" fmla="*/ 191 h 191"/>
                <a:gd name="T44" fmla="*/ 15 w 135"/>
                <a:gd name="T45" fmla="*/ 191 h 191"/>
                <a:gd name="T46" fmla="*/ 9 w 135"/>
                <a:gd name="T47" fmla="*/ 190 h 191"/>
                <a:gd name="T48" fmla="*/ 3 w 135"/>
                <a:gd name="T49" fmla="*/ 189 h 191"/>
                <a:gd name="T50" fmla="*/ 0 w 135"/>
                <a:gd name="T51" fmla="*/ 186 h 191"/>
                <a:gd name="T52" fmla="*/ 0 w 135"/>
                <a:gd name="T53" fmla="*/ 0 h 191"/>
                <a:gd name="T54" fmla="*/ 102 w 135"/>
                <a:gd name="T55" fmla="*/ 0 h 191"/>
                <a:gd name="T56" fmla="*/ 102 w 135"/>
                <a:gd name="T57" fmla="*/ 0 h 191"/>
                <a:gd name="T58" fmla="*/ 110 w 135"/>
                <a:gd name="T59" fmla="*/ 0 h 191"/>
                <a:gd name="T60" fmla="*/ 118 w 135"/>
                <a:gd name="T61" fmla="*/ 3 h 191"/>
                <a:gd name="T62" fmla="*/ 123 w 135"/>
                <a:gd name="T63" fmla="*/ 6 h 191"/>
                <a:gd name="T64" fmla="*/ 128 w 135"/>
                <a:gd name="T65" fmla="*/ 12 h 191"/>
                <a:gd name="T66" fmla="*/ 132 w 135"/>
                <a:gd name="T67" fmla="*/ 19 h 191"/>
                <a:gd name="T68" fmla="*/ 133 w 135"/>
                <a:gd name="T69" fmla="*/ 27 h 191"/>
                <a:gd name="T70" fmla="*/ 135 w 135"/>
                <a:gd name="T71" fmla="*/ 39 h 191"/>
                <a:gd name="T72" fmla="*/ 135 w 135"/>
                <a:gd name="T73" fmla="*/ 52 h 191"/>
                <a:gd name="T74" fmla="*/ 135 w 135"/>
                <a:gd name="T75" fmla="*/ 186 h 191"/>
                <a:gd name="T76" fmla="*/ 135 w 135"/>
                <a:gd name="T77" fmla="*/ 186 h 191"/>
                <a:gd name="T78" fmla="*/ 132 w 135"/>
                <a:gd name="T79" fmla="*/ 189 h 191"/>
                <a:gd name="T80" fmla="*/ 128 w 135"/>
                <a:gd name="T81" fmla="*/ 190 h 191"/>
                <a:gd name="T82" fmla="*/ 121 w 135"/>
                <a:gd name="T83" fmla="*/ 191 h 191"/>
                <a:gd name="T84" fmla="*/ 115 w 135"/>
                <a:gd name="T85" fmla="*/ 191 h 191"/>
                <a:gd name="T86" fmla="*/ 108 w 135"/>
                <a:gd name="T87" fmla="*/ 191 h 191"/>
                <a:gd name="T88" fmla="*/ 102 w 135"/>
                <a:gd name="T89" fmla="*/ 190 h 191"/>
                <a:gd name="T90" fmla="*/ 96 w 135"/>
                <a:gd name="T91" fmla="*/ 189 h 191"/>
                <a:gd name="T92" fmla="*/ 93 w 135"/>
                <a:gd name="T93" fmla="*/ 186 h 191"/>
                <a:gd name="T94" fmla="*/ 93 w 135"/>
                <a:gd name="T95" fmla="*/ 144 h 191"/>
                <a:gd name="T96" fmla="*/ 110 w 135"/>
                <a:gd name="T97" fmla="*/ 144 h 191"/>
                <a:gd name="T98" fmla="*/ 42 w 135"/>
                <a:gd name="T99" fmla="*/ 144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35" h="191">
                  <a:moveTo>
                    <a:pt x="93" y="109"/>
                  </a:moveTo>
                  <a:lnTo>
                    <a:pt x="93" y="42"/>
                  </a:lnTo>
                  <a:lnTo>
                    <a:pt x="93" y="42"/>
                  </a:lnTo>
                  <a:lnTo>
                    <a:pt x="86" y="40"/>
                  </a:lnTo>
                  <a:lnTo>
                    <a:pt x="78" y="39"/>
                  </a:lnTo>
                  <a:lnTo>
                    <a:pt x="68" y="37"/>
                  </a:lnTo>
                  <a:lnTo>
                    <a:pt x="59" y="40"/>
                  </a:lnTo>
                  <a:lnTo>
                    <a:pt x="55" y="42"/>
                  </a:lnTo>
                  <a:lnTo>
                    <a:pt x="50" y="45"/>
                  </a:lnTo>
                  <a:lnTo>
                    <a:pt x="48" y="49"/>
                  </a:lnTo>
                  <a:lnTo>
                    <a:pt x="45" y="53"/>
                  </a:lnTo>
                  <a:lnTo>
                    <a:pt x="43" y="59"/>
                  </a:lnTo>
                  <a:lnTo>
                    <a:pt x="42" y="67"/>
                  </a:lnTo>
                  <a:lnTo>
                    <a:pt x="42" y="109"/>
                  </a:lnTo>
                  <a:lnTo>
                    <a:pt x="93" y="109"/>
                  </a:lnTo>
                  <a:close/>
                  <a:moveTo>
                    <a:pt x="42" y="144"/>
                  </a:moveTo>
                  <a:lnTo>
                    <a:pt x="42" y="186"/>
                  </a:lnTo>
                  <a:lnTo>
                    <a:pt x="42" y="186"/>
                  </a:lnTo>
                  <a:lnTo>
                    <a:pt x="39" y="189"/>
                  </a:lnTo>
                  <a:lnTo>
                    <a:pt x="35" y="190"/>
                  </a:lnTo>
                  <a:lnTo>
                    <a:pt x="27" y="191"/>
                  </a:lnTo>
                  <a:lnTo>
                    <a:pt x="22" y="191"/>
                  </a:lnTo>
                  <a:lnTo>
                    <a:pt x="15" y="191"/>
                  </a:lnTo>
                  <a:lnTo>
                    <a:pt x="9" y="190"/>
                  </a:lnTo>
                  <a:lnTo>
                    <a:pt x="3" y="189"/>
                  </a:lnTo>
                  <a:lnTo>
                    <a:pt x="0" y="186"/>
                  </a:lnTo>
                  <a:lnTo>
                    <a:pt x="0" y="0"/>
                  </a:lnTo>
                  <a:lnTo>
                    <a:pt x="102" y="0"/>
                  </a:lnTo>
                  <a:lnTo>
                    <a:pt x="102" y="0"/>
                  </a:lnTo>
                  <a:lnTo>
                    <a:pt x="110" y="0"/>
                  </a:lnTo>
                  <a:lnTo>
                    <a:pt x="118" y="3"/>
                  </a:lnTo>
                  <a:lnTo>
                    <a:pt x="123" y="6"/>
                  </a:lnTo>
                  <a:lnTo>
                    <a:pt x="128" y="12"/>
                  </a:lnTo>
                  <a:lnTo>
                    <a:pt x="132" y="19"/>
                  </a:lnTo>
                  <a:lnTo>
                    <a:pt x="133" y="27"/>
                  </a:lnTo>
                  <a:lnTo>
                    <a:pt x="135" y="39"/>
                  </a:lnTo>
                  <a:lnTo>
                    <a:pt x="135" y="52"/>
                  </a:lnTo>
                  <a:lnTo>
                    <a:pt x="135" y="186"/>
                  </a:lnTo>
                  <a:lnTo>
                    <a:pt x="135" y="186"/>
                  </a:lnTo>
                  <a:lnTo>
                    <a:pt x="132" y="189"/>
                  </a:lnTo>
                  <a:lnTo>
                    <a:pt x="128" y="190"/>
                  </a:lnTo>
                  <a:lnTo>
                    <a:pt x="121" y="191"/>
                  </a:lnTo>
                  <a:lnTo>
                    <a:pt x="115" y="191"/>
                  </a:lnTo>
                  <a:lnTo>
                    <a:pt x="108" y="191"/>
                  </a:lnTo>
                  <a:lnTo>
                    <a:pt x="102" y="190"/>
                  </a:lnTo>
                  <a:lnTo>
                    <a:pt x="96" y="189"/>
                  </a:lnTo>
                  <a:lnTo>
                    <a:pt x="93" y="186"/>
                  </a:lnTo>
                  <a:lnTo>
                    <a:pt x="93" y="144"/>
                  </a:lnTo>
                  <a:lnTo>
                    <a:pt x="110" y="144"/>
                  </a:lnTo>
                  <a:lnTo>
                    <a:pt x="42" y="14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80" name="Freeform 33"/>
            <p:cNvSpPr>
              <a:spLocks/>
            </p:cNvSpPr>
            <p:nvPr userDrawn="1"/>
          </p:nvSpPr>
          <p:spPr bwMode="auto">
            <a:xfrm>
              <a:off x="5629" y="729"/>
              <a:ext cx="17" cy="24"/>
            </a:xfrm>
            <a:custGeom>
              <a:avLst/>
              <a:gdLst>
                <a:gd name="T0" fmla="*/ 51 w 51"/>
                <a:gd name="T1" fmla="*/ 72 h 72"/>
                <a:gd name="T2" fmla="*/ 51 w 51"/>
                <a:gd name="T3" fmla="*/ 5 h 72"/>
                <a:gd name="T4" fmla="*/ 51 w 51"/>
                <a:gd name="T5" fmla="*/ 5 h 72"/>
                <a:gd name="T6" fmla="*/ 44 w 51"/>
                <a:gd name="T7" fmla="*/ 3 h 72"/>
                <a:gd name="T8" fmla="*/ 36 w 51"/>
                <a:gd name="T9" fmla="*/ 2 h 72"/>
                <a:gd name="T10" fmla="*/ 26 w 51"/>
                <a:gd name="T11" fmla="*/ 0 h 72"/>
                <a:gd name="T12" fmla="*/ 17 w 51"/>
                <a:gd name="T13" fmla="*/ 3 h 72"/>
                <a:gd name="T14" fmla="*/ 13 w 51"/>
                <a:gd name="T15" fmla="*/ 5 h 72"/>
                <a:gd name="T16" fmla="*/ 8 w 51"/>
                <a:gd name="T17" fmla="*/ 8 h 72"/>
                <a:gd name="T18" fmla="*/ 6 w 51"/>
                <a:gd name="T19" fmla="*/ 12 h 72"/>
                <a:gd name="T20" fmla="*/ 3 w 51"/>
                <a:gd name="T21" fmla="*/ 16 h 72"/>
                <a:gd name="T22" fmla="*/ 1 w 51"/>
                <a:gd name="T23" fmla="*/ 22 h 72"/>
                <a:gd name="T24" fmla="*/ 0 w 51"/>
                <a:gd name="T25" fmla="*/ 30 h 72"/>
                <a:gd name="T26" fmla="*/ 0 w 51"/>
                <a:gd name="T27"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1" h="72">
                  <a:moveTo>
                    <a:pt x="51" y="72"/>
                  </a:moveTo>
                  <a:lnTo>
                    <a:pt x="51" y="5"/>
                  </a:lnTo>
                  <a:lnTo>
                    <a:pt x="51" y="5"/>
                  </a:lnTo>
                  <a:lnTo>
                    <a:pt x="44" y="3"/>
                  </a:lnTo>
                  <a:lnTo>
                    <a:pt x="36" y="2"/>
                  </a:lnTo>
                  <a:lnTo>
                    <a:pt x="26" y="0"/>
                  </a:lnTo>
                  <a:lnTo>
                    <a:pt x="17" y="3"/>
                  </a:lnTo>
                  <a:lnTo>
                    <a:pt x="13" y="5"/>
                  </a:lnTo>
                  <a:lnTo>
                    <a:pt x="8" y="8"/>
                  </a:lnTo>
                  <a:lnTo>
                    <a:pt x="6" y="12"/>
                  </a:lnTo>
                  <a:lnTo>
                    <a:pt x="3" y="16"/>
                  </a:lnTo>
                  <a:lnTo>
                    <a:pt x="1" y="22"/>
                  </a:lnTo>
                  <a:lnTo>
                    <a:pt x="0" y="30"/>
                  </a:lnTo>
                  <a:lnTo>
                    <a:pt x="0" y="7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81" name="Freeform 34"/>
            <p:cNvSpPr>
              <a:spLocks/>
            </p:cNvSpPr>
            <p:nvPr userDrawn="1"/>
          </p:nvSpPr>
          <p:spPr bwMode="auto">
            <a:xfrm>
              <a:off x="5615" y="717"/>
              <a:ext cx="45" cy="63"/>
            </a:xfrm>
            <a:custGeom>
              <a:avLst/>
              <a:gdLst>
                <a:gd name="T0" fmla="*/ 42 w 135"/>
                <a:gd name="T1" fmla="*/ 144 h 191"/>
                <a:gd name="T2" fmla="*/ 42 w 135"/>
                <a:gd name="T3" fmla="*/ 186 h 191"/>
                <a:gd name="T4" fmla="*/ 42 w 135"/>
                <a:gd name="T5" fmla="*/ 186 h 191"/>
                <a:gd name="T6" fmla="*/ 39 w 135"/>
                <a:gd name="T7" fmla="*/ 189 h 191"/>
                <a:gd name="T8" fmla="*/ 35 w 135"/>
                <a:gd name="T9" fmla="*/ 190 h 191"/>
                <a:gd name="T10" fmla="*/ 27 w 135"/>
                <a:gd name="T11" fmla="*/ 191 h 191"/>
                <a:gd name="T12" fmla="*/ 22 w 135"/>
                <a:gd name="T13" fmla="*/ 191 h 191"/>
                <a:gd name="T14" fmla="*/ 15 w 135"/>
                <a:gd name="T15" fmla="*/ 191 h 191"/>
                <a:gd name="T16" fmla="*/ 9 w 135"/>
                <a:gd name="T17" fmla="*/ 190 h 191"/>
                <a:gd name="T18" fmla="*/ 3 w 135"/>
                <a:gd name="T19" fmla="*/ 189 h 191"/>
                <a:gd name="T20" fmla="*/ 0 w 135"/>
                <a:gd name="T21" fmla="*/ 186 h 191"/>
                <a:gd name="T22" fmla="*/ 0 w 135"/>
                <a:gd name="T23" fmla="*/ 0 h 191"/>
                <a:gd name="T24" fmla="*/ 102 w 135"/>
                <a:gd name="T25" fmla="*/ 0 h 191"/>
                <a:gd name="T26" fmla="*/ 102 w 135"/>
                <a:gd name="T27" fmla="*/ 0 h 191"/>
                <a:gd name="T28" fmla="*/ 110 w 135"/>
                <a:gd name="T29" fmla="*/ 0 h 191"/>
                <a:gd name="T30" fmla="*/ 118 w 135"/>
                <a:gd name="T31" fmla="*/ 3 h 191"/>
                <a:gd name="T32" fmla="*/ 123 w 135"/>
                <a:gd name="T33" fmla="*/ 6 h 191"/>
                <a:gd name="T34" fmla="*/ 128 w 135"/>
                <a:gd name="T35" fmla="*/ 12 h 191"/>
                <a:gd name="T36" fmla="*/ 132 w 135"/>
                <a:gd name="T37" fmla="*/ 19 h 191"/>
                <a:gd name="T38" fmla="*/ 133 w 135"/>
                <a:gd name="T39" fmla="*/ 27 h 191"/>
                <a:gd name="T40" fmla="*/ 135 w 135"/>
                <a:gd name="T41" fmla="*/ 39 h 191"/>
                <a:gd name="T42" fmla="*/ 135 w 135"/>
                <a:gd name="T43" fmla="*/ 52 h 191"/>
                <a:gd name="T44" fmla="*/ 135 w 135"/>
                <a:gd name="T45" fmla="*/ 186 h 191"/>
                <a:gd name="T46" fmla="*/ 135 w 135"/>
                <a:gd name="T47" fmla="*/ 186 h 191"/>
                <a:gd name="T48" fmla="*/ 132 w 135"/>
                <a:gd name="T49" fmla="*/ 189 h 191"/>
                <a:gd name="T50" fmla="*/ 128 w 135"/>
                <a:gd name="T51" fmla="*/ 190 h 191"/>
                <a:gd name="T52" fmla="*/ 121 w 135"/>
                <a:gd name="T53" fmla="*/ 191 h 191"/>
                <a:gd name="T54" fmla="*/ 115 w 135"/>
                <a:gd name="T55" fmla="*/ 191 h 191"/>
                <a:gd name="T56" fmla="*/ 108 w 135"/>
                <a:gd name="T57" fmla="*/ 191 h 191"/>
                <a:gd name="T58" fmla="*/ 102 w 135"/>
                <a:gd name="T59" fmla="*/ 190 h 191"/>
                <a:gd name="T60" fmla="*/ 96 w 135"/>
                <a:gd name="T61" fmla="*/ 189 h 191"/>
                <a:gd name="T62" fmla="*/ 93 w 135"/>
                <a:gd name="T63" fmla="*/ 186 h 191"/>
                <a:gd name="T64" fmla="*/ 93 w 135"/>
                <a:gd name="T65" fmla="*/ 144 h 191"/>
                <a:gd name="T66" fmla="*/ 110 w 135"/>
                <a:gd name="T67" fmla="*/ 144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5" h="191">
                  <a:moveTo>
                    <a:pt x="42" y="144"/>
                  </a:moveTo>
                  <a:lnTo>
                    <a:pt x="42" y="186"/>
                  </a:lnTo>
                  <a:lnTo>
                    <a:pt x="42" y="186"/>
                  </a:lnTo>
                  <a:lnTo>
                    <a:pt x="39" y="189"/>
                  </a:lnTo>
                  <a:lnTo>
                    <a:pt x="35" y="190"/>
                  </a:lnTo>
                  <a:lnTo>
                    <a:pt x="27" y="191"/>
                  </a:lnTo>
                  <a:lnTo>
                    <a:pt x="22" y="191"/>
                  </a:lnTo>
                  <a:lnTo>
                    <a:pt x="15" y="191"/>
                  </a:lnTo>
                  <a:lnTo>
                    <a:pt x="9" y="190"/>
                  </a:lnTo>
                  <a:lnTo>
                    <a:pt x="3" y="189"/>
                  </a:lnTo>
                  <a:lnTo>
                    <a:pt x="0" y="186"/>
                  </a:lnTo>
                  <a:lnTo>
                    <a:pt x="0" y="0"/>
                  </a:lnTo>
                  <a:lnTo>
                    <a:pt x="102" y="0"/>
                  </a:lnTo>
                  <a:lnTo>
                    <a:pt x="102" y="0"/>
                  </a:lnTo>
                  <a:lnTo>
                    <a:pt x="110" y="0"/>
                  </a:lnTo>
                  <a:lnTo>
                    <a:pt x="118" y="3"/>
                  </a:lnTo>
                  <a:lnTo>
                    <a:pt x="123" y="6"/>
                  </a:lnTo>
                  <a:lnTo>
                    <a:pt x="128" y="12"/>
                  </a:lnTo>
                  <a:lnTo>
                    <a:pt x="132" y="19"/>
                  </a:lnTo>
                  <a:lnTo>
                    <a:pt x="133" y="27"/>
                  </a:lnTo>
                  <a:lnTo>
                    <a:pt x="135" y="39"/>
                  </a:lnTo>
                  <a:lnTo>
                    <a:pt x="135" y="52"/>
                  </a:lnTo>
                  <a:lnTo>
                    <a:pt x="135" y="186"/>
                  </a:lnTo>
                  <a:lnTo>
                    <a:pt x="135" y="186"/>
                  </a:lnTo>
                  <a:lnTo>
                    <a:pt x="132" y="189"/>
                  </a:lnTo>
                  <a:lnTo>
                    <a:pt x="128" y="190"/>
                  </a:lnTo>
                  <a:lnTo>
                    <a:pt x="121" y="191"/>
                  </a:lnTo>
                  <a:lnTo>
                    <a:pt x="115" y="191"/>
                  </a:lnTo>
                  <a:lnTo>
                    <a:pt x="108" y="191"/>
                  </a:lnTo>
                  <a:lnTo>
                    <a:pt x="102" y="190"/>
                  </a:lnTo>
                  <a:lnTo>
                    <a:pt x="96" y="189"/>
                  </a:lnTo>
                  <a:lnTo>
                    <a:pt x="93" y="186"/>
                  </a:lnTo>
                  <a:lnTo>
                    <a:pt x="93" y="144"/>
                  </a:lnTo>
                  <a:lnTo>
                    <a:pt x="110" y="14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sp>
        <p:nvSpPr>
          <p:cNvPr id="82" name="Textfeld 81"/>
          <p:cNvSpPr txBox="1"/>
          <p:nvPr userDrawn="1"/>
        </p:nvSpPr>
        <p:spPr>
          <a:xfrm>
            <a:off x="10029282" y="1249779"/>
            <a:ext cx="1320124" cy="461665"/>
          </a:xfrm>
          <a:prstGeom prst="rect">
            <a:avLst/>
          </a:prstGeom>
          <a:noFill/>
        </p:spPr>
        <p:txBody>
          <a:bodyPr wrap="square" rtlCol="0">
            <a:spAutoFit/>
          </a:bodyPr>
          <a:lstStyle/>
          <a:p>
            <a:pPr algn="l">
              <a:lnSpc>
                <a:spcPct val="100000"/>
              </a:lnSpc>
              <a:spcAft>
                <a:spcPts val="167"/>
              </a:spcAft>
            </a:pPr>
            <a:r>
              <a:rPr lang="de-DE" sz="600" b="0" spc="0" baseline="0" dirty="0">
                <a:solidFill>
                  <a:schemeClr val="tx1"/>
                </a:solidFill>
                <a:latin typeface="+mj-lt"/>
              </a:rPr>
              <a:t>FACHGEBIET SYSTEMZUVERLÄSSIGKEIT, ADAPTRONIK UND MASCHINENAKUSTIK</a:t>
            </a:r>
          </a:p>
        </p:txBody>
      </p:sp>
      <p:pic>
        <p:nvPicPr>
          <p:cNvPr id="48" name="Picture 5"/>
          <p:cNvPicPr>
            <a:picLocks/>
          </p:cNvPicPr>
          <p:nvPr userDrawn="1"/>
        </p:nvPicPr>
        <p:blipFill>
          <a:blip r:embed="rId9" cstate="print">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a:xfrm flipH="1">
            <a:off x="680914" y="2604700"/>
            <a:ext cx="4407215" cy="2925377"/>
          </a:xfrm>
          <a:prstGeom prst="rect">
            <a:avLst/>
          </a:prstGeom>
          <a:noFill/>
          <a:ln w="19050">
            <a:noFill/>
            <a:miter lim="800000"/>
            <a:headEnd/>
            <a:tailEnd/>
          </a:ln>
          <a:effectLst/>
        </p:spPr>
      </p:pic>
      <p:pic>
        <p:nvPicPr>
          <p:cNvPr id="2" name="Grafik 1"/>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1168357" y="2366993"/>
            <a:ext cx="4177800" cy="3173991"/>
          </a:xfrm>
          <a:prstGeom prst="rect">
            <a:avLst/>
          </a:prstGeom>
        </p:spPr>
      </p:pic>
    </p:spTree>
    <p:extLst>
      <p:ext uri="{BB962C8B-B14F-4D97-AF65-F5344CB8AC3E}">
        <p14:creationId xmlns:p14="http://schemas.microsoft.com/office/powerpoint/2010/main" val="413022329"/>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Abschnittsüberschrift">
    <p:spTree>
      <p:nvGrpSpPr>
        <p:cNvPr id="1" name=""/>
        <p:cNvGrpSpPr/>
        <p:nvPr/>
      </p:nvGrpSpPr>
      <p:grpSpPr>
        <a:xfrm>
          <a:off x="0" y="0"/>
          <a:ext cx="0" cy="0"/>
          <a:chOff x="0" y="0"/>
          <a:chExt cx="0" cy="0"/>
        </a:xfrm>
      </p:grpSpPr>
      <p:sp>
        <p:nvSpPr>
          <p:cNvPr id="9" name="Rechteck 8"/>
          <p:cNvSpPr/>
          <p:nvPr/>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2"/>
              </a:solidFill>
            </a:endParaRPr>
          </a:p>
        </p:txBody>
      </p:sp>
      <p:sp>
        <p:nvSpPr>
          <p:cNvPr id="17" name="Titel 11"/>
          <p:cNvSpPr>
            <a:spLocks noGrp="1"/>
          </p:cNvSpPr>
          <p:nvPr>
            <p:ph type="title" hasCustomPrompt="1"/>
          </p:nvPr>
        </p:nvSpPr>
        <p:spPr>
          <a:xfrm>
            <a:off x="672001" y="480000"/>
            <a:ext cx="9120000" cy="480000"/>
          </a:xfrm>
        </p:spPr>
        <p:txBody>
          <a:bodyPr/>
          <a:lstStyle>
            <a:lvl1pPr>
              <a:defRPr>
                <a:solidFill>
                  <a:schemeClr val="accent1"/>
                </a:solidFill>
              </a:defRPr>
            </a:lvl1pPr>
          </a:lstStyle>
          <a:p>
            <a:r>
              <a:rPr lang="de-DE" dirty="0"/>
              <a:t>TITELMASTERFORMAT DURCH KLICKEN</a:t>
            </a:r>
          </a:p>
        </p:txBody>
      </p:sp>
      <p:pic>
        <p:nvPicPr>
          <p:cNvPr id="13" name="Bild 1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87712" y="6204469"/>
            <a:ext cx="11192933" cy="508000"/>
          </a:xfrm>
          <a:prstGeom prst="rect">
            <a:avLst/>
          </a:prstGeom>
        </p:spPr>
      </p:pic>
      <p:sp>
        <p:nvSpPr>
          <p:cNvPr id="8" name="Titel 2"/>
          <p:cNvSpPr txBox="1">
            <a:spLocks/>
          </p:cNvSpPr>
          <p:nvPr/>
        </p:nvSpPr>
        <p:spPr bwMode="auto">
          <a:xfrm>
            <a:off x="1962782" y="5988089"/>
            <a:ext cx="1812295" cy="1117600"/>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lvl1pPr algn="l" rtl="0" eaLnBrk="1" fontAlgn="base" hangingPunct="1">
              <a:spcBef>
                <a:spcPct val="0"/>
              </a:spcBef>
              <a:spcAft>
                <a:spcPct val="0"/>
              </a:spcAft>
              <a:defRPr sz="2800" b="1" i="0">
                <a:solidFill>
                  <a:srgbClr val="FDCA00"/>
                </a:solidFill>
                <a:latin typeface="+mj-lt"/>
                <a:ea typeface="Verdana" charset="0"/>
                <a:cs typeface="Verdana" charset="0"/>
              </a:defRPr>
            </a:lvl1pPr>
            <a:lvl2pPr algn="l" rtl="0" eaLnBrk="1" fontAlgn="base" hangingPunct="1">
              <a:spcBef>
                <a:spcPct val="0"/>
              </a:spcBef>
              <a:spcAft>
                <a:spcPct val="0"/>
              </a:spcAft>
              <a:defRPr sz="2400" b="1">
                <a:solidFill>
                  <a:schemeClr val="tx1"/>
                </a:solidFill>
                <a:latin typeface="Arial" charset="0"/>
              </a:defRPr>
            </a:lvl2pPr>
            <a:lvl3pPr algn="l" rtl="0" eaLnBrk="1" fontAlgn="base" hangingPunct="1">
              <a:spcBef>
                <a:spcPct val="0"/>
              </a:spcBef>
              <a:spcAft>
                <a:spcPct val="0"/>
              </a:spcAft>
              <a:defRPr sz="2400" b="1">
                <a:solidFill>
                  <a:schemeClr val="tx1"/>
                </a:solidFill>
                <a:latin typeface="Arial" charset="0"/>
              </a:defRPr>
            </a:lvl3pPr>
            <a:lvl4pPr algn="l" rtl="0" eaLnBrk="1" fontAlgn="base" hangingPunct="1">
              <a:spcBef>
                <a:spcPct val="0"/>
              </a:spcBef>
              <a:spcAft>
                <a:spcPct val="0"/>
              </a:spcAft>
              <a:defRPr sz="2400" b="1">
                <a:solidFill>
                  <a:schemeClr val="tx1"/>
                </a:solidFill>
                <a:latin typeface="Arial" charset="0"/>
              </a:defRPr>
            </a:lvl4pPr>
            <a:lvl5pPr algn="l" rtl="0" eaLnBrk="1" fontAlgn="base" hangingPunct="1">
              <a:spcBef>
                <a:spcPct val="0"/>
              </a:spcBef>
              <a:spcAft>
                <a:spcPct val="0"/>
              </a:spcAft>
              <a:defRPr sz="2400" b="1">
                <a:solidFill>
                  <a:schemeClr val="tx1"/>
                </a:solidFill>
                <a:latin typeface="Arial" charset="0"/>
              </a:defRPr>
            </a:lvl5pPr>
            <a:lvl6pPr marL="457200" algn="l" rtl="0" eaLnBrk="1" fontAlgn="base" hangingPunct="1">
              <a:spcBef>
                <a:spcPct val="0"/>
              </a:spcBef>
              <a:spcAft>
                <a:spcPct val="0"/>
              </a:spcAft>
              <a:defRPr sz="2400" b="1">
                <a:solidFill>
                  <a:schemeClr val="tx1"/>
                </a:solidFill>
                <a:latin typeface="Arial" charset="0"/>
              </a:defRPr>
            </a:lvl6pPr>
            <a:lvl7pPr marL="914400" algn="l" rtl="0" eaLnBrk="1" fontAlgn="base" hangingPunct="1">
              <a:spcBef>
                <a:spcPct val="0"/>
              </a:spcBef>
              <a:spcAft>
                <a:spcPct val="0"/>
              </a:spcAft>
              <a:defRPr sz="2400" b="1">
                <a:solidFill>
                  <a:schemeClr val="tx1"/>
                </a:solidFill>
                <a:latin typeface="Arial" charset="0"/>
              </a:defRPr>
            </a:lvl7pPr>
            <a:lvl8pPr marL="1371600" algn="l" rtl="0" eaLnBrk="1" fontAlgn="base" hangingPunct="1">
              <a:spcBef>
                <a:spcPct val="0"/>
              </a:spcBef>
              <a:spcAft>
                <a:spcPct val="0"/>
              </a:spcAft>
              <a:defRPr sz="2400" b="1">
                <a:solidFill>
                  <a:schemeClr val="tx1"/>
                </a:solidFill>
                <a:latin typeface="Arial" charset="0"/>
              </a:defRPr>
            </a:lvl8pPr>
            <a:lvl9pPr marL="1828800" algn="l" rtl="0" eaLnBrk="1" fontAlgn="base" hangingPunct="1">
              <a:spcBef>
                <a:spcPct val="0"/>
              </a:spcBef>
              <a:spcAft>
                <a:spcPct val="0"/>
              </a:spcAft>
              <a:defRPr sz="2400" b="1">
                <a:solidFill>
                  <a:schemeClr val="tx1"/>
                </a:solidFill>
                <a:latin typeface="Arial" charset="0"/>
              </a:defRPr>
            </a:lvl9pPr>
          </a:lstStyle>
          <a:p>
            <a:endParaRPr lang="de-DE" sz="2933" b="0" kern="0" dirty="0">
              <a:solidFill>
                <a:schemeClr val="accent1"/>
              </a:solidFill>
              <a:latin typeface="+mj-lt"/>
            </a:endParaRPr>
          </a:p>
        </p:txBody>
      </p:sp>
      <p:sp>
        <p:nvSpPr>
          <p:cNvPr id="47" name="Rectangle 4"/>
          <p:cNvSpPr>
            <a:spLocks noGrp="1" noChangeArrowheads="1"/>
          </p:cNvSpPr>
          <p:nvPr>
            <p:ph type="subTitle" idx="1"/>
          </p:nvPr>
        </p:nvSpPr>
        <p:spPr>
          <a:xfrm>
            <a:off x="671076" y="1152001"/>
            <a:ext cx="9120000" cy="789519"/>
          </a:xfrm>
        </p:spPr>
        <p:txBody>
          <a:bodyPr lIns="0" tIns="0" rIns="0" bIns="0"/>
          <a:lstStyle>
            <a:lvl1pPr marL="0" indent="0">
              <a:spcBef>
                <a:spcPct val="0"/>
              </a:spcBef>
              <a:buFont typeface="Wingdings" pitchFamily="2" charset="2"/>
              <a:buNone/>
              <a:defRPr sz="2200" b="0" i="0">
                <a:solidFill>
                  <a:srgbClr val="FDCA00"/>
                </a:solidFill>
                <a:latin typeface="+mj-lt"/>
                <a:ea typeface="Verdana" charset="0"/>
                <a:cs typeface="Verdana" charset="0"/>
              </a:defRPr>
            </a:lvl1pPr>
          </a:lstStyle>
          <a:p>
            <a:r>
              <a:rPr lang="de-DE" dirty="0"/>
              <a:t>Master-Untertitelformat bearbeiten</a:t>
            </a:r>
          </a:p>
        </p:txBody>
      </p:sp>
      <p:grpSp>
        <p:nvGrpSpPr>
          <p:cNvPr id="48" name="Gruppierung 9"/>
          <p:cNvGrpSpPr/>
          <p:nvPr userDrawn="1"/>
        </p:nvGrpSpPr>
        <p:grpSpPr>
          <a:xfrm>
            <a:off x="9887088" y="477223"/>
            <a:ext cx="2304912" cy="870205"/>
            <a:chOff x="7415316" y="357917"/>
            <a:chExt cx="1728684" cy="652654"/>
          </a:xfrm>
          <a:solidFill>
            <a:schemeClr val="bg1"/>
          </a:solidFill>
        </p:grpSpPr>
        <p:sp>
          <p:nvSpPr>
            <p:cNvPr id="49" name="Rechteck 48"/>
            <p:cNvSpPr/>
            <p:nvPr/>
          </p:nvSpPr>
          <p:spPr>
            <a:xfrm>
              <a:off x="7415316" y="357917"/>
              <a:ext cx="1728684" cy="65265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50" name="Picture 9" descr="tud_logo"/>
            <p:cNvPicPr>
              <a:picLocks noChangeAspect="1" noChangeArrowheads="1"/>
            </p:cNvPicPr>
            <p:nvPr/>
          </p:nvPicPr>
          <p:blipFill rotWithShape="1">
            <a:blip r:embed="rId3" cstate="print">
              <a:clrChange>
                <a:clrFrom>
                  <a:srgbClr val="FDFDFD"/>
                </a:clrFrom>
                <a:clrTo>
                  <a:srgbClr val="FDFDFD">
                    <a:alpha val="0"/>
                  </a:srgbClr>
                </a:clrTo>
              </a:clrChange>
              <a:extLst>
                <a:ext uri="{28A0092B-C50C-407E-A947-70E740481C1C}">
                  <a14:useLocalDpi xmlns:a14="http://schemas.microsoft.com/office/drawing/2010/main" val="0"/>
                </a:ext>
              </a:extLst>
            </a:blip>
            <a:srcRect l="7733" t="6878" r="5453" b="9546"/>
            <a:stretch/>
          </p:blipFill>
          <p:spPr bwMode="auto">
            <a:xfrm>
              <a:off x="7608875" y="407299"/>
              <a:ext cx="1404584" cy="540631"/>
            </a:xfrm>
            <a:prstGeom prst="rect">
              <a:avLst/>
            </a:prstGeom>
            <a:grpFill/>
            <a:ln w="9525">
              <a:noFill/>
              <a:miter lim="800000"/>
              <a:headEnd/>
              <a:tailEnd/>
            </a:ln>
          </p:spPr>
        </p:pic>
      </p:grpSp>
      <p:sp>
        <p:nvSpPr>
          <p:cNvPr id="43" name="Rechteck 42"/>
          <p:cNvSpPr/>
          <p:nvPr userDrawn="1"/>
        </p:nvSpPr>
        <p:spPr>
          <a:xfrm>
            <a:off x="9887088" y="1345096"/>
            <a:ext cx="2304912" cy="429605"/>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44" name="Group 4"/>
          <p:cNvGrpSpPr>
            <a:grpSpLocks noChangeAspect="1"/>
          </p:cNvGrpSpPr>
          <p:nvPr userDrawn="1"/>
        </p:nvGrpSpPr>
        <p:grpSpPr bwMode="auto">
          <a:xfrm>
            <a:off x="11268361" y="1286959"/>
            <a:ext cx="601441" cy="445749"/>
            <a:chOff x="5478" y="637"/>
            <a:chExt cx="282" cy="209"/>
          </a:xfrm>
        </p:grpSpPr>
        <p:sp>
          <p:nvSpPr>
            <p:cNvPr id="45" name="AutoShape 3"/>
            <p:cNvSpPr>
              <a:spLocks noChangeAspect="1" noChangeArrowheads="1" noTextEdit="1"/>
            </p:cNvSpPr>
            <p:nvPr userDrawn="1"/>
          </p:nvSpPr>
          <p:spPr bwMode="auto">
            <a:xfrm>
              <a:off x="5478" y="637"/>
              <a:ext cx="282" cy="2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pic>
          <p:nvPicPr>
            <p:cNvPr id="46" name="Picture 5"/>
            <p:cNvPicPr>
              <a:picLocks noChangeAspect="1" noChangeArrowheads="1"/>
            </p:cNvPicPr>
            <p:nvPr userDrawn="1"/>
          </p:nvPicPr>
          <p:blipFill>
            <a:blip r:embed="rId4" cstate="hqprint">
              <a:extLst>
                <a:ext uri="{28A0092B-C50C-407E-A947-70E740481C1C}">
                  <a14:useLocalDpi xmlns:a14="http://schemas.microsoft.com/office/drawing/2010/main" val="0"/>
                </a:ext>
              </a:extLst>
            </a:blip>
            <a:srcRect/>
            <a:stretch>
              <a:fillRect/>
            </a:stretch>
          </p:blipFill>
          <p:spPr bwMode="auto">
            <a:xfrm>
              <a:off x="5478" y="637"/>
              <a:ext cx="282" cy="2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4" name="Freeform 6"/>
            <p:cNvSpPr>
              <a:spLocks noEditPoints="1"/>
            </p:cNvSpPr>
            <p:nvPr userDrawn="1"/>
          </p:nvSpPr>
          <p:spPr bwMode="auto">
            <a:xfrm>
              <a:off x="5486" y="647"/>
              <a:ext cx="185" cy="183"/>
            </a:xfrm>
            <a:custGeom>
              <a:avLst/>
              <a:gdLst>
                <a:gd name="T0" fmla="*/ 554 w 554"/>
                <a:gd name="T1" fmla="*/ 275 h 550"/>
                <a:gd name="T2" fmla="*/ 549 w 554"/>
                <a:gd name="T3" fmla="*/ 331 h 550"/>
                <a:gd name="T4" fmla="*/ 533 w 554"/>
                <a:gd name="T5" fmla="*/ 382 h 550"/>
                <a:gd name="T6" fmla="*/ 507 w 554"/>
                <a:gd name="T7" fmla="*/ 429 h 550"/>
                <a:gd name="T8" fmla="*/ 473 w 554"/>
                <a:gd name="T9" fmla="*/ 470 h 550"/>
                <a:gd name="T10" fmla="*/ 433 w 554"/>
                <a:gd name="T11" fmla="*/ 503 h 550"/>
                <a:gd name="T12" fmla="*/ 385 w 554"/>
                <a:gd name="T13" fmla="*/ 529 h 550"/>
                <a:gd name="T14" fmla="*/ 334 w 554"/>
                <a:gd name="T15" fmla="*/ 544 h 550"/>
                <a:gd name="T16" fmla="*/ 278 w 554"/>
                <a:gd name="T17" fmla="*/ 550 h 550"/>
                <a:gd name="T18" fmla="*/ 249 w 554"/>
                <a:gd name="T19" fmla="*/ 549 h 550"/>
                <a:gd name="T20" fmla="*/ 195 w 554"/>
                <a:gd name="T21" fmla="*/ 539 h 550"/>
                <a:gd name="T22" fmla="*/ 145 w 554"/>
                <a:gd name="T23" fmla="*/ 517 h 550"/>
                <a:gd name="T24" fmla="*/ 102 w 554"/>
                <a:gd name="T25" fmla="*/ 487 h 550"/>
                <a:gd name="T26" fmla="*/ 63 w 554"/>
                <a:gd name="T27" fmla="*/ 450 h 550"/>
                <a:gd name="T28" fmla="*/ 33 w 554"/>
                <a:gd name="T29" fmla="*/ 406 h 550"/>
                <a:gd name="T30" fmla="*/ 13 w 554"/>
                <a:gd name="T31" fmla="*/ 358 h 550"/>
                <a:gd name="T32" fmla="*/ 2 w 554"/>
                <a:gd name="T33" fmla="*/ 303 h 550"/>
                <a:gd name="T34" fmla="*/ 0 w 554"/>
                <a:gd name="T35" fmla="*/ 275 h 550"/>
                <a:gd name="T36" fmla="*/ 6 w 554"/>
                <a:gd name="T37" fmla="*/ 219 h 550"/>
                <a:gd name="T38" fmla="*/ 22 w 554"/>
                <a:gd name="T39" fmla="*/ 168 h 550"/>
                <a:gd name="T40" fmla="*/ 48 w 554"/>
                <a:gd name="T41" fmla="*/ 121 h 550"/>
                <a:gd name="T42" fmla="*/ 82 w 554"/>
                <a:gd name="T43" fmla="*/ 80 h 550"/>
                <a:gd name="T44" fmla="*/ 122 w 554"/>
                <a:gd name="T45" fmla="*/ 47 h 550"/>
                <a:gd name="T46" fmla="*/ 169 w 554"/>
                <a:gd name="T47" fmla="*/ 21 h 550"/>
                <a:gd name="T48" fmla="*/ 222 w 554"/>
                <a:gd name="T49" fmla="*/ 6 h 550"/>
                <a:gd name="T50" fmla="*/ 278 w 554"/>
                <a:gd name="T51" fmla="*/ 0 h 550"/>
                <a:gd name="T52" fmla="*/ 305 w 554"/>
                <a:gd name="T53" fmla="*/ 1 h 550"/>
                <a:gd name="T54" fmla="*/ 360 w 554"/>
                <a:gd name="T55" fmla="*/ 11 h 550"/>
                <a:gd name="T56" fmla="*/ 410 w 554"/>
                <a:gd name="T57" fmla="*/ 33 h 550"/>
                <a:gd name="T58" fmla="*/ 454 w 554"/>
                <a:gd name="T59" fmla="*/ 63 h 550"/>
                <a:gd name="T60" fmla="*/ 491 w 554"/>
                <a:gd name="T61" fmla="*/ 100 h 550"/>
                <a:gd name="T62" fmla="*/ 521 w 554"/>
                <a:gd name="T63" fmla="*/ 144 h 550"/>
                <a:gd name="T64" fmla="*/ 541 w 554"/>
                <a:gd name="T65" fmla="*/ 192 h 550"/>
                <a:gd name="T66" fmla="*/ 553 w 554"/>
                <a:gd name="T67" fmla="*/ 246 h 550"/>
                <a:gd name="T68" fmla="*/ 554 w 554"/>
                <a:gd name="T69" fmla="*/ 275 h 550"/>
                <a:gd name="T70" fmla="*/ 554 w 554"/>
                <a:gd name="T71" fmla="*/ 275 h 5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54" h="550">
                  <a:moveTo>
                    <a:pt x="554" y="275"/>
                  </a:moveTo>
                  <a:lnTo>
                    <a:pt x="554" y="275"/>
                  </a:lnTo>
                  <a:lnTo>
                    <a:pt x="553" y="303"/>
                  </a:lnTo>
                  <a:lnTo>
                    <a:pt x="549" y="331"/>
                  </a:lnTo>
                  <a:lnTo>
                    <a:pt x="541" y="358"/>
                  </a:lnTo>
                  <a:lnTo>
                    <a:pt x="533" y="382"/>
                  </a:lnTo>
                  <a:lnTo>
                    <a:pt x="521" y="406"/>
                  </a:lnTo>
                  <a:lnTo>
                    <a:pt x="507" y="429"/>
                  </a:lnTo>
                  <a:lnTo>
                    <a:pt x="491" y="450"/>
                  </a:lnTo>
                  <a:lnTo>
                    <a:pt x="473" y="470"/>
                  </a:lnTo>
                  <a:lnTo>
                    <a:pt x="454" y="487"/>
                  </a:lnTo>
                  <a:lnTo>
                    <a:pt x="433" y="503"/>
                  </a:lnTo>
                  <a:lnTo>
                    <a:pt x="410" y="517"/>
                  </a:lnTo>
                  <a:lnTo>
                    <a:pt x="385" y="529"/>
                  </a:lnTo>
                  <a:lnTo>
                    <a:pt x="360" y="539"/>
                  </a:lnTo>
                  <a:lnTo>
                    <a:pt x="334" y="544"/>
                  </a:lnTo>
                  <a:lnTo>
                    <a:pt x="305" y="549"/>
                  </a:lnTo>
                  <a:lnTo>
                    <a:pt x="278" y="550"/>
                  </a:lnTo>
                  <a:lnTo>
                    <a:pt x="278" y="550"/>
                  </a:lnTo>
                  <a:lnTo>
                    <a:pt x="249" y="549"/>
                  </a:lnTo>
                  <a:lnTo>
                    <a:pt x="222" y="544"/>
                  </a:lnTo>
                  <a:lnTo>
                    <a:pt x="195" y="539"/>
                  </a:lnTo>
                  <a:lnTo>
                    <a:pt x="169" y="529"/>
                  </a:lnTo>
                  <a:lnTo>
                    <a:pt x="145" y="517"/>
                  </a:lnTo>
                  <a:lnTo>
                    <a:pt x="122" y="503"/>
                  </a:lnTo>
                  <a:lnTo>
                    <a:pt x="102" y="487"/>
                  </a:lnTo>
                  <a:lnTo>
                    <a:pt x="82" y="470"/>
                  </a:lnTo>
                  <a:lnTo>
                    <a:pt x="63" y="450"/>
                  </a:lnTo>
                  <a:lnTo>
                    <a:pt x="48" y="429"/>
                  </a:lnTo>
                  <a:lnTo>
                    <a:pt x="33" y="406"/>
                  </a:lnTo>
                  <a:lnTo>
                    <a:pt x="22" y="382"/>
                  </a:lnTo>
                  <a:lnTo>
                    <a:pt x="13" y="358"/>
                  </a:lnTo>
                  <a:lnTo>
                    <a:pt x="6" y="331"/>
                  </a:lnTo>
                  <a:lnTo>
                    <a:pt x="2" y="303"/>
                  </a:lnTo>
                  <a:lnTo>
                    <a:pt x="0" y="275"/>
                  </a:lnTo>
                  <a:lnTo>
                    <a:pt x="0" y="275"/>
                  </a:lnTo>
                  <a:lnTo>
                    <a:pt x="2" y="246"/>
                  </a:lnTo>
                  <a:lnTo>
                    <a:pt x="6" y="219"/>
                  </a:lnTo>
                  <a:lnTo>
                    <a:pt x="13" y="192"/>
                  </a:lnTo>
                  <a:lnTo>
                    <a:pt x="22" y="168"/>
                  </a:lnTo>
                  <a:lnTo>
                    <a:pt x="33" y="144"/>
                  </a:lnTo>
                  <a:lnTo>
                    <a:pt x="48" y="121"/>
                  </a:lnTo>
                  <a:lnTo>
                    <a:pt x="63" y="100"/>
                  </a:lnTo>
                  <a:lnTo>
                    <a:pt x="82" y="80"/>
                  </a:lnTo>
                  <a:lnTo>
                    <a:pt x="102" y="63"/>
                  </a:lnTo>
                  <a:lnTo>
                    <a:pt x="122" y="47"/>
                  </a:lnTo>
                  <a:lnTo>
                    <a:pt x="145" y="33"/>
                  </a:lnTo>
                  <a:lnTo>
                    <a:pt x="169" y="21"/>
                  </a:lnTo>
                  <a:lnTo>
                    <a:pt x="195" y="11"/>
                  </a:lnTo>
                  <a:lnTo>
                    <a:pt x="222" y="6"/>
                  </a:lnTo>
                  <a:lnTo>
                    <a:pt x="249" y="1"/>
                  </a:lnTo>
                  <a:lnTo>
                    <a:pt x="278" y="0"/>
                  </a:lnTo>
                  <a:lnTo>
                    <a:pt x="278" y="0"/>
                  </a:lnTo>
                  <a:lnTo>
                    <a:pt x="305" y="1"/>
                  </a:lnTo>
                  <a:lnTo>
                    <a:pt x="334" y="6"/>
                  </a:lnTo>
                  <a:lnTo>
                    <a:pt x="360" y="11"/>
                  </a:lnTo>
                  <a:lnTo>
                    <a:pt x="385" y="21"/>
                  </a:lnTo>
                  <a:lnTo>
                    <a:pt x="410" y="33"/>
                  </a:lnTo>
                  <a:lnTo>
                    <a:pt x="433" y="47"/>
                  </a:lnTo>
                  <a:lnTo>
                    <a:pt x="454" y="63"/>
                  </a:lnTo>
                  <a:lnTo>
                    <a:pt x="473" y="80"/>
                  </a:lnTo>
                  <a:lnTo>
                    <a:pt x="491" y="100"/>
                  </a:lnTo>
                  <a:lnTo>
                    <a:pt x="507" y="121"/>
                  </a:lnTo>
                  <a:lnTo>
                    <a:pt x="521" y="144"/>
                  </a:lnTo>
                  <a:lnTo>
                    <a:pt x="533" y="168"/>
                  </a:lnTo>
                  <a:lnTo>
                    <a:pt x="541" y="192"/>
                  </a:lnTo>
                  <a:lnTo>
                    <a:pt x="549" y="219"/>
                  </a:lnTo>
                  <a:lnTo>
                    <a:pt x="553" y="246"/>
                  </a:lnTo>
                  <a:lnTo>
                    <a:pt x="554" y="275"/>
                  </a:lnTo>
                  <a:lnTo>
                    <a:pt x="554" y="275"/>
                  </a:lnTo>
                  <a:close/>
                  <a:moveTo>
                    <a:pt x="554" y="275"/>
                  </a:moveTo>
                  <a:lnTo>
                    <a:pt x="554" y="275"/>
                  </a:lnTo>
                  <a:close/>
                </a:path>
              </a:pathLst>
            </a:custGeom>
            <a:solidFill>
              <a:srgbClr val="B61F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85" name="Freeform 7"/>
            <p:cNvSpPr>
              <a:spLocks/>
            </p:cNvSpPr>
            <p:nvPr userDrawn="1"/>
          </p:nvSpPr>
          <p:spPr bwMode="auto">
            <a:xfrm>
              <a:off x="5486" y="647"/>
              <a:ext cx="185" cy="183"/>
            </a:xfrm>
            <a:custGeom>
              <a:avLst/>
              <a:gdLst>
                <a:gd name="T0" fmla="*/ 554 w 554"/>
                <a:gd name="T1" fmla="*/ 275 h 550"/>
                <a:gd name="T2" fmla="*/ 549 w 554"/>
                <a:gd name="T3" fmla="*/ 331 h 550"/>
                <a:gd name="T4" fmla="*/ 533 w 554"/>
                <a:gd name="T5" fmla="*/ 382 h 550"/>
                <a:gd name="T6" fmla="*/ 507 w 554"/>
                <a:gd name="T7" fmla="*/ 429 h 550"/>
                <a:gd name="T8" fmla="*/ 473 w 554"/>
                <a:gd name="T9" fmla="*/ 470 h 550"/>
                <a:gd name="T10" fmla="*/ 433 w 554"/>
                <a:gd name="T11" fmla="*/ 503 h 550"/>
                <a:gd name="T12" fmla="*/ 385 w 554"/>
                <a:gd name="T13" fmla="*/ 529 h 550"/>
                <a:gd name="T14" fmla="*/ 334 w 554"/>
                <a:gd name="T15" fmla="*/ 544 h 550"/>
                <a:gd name="T16" fmla="*/ 278 w 554"/>
                <a:gd name="T17" fmla="*/ 550 h 550"/>
                <a:gd name="T18" fmla="*/ 249 w 554"/>
                <a:gd name="T19" fmla="*/ 549 h 550"/>
                <a:gd name="T20" fmla="*/ 195 w 554"/>
                <a:gd name="T21" fmla="*/ 539 h 550"/>
                <a:gd name="T22" fmla="*/ 145 w 554"/>
                <a:gd name="T23" fmla="*/ 517 h 550"/>
                <a:gd name="T24" fmla="*/ 102 w 554"/>
                <a:gd name="T25" fmla="*/ 487 h 550"/>
                <a:gd name="T26" fmla="*/ 63 w 554"/>
                <a:gd name="T27" fmla="*/ 450 h 550"/>
                <a:gd name="T28" fmla="*/ 33 w 554"/>
                <a:gd name="T29" fmla="*/ 406 h 550"/>
                <a:gd name="T30" fmla="*/ 13 w 554"/>
                <a:gd name="T31" fmla="*/ 358 h 550"/>
                <a:gd name="T32" fmla="*/ 2 w 554"/>
                <a:gd name="T33" fmla="*/ 303 h 550"/>
                <a:gd name="T34" fmla="*/ 0 w 554"/>
                <a:gd name="T35" fmla="*/ 275 h 550"/>
                <a:gd name="T36" fmla="*/ 6 w 554"/>
                <a:gd name="T37" fmla="*/ 219 h 550"/>
                <a:gd name="T38" fmla="*/ 22 w 554"/>
                <a:gd name="T39" fmla="*/ 168 h 550"/>
                <a:gd name="T40" fmla="*/ 48 w 554"/>
                <a:gd name="T41" fmla="*/ 121 h 550"/>
                <a:gd name="T42" fmla="*/ 82 w 554"/>
                <a:gd name="T43" fmla="*/ 80 h 550"/>
                <a:gd name="T44" fmla="*/ 122 w 554"/>
                <a:gd name="T45" fmla="*/ 47 h 550"/>
                <a:gd name="T46" fmla="*/ 169 w 554"/>
                <a:gd name="T47" fmla="*/ 21 h 550"/>
                <a:gd name="T48" fmla="*/ 222 w 554"/>
                <a:gd name="T49" fmla="*/ 6 h 550"/>
                <a:gd name="T50" fmla="*/ 278 w 554"/>
                <a:gd name="T51" fmla="*/ 0 h 550"/>
                <a:gd name="T52" fmla="*/ 305 w 554"/>
                <a:gd name="T53" fmla="*/ 1 h 550"/>
                <a:gd name="T54" fmla="*/ 360 w 554"/>
                <a:gd name="T55" fmla="*/ 11 h 550"/>
                <a:gd name="T56" fmla="*/ 410 w 554"/>
                <a:gd name="T57" fmla="*/ 33 h 550"/>
                <a:gd name="T58" fmla="*/ 454 w 554"/>
                <a:gd name="T59" fmla="*/ 63 h 550"/>
                <a:gd name="T60" fmla="*/ 491 w 554"/>
                <a:gd name="T61" fmla="*/ 100 h 550"/>
                <a:gd name="T62" fmla="*/ 521 w 554"/>
                <a:gd name="T63" fmla="*/ 144 h 550"/>
                <a:gd name="T64" fmla="*/ 541 w 554"/>
                <a:gd name="T65" fmla="*/ 192 h 550"/>
                <a:gd name="T66" fmla="*/ 553 w 554"/>
                <a:gd name="T67" fmla="*/ 246 h 550"/>
                <a:gd name="T68" fmla="*/ 554 w 554"/>
                <a:gd name="T69" fmla="*/ 275 h 5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54" h="550">
                  <a:moveTo>
                    <a:pt x="554" y="275"/>
                  </a:moveTo>
                  <a:lnTo>
                    <a:pt x="554" y="275"/>
                  </a:lnTo>
                  <a:lnTo>
                    <a:pt x="553" y="303"/>
                  </a:lnTo>
                  <a:lnTo>
                    <a:pt x="549" y="331"/>
                  </a:lnTo>
                  <a:lnTo>
                    <a:pt x="541" y="358"/>
                  </a:lnTo>
                  <a:lnTo>
                    <a:pt x="533" y="382"/>
                  </a:lnTo>
                  <a:lnTo>
                    <a:pt x="521" y="406"/>
                  </a:lnTo>
                  <a:lnTo>
                    <a:pt x="507" y="429"/>
                  </a:lnTo>
                  <a:lnTo>
                    <a:pt x="491" y="450"/>
                  </a:lnTo>
                  <a:lnTo>
                    <a:pt x="473" y="470"/>
                  </a:lnTo>
                  <a:lnTo>
                    <a:pt x="454" y="487"/>
                  </a:lnTo>
                  <a:lnTo>
                    <a:pt x="433" y="503"/>
                  </a:lnTo>
                  <a:lnTo>
                    <a:pt x="410" y="517"/>
                  </a:lnTo>
                  <a:lnTo>
                    <a:pt x="385" y="529"/>
                  </a:lnTo>
                  <a:lnTo>
                    <a:pt x="360" y="539"/>
                  </a:lnTo>
                  <a:lnTo>
                    <a:pt x="334" y="544"/>
                  </a:lnTo>
                  <a:lnTo>
                    <a:pt x="305" y="549"/>
                  </a:lnTo>
                  <a:lnTo>
                    <a:pt x="278" y="550"/>
                  </a:lnTo>
                  <a:lnTo>
                    <a:pt x="278" y="550"/>
                  </a:lnTo>
                  <a:lnTo>
                    <a:pt x="249" y="549"/>
                  </a:lnTo>
                  <a:lnTo>
                    <a:pt x="222" y="544"/>
                  </a:lnTo>
                  <a:lnTo>
                    <a:pt x="195" y="539"/>
                  </a:lnTo>
                  <a:lnTo>
                    <a:pt x="169" y="529"/>
                  </a:lnTo>
                  <a:lnTo>
                    <a:pt x="145" y="517"/>
                  </a:lnTo>
                  <a:lnTo>
                    <a:pt x="122" y="503"/>
                  </a:lnTo>
                  <a:lnTo>
                    <a:pt x="102" y="487"/>
                  </a:lnTo>
                  <a:lnTo>
                    <a:pt x="82" y="470"/>
                  </a:lnTo>
                  <a:lnTo>
                    <a:pt x="63" y="450"/>
                  </a:lnTo>
                  <a:lnTo>
                    <a:pt x="48" y="429"/>
                  </a:lnTo>
                  <a:lnTo>
                    <a:pt x="33" y="406"/>
                  </a:lnTo>
                  <a:lnTo>
                    <a:pt x="22" y="382"/>
                  </a:lnTo>
                  <a:lnTo>
                    <a:pt x="13" y="358"/>
                  </a:lnTo>
                  <a:lnTo>
                    <a:pt x="6" y="331"/>
                  </a:lnTo>
                  <a:lnTo>
                    <a:pt x="2" y="303"/>
                  </a:lnTo>
                  <a:lnTo>
                    <a:pt x="0" y="275"/>
                  </a:lnTo>
                  <a:lnTo>
                    <a:pt x="0" y="275"/>
                  </a:lnTo>
                  <a:lnTo>
                    <a:pt x="2" y="246"/>
                  </a:lnTo>
                  <a:lnTo>
                    <a:pt x="6" y="219"/>
                  </a:lnTo>
                  <a:lnTo>
                    <a:pt x="13" y="192"/>
                  </a:lnTo>
                  <a:lnTo>
                    <a:pt x="22" y="168"/>
                  </a:lnTo>
                  <a:lnTo>
                    <a:pt x="33" y="144"/>
                  </a:lnTo>
                  <a:lnTo>
                    <a:pt x="48" y="121"/>
                  </a:lnTo>
                  <a:lnTo>
                    <a:pt x="63" y="100"/>
                  </a:lnTo>
                  <a:lnTo>
                    <a:pt x="82" y="80"/>
                  </a:lnTo>
                  <a:lnTo>
                    <a:pt x="102" y="63"/>
                  </a:lnTo>
                  <a:lnTo>
                    <a:pt x="122" y="47"/>
                  </a:lnTo>
                  <a:lnTo>
                    <a:pt x="145" y="33"/>
                  </a:lnTo>
                  <a:lnTo>
                    <a:pt x="169" y="21"/>
                  </a:lnTo>
                  <a:lnTo>
                    <a:pt x="195" y="11"/>
                  </a:lnTo>
                  <a:lnTo>
                    <a:pt x="222" y="6"/>
                  </a:lnTo>
                  <a:lnTo>
                    <a:pt x="249" y="1"/>
                  </a:lnTo>
                  <a:lnTo>
                    <a:pt x="278" y="0"/>
                  </a:lnTo>
                  <a:lnTo>
                    <a:pt x="278" y="0"/>
                  </a:lnTo>
                  <a:lnTo>
                    <a:pt x="305" y="1"/>
                  </a:lnTo>
                  <a:lnTo>
                    <a:pt x="334" y="6"/>
                  </a:lnTo>
                  <a:lnTo>
                    <a:pt x="360" y="11"/>
                  </a:lnTo>
                  <a:lnTo>
                    <a:pt x="385" y="21"/>
                  </a:lnTo>
                  <a:lnTo>
                    <a:pt x="410" y="33"/>
                  </a:lnTo>
                  <a:lnTo>
                    <a:pt x="433" y="47"/>
                  </a:lnTo>
                  <a:lnTo>
                    <a:pt x="454" y="63"/>
                  </a:lnTo>
                  <a:lnTo>
                    <a:pt x="473" y="80"/>
                  </a:lnTo>
                  <a:lnTo>
                    <a:pt x="491" y="100"/>
                  </a:lnTo>
                  <a:lnTo>
                    <a:pt x="507" y="121"/>
                  </a:lnTo>
                  <a:lnTo>
                    <a:pt x="521" y="144"/>
                  </a:lnTo>
                  <a:lnTo>
                    <a:pt x="533" y="168"/>
                  </a:lnTo>
                  <a:lnTo>
                    <a:pt x="541" y="192"/>
                  </a:lnTo>
                  <a:lnTo>
                    <a:pt x="549" y="219"/>
                  </a:lnTo>
                  <a:lnTo>
                    <a:pt x="553" y="246"/>
                  </a:lnTo>
                  <a:lnTo>
                    <a:pt x="554" y="275"/>
                  </a:lnTo>
                  <a:lnTo>
                    <a:pt x="554" y="27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86" name="Line 8"/>
            <p:cNvSpPr>
              <a:spLocks noChangeShapeType="1"/>
            </p:cNvSpPr>
            <p:nvPr userDrawn="1"/>
          </p:nvSpPr>
          <p:spPr bwMode="auto">
            <a:xfrm>
              <a:off x="5671" y="739"/>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87" name="Freeform 9"/>
            <p:cNvSpPr>
              <a:spLocks/>
            </p:cNvSpPr>
            <p:nvPr userDrawn="1"/>
          </p:nvSpPr>
          <p:spPr bwMode="auto">
            <a:xfrm>
              <a:off x="5486" y="647"/>
              <a:ext cx="185" cy="183"/>
            </a:xfrm>
            <a:custGeom>
              <a:avLst/>
              <a:gdLst>
                <a:gd name="T0" fmla="*/ 554 w 554"/>
                <a:gd name="T1" fmla="*/ 275 h 550"/>
                <a:gd name="T2" fmla="*/ 549 w 554"/>
                <a:gd name="T3" fmla="*/ 331 h 550"/>
                <a:gd name="T4" fmla="*/ 533 w 554"/>
                <a:gd name="T5" fmla="*/ 382 h 550"/>
                <a:gd name="T6" fmla="*/ 507 w 554"/>
                <a:gd name="T7" fmla="*/ 429 h 550"/>
                <a:gd name="T8" fmla="*/ 473 w 554"/>
                <a:gd name="T9" fmla="*/ 470 h 550"/>
                <a:gd name="T10" fmla="*/ 433 w 554"/>
                <a:gd name="T11" fmla="*/ 503 h 550"/>
                <a:gd name="T12" fmla="*/ 385 w 554"/>
                <a:gd name="T13" fmla="*/ 529 h 550"/>
                <a:gd name="T14" fmla="*/ 334 w 554"/>
                <a:gd name="T15" fmla="*/ 544 h 550"/>
                <a:gd name="T16" fmla="*/ 278 w 554"/>
                <a:gd name="T17" fmla="*/ 550 h 550"/>
                <a:gd name="T18" fmla="*/ 249 w 554"/>
                <a:gd name="T19" fmla="*/ 549 h 550"/>
                <a:gd name="T20" fmla="*/ 195 w 554"/>
                <a:gd name="T21" fmla="*/ 539 h 550"/>
                <a:gd name="T22" fmla="*/ 145 w 554"/>
                <a:gd name="T23" fmla="*/ 517 h 550"/>
                <a:gd name="T24" fmla="*/ 102 w 554"/>
                <a:gd name="T25" fmla="*/ 487 h 550"/>
                <a:gd name="T26" fmla="*/ 63 w 554"/>
                <a:gd name="T27" fmla="*/ 450 h 550"/>
                <a:gd name="T28" fmla="*/ 33 w 554"/>
                <a:gd name="T29" fmla="*/ 406 h 550"/>
                <a:gd name="T30" fmla="*/ 13 w 554"/>
                <a:gd name="T31" fmla="*/ 358 h 550"/>
                <a:gd name="T32" fmla="*/ 2 w 554"/>
                <a:gd name="T33" fmla="*/ 303 h 550"/>
                <a:gd name="T34" fmla="*/ 0 w 554"/>
                <a:gd name="T35" fmla="*/ 275 h 550"/>
                <a:gd name="T36" fmla="*/ 6 w 554"/>
                <a:gd name="T37" fmla="*/ 219 h 550"/>
                <a:gd name="T38" fmla="*/ 22 w 554"/>
                <a:gd name="T39" fmla="*/ 168 h 550"/>
                <a:gd name="T40" fmla="*/ 48 w 554"/>
                <a:gd name="T41" fmla="*/ 121 h 550"/>
                <a:gd name="T42" fmla="*/ 82 w 554"/>
                <a:gd name="T43" fmla="*/ 80 h 550"/>
                <a:gd name="T44" fmla="*/ 122 w 554"/>
                <a:gd name="T45" fmla="*/ 47 h 550"/>
                <a:gd name="T46" fmla="*/ 169 w 554"/>
                <a:gd name="T47" fmla="*/ 21 h 550"/>
                <a:gd name="T48" fmla="*/ 222 w 554"/>
                <a:gd name="T49" fmla="*/ 6 h 550"/>
                <a:gd name="T50" fmla="*/ 278 w 554"/>
                <a:gd name="T51" fmla="*/ 0 h 550"/>
                <a:gd name="T52" fmla="*/ 305 w 554"/>
                <a:gd name="T53" fmla="*/ 1 h 550"/>
                <a:gd name="T54" fmla="*/ 360 w 554"/>
                <a:gd name="T55" fmla="*/ 11 h 550"/>
                <a:gd name="T56" fmla="*/ 410 w 554"/>
                <a:gd name="T57" fmla="*/ 33 h 550"/>
                <a:gd name="T58" fmla="*/ 454 w 554"/>
                <a:gd name="T59" fmla="*/ 63 h 550"/>
                <a:gd name="T60" fmla="*/ 491 w 554"/>
                <a:gd name="T61" fmla="*/ 100 h 550"/>
                <a:gd name="T62" fmla="*/ 521 w 554"/>
                <a:gd name="T63" fmla="*/ 144 h 550"/>
                <a:gd name="T64" fmla="*/ 541 w 554"/>
                <a:gd name="T65" fmla="*/ 192 h 550"/>
                <a:gd name="T66" fmla="*/ 553 w 554"/>
                <a:gd name="T67" fmla="*/ 246 h 550"/>
                <a:gd name="T68" fmla="*/ 554 w 554"/>
                <a:gd name="T69" fmla="*/ 275 h 5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54" h="550">
                  <a:moveTo>
                    <a:pt x="554" y="275"/>
                  </a:moveTo>
                  <a:lnTo>
                    <a:pt x="554" y="275"/>
                  </a:lnTo>
                  <a:lnTo>
                    <a:pt x="553" y="303"/>
                  </a:lnTo>
                  <a:lnTo>
                    <a:pt x="549" y="331"/>
                  </a:lnTo>
                  <a:lnTo>
                    <a:pt x="541" y="358"/>
                  </a:lnTo>
                  <a:lnTo>
                    <a:pt x="533" y="382"/>
                  </a:lnTo>
                  <a:lnTo>
                    <a:pt x="521" y="406"/>
                  </a:lnTo>
                  <a:lnTo>
                    <a:pt x="507" y="429"/>
                  </a:lnTo>
                  <a:lnTo>
                    <a:pt x="491" y="450"/>
                  </a:lnTo>
                  <a:lnTo>
                    <a:pt x="473" y="470"/>
                  </a:lnTo>
                  <a:lnTo>
                    <a:pt x="454" y="487"/>
                  </a:lnTo>
                  <a:lnTo>
                    <a:pt x="433" y="503"/>
                  </a:lnTo>
                  <a:lnTo>
                    <a:pt x="410" y="517"/>
                  </a:lnTo>
                  <a:lnTo>
                    <a:pt x="385" y="529"/>
                  </a:lnTo>
                  <a:lnTo>
                    <a:pt x="360" y="539"/>
                  </a:lnTo>
                  <a:lnTo>
                    <a:pt x="334" y="544"/>
                  </a:lnTo>
                  <a:lnTo>
                    <a:pt x="305" y="549"/>
                  </a:lnTo>
                  <a:lnTo>
                    <a:pt x="278" y="550"/>
                  </a:lnTo>
                  <a:lnTo>
                    <a:pt x="278" y="550"/>
                  </a:lnTo>
                  <a:lnTo>
                    <a:pt x="249" y="549"/>
                  </a:lnTo>
                  <a:lnTo>
                    <a:pt x="222" y="544"/>
                  </a:lnTo>
                  <a:lnTo>
                    <a:pt x="195" y="539"/>
                  </a:lnTo>
                  <a:lnTo>
                    <a:pt x="169" y="529"/>
                  </a:lnTo>
                  <a:lnTo>
                    <a:pt x="145" y="517"/>
                  </a:lnTo>
                  <a:lnTo>
                    <a:pt x="122" y="503"/>
                  </a:lnTo>
                  <a:lnTo>
                    <a:pt x="102" y="487"/>
                  </a:lnTo>
                  <a:lnTo>
                    <a:pt x="82" y="470"/>
                  </a:lnTo>
                  <a:lnTo>
                    <a:pt x="63" y="450"/>
                  </a:lnTo>
                  <a:lnTo>
                    <a:pt x="48" y="429"/>
                  </a:lnTo>
                  <a:lnTo>
                    <a:pt x="33" y="406"/>
                  </a:lnTo>
                  <a:lnTo>
                    <a:pt x="22" y="382"/>
                  </a:lnTo>
                  <a:lnTo>
                    <a:pt x="13" y="358"/>
                  </a:lnTo>
                  <a:lnTo>
                    <a:pt x="6" y="331"/>
                  </a:lnTo>
                  <a:lnTo>
                    <a:pt x="2" y="303"/>
                  </a:lnTo>
                  <a:lnTo>
                    <a:pt x="0" y="275"/>
                  </a:lnTo>
                  <a:lnTo>
                    <a:pt x="0" y="275"/>
                  </a:lnTo>
                  <a:lnTo>
                    <a:pt x="2" y="246"/>
                  </a:lnTo>
                  <a:lnTo>
                    <a:pt x="6" y="219"/>
                  </a:lnTo>
                  <a:lnTo>
                    <a:pt x="13" y="192"/>
                  </a:lnTo>
                  <a:lnTo>
                    <a:pt x="22" y="168"/>
                  </a:lnTo>
                  <a:lnTo>
                    <a:pt x="33" y="144"/>
                  </a:lnTo>
                  <a:lnTo>
                    <a:pt x="48" y="121"/>
                  </a:lnTo>
                  <a:lnTo>
                    <a:pt x="63" y="100"/>
                  </a:lnTo>
                  <a:lnTo>
                    <a:pt x="82" y="80"/>
                  </a:lnTo>
                  <a:lnTo>
                    <a:pt x="102" y="63"/>
                  </a:lnTo>
                  <a:lnTo>
                    <a:pt x="122" y="47"/>
                  </a:lnTo>
                  <a:lnTo>
                    <a:pt x="145" y="33"/>
                  </a:lnTo>
                  <a:lnTo>
                    <a:pt x="169" y="21"/>
                  </a:lnTo>
                  <a:lnTo>
                    <a:pt x="195" y="11"/>
                  </a:lnTo>
                  <a:lnTo>
                    <a:pt x="222" y="6"/>
                  </a:lnTo>
                  <a:lnTo>
                    <a:pt x="249" y="1"/>
                  </a:lnTo>
                  <a:lnTo>
                    <a:pt x="278" y="0"/>
                  </a:lnTo>
                  <a:lnTo>
                    <a:pt x="278" y="0"/>
                  </a:lnTo>
                  <a:lnTo>
                    <a:pt x="305" y="1"/>
                  </a:lnTo>
                  <a:lnTo>
                    <a:pt x="334" y="6"/>
                  </a:lnTo>
                  <a:lnTo>
                    <a:pt x="360" y="11"/>
                  </a:lnTo>
                  <a:lnTo>
                    <a:pt x="385" y="21"/>
                  </a:lnTo>
                  <a:lnTo>
                    <a:pt x="410" y="33"/>
                  </a:lnTo>
                  <a:lnTo>
                    <a:pt x="433" y="47"/>
                  </a:lnTo>
                  <a:lnTo>
                    <a:pt x="454" y="63"/>
                  </a:lnTo>
                  <a:lnTo>
                    <a:pt x="473" y="80"/>
                  </a:lnTo>
                  <a:lnTo>
                    <a:pt x="491" y="100"/>
                  </a:lnTo>
                  <a:lnTo>
                    <a:pt x="507" y="121"/>
                  </a:lnTo>
                  <a:lnTo>
                    <a:pt x="521" y="144"/>
                  </a:lnTo>
                  <a:lnTo>
                    <a:pt x="533" y="168"/>
                  </a:lnTo>
                  <a:lnTo>
                    <a:pt x="541" y="192"/>
                  </a:lnTo>
                  <a:lnTo>
                    <a:pt x="549" y="219"/>
                  </a:lnTo>
                  <a:lnTo>
                    <a:pt x="553" y="246"/>
                  </a:lnTo>
                  <a:lnTo>
                    <a:pt x="554" y="275"/>
                  </a:lnTo>
                  <a:lnTo>
                    <a:pt x="554" y="275"/>
                  </a:lnTo>
                </a:path>
              </a:pathLst>
            </a:custGeom>
            <a:noFill/>
            <a:ln w="1588">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88" name="Line 10"/>
            <p:cNvSpPr>
              <a:spLocks noChangeShapeType="1"/>
            </p:cNvSpPr>
            <p:nvPr userDrawn="1"/>
          </p:nvSpPr>
          <p:spPr bwMode="auto">
            <a:xfrm>
              <a:off x="5671" y="739"/>
              <a:ext cx="0" cy="0"/>
            </a:xfrm>
            <a:prstGeom prst="line">
              <a:avLst/>
            </a:prstGeom>
            <a:noFill/>
            <a:ln w="1588">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89" name="Freeform 11"/>
            <p:cNvSpPr>
              <a:spLocks noEditPoints="1"/>
            </p:cNvSpPr>
            <p:nvPr userDrawn="1"/>
          </p:nvSpPr>
          <p:spPr bwMode="auto">
            <a:xfrm>
              <a:off x="5497" y="659"/>
              <a:ext cx="170" cy="170"/>
            </a:xfrm>
            <a:custGeom>
              <a:avLst/>
              <a:gdLst>
                <a:gd name="T0" fmla="*/ 510 w 510"/>
                <a:gd name="T1" fmla="*/ 257 h 511"/>
                <a:gd name="T2" fmla="*/ 504 w 510"/>
                <a:gd name="T3" fmla="*/ 309 h 511"/>
                <a:gd name="T4" fmla="*/ 490 w 510"/>
                <a:gd name="T5" fmla="*/ 356 h 511"/>
                <a:gd name="T6" fmla="*/ 465 w 510"/>
                <a:gd name="T7" fmla="*/ 399 h 511"/>
                <a:gd name="T8" fmla="*/ 434 w 510"/>
                <a:gd name="T9" fmla="*/ 437 h 511"/>
                <a:gd name="T10" fmla="*/ 397 w 510"/>
                <a:gd name="T11" fmla="*/ 467 h 511"/>
                <a:gd name="T12" fmla="*/ 354 w 510"/>
                <a:gd name="T13" fmla="*/ 491 h 511"/>
                <a:gd name="T14" fmla="*/ 307 w 510"/>
                <a:gd name="T15" fmla="*/ 505 h 511"/>
                <a:gd name="T16" fmla="*/ 255 w 510"/>
                <a:gd name="T17" fmla="*/ 511 h 511"/>
                <a:gd name="T18" fmla="*/ 229 w 510"/>
                <a:gd name="T19" fmla="*/ 510 h 511"/>
                <a:gd name="T20" fmla="*/ 179 w 510"/>
                <a:gd name="T21" fmla="*/ 500 h 511"/>
                <a:gd name="T22" fmla="*/ 133 w 510"/>
                <a:gd name="T23" fmla="*/ 480 h 511"/>
                <a:gd name="T24" fmla="*/ 93 w 510"/>
                <a:gd name="T25" fmla="*/ 453 h 511"/>
                <a:gd name="T26" fmla="*/ 59 w 510"/>
                <a:gd name="T27" fmla="*/ 419 h 511"/>
                <a:gd name="T28" fmla="*/ 30 w 510"/>
                <a:gd name="T29" fmla="*/ 379 h 511"/>
                <a:gd name="T30" fmla="*/ 12 w 510"/>
                <a:gd name="T31" fmla="*/ 333 h 511"/>
                <a:gd name="T32" fmla="*/ 2 w 510"/>
                <a:gd name="T33" fmla="*/ 283 h 511"/>
                <a:gd name="T34" fmla="*/ 0 w 510"/>
                <a:gd name="T35" fmla="*/ 257 h 511"/>
                <a:gd name="T36" fmla="*/ 6 w 510"/>
                <a:gd name="T37" fmla="*/ 206 h 511"/>
                <a:gd name="T38" fmla="*/ 20 w 510"/>
                <a:gd name="T39" fmla="*/ 158 h 511"/>
                <a:gd name="T40" fmla="*/ 43 w 510"/>
                <a:gd name="T41" fmla="*/ 115 h 511"/>
                <a:gd name="T42" fmla="*/ 75 w 510"/>
                <a:gd name="T43" fmla="*/ 77 h 511"/>
                <a:gd name="T44" fmla="*/ 112 w 510"/>
                <a:gd name="T45" fmla="*/ 44 h 511"/>
                <a:gd name="T46" fmla="*/ 156 w 510"/>
                <a:gd name="T47" fmla="*/ 21 h 511"/>
                <a:gd name="T48" fmla="*/ 204 w 510"/>
                <a:gd name="T49" fmla="*/ 5 h 511"/>
                <a:gd name="T50" fmla="*/ 255 w 510"/>
                <a:gd name="T51" fmla="*/ 0 h 511"/>
                <a:gd name="T52" fmla="*/ 284 w 510"/>
                <a:gd name="T53" fmla="*/ 1 h 511"/>
                <a:gd name="T54" fmla="*/ 337 w 510"/>
                <a:gd name="T55" fmla="*/ 11 h 511"/>
                <a:gd name="T56" fmla="*/ 384 w 510"/>
                <a:gd name="T57" fmla="*/ 31 h 511"/>
                <a:gd name="T58" fmla="*/ 424 w 510"/>
                <a:gd name="T59" fmla="*/ 59 h 511"/>
                <a:gd name="T60" fmla="*/ 457 w 510"/>
                <a:gd name="T61" fmla="*/ 95 h 511"/>
                <a:gd name="T62" fmla="*/ 481 w 510"/>
                <a:gd name="T63" fmla="*/ 136 h 511"/>
                <a:gd name="T64" fmla="*/ 500 w 510"/>
                <a:gd name="T65" fmla="*/ 182 h 511"/>
                <a:gd name="T66" fmla="*/ 508 w 510"/>
                <a:gd name="T67" fmla="*/ 232 h 511"/>
                <a:gd name="T68" fmla="*/ 510 w 510"/>
                <a:gd name="T69" fmla="*/ 257 h 511"/>
                <a:gd name="T70" fmla="*/ 510 w 510"/>
                <a:gd name="T71" fmla="*/ 257 h 5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0" h="511">
                  <a:moveTo>
                    <a:pt x="510" y="257"/>
                  </a:moveTo>
                  <a:lnTo>
                    <a:pt x="510" y="257"/>
                  </a:lnTo>
                  <a:lnTo>
                    <a:pt x="508" y="283"/>
                  </a:lnTo>
                  <a:lnTo>
                    <a:pt x="504" y="309"/>
                  </a:lnTo>
                  <a:lnTo>
                    <a:pt x="498" y="333"/>
                  </a:lnTo>
                  <a:lnTo>
                    <a:pt x="490" y="356"/>
                  </a:lnTo>
                  <a:lnTo>
                    <a:pt x="478" y="379"/>
                  </a:lnTo>
                  <a:lnTo>
                    <a:pt x="465" y="399"/>
                  </a:lnTo>
                  <a:lnTo>
                    <a:pt x="451" y="419"/>
                  </a:lnTo>
                  <a:lnTo>
                    <a:pt x="434" y="437"/>
                  </a:lnTo>
                  <a:lnTo>
                    <a:pt x="417" y="453"/>
                  </a:lnTo>
                  <a:lnTo>
                    <a:pt x="397" y="467"/>
                  </a:lnTo>
                  <a:lnTo>
                    <a:pt x="377" y="480"/>
                  </a:lnTo>
                  <a:lnTo>
                    <a:pt x="354" y="491"/>
                  </a:lnTo>
                  <a:lnTo>
                    <a:pt x="331" y="500"/>
                  </a:lnTo>
                  <a:lnTo>
                    <a:pt x="307" y="505"/>
                  </a:lnTo>
                  <a:lnTo>
                    <a:pt x="281" y="510"/>
                  </a:lnTo>
                  <a:lnTo>
                    <a:pt x="255" y="511"/>
                  </a:lnTo>
                  <a:lnTo>
                    <a:pt x="255" y="511"/>
                  </a:lnTo>
                  <a:lnTo>
                    <a:pt x="229" y="510"/>
                  </a:lnTo>
                  <a:lnTo>
                    <a:pt x="204" y="505"/>
                  </a:lnTo>
                  <a:lnTo>
                    <a:pt x="179" y="500"/>
                  </a:lnTo>
                  <a:lnTo>
                    <a:pt x="156" y="491"/>
                  </a:lnTo>
                  <a:lnTo>
                    <a:pt x="133" y="480"/>
                  </a:lnTo>
                  <a:lnTo>
                    <a:pt x="112" y="467"/>
                  </a:lnTo>
                  <a:lnTo>
                    <a:pt x="93" y="453"/>
                  </a:lnTo>
                  <a:lnTo>
                    <a:pt x="75" y="437"/>
                  </a:lnTo>
                  <a:lnTo>
                    <a:pt x="59" y="419"/>
                  </a:lnTo>
                  <a:lnTo>
                    <a:pt x="43" y="399"/>
                  </a:lnTo>
                  <a:lnTo>
                    <a:pt x="30" y="379"/>
                  </a:lnTo>
                  <a:lnTo>
                    <a:pt x="20" y="356"/>
                  </a:lnTo>
                  <a:lnTo>
                    <a:pt x="12" y="333"/>
                  </a:lnTo>
                  <a:lnTo>
                    <a:pt x="6" y="309"/>
                  </a:lnTo>
                  <a:lnTo>
                    <a:pt x="2" y="283"/>
                  </a:lnTo>
                  <a:lnTo>
                    <a:pt x="0" y="257"/>
                  </a:lnTo>
                  <a:lnTo>
                    <a:pt x="0" y="257"/>
                  </a:lnTo>
                  <a:lnTo>
                    <a:pt x="2" y="232"/>
                  </a:lnTo>
                  <a:lnTo>
                    <a:pt x="6" y="206"/>
                  </a:lnTo>
                  <a:lnTo>
                    <a:pt x="12" y="182"/>
                  </a:lnTo>
                  <a:lnTo>
                    <a:pt x="20" y="158"/>
                  </a:lnTo>
                  <a:lnTo>
                    <a:pt x="30" y="136"/>
                  </a:lnTo>
                  <a:lnTo>
                    <a:pt x="43" y="115"/>
                  </a:lnTo>
                  <a:lnTo>
                    <a:pt x="59" y="95"/>
                  </a:lnTo>
                  <a:lnTo>
                    <a:pt x="75" y="77"/>
                  </a:lnTo>
                  <a:lnTo>
                    <a:pt x="93" y="59"/>
                  </a:lnTo>
                  <a:lnTo>
                    <a:pt x="112" y="44"/>
                  </a:lnTo>
                  <a:lnTo>
                    <a:pt x="133" y="31"/>
                  </a:lnTo>
                  <a:lnTo>
                    <a:pt x="156" y="21"/>
                  </a:lnTo>
                  <a:lnTo>
                    <a:pt x="179" y="11"/>
                  </a:lnTo>
                  <a:lnTo>
                    <a:pt x="204" y="5"/>
                  </a:lnTo>
                  <a:lnTo>
                    <a:pt x="229" y="1"/>
                  </a:lnTo>
                  <a:lnTo>
                    <a:pt x="255" y="0"/>
                  </a:lnTo>
                  <a:lnTo>
                    <a:pt x="255" y="0"/>
                  </a:lnTo>
                  <a:lnTo>
                    <a:pt x="284" y="1"/>
                  </a:lnTo>
                  <a:lnTo>
                    <a:pt x="311" y="5"/>
                  </a:lnTo>
                  <a:lnTo>
                    <a:pt x="337" y="11"/>
                  </a:lnTo>
                  <a:lnTo>
                    <a:pt x="361" y="21"/>
                  </a:lnTo>
                  <a:lnTo>
                    <a:pt x="384" y="31"/>
                  </a:lnTo>
                  <a:lnTo>
                    <a:pt x="404" y="44"/>
                  </a:lnTo>
                  <a:lnTo>
                    <a:pt x="424" y="59"/>
                  </a:lnTo>
                  <a:lnTo>
                    <a:pt x="441" y="77"/>
                  </a:lnTo>
                  <a:lnTo>
                    <a:pt x="457" y="95"/>
                  </a:lnTo>
                  <a:lnTo>
                    <a:pt x="470" y="115"/>
                  </a:lnTo>
                  <a:lnTo>
                    <a:pt x="481" y="136"/>
                  </a:lnTo>
                  <a:lnTo>
                    <a:pt x="491" y="158"/>
                  </a:lnTo>
                  <a:lnTo>
                    <a:pt x="500" y="182"/>
                  </a:lnTo>
                  <a:lnTo>
                    <a:pt x="504" y="206"/>
                  </a:lnTo>
                  <a:lnTo>
                    <a:pt x="508" y="232"/>
                  </a:lnTo>
                  <a:lnTo>
                    <a:pt x="510" y="257"/>
                  </a:lnTo>
                  <a:lnTo>
                    <a:pt x="510" y="257"/>
                  </a:lnTo>
                  <a:close/>
                  <a:moveTo>
                    <a:pt x="510" y="257"/>
                  </a:moveTo>
                  <a:lnTo>
                    <a:pt x="510" y="257"/>
                  </a:lnTo>
                  <a:close/>
                </a:path>
              </a:pathLst>
            </a:custGeom>
            <a:solidFill>
              <a:srgbClr val="00987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90" name="Freeform 12"/>
            <p:cNvSpPr>
              <a:spLocks/>
            </p:cNvSpPr>
            <p:nvPr userDrawn="1"/>
          </p:nvSpPr>
          <p:spPr bwMode="auto">
            <a:xfrm>
              <a:off x="5497" y="659"/>
              <a:ext cx="170" cy="170"/>
            </a:xfrm>
            <a:custGeom>
              <a:avLst/>
              <a:gdLst>
                <a:gd name="T0" fmla="*/ 510 w 510"/>
                <a:gd name="T1" fmla="*/ 257 h 511"/>
                <a:gd name="T2" fmla="*/ 504 w 510"/>
                <a:gd name="T3" fmla="*/ 309 h 511"/>
                <a:gd name="T4" fmla="*/ 490 w 510"/>
                <a:gd name="T5" fmla="*/ 356 h 511"/>
                <a:gd name="T6" fmla="*/ 465 w 510"/>
                <a:gd name="T7" fmla="*/ 399 h 511"/>
                <a:gd name="T8" fmla="*/ 434 w 510"/>
                <a:gd name="T9" fmla="*/ 437 h 511"/>
                <a:gd name="T10" fmla="*/ 397 w 510"/>
                <a:gd name="T11" fmla="*/ 467 h 511"/>
                <a:gd name="T12" fmla="*/ 354 w 510"/>
                <a:gd name="T13" fmla="*/ 491 h 511"/>
                <a:gd name="T14" fmla="*/ 307 w 510"/>
                <a:gd name="T15" fmla="*/ 505 h 511"/>
                <a:gd name="T16" fmla="*/ 255 w 510"/>
                <a:gd name="T17" fmla="*/ 511 h 511"/>
                <a:gd name="T18" fmla="*/ 229 w 510"/>
                <a:gd name="T19" fmla="*/ 510 h 511"/>
                <a:gd name="T20" fmla="*/ 179 w 510"/>
                <a:gd name="T21" fmla="*/ 500 h 511"/>
                <a:gd name="T22" fmla="*/ 133 w 510"/>
                <a:gd name="T23" fmla="*/ 480 h 511"/>
                <a:gd name="T24" fmla="*/ 93 w 510"/>
                <a:gd name="T25" fmla="*/ 453 h 511"/>
                <a:gd name="T26" fmla="*/ 59 w 510"/>
                <a:gd name="T27" fmla="*/ 419 h 511"/>
                <a:gd name="T28" fmla="*/ 30 w 510"/>
                <a:gd name="T29" fmla="*/ 379 h 511"/>
                <a:gd name="T30" fmla="*/ 12 w 510"/>
                <a:gd name="T31" fmla="*/ 333 h 511"/>
                <a:gd name="T32" fmla="*/ 2 w 510"/>
                <a:gd name="T33" fmla="*/ 283 h 511"/>
                <a:gd name="T34" fmla="*/ 0 w 510"/>
                <a:gd name="T35" fmla="*/ 257 h 511"/>
                <a:gd name="T36" fmla="*/ 6 w 510"/>
                <a:gd name="T37" fmla="*/ 206 h 511"/>
                <a:gd name="T38" fmla="*/ 20 w 510"/>
                <a:gd name="T39" fmla="*/ 158 h 511"/>
                <a:gd name="T40" fmla="*/ 43 w 510"/>
                <a:gd name="T41" fmla="*/ 115 h 511"/>
                <a:gd name="T42" fmla="*/ 75 w 510"/>
                <a:gd name="T43" fmla="*/ 77 h 511"/>
                <a:gd name="T44" fmla="*/ 112 w 510"/>
                <a:gd name="T45" fmla="*/ 44 h 511"/>
                <a:gd name="T46" fmla="*/ 156 w 510"/>
                <a:gd name="T47" fmla="*/ 21 h 511"/>
                <a:gd name="T48" fmla="*/ 204 w 510"/>
                <a:gd name="T49" fmla="*/ 5 h 511"/>
                <a:gd name="T50" fmla="*/ 255 w 510"/>
                <a:gd name="T51" fmla="*/ 0 h 511"/>
                <a:gd name="T52" fmla="*/ 284 w 510"/>
                <a:gd name="T53" fmla="*/ 1 h 511"/>
                <a:gd name="T54" fmla="*/ 337 w 510"/>
                <a:gd name="T55" fmla="*/ 11 h 511"/>
                <a:gd name="T56" fmla="*/ 384 w 510"/>
                <a:gd name="T57" fmla="*/ 31 h 511"/>
                <a:gd name="T58" fmla="*/ 424 w 510"/>
                <a:gd name="T59" fmla="*/ 59 h 511"/>
                <a:gd name="T60" fmla="*/ 457 w 510"/>
                <a:gd name="T61" fmla="*/ 95 h 511"/>
                <a:gd name="T62" fmla="*/ 481 w 510"/>
                <a:gd name="T63" fmla="*/ 136 h 511"/>
                <a:gd name="T64" fmla="*/ 500 w 510"/>
                <a:gd name="T65" fmla="*/ 182 h 511"/>
                <a:gd name="T66" fmla="*/ 508 w 510"/>
                <a:gd name="T67" fmla="*/ 232 h 511"/>
                <a:gd name="T68" fmla="*/ 510 w 510"/>
                <a:gd name="T69" fmla="*/ 257 h 5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0" h="511">
                  <a:moveTo>
                    <a:pt x="510" y="257"/>
                  </a:moveTo>
                  <a:lnTo>
                    <a:pt x="510" y="257"/>
                  </a:lnTo>
                  <a:lnTo>
                    <a:pt x="508" y="283"/>
                  </a:lnTo>
                  <a:lnTo>
                    <a:pt x="504" y="309"/>
                  </a:lnTo>
                  <a:lnTo>
                    <a:pt x="498" y="333"/>
                  </a:lnTo>
                  <a:lnTo>
                    <a:pt x="490" y="356"/>
                  </a:lnTo>
                  <a:lnTo>
                    <a:pt x="478" y="379"/>
                  </a:lnTo>
                  <a:lnTo>
                    <a:pt x="465" y="399"/>
                  </a:lnTo>
                  <a:lnTo>
                    <a:pt x="451" y="419"/>
                  </a:lnTo>
                  <a:lnTo>
                    <a:pt x="434" y="437"/>
                  </a:lnTo>
                  <a:lnTo>
                    <a:pt x="417" y="453"/>
                  </a:lnTo>
                  <a:lnTo>
                    <a:pt x="397" y="467"/>
                  </a:lnTo>
                  <a:lnTo>
                    <a:pt x="377" y="480"/>
                  </a:lnTo>
                  <a:lnTo>
                    <a:pt x="354" y="491"/>
                  </a:lnTo>
                  <a:lnTo>
                    <a:pt x="331" y="500"/>
                  </a:lnTo>
                  <a:lnTo>
                    <a:pt x="307" y="505"/>
                  </a:lnTo>
                  <a:lnTo>
                    <a:pt x="281" y="510"/>
                  </a:lnTo>
                  <a:lnTo>
                    <a:pt x="255" y="511"/>
                  </a:lnTo>
                  <a:lnTo>
                    <a:pt x="255" y="511"/>
                  </a:lnTo>
                  <a:lnTo>
                    <a:pt x="229" y="510"/>
                  </a:lnTo>
                  <a:lnTo>
                    <a:pt x="204" y="505"/>
                  </a:lnTo>
                  <a:lnTo>
                    <a:pt x="179" y="500"/>
                  </a:lnTo>
                  <a:lnTo>
                    <a:pt x="156" y="491"/>
                  </a:lnTo>
                  <a:lnTo>
                    <a:pt x="133" y="480"/>
                  </a:lnTo>
                  <a:lnTo>
                    <a:pt x="112" y="467"/>
                  </a:lnTo>
                  <a:lnTo>
                    <a:pt x="93" y="453"/>
                  </a:lnTo>
                  <a:lnTo>
                    <a:pt x="75" y="437"/>
                  </a:lnTo>
                  <a:lnTo>
                    <a:pt x="59" y="419"/>
                  </a:lnTo>
                  <a:lnTo>
                    <a:pt x="43" y="399"/>
                  </a:lnTo>
                  <a:lnTo>
                    <a:pt x="30" y="379"/>
                  </a:lnTo>
                  <a:lnTo>
                    <a:pt x="20" y="356"/>
                  </a:lnTo>
                  <a:lnTo>
                    <a:pt x="12" y="333"/>
                  </a:lnTo>
                  <a:lnTo>
                    <a:pt x="6" y="309"/>
                  </a:lnTo>
                  <a:lnTo>
                    <a:pt x="2" y="283"/>
                  </a:lnTo>
                  <a:lnTo>
                    <a:pt x="0" y="257"/>
                  </a:lnTo>
                  <a:lnTo>
                    <a:pt x="0" y="257"/>
                  </a:lnTo>
                  <a:lnTo>
                    <a:pt x="2" y="232"/>
                  </a:lnTo>
                  <a:lnTo>
                    <a:pt x="6" y="206"/>
                  </a:lnTo>
                  <a:lnTo>
                    <a:pt x="12" y="182"/>
                  </a:lnTo>
                  <a:lnTo>
                    <a:pt x="20" y="158"/>
                  </a:lnTo>
                  <a:lnTo>
                    <a:pt x="30" y="136"/>
                  </a:lnTo>
                  <a:lnTo>
                    <a:pt x="43" y="115"/>
                  </a:lnTo>
                  <a:lnTo>
                    <a:pt x="59" y="95"/>
                  </a:lnTo>
                  <a:lnTo>
                    <a:pt x="75" y="77"/>
                  </a:lnTo>
                  <a:lnTo>
                    <a:pt x="93" y="59"/>
                  </a:lnTo>
                  <a:lnTo>
                    <a:pt x="112" y="44"/>
                  </a:lnTo>
                  <a:lnTo>
                    <a:pt x="133" y="31"/>
                  </a:lnTo>
                  <a:lnTo>
                    <a:pt x="156" y="21"/>
                  </a:lnTo>
                  <a:lnTo>
                    <a:pt x="179" y="11"/>
                  </a:lnTo>
                  <a:lnTo>
                    <a:pt x="204" y="5"/>
                  </a:lnTo>
                  <a:lnTo>
                    <a:pt x="229" y="1"/>
                  </a:lnTo>
                  <a:lnTo>
                    <a:pt x="255" y="0"/>
                  </a:lnTo>
                  <a:lnTo>
                    <a:pt x="255" y="0"/>
                  </a:lnTo>
                  <a:lnTo>
                    <a:pt x="284" y="1"/>
                  </a:lnTo>
                  <a:lnTo>
                    <a:pt x="311" y="5"/>
                  </a:lnTo>
                  <a:lnTo>
                    <a:pt x="337" y="11"/>
                  </a:lnTo>
                  <a:lnTo>
                    <a:pt x="361" y="21"/>
                  </a:lnTo>
                  <a:lnTo>
                    <a:pt x="384" y="31"/>
                  </a:lnTo>
                  <a:lnTo>
                    <a:pt x="404" y="44"/>
                  </a:lnTo>
                  <a:lnTo>
                    <a:pt x="424" y="59"/>
                  </a:lnTo>
                  <a:lnTo>
                    <a:pt x="441" y="77"/>
                  </a:lnTo>
                  <a:lnTo>
                    <a:pt x="457" y="95"/>
                  </a:lnTo>
                  <a:lnTo>
                    <a:pt x="470" y="115"/>
                  </a:lnTo>
                  <a:lnTo>
                    <a:pt x="481" y="136"/>
                  </a:lnTo>
                  <a:lnTo>
                    <a:pt x="491" y="158"/>
                  </a:lnTo>
                  <a:lnTo>
                    <a:pt x="500" y="182"/>
                  </a:lnTo>
                  <a:lnTo>
                    <a:pt x="504" y="206"/>
                  </a:lnTo>
                  <a:lnTo>
                    <a:pt x="508" y="232"/>
                  </a:lnTo>
                  <a:lnTo>
                    <a:pt x="510" y="257"/>
                  </a:lnTo>
                  <a:lnTo>
                    <a:pt x="510" y="25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91" name="Line 13"/>
            <p:cNvSpPr>
              <a:spLocks noChangeShapeType="1"/>
            </p:cNvSpPr>
            <p:nvPr userDrawn="1"/>
          </p:nvSpPr>
          <p:spPr bwMode="auto">
            <a:xfrm>
              <a:off x="5667" y="745"/>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pic>
          <p:nvPicPr>
            <p:cNvPr id="92" name="Picture 14"/>
            <p:cNvPicPr>
              <a:picLocks noChangeAspect="1" noChangeArrowheads="1"/>
            </p:cNvPicPr>
            <p:nvPr userDrawn="1"/>
          </p:nvPicPr>
          <p:blipFill>
            <a:blip r:embed="rId5" cstate="hqprint">
              <a:extLst>
                <a:ext uri="{28A0092B-C50C-407E-A947-70E740481C1C}">
                  <a14:useLocalDpi xmlns:a14="http://schemas.microsoft.com/office/drawing/2010/main" val="0"/>
                </a:ext>
              </a:extLst>
            </a:blip>
            <a:srcRect/>
            <a:stretch>
              <a:fillRect/>
            </a:stretch>
          </p:blipFill>
          <p:spPr bwMode="auto">
            <a:xfrm>
              <a:off x="5478" y="637"/>
              <a:ext cx="282" cy="2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3" name="Freeform 15"/>
            <p:cNvSpPr>
              <a:spLocks/>
            </p:cNvSpPr>
            <p:nvPr userDrawn="1"/>
          </p:nvSpPr>
          <p:spPr bwMode="auto">
            <a:xfrm>
              <a:off x="5525" y="658"/>
              <a:ext cx="121" cy="25"/>
            </a:xfrm>
            <a:custGeom>
              <a:avLst/>
              <a:gdLst>
                <a:gd name="T0" fmla="*/ 0 w 364"/>
                <a:gd name="T1" fmla="*/ 75 h 75"/>
                <a:gd name="T2" fmla="*/ 0 w 364"/>
                <a:gd name="T3" fmla="*/ 75 h 75"/>
                <a:gd name="T4" fmla="*/ 19 w 364"/>
                <a:gd name="T5" fmla="*/ 58 h 75"/>
                <a:gd name="T6" fmla="*/ 40 w 364"/>
                <a:gd name="T7" fmla="*/ 44 h 75"/>
                <a:gd name="T8" fmla="*/ 62 w 364"/>
                <a:gd name="T9" fmla="*/ 31 h 75"/>
                <a:gd name="T10" fmla="*/ 85 w 364"/>
                <a:gd name="T11" fmla="*/ 20 h 75"/>
                <a:gd name="T12" fmla="*/ 108 w 364"/>
                <a:gd name="T13" fmla="*/ 11 h 75"/>
                <a:gd name="T14" fmla="*/ 132 w 364"/>
                <a:gd name="T15" fmla="*/ 5 h 75"/>
                <a:gd name="T16" fmla="*/ 156 w 364"/>
                <a:gd name="T17" fmla="*/ 1 h 75"/>
                <a:gd name="T18" fmla="*/ 182 w 364"/>
                <a:gd name="T19" fmla="*/ 0 h 75"/>
                <a:gd name="T20" fmla="*/ 206 w 364"/>
                <a:gd name="T21" fmla="*/ 1 h 75"/>
                <a:gd name="T22" fmla="*/ 231 w 364"/>
                <a:gd name="T23" fmla="*/ 4 h 75"/>
                <a:gd name="T24" fmla="*/ 255 w 364"/>
                <a:gd name="T25" fmla="*/ 10 h 75"/>
                <a:gd name="T26" fmla="*/ 278 w 364"/>
                <a:gd name="T27" fmla="*/ 18 h 75"/>
                <a:gd name="T28" fmla="*/ 301 w 364"/>
                <a:gd name="T29" fmla="*/ 28 h 75"/>
                <a:gd name="T30" fmla="*/ 324 w 364"/>
                <a:gd name="T31" fmla="*/ 41 h 75"/>
                <a:gd name="T32" fmla="*/ 344 w 364"/>
                <a:gd name="T33" fmla="*/ 55 h 75"/>
                <a:gd name="T34" fmla="*/ 364 w 364"/>
                <a:gd name="T35" fmla="*/ 72 h 75"/>
                <a:gd name="T36" fmla="*/ 0 w 364"/>
                <a:gd name="T37"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4" h="75">
                  <a:moveTo>
                    <a:pt x="0" y="75"/>
                  </a:moveTo>
                  <a:lnTo>
                    <a:pt x="0" y="75"/>
                  </a:lnTo>
                  <a:lnTo>
                    <a:pt x="19" y="58"/>
                  </a:lnTo>
                  <a:lnTo>
                    <a:pt x="40" y="44"/>
                  </a:lnTo>
                  <a:lnTo>
                    <a:pt x="62" y="31"/>
                  </a:lnTo>
                  <a:lnTo>
                    <a:pt x="85" y="20"/>
                  </a:lnTo>
                  <a:lnTo>
                    <a:pt x="108" y="11"/>
                  </a:lnTo>
                  <a:lnTo>
                    <a:pt x="132" y="5"/>
                  </a:lnTo>
                  <a:lnTo>
                    <a:pt x="156" y="1"/>
                  </a:lnTo>
                  <a:lnTo>
                    <a:pt x="182" y="0"/>
                  </a:lnTo>
                  <a:lnTo>
                    <a:pt x="206" y="1"/>
                  </a:lnTo>
                  <a:lnTo>
                    <a:pt x="231" y="4"/>
                  </a:lnTo>
                  <a:lnTo>
                    <a:pt x="255" y="10"/>
                  </a:lnTo>
                  <a:lnTo>
                    <a:pt x="278" y="18"/>
                  </a:lnTo>
                  <a:lnTo>
                    <a:pt x="301" y="28"/>
                  </a:lnTo>
                  <a:lnTo>
                    <a:pt x="324" y="41"/>
                  </a:lnTo>
                  <a:lnTo>
                    <a:pt x="344" y="55"/>
                  </a:lnTo>
                  <a:lnTo>
                    <a:pt x="364" y="72"/>
                  </a:lnTo>
                  <a:lnTo>
                    <a:pt x="0" y="75"/>
                  </a:lnTo>
                  <a:close/>
                </a:path>
              </a:pathLst>
            </a:custGeom>
            <a:solidFill>
              <a:srgbClr val="00987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94" name="Freeform 16"/>
            <p:cNvSpPr>
              <a:spLocks/>
            </p:cNvSpPr>
            <p:nvPr userDrawn="1"/>
          </p:nvSpPr>
          <p:spPr bwMode="auto">
            <a:xfrm>
              <a:off x="5525" y="658"/>
              <a:ext cx="121" cy="25"/>
            </a:xfrm>
            <a:custGeom>
              <a:avLst/>
              <a:gdLst>
                <a:gd name="T0" fmla="*/ 0 w 364"/>
                <a:gd name="T1" fmla="*/ 75 h 75"/>
                <a:gd name="T2" fmla="*/ 0 w 364"/>
                <a:gd name="T3" fmla="*/ 75 h 75"/>
                <a:gd name="T4" fmla="*/ 19 w 364"/>
                <a:gd name="T5" fmla="*/ 58 h 75"/>
                <a:gd name="T6" fmla="*/ 40 w 364"/>
                <a:gd name="T7" fmla="*/ 44 h 75"/>
                <a:gd name="T8" fmla="*/ 62 w 364"/>
                <a:gd name="T9" fmla="*/ 31 h 75"/>
                <a:gd name="T10" fmla="*/ 85 w 364"/>
                <a:gd name="T11" fmla="*/ 20 h 75"/>
                <a:gd name="T12" fmla="*/ 108 w 364"/>
                <a:gd name="T13" fmla="*/ 11 h 75"/>
                <a:gd name="T14" fmla="*/ 132 w 364"/>
                <a:gd name="T15" fmla="*/ 5 h 75"/>
                <a:gd name="T16" fmla="*/ 156 w 364"/>
                <a:gd name="T17" fmla="*/ 1 h 75"/>
                <a:gd name="T18" fmla="*/ 182 w 364"/>
                <a:gd name="T19" fmla="*/ 0 h 75"/>
                <a:gd name="T20" fmla="*/ 206 w 364"/>
                <a:gd name="T21" fmla="*/ 1 h 75"/>
                <a:gd name="T22" fmla="*/ 231 w 364"/>
                <a:gd name="T23" fmla="*/ 4 h 75"/>
                <a:gd name="T24" fmla="*/ 255 w 364"/>
                <a:gd name="T25" fmla="*/ 10 h 75"/>
                <a:gd name="T26" fmla="*/ 278 w 364"/>
                <a:gd name="T27" fmla="*/ 18 h 75"/>
                <a:gd name="T28" fmla="*/ 301 w 364"/>
                <a:gd name="T29" fmla="*/ 28 h 75"/>
                <a:gd name="T30" fmla="*/ 324 w 364"/>
                <a:gd name="T31" fmla="*/ 41 h 75"/>
                <a:gd name="T32" fmla="*/ 344 w 364"/>
                <a:gd name="T33" fmla="*/ 55 h 75"/>
                <a:gd name="T34" fmla="*/ 364 w 364"/>
                <a:gd name="T35" fmla="*/ 7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64" h="75">
                  <a:moveTo>
                    <a:pt x="0" y="75"/>
                  </a:moveTo>
                  <a:lnTo>
                    <a:pt x="0" y="75"/>
                  </a:lnTo>
                  <a:lnTo>
                    <a:pt x="19" y="58"/>
                  </a:lnTo>
                  <a:lnTo>
                    <a:pt x="40" y="44"/>
                  </a:lnTo>
                  <a:lnTo>
                    <a:pt x="62" y="31"/>
                  </a:lnTo>
                  <a:lnTo>
                    <a:pt x="85" y="20"/>
                  </a:lnTo>
                  <a:lnTo>
                    <a:pt x="108" y="11"/>
                  </a:lnTo>
                  <a:lnTo>
                    <a:pt x="132" y="5"/>
                  </a:lnTo>
                  <a:lnTo>
                    <a:pt x="156" y="1"/>
                  </a:lnTo>
                  <a:lnTo>
                    <a:pt x="182" y="0"/>
                  </a:lnTo>
                  <a:lnTo>
                    <a:pt x="206" y="1"/>
                  </a:lnTo>
                  <a:lnTo>
                    <a:pt x="231" y="4"/>
                  </a:lnTo>
                  <a:lnTo>
                    <a:pt x="255" y="10"/>
                  </a:lnTo>
                  <a:lnTo>
                    <a:pt x="278" y="18"/>
                  </a:lnTo>
                  <a:lnTo>
                    <a:pt x="301" y="28"/>
                  </a:lnTo>
                  <a:lnTo>
                    <a:pt x="324" y="41"/>
                  </a:lnTo>
                  <a:lnTo>
                    <a:pt x="344" y="55"/>
                  </a:lnTo>
                  <a:lnTo>
                    <a:pt x="364" y="7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pic>
          <p:nvPicPr>
            <p:cNvPr id="95" name="Picture 17"/>
            <p:cNvPicPr>
              <a:picLocks noChangeAspect="1" noChangeArrowheads="1"/>
            </p:cNvPicPr>
            <p:nvPr userDrawn="1"/>
          </p:nvPicPr>
          <p:blipFill>
            <a:blip r:embed="rId6" cstate="hqprint">
              <a:extLst>
                <a:ext uri="{28A0092B-C50C-407E-A947-70E740481C1C}">
                  <a14:useLocalDpi xmlns:a14="http://schemas.microsoft.com/office/drawing/2010/main" val="0"/>
                </a:ext>
              </a:extLst>
            </a:blip>
            <a:srcRect/>
            <a:stretch>
              <a:fillRect/>
            </a:stretch>
          </p:blipFill>
          <p:spPr bwMode="auto">
            <a:xfrm>
              <a:off x="5478" y="637"/>
              <a:ext cx="282" cy="2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6" name="Freeform 18"/>
            <p:cNvSpPr>
              <a:spLocks noEditPoints="1"/>
            </p:cNvSpPr>
            <p:nvPr userDrawn="1"/>
          </p:nvSpPr>
          <p:spPr bwMode="auto">
            <a:xfrm>
              <a:off x="5510" y="659"/>
              <a:ext cx="160" cy="156"/>
            </a:xfrm>
            <a:custGeom>
              <a:avLst/>
              <a:gdLst>
                <a:gd name="T0" fmla="*/ 478 w 478"/>
                <a:gd name="T1" fmla="*/ 232 h 466"/>
                <a:gd name="T2" fmla="*/ 474 w 478"/>
                <a:gd name="T3" fmla="*/ 279 h 466"/>
                <a:gd name="T4" fmla="*/ 460 w 478"/>
                <a:gd name="T5" fmla="*/ 323 h 466"/>
                <a:gd name="T6" fmla="*/ 437 w 478"/>
                <a:gd name="T7" fmla="*/ 363 h 466"/>
                <a:gd name="T8" fmla="*/ 408 w 478"/>
                <a:gd name="T9" fmla="*/ 398 h 466"/>
                <a:gd name="T10" fmla="*/ 373 w 478"/>
                <a:gd name="T11" fmla="*/ 426 h 466"/>
                <a:gd name="T12" fmla="*/ 332 w 478"/>
                <a:gd name="T13" fmla="*/ 447 h 466"/>
                <a:gd name="T14" fmla="*/ 288 w 478"/>
                <a:gd name="T15" fmla="*/ 460 h 466"/>
                <a:gd name="T16" fmla="*/ 239 w 478"/>
                <a:gd name="T17" fmla="*/ 466 h 466"/>
                <a:gd name="T18" fmla="*/ 215 w 478"/>
                <a:gd name="T19" fmla="*/ 465 h 466"/>
                <a:gd name="T20" fmla="*/ 168 w 478"/>
                <a:gd name="T21" fmla="*/ 455 h 466"/>
                <a:gd name="T22" fmla="*/ 125 w 478"/>
                <a:gd name="T23" fmla="*/ 437 h 466"/>
                <a:gd name="T24" fmla="*/ 88 w 478"/>
                <a:gd name="T25" fmla="*/ 412 h 466"/>
                <a:gd name="T26" fmla="*/ 55 w 478"/>
                <a:gd name="T27" fmla="*/ 380 h 466"/>
                <a:gd name="T28" fmla="*/ 29 w 478"/>
                <a:gd name="T29" fmla="*/ 343 h 466"/>
                <a:gd name="T30" fmla="*/ 12 w 478"/>
                <a:gd name="T31" fmla="*/ 302 h 466"/>
                <a:gd name="T32" fmla="*/ 2 w 478"/>
                <a:gd name="T33" fmla="*/ 256 h 466"/>
                <a:gd name="T34" fmla="*/ 0 w 478"/>
                <a:gd name="T35" fmla="*/ 232 h 466"/>
                <a:gd name="T36" fmla="*/ 5 w 478"/>
                <a:gd name="T37" fmla="*/ 185 h 466"/>
                <a:gd name="T38" fmla="*/ 19 w 478"/>
                <a:gd name="T39" fmla="*/ 141 h 466"/>
                <a:gd name="T40" fmla="*/ 42 w 478"/>
                <a:gd name="T41" fmla="*/ 103 h 466"/>
                <a:gd name="T42" fmla="*/ 70 w 478"/>
                <a:gd name="T43" fmla="*/ 68 h 466"/>
                <a:gd name="T44" fmla="*/ 106 w 478"/>
                <a:gd name="T45" fmla="*/ 40 h 466"/>
                <a:gd name="T46" fmla="*/ 146 w 478"/>
                <a:gd name="T47" fmla="*/ 17 h 466"/>
                <a:gd name="T48" fmla="*/ 191 w 478"/>
                <a:gd name="T49" fmla="*/ 4 h 466"/>
                <a:gd name="T50" fmla="*/ 239 w 478"/>
                <a:gd name="T51" fmla="*/ 0 h 466"/>
                <a:gd name="T52" fmla="*/ 264 w 478"/>
                <a:gd name="T53" fmla="*/ 0 h 466"/>
                <a:gd name="T54" fmla="*/ 311 w 478"/>
                <a:gd name="T55" fmla="*/ 10 h 466"/>
                <a:gd name="T56" fmla="*/ 354 w 478"/>
                <a:gd name="T57" fmla="*/ 27 h 466"/>
                <a:gd name="T58" fmla="*/ 391 w 478"/>
                <a:gd name="T59" fmla="*/ 53 h 466"/>
                <a:gd name="T60" fmla="*/ 424 w 478"/>
                <a:gd name="T61" fmla="*/ 84 h 466"/>
                <a:gd name="T62" fmla="*/ 450 w 478"/>
                <a:gd name="T63" fmla="*/ 121 h 466"/>
                <a:gd name="T64" fmla="*/ 467 w 478"/>
                <a:gd name="T65" fmla="*/ 164 h 466"/>
                <a:gd name="T66" fmla="*/ 477 w 478"/>
                <a:gd name="T67" fmla="*/ 208 h 466"/>
                <a:gd name="T68" fmla="*/ 478 w 478"/>
                <a:gd name="T69" fmla="*/ 232 h 466"/>
                <a:gd name="T70" fmla="*/ 478 w 478"/>
                <a:gd name="T71" fmla="*/ 232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78" h="466">
                  <a:moveTo>
                    <a:pt x="478" y="232"/>
                  </a:moveTo>
                  <a:lnTo>
                    <a:pt x="478" y="232"/>
                  </a:lnTo>
                  <a:lnTo>
                    <a:pt x="477" y="256"/>
                  </a:lnTo>
                  <a:lnTo>
                    <a:pt x="474" y="279"/>
                  </a:lnTo>
                  <a:lnTo>
                    <a:pt x="467" y="302"/>
                  </a:lnTo>
                  <a:lnTo>
                    <a:pt x="460" y="323"/>
                  </a:lnTo>
                  <a:lnTo>
                    <a:pt x="450" y="343"/>
                  </a:lnTo>
                  <a:lnTo>
                    <a:pt x="437" y="363"/>
                  </a:lnTo>
                  <a:lnTo>
                    <a:pt x="424" y="380"/>
                  </a:lnTo>
                  <a:lnTo>
                    <a:pt x="408" y="398"/>
                  </a:lnTo>
                  <a:lnTo>
                    <a:pt x="391" y="412"/>
                  </a:lnTo>
                  <a:lnTo>
                    <a:pt x="373" y="426"/>
                  </a:lnTo>
                  <a:lnTo>
                    <a:pt x="354" y="437"/>
                  </a:lnTo>
                  <a:lnTo>
                    <a:pt x="332" y="447"/>
                  </a:lnTo>
                  <a:lnTo>
                    <a:pt x="311" y="455"/>
                  </a:lnTo>
                  <a:lnTo>
                    <a:pt x="288" y="460"/>
                  </a:lnTo>
                  <a:lnTo>
                    <a:pt x="264" y="465"/>
                  </a:lnTo>
                  <a:lnTo>
                    <a:pt x="239" y="466"/>
                  </a:lnTo>
                  <a:lnTo>
                    <a:pt x="239" y="466"/>
                  </a:lnTo>
                  <a:lnTo>
                    <a:pt x="215" y="465"/>
                  </a:lnTo>
                  <a:lnTo>
                    <a:pt x="191" y="460"/>
                  </a:lnTo>
                  <a:lnTo>
                    <a:pt x="168" y="455"/>
                  </a:lnTo>
                  <a:lnTo>
                    <a:pt x="146" y="447"/>
                  </a:lnTo>
                  <a:lnTo>
                    <a:pt x="125" y="437"/>
                  </a:lnTo>
                  <a:lnTo>
                    <a:pt x="106" y="426"/>
                  </a:lnTo>
                  <a:lnTo>
                    <a:pt x="88" y="412"/>
                  </a:lnTo>
                  <a:lnTo>
                    <a:pt x="70" y="398"/>
                  </a:lnTo>
                  <a:lnTo>
                    <a:pt x="55" y="380"/>
                  </a:lnTo>
                  <a:lnTo>
                    <a:pt x="42" y="363"/>
                  </a:lnTo>
                  <a:lnTo>
                    <a:pt x="29" y="343"/>
                  </a:lnTo>
                  <a:lnTo>
                    <a:pt x="19" y="323"/>
                  </a:lnTo>
                  <a:lnTo>
                    <a:pt x="12" y="302"/>
                  </a:lnTo>
                  <a:lnTo>
                    <a:pt x="5" y="279"/>
                  </a:lnTo>
                  <a:lnTo>
                    <a:pt x="2" y="256"/>
                  </a:lnTo>
                  <a:lnTo>
                    <a:pt x="0" y="232"/>
                  </a:lnTo>
                  <a:lnTo>
                    <a:pt x="0" y="232"/>
                  </a:lnTo>
                  <a:lnTo>
                    <a:pt x="2" y="208"/>
                  </a:lnTo>
                  <a:lnTo>
                    <a:pt x="5" y="185"/>
                  </a:lnTo>
                  <a:lnTo>
                    <a:pt x="12" y="164"/>
                  </a:lnTo>
                  <a:lnTo>
                    <a:pt x="19" y="141"/>
                  </a:lnTo>
                  <a:lnTo>
                    <a:pt x="29" y="121"/>
                  </a:lnTo>
                  <a:lnTo>
                    <a:pt x="42" y="103"/>
                  </a:lnTo>
                  <a:lnTo>
                    <a:pt x="55" y="84"/>
                  </a:lnTo>
                  <a:lnTo>
                    <a:pt x="70" y="68"/>
                  </a:lnTo>
                  <a:lnTo>
                    <a:pt x="88" y="53"/>
                  </a:lnTo>
                  <a:lnTo>
                    <a:pt x="106" y="40"/>
                  </a:lnTo>
                  <a:lnTo>
                    <a:pt x="125" y="27"/>
                  </a:lnTo>
                  <a:lnTo>
                    <a:pt x="146" y="17"/>
                  </a:lnTo>
                  <a:lnTo>
                    <a:pt x="168" y="10"/>
                  </a:lnTo>
                  <a:lnTo>
                    <a:pt x="191" y="4"/>
                  </a:lnTo>
                  <a:lnTo>
                    <a:pt x="215" y="0"/>
                  </a:lnTo>
                  <a:lnTo>
                    <a:pt x="239" y="0"/>
                  </a:lnTo>
                  <a:lnTo>
                    <a:pt x="239" y="0"/>
                  </a:lnTo>
                  <a:lnTo>
                    <a:pt x="264" y="0"/>
                  </a:lnTo>
                  <a:lnTo>
                    <a:pt x="288" y="4"/>
                  </a:lnTo>
                  <a:lnTo>
                    <a:pt x="311" y="10"/>
                  </a:lnTo>
                  <a:lnTo>
                    <a:pt x="332" y="17"/>
                  </a:lnTo>
                  <a:lnTo>
                    <a:pt x="354" y="27"/>
                  </a:lnTo>
                  <a:lnTo>
                    <a:pt x="373" y="40"/>
                  </a:lnTo>
                  <a:lnTo>
                    <a:pt x="391" y="53"/>
                  </a:lnTo>
                  <a:lnTo>
                    <a:pt x="408" y="67"/>
                  </a:lnTo>
                  <a:lnTo>
                    <a:pt x="424" y="84"/>
                  </a:lnTo>
                  <a:lnTo>
                    <a:pt x="437" y="103"/>
                  </a:lnTo>
                  <a:lnTo>
                    <a:pt x="450" y="121"/>
                  </a:lnTo>
                  <a:lnTo>
                    <a:pt x="460" y="141"/>
                  </a:lnTo>
                  <a:lnTo>
                    <a:pt x="467" y="164"/>
                  </a:lnTo>
                  <a:lnTo>
                    <a:pt x="474" y="185"/>
                  </a:lnTo>
                  <a:lnTo>
                    <a:pt x="477" y="208"/>
                  </a:lnTo>
                  <a:lnTo>
                    <a:pt x="478" y="232"/>
                  </a:lnTo>
                  <a:lnTo>
                    <a:pt x="478" y="232"/>
                  </a:lnTo>
                  <a:close/>
                  <a:moveTo>
                    <a:pt x="478" y="232"/>
                  </a:moveTo>
                  <a:lnTo>
                    <a:pt x="478" y="23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97" name="Freeform 19"/>
            <p:cNvSpPr>
              <a:spLocks/>
            </p:cNvSpPr>
            <p:nvPr userDrawn="1"/>
          </p:nvSpPr>
          <p:spPr bwMode="auto">
            <a:xfrm>
              <a:off x="5510" y="659"/>
              <a:ext cx="160" cy="156"/>
            </a:xfrm>
            <a:custGeom>
              <a:avLst/>
              <a:gdLst>
                <a:gd name="T0" fmla="*/ 478 w 478"/>
                <a:gd name="T1" fmla="*/ 232 h 466"/>
                <a:gd name="T2" fmla="*/ 474 w 478"/>
                <a:gd name="T3" fmla="*/ 279 h 466"/>
                <a:gd name="T4" fmla="*/ 460 w 478"/>
                <a:gd name="T5" fmla="*/ 323 h 466"/>
                <a:gd name="T6" fmla="*/ 437 w 478"/>
                <a:gd name="T7" fmla="*/ 363 h 466"/>
                <a:gd name="T8" fmla="*/ 408 w 478"/>
                <a:gd name="T9" fmla="*/ 398 h 466"/>
                <a:gd name="T10" fmla="*/ 373 w 478"/>
                <a:gd name="T11" fmla="*/ 426 h 466"/>
                <a:gd name="T12" fmla="*/ 332 w 478"/>
                <a:gd name="T13" fmla="*/ 447 h 466"/>
                <a:gd name="T14" fmla="*/ 288 w 478"/>
                <a:gd name="T15" fmla="*/ 460 h 466"/>
                <a:gd name="T16" fmla="*/ 239 w 478"/>
                <a:gd name="T17" fmla="*/ 466 h 466"/>
                <a:gd name="T18" fmla="*/ 215 w 478"/>
                <a:gd name="T19" fmla="*/ 465 h 466"/>
                <a:gd name="T20" fmla="*/ 168 w 478"/>
                <a:gd name="T21" fmla="*/ 455 h 466"/>
                <a:gd name="T22" fmla="*/ 125 w 478"/>
                <a:gd name="T23" fmla="*/ 437 h 466"/>
                <a:gd name="T24" fmla="*/ 88 w 478"/>
                <a:gd name="T25" fmla="*/ 412 h 466"/>
                <a:gd name="T26" fmla="*/ 55 w 478"/>
                <a:gd name="T27" fmla="*/ 380 h 466"/>
                <a:gd name="T28" fmla="*/ 29 w 478"/>
                <a:gd name="T29" fmla="*/ 343 h 466"/>
                <a:gd name="T30" fmla="*/ 12 w 478"/>
                <a:gd name="T31" fmla="*/ 302 h 466"/>
                <a:gd name="T32" fmla="*/ 2 w 478"/>
                <a:gd name="T33" fmla="*/ 256 h 466"/>
                <a:gd name="T34" fmla="*/ 0 w 478"/>
                <a:gd name="T35" fmla="*/ 232 h 466"/>
                <a:gd name="T36" fmla="*/ 5 w 478"/>
                <a:gd name="T37" fmla="*/ 185 h 466"/>
                <a:gd name="T38" fmla="*/ 19 w 478"/>
                <a:gd name="T39" fmla="*/ 141 h 466"/>
                <a:gd name="T40" fmla="*/ 42 w 478"/>
                <a:gd name="T41" fmla="*/ 103 h 466"/>
                <a:gd name="T42" fmla="*/ 70 w 478"/>
                <a:gd name="T43" fmla="*/ 68 h 466"/>
                <a:gd name="T44" fmla="*/ 106 w 478"/>
                <a:gd name="T45" fmla="*/ 40 h 466"/>
                <a:gd name="T46" fmla="*/ 146 w 478"/>
                <a:gd name="T47" fmla="*/ 17 h 466"/>
                <a:gd name="T48" fmla="*/ 191 w 478"/>
                <a:gd name="T49" fmla="*/ 4 h 466"/>
                <a:gd name="T50" fmla="*/ 239 w 478"/>
                <a:gd name="T51" fmla="*/ 0 h 466"/>
                <a:gd name="T52" fmla="*/ 264 w 478"/>
                <a:gd name="T53" fmla="*/ 0 h 466"/>
                <a:gd name="T54" fmla="*/ 311 w 478"/>
                <a:gd name="T55" fmla="*/ 10 h 466"/>
                <a:gd name="T56" fmla="*/ 354 w 478"/>
                <a:gd name="T57" fmla="*/ 27 h 466"/>
                <a:gd name="T58" fmla="*/ 391 w 478"/>
                <a:gd name="T59" fmla="*/ 53 h 466"/>
                <a:gd name="T60" fmla="*/ 424 w 478"/>
                <a:gd name="T61" fmla="*/ 84 h 466"/>
                <a:gd name="T62" fmla="*/ 450 w 478"/>
                <a:gd name="T63" fmla="*/ 121 h 466"/>
                <a:gd name="T64" fmla="*/ 467 w 478"/>
                <a:gd name="T65" fmla="*/ 164 h 466"/>
                <a:gd name="T66" fmla="*/ 477 w 478"/>
                <a:gd name="T67" fmla="*/ 208 h 466"/>
                <a:gd name="T68" fmla="*/ 478 w 478"/>
                <a:gd name="T69" fmla="*/ 232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78" h="466">
                  <a:moveTo>
                    <a:pt x="478" y="232"/>
                  </a:moveTo>
                  <a:lnTo>
                    <a:pt x="478" y="232"/>
                  </a:lnTo>
                  <a:lnTo>
                    <a:pt x="477" y="256"/>
                  </a:lnTo>
                  <a:lnTo>
                    <a:pt x="474" y="279"/>
                  </a:lnTo>
                  <a:lnTo>
                    <a:pt x="467" y="302"/>
                  </a:lnTo>
                  <a:lnTo>
                    <a:pt x="460" y="323"/>
                  </a:lnTo>
                  <a:lnTo>
                    <a:pt x="450" y="343"/>
                  </a:lnTo>
                  <a:lnTo>
                    <a:pt x="437" y="363"/>
                  </a:lnTo>
                  <a:lnTo>
                    <a:pt x="424" y="380"/>
                  </a:lnTo>
                  <a:lnTo>
                    <a:pt x="408" y="398"/>
                  </a:lnTo>
                  <a:lnTo>
                    <a:pt x="391" y="412"/>
                  </a:lnTo>
                  <a:lnTo>
                    <a:pt x="373" y="426"/>
                  </a:lnTo>
                  <a:lnTo>
                    <a:pt x="354" y="437"/>
                  </a:lnTo>
                  <a:lnTo>
                    <a:pt x="332" y="447"/>
                  </a:lnTo>
                  <a:lnTo>
                    <a:pt x="311" y="455"/>
                  </a:lnTo>
                  <a:lnTo>
                    <a:pt x="288" y="460"/>
                  </a:lnTo>
                  <a:lnTo>
                    <a:pt x="264" y="465"/>
                  </a:lnTo>
                  <a:lnTo>
                    <a:pt x="239" y="466"/>
                  </a:lnTo>
                  <a:lnTo>
                    <a:pt x="239" y="466"/>
                  </a:lnTo>
                  <a:lnTo>
                    <a:pt x="215" y="465"/>
                  </a:lnTo>
                  <a:lnTo>
                    <a:pt x="191" y="460"/>
                  </a:lnTo>
                  <a:lnTo>
                    <a:pt x="168" y="455"/>
                  </a:lnTo>
                  <a:lnTo>
                    <a:pt x="146" y="447"/>
                  </a:lnTo>
                  <a:lnTo>
                    <a:pt x="125" y="437"/>
                  </a:lnTo>
                  <a:lnTo>
                    <a:pt x="106" y="426"/>
                  </a:lnTo>
                  <a:lnTo>
                    <a:pt x="88" y="412"/>
                  </a:lnTo>
                  <a:lnTo>
                    <a:pt x="70" y="398"/>
                  </a:lnTo>
                  <a:lnTo>
                    <a:pt x="55" y="380"/>
                  </a:lnTo>
                  <a:lnTo>
                    <a:pt x="42" y="363"/>
                  </a:lnTo>
                  <a:lnTo>
                    <a:pt x="29" y="343"/>
                  </a:lnTo>
                  <a:lnTo>
                    <a:pt x="19" y="323"/>
                  </a:lnTo>
                  <a:lnTo>
                    <a:pt x="12" y="302"/>
                  </a:lnTo>
                  <a:lnTo>
                    <a:pt x="5" y="279"/>
                  </a:lnTo>
                  <a:lnTo>
                    <a:pt x="2" y="256"/>
                  </a:lnTo>
                  <a:lnTo>
                    <a:pt x="0" y="232"/>
                  </a:lnTo>
                  <a:lnTo>
                    <a:pt x="0" y="232"/>
                  </a:lnTo>
                  <a:lnTo>
                    <a:pt x="2" y="208"/>
                  </a:lnTo>
                  <a:lnTo>
                    <a:pt x="5" y="185"/>
                  </a:lnTo>
                  <a:lnTo>
                    <a:pt x="12" y="164"/>
                  </a:lnTo>
                  <a:lnTo>
                    <a:pt x="19" y="141"/>
                  </a:lnTo>
                  <a:lnTo>
                    <a:pt x="29" y="121"/>
                  </a:lnTo>
                  <a:lnTo>
                    <a:pt x="42" y="103"/>
                  </a:lnTo>
                  <a:lnTo>
                    <a:pt x="55" y="84"/>
                  </a:lnTo>
                  <a:lnTo>
                    <a:pt x="70" y="68"/>
                  </a:lnTo>
                  <a:lnTo>
                    <a:pt x="88" y="53"/>
                  </a:lnTo>
                  <a:lnTo>
                    <a:pt x="106" y="40"/>
                  </a:lnTo>
                  <a:lnTo>
                    <a:pt x="125" y="27"/>
                  </a:lnTo>
                  <a:lnTo>
                    <a:pt x="146" y="17"/>
                  </a:lnTo>
                  <a:lnTo>
                    <a:pt x="168" y="10"/>
                  </a:lnTo>
                  <a:lnTo>
                    <a:pt x="191" y="4"/>
                  </a:lnTo>
                  <a:lnTo>
                    <a:pt x="215" y="0"/>
                  </a:lnTo>
                  <a:lnTo>
                    <a:pt x="239" y="0"/>
                  </a:lnTo>
                  <a:lnTo>
                    <a:pt x="239" y="0"/>
                  </a:lnTo>
                  <a:lnTo>
                    <a:pt x="264" y="0"/>
                  </a:lnTo>
                  <a:lnTo>
                    <a:pt x="288" y="4"/>
                  </a:lnTo>
                  <a:lnTo>
                    <a:pt x="311" y="10"/>
                  </a:lnTo>
                  <a:lnTo>
                    <a:pt x="332" y="17"/>
                  </a:lnTo>
                  <a:lnTo>
                    <a:pt x="354" y="27"/>
                  </a:lnTo>
                  <a:lnTo>
                    <a:pt x="373" y="40"/>
                  </a:lnTo>
                  <a:lnTo>
                    <a:pt x="391" y="53"/>
                  </a:lnTo>
                  <a:lnTo>
                    <a:pt x="408" y="67"/>
                  </a:lnTo>
                  <a:lnTo>
                    <a:pt x="424" y="84"/>
                  </a:lnTo>
                  <a:lnTo>
                    <a:pt x="437" y="103"/>
                  </a:lnTo>
                  <a:lnTo>
                    <a:pt x="450" y="121"/>
                  </a:lnTo>
                  <a:lnTo>
                    <a:pt x="460" y="141"/>
                  </a:lnTo>
                  <a:lnTo>
                    <a:pt x="467" y="164"/>
                  </a:lnTo>
                  <a:lnTo>
                    <a:pt x="474" y="185"/>
                  </a:lnTo>
                  <a:lnTo>
                    <a:pt x="477" y="208"/>
                  </a:lnTo>
                  <a:lnTo>
                    <a:pt x="478" y="232"/>
                  </a:lnTo>
                  <a:lnTo>
                    <a:pt x="478" y="23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98" name="Line 20"/>
            <p:cNvSpPr>
              <a:spLocks noChangeShapeType="1"/>
            </p:cNvSpPr>
            <p:nvPr userDrawn="1"/>
          </p:nvSpPr>
          <p:spPr bwMode="auto">
            <a:xfrm>
              <a:off x="5670" y="737"/>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pic>
          <p:nvPicPr>
            <p:cNvPr id="99" name="Picture 21"/>
            <p:cNvPicPr>
              <a:picLocks noChangeAspect="1" noChangeArrowheads="1"/>
            </p:cNvPicPr>
            <p:nvPr userDrawn="1"/>
          </p:nvPicPr>
          <p:blipFill>
            <a:blip r:embed="rId7" cstate="hqprint">
              <a:extLst>
                <a:ext uri="{28A0092B-C50C-407E-A947-70E740481C1C}">
                  <a14:useLocalDpi xmlns:a14="http://schemas.microsoft.com/office/drawing/2010/main" val="0"/>
                </a:ext>
              </a:extLst>
            </a:blip>
            <a:srcRect/>
            <a:stretch>
              <a:fillRect/>
            </a:stretch>
          </p:blipFill>
          <p:spPr bwMode="auto">
            <a:xfrm>
              <a:off x="5478" y="637"/>
              <a:ext cx="282" cy="2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0" name="Freeform 22"/>
            <p:cNvSpPr>
              <a:spLocks noEditPoints="1"/>
            </p:cNvSpPr>
            <p:nvPr userDrawn="1"/>
          </p:nvSpPr>
          <p:spPr bwMode="auto">
            <a:xfrm>
              <a:off x="5526" y="673"/>
              <a:ext cx="138" cy="139"/>
            </a:xfrm>
            <a:custGeom>
              <a:avLst/>
              <a:gdLst>
                <a:gd name="T0" fmla="*/ 415 w 415"/>
                <a:gd name="T1" fmla="*/ 209 h 417"/>
                <a:gd name="T2" fmla="*/ 411 w 415"/>
                <a:gd name="T3" fmla="*/ 251 h 417"/>
                <a:gd name="T4" fmla="*/ 400 w 415"/>
                <a:gd name="T5" fmla="*/ 291 h 417"/>
                <a:gd name="T6" fmla="*/ 379 w 415"/>
                <a:gd name="T7" fmla="*/ 325 h 417"/>
                <a:gd name="T8" fmla="*/ 355 w 415"/>
                <a:gd name="T9" fmla="*/ 356 h 417"/>
                <a:gd name="T10" fmla="*/ 324 w 415"/>
                <a:gd name="T11" fmla="*/ 382 h 417"/>
                <a:gd name="T12" fmla="*/ 289 w 415"/>
                <a:gd name="T13" fmla="*/ 400 h 417"/>
                <a:gd name="T14" fmla="*/ 249 w 415"/>
                <a:gd name="T15" fmla="*/ 413 h 417"/>
                <a:gd name="T16" fmla="*/ 208 w 415"/>
                <a:gd name="T17" fmla="*/ 417 h 417"/>
                <a:gd name="T18" fmla="*/ 186 w 415"/>
                <a:gd name="T19" fmla="*/ 416 h 417"/>
                <a:gd name="T20" fmla="*/ 146 w 415"/>
                <a:gd name="T21" fmla="*/ 407 h 417"/>
                <a:gd name="T22" fmla="*/ 109 w 415"/>
                <a:gd name="T23" fmla="*/ 392 h 417"/>
                <a:gd name="T24" fmla="*/ 76 w 415"/>
                <a:gd name="T25" fmla="*/ 370 h 417"/>
                <a:gd name="T26" fmla="*/ 47 w 415"/>
                <a:gd name="T27" fmla="*/ 342 h 417"/>
                <a:gd name="T28" fmla="*/ 26 w 415"/>
                <a:gd name="T29" fmla="*/ 308 h 417"/>
                <a:gd name="T30" fmla="*/ 10 w 415"/>
                <a:gd name="T31" fmla="*/ 271 h 417"/>
                <a:gd name="T32" fmla="*/ 2 w 415"/>
                <a:gd name="T33" fmla="*/ 229 h 417"/>
                <a:gd name="T34" fmla="*/ 0 w 415"/>
                <a:gd name="T35" fmla="*/ 209 h 417"/>
                <a:gd name="T36" fmla="*/ 4 w 415"/>
                <a:gd name="T37" fmla="*/ 167 h 417"/>
                <a:gd name="T38" fmla="*/ 16 w 415"/>
                <a:gd name="T39" fmla="*/ 128 h 417"/>
                <a:gd name="T40" fmla="*/ 36 w 415"/>
                <a:gd name="T41" fmla="*/ 93 h 417"/>
                <a:gd name="T42" fmla="*/ 62 w 415"/>
                <a:gd name="T43" fmla="*/ 61 h 417"/>
                <a:gd name="T44" fmla="*/ 92 w 415"/>
                <a:gd name="T45" fmla="*/ 36 h 417"/>
                <a:gd name="T46" fmla="*/ 128 w 415"/>
                <a:gd name="T47" fmla="*/ 17 h 417"/>
                <a:gd name="T48" fmla="*/ 166 w 415"/>
                <a:gd name="T49" fmla="*/ 4 h 417"/>
                <a:gd name="T50" fmla="*/ 208 w 415"/>
                <a:gd name="T51" fmla="*/ 0 h 417"/>
                <a:gd name="T52" fmla="*/ 229 w 415"/>
                <a:gd name="T53" fmla="*/ 1 h 417"/>
                <a:gd name="T54" fmla="*/ 269 w 415"/>
                <a:gd name="T55" fmla="*/ 10 h 417"/>
                <a:gd name="T56" fmla="*/ 306 w 415"/>
                <a:gd name="T57" fmla="*/ 26 h 417"/>
                <a:gd name="T58" fmla="*/ 339 w 415"/>
                <a:gd name="T59" fmla="*/ 48 h 417"/>
                <a:gd name="T60" fmla="*/ 368 w 415"/>
                <a:gd name="T61" fmla="*/ 75 h 417"/>
                <a:gd name="T62" fmla="*/ 391 w 415"/>
                <a:gd name="T63" fmla="*/ 110 h 417"/>
                <a:gd name="T64" fmla="*/ 407 w 415"/>
                <a:gd name="T65" fmla="*/ 147 h 417"/>
                <a:gd name="T66" fmla="*/ 414 w 415"/>
                <a:gd name="T67" fmla="*/ 188 h 417"/>
                <a:gd name="T68" fmla="*/ 415 w 415"/>
                <a:gd name="T69" fmla="*/ 209 h 417"/>
                <a:gd name="T70" fmla="*/ 415 w 415"/>
                <a:gd name="T71" fmla="*/ 209 h 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15" h="417">
                  <a:moveTo>
                    <a:pt x="415" y="209"/>
                  </a:moveTo>
                  <a:lnTo>
                    <a:pt x="415" y="209"/>
                  </a:lnTo>
                  <a:lnTo>
                    <a:pt x="414" y="229"/>
                  </a:lnTo>
                  <a:lnTo>
                    <a:pt x="411" y="251"/>
                  </a:lnTo>
                  <a:lnTo>
                    <a:pt x="407" y="271"/>
                  </a:lnTo>
                  <a:lnTo>
                    <a:pt x="400" y="291"/>
                  </a:lnTo>
                  <a:lnTo>
                    <a:pt x="391" y="308"/>
                  </a:lnTo>
                  <a:lnTo>
                    <a:pt x="379" y="325"/>
                  </a:lnTo>
                  <a:lnTo>
                    <a:pt x="368" y="342"/>
                  </a:lnTo>
                  <a:lnTo>
                    <a:pt x="355" y="356"/>
                  </a:lnTo>
                  <a:lnTo>
                    <a:pt x="339" y="370"/>
                  </a:lnTo>
                  <a:lnTo>
                    <a:pt x="324" y="382"/>
                  </a:lnTo>
                  <a:lnTo>
                    <a:pt x="306" y="392"/>
                  </a:lnTo>
                  <a:lnTo>
                    <a:pt x="289" y="400"/>
                  </a:lnTo>
                  <a:lnTo>
                    <a:pt x="269" y="407"/>
                  </a:lnTo>
                  <a:lnTo>
                    <a:pt x="249" y="413"/>
                  </a:lnTo>
                  <a:lnTo>
                    <a:pt x="229" y="416"/>
                  </a:lnTo>
                  <a:lnTo>
                    <a:pt x="208" y="417"/>
                  </a:lnTo>
                  <a:lnTo>
                    <a:pt x="208" y="417"/>
                  </a:lnTo>
                  <a:lnTo>
                    <a:pt x="186" y="416"/>
                  </a:lnTo>
                  <a:lnTo>
                    <a:pt x="166" y="413"/>
                  </a:lnTo>
                  <a:lnTo>
                    <a:pt x="146" y="407"/>
                  </a:lnTo>
                  <a:lnTo>
                    <a:pt x="128" y="400"/>
                  </a:lnTo>
                  <a:lnTo>
                    <a:pt x="109" y="392"/>
                  </a:lnTo>
                  <a:lnTo>
                    <a:pt x="92" y="382"/>
                  </a:lnTo>
                  <a:lnTo>
                    <a:pt x="76" y="370"/>
                  </a:lnTo>
                  <a:lnTo>
                    <a:pt x="62" y="356"/>
                  </a:lnTo>
                  <a:lnTo>
                    <a:pt x="47" y="342"/>
                  </a:lnTo>
                  <a:lnTo>
                    <a:pt x="36" y="325"/>
                  </a:lnTo>
                  <a:lnTo>
                    <a:pt x="26" y="308"/>
                  </a:lnTo>
                  <a:lnTo>
                    <a:pt x="16" y="291"/>
                  </a:lnTo>
                  <a:lnTo>
                    <a:pt x="10" y="271"/>
                  </a:lnTo>
                  <a:lnTo>
                    <a:pt x="4" y="251"/>
                  </a:lnTo>
                  <a:lnTo>
                    <a:pt x="2" y="229"/>
                  </a:lnTo>
                  <a:lnTo>
                    <a:pt x="0" y="209"/>
                  </a:lnTo>
                  <a:lnTo>
                    <a:pt x="0" y="209"/>
                  </a:lnTo>
                  <a:lnTo>
                    <a:pt x="2" y="188"/>
                  </a:lnTo>
                  <a:lnTo>
                    <a:pt x="4" y="167"/>
                  </a:lnTo>
                  <a:lnTo>
                    <a:pt x="10" y="147"/>
                  </a:lnTo>
                  <a:lnTo>
                    <a:pt x="16" y="128"/>
                  </a:lnTo>
                  <a:lnTo>
                    <a:pt x="26" y="110"/>
                  </a:lnTo>
                  <a:lnTo>
                    <a:pt x="36" y="93"/>
                  </a:lnTo>
                  <a:lnTo>
                    <a:pt x="47" y="75"/>
                  </a:lnTo>
                  <a:lnTo>
                    <a:pt x="62" y="61"/>
                  </a:lnTo>
                  <a:lnTo>
                    <a:pt x="76" y="48"/>
                  </a:lnTo>
                  <a:lnTo>
                    <a:pt x="92" y="36"/>
                  </a:lnTo>
                  <a:lnTo>
                    <a:pt x="109" y="26"/>
                  </a:lnTo>
                  <a:lnTo>
                    <a:pt x="128" y="17"/>
                  </a:lnTo>
                  <a:lnTo>
                    <a:pt x="146" y="10"/>
                  </a:lnTo>
                  <a:lnTo>
                    <a:pt x="166" y="4"/>
                  </a:lnTo>
                  <a:lnTo>
                    <a:pt x="186" y="1"/>
                  </a:lnTo>
                  <a:lnTo>
                    <a:pt x="208" y="0"/>
                  </a:lnTo>
                  <a:lnTo>
                    <a:pt x="208" y="0"/>
                  </a:lnTo>
                  <a:lnTo>
                    <a:pt x="229" y="1"/>
                  </a:lnTo>
                  <a:lnTo>
                    <a:pt x="249" y="4"/>
                  </a:lnTo>
                  <a:lnTo>
                    <a:pt x="269" y="10"/>
                  </a:lnTo>
                  <a:lnTo>
                    <a:pt x="289" y="17"/>
                  </a:lnTo>
                  <a:lnTo>
                    <a:pt x="306" y="26"/>
                  </a:lnTo>
                  <a:lnTo>
                    <a:pt x="324" y="36"/>
                  </a:lnTo>
                  <a:lnTo>
                    <a:pt x="339" y="48"/>
                  </a:lnTo>
                  <a:lnTo>
                    <a:pt x="355" y="61"/>
                  </a:lnTo>
                  <a:lnTo>
                    <a:pt x="368" y="75"/>
                  </a:lnTo>
                  <a:lnTo>
                    <a:pt x="379" y="93"/>
                  </a:lnTo>
                  <a:lnTo>
                    <a:pt x="391" y="110"/>
                  </a:lnTo>
                  <a:lnTo>
                    <a:pt x="400" y="128"/>
                  </a:lnTo>
                  <a:lnTo>
                    <a:pt x="407" y="147"/>
                  </a:lnTo>
                  <a:lnTo>
                    <a:pt x="411" y="167"/>
                  </a:lnTo>
                  <a:lnTo>
                    <a:pt x="414" y="188"/>
                  </a:lnTo>
                  <a:lnTo>
                    <a:pt x="415" y="209"/>
                  </a:lnTo>
                  <a:lnTo>
                    <a:pt x="415" y="209"/>
                  </a:lnTo>
                  <a:close/>
                  <a:moveTo>
                    <a:pt x="415" y="209"/>
                  </a:moveTo>
                  <a:lnTo>
                    <a:pt x="415" y="20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01" name="Freeform 23"/>
            <p:cNvSpPr>
              <a:spLocks/>
            </p:cNvSpPr>
            <p:nvPr userDrawn="1"/>
          </p:nvSpPr>
          <p:spPr bwMode="auto">
            <a:xfrm>
              <a:off x="5526" y="673"/>
              <a:ext cx="138" cy="139"/>
            </a:xfrm>
            <a:custGeom>
              <a:avLst/>
              <a:gdLst>
                <a:gd name="T0" fmla="*/ 415 w 415"/>
                <a:gd name="T1" fmla="*/ 209 h 417"/>
                <a:gd name="T2" fmla="*/ 411 w 415"/>
                <a:gd name="T3" fmla="*/ 251 h 417"/>
                <a:gd name="T4" fmla="*/ 400 w 415"/>
                <a:gd name="T5" fmla="*/ 291 h 417"/>
                <a:gd name="T6" fmla="*/ 379 w 415"/>
                <a:gd name="T7" fmla="*/ 325 h 417"/>
                <a:gd name="T8" fmla="*/ 355 w 415"/>
                <a:gd name="T9" fmla="*/ 356 h 417"/>
                <a:gd name="T10" fmla="*/ 324 w 415"/>
                <a:gd name="T11" fmla="*/ 382 h 417"/>
                <a:gd name="T12" fmla="*/ 289 w 415"/>
                <a:gd name="T13" fmla="*/ 400 h 417"/>
                <a:gd name="T14" fmla="*/ 249 w 415"/>
                <a:gd name="T15" fmla="*/ 413 h 417"/>
                <a:gd name="T16" fmla="*/ 208 w 415"/>
                <a:gd name="T17" fmla="*/ 417 h 417"/>
                <a:gd name="T18" fmla="*/ 186 w 415"/>
                <a:gd name="T19" fmla="*/ 416 h 417"/>
                <a:gd name="T20" fmla="*/ 146 w 415"/>
                <a:gd name="T21" fmla="*/ 407 h 417"/>
                <a:gd name="T22" fmla="*/ 109 w 415"/>
                <a:gd name="T23" fmla="*/ 392 h 417"/>
                <a:gd name="T24" fmla="*/ 76 w 415"/>
                <a:gd name="T25" fmla="*/ 370 h 417"/>
                <a:gd name="T26" fmla="*/ 47 w 415"/>
                <a:gd name="T27" fmla="*/ 342 h 417"/>
                <a:gd name="T28" fmla="*/ 26 w 415"/>
                <a:gd name="T29" fmla="*/ 308 h 417"/>
                <a:gd name="T30" fmla="*/ 10 w 415"/>
                <a:gd name="T31" fmla="*/ 271 h 417"/>
                <a:gd name="T32" fmla="*/ 2 w 415"/>
                <a:gd name="T33" fmla="*/ 229 h 417"/>
                <a:gd name="T34" fmla="*/ 0 w 415"/>
                <a:gd name="T35" fmla="*/ 209 h 417"/>
                <a:gd name="T36" fmla="*/ 4 w 415"/>
                <a:gd name="T37" fmla="*/ 167 h 417"/>
                <a:gd name="T38" fmla="*/ 16 w 415"/>
                <a:gd name="T39" fmla="*/ 128 h 417"/>
                <a:gd name="T40" fmla="*/ 36 w 415"/>
                <a:gd name="T41" fmla="*/ 93 h 417"/>
                <a:gd name="T42" fmla="*/ 62 w 415"/>
                <a:gd name="T43" fmla="*/ 61 h 417"/>
                <a:gd name="T44" fmla="*/ 92 w 415"/>
                <a:gd name="T45" fmla="*/ 36 h 417"/>
                <a:gd name="T46" fmla="*/ 128 w 415"/>
                <a:gd name="T47" fmla="*/ 17 h 417"/>
                <a:gd name="T48" fmla="*/ 166 w 415"/>
                <a:gd name="T49" fmla="*/ 4 h 417"/>
                <a:gd name="T50" fmla="*/ 208 w 415"/>
                <a:gd name="T51" fmla="*/ 0 h 417"/>
                <a:gd name="T52" fmla="*/ 229 w 415"/>
                <a:gd name="T53" fmla="*/ 1 h 417"/>
                <a:gd name="T54" fmla="*/ 269 w 415"/>
                <a:gd name="T55" fmla="*/ 10 h 417"/>
                <a:gd name="T56" fmla="*/ 306 w 415"/>
                <a:gd name="T57" fmla="*/ 26 h 417"/>
                <a:gd name="T58" fmla="*/ 339 w 415"/>
                <a:gd name="T59" fmla="*/ 48 h 417"/>
                <a:gd name="T60" fmla="*/ 368 w 415"/>
                <a:gd name="T61" fmla="*/ 75 h 417"/>
                <a:gd name="T62" fmla="*/ 391 w 415"/>
                <a:gd name="T63" fmla="*/ 110 h 417"/>
                <a:gd name="T64" fmla="*/ 407 w 415"/>
                <a:gd name="T65" fmla="*/ 147 h 417"/>
                <a:gd name="T66" fmla="*/ 414 w 415"/>
                <a:gd name="T67" fmla="*/ 188 h 417"/>
                <a:gd name="T68" fmla="*/ 415 w 415"/>
                <a:gd name="T69" fmla="*/ 209 h 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15" h="417">
                  <a:moveTo>
                    <a:pt x="415" y="209"/>
                  </a:moveTo>
                  <a:lnTo>
                    <a:pt x="415" y="209"/>
                  </a:lnTo>
                  <a:lnTo>
                    <a:pt x="414" y="229"/>
                  </a:lnTo>
                  <a:lnTo>
                    <a:pt x="411" y="251"/>
                  </a:lnTo>
                  <a:lnTo>
                    <a:pt x="407" y="271"/>
                  </a:lnTo>
                  <a:lnTo>
                    <a:pt x="400" y="291"/>
                  </a:lnTo>
                  <a:lnTo>
                    <a:pt x="391" y="308"/>
                  </a:lnTo>
                  <a:lnTo>
                    <a:pt x="379" y="325"/>
                  </a:lnTo>
                  <a:lnTo>
                    <a:pt x="368" y="342"/>
                  </a:lnTo>
                  <a:lnTo>
                    <a:pt x="355" y="356"/>
                  </a:lnTo>
                  <a:lnTo>
                    <a:pt x="339" y="370"/>
                  </a:lnTo>
                  <a:lnTo>
                    <a:pt x="324" y="382"/>
                  </a:lnTo>
                  <a:lnTo>
                    <a:pt x="306" y="392"/>
                  </a:lnTo>
                  <a:lnTo>
                    <a:pt x="289" y="400"/>
                  </a:lnTo>
                  <a:lnTo>
                    <a:pt x="269" y="407"/>
                  </a:lnTo>
                  <a:lnTo>
                    <a:pt x="249" y="413"/>
                  </a:lnTo>
                  <a:lnTo>
                    <a:pt x="229" y="416"/>
                  </a:lnTo>
                  <a:lnTo>
                    <a:pt x="208" y="417"/>
                  </a:lnTo>
                  <a:lnTo>
                    <a:pt x="208" y="417"/>
                  </a:lnTo>
                  <a:lnTo>
                    <a:pt x="186" y="416"/>
                  </a:lnTo>
                  <a:lnTo>
                    <a:pt x="166" y="413"/>
                  </a:lnTo>
                  <a:lnTo>
                    <a:pt x="146" y="407"/>
                  </a:lnTo>
                  <a:lnTo>
                    <a:pt x="128" y="400"/>
                  </a:lnTo>
                  <a:lnTo>
                    <a:pt x="109" y="392"/>
                  </a:lnTo>
                  <a:lnTo>
                    <a:pt x="92" y="382"/>
                  </a:lnTo>
                  <a:lnTo>
                    <a:pt x="76" y="370"/>
                  </a:lnTo>
                  <a:lnTo>
                    <a:pt x="62" y="356"/>
                  </a:lnTo>
                  <a:lnTo>
                    <a:pt x="47" y="342"/>
                  </a:lnTo>
                  <a:lnTo>
                    <a:pt x="36" y="325"/>
                  </a:lnTo>
                  <a:lnTo>
                    <a:pt x="26" y="308"/>
                  </a:lnTo>
                  <a:lnTo>
                    <a:pt x="16" y="291"/>
                  </a:lnTo>
                  <a:lnTo>
                    <a:pt x="10" y="271"/>
                  </a:lnTo>
                  <a:lnTo>
                    <a:pt x="4" y="251"/>
                  </a:lnTo>
                  <a:lnTo>
                    <a:pt x="2" y="229"/>
                  </a:lnTo>
                  <a:lnTo>
                    <a:pt x="0" y="209"/>
                  </a:lnTo>
                  <a:lnTo>
                    <a:pt x="0" y="209"/>
                  </a:lnTo>
                  <a:lnTo>
                    <a:pt x="2" y="188"/>
                  </a:lnTo>
                  <a:lnTo>
                    <a:pt x="4" y="167"/>
                  </a:lnTo>
                  <a:lnTo>
                    <a:pt x="10" y="147"/>
                  </a:lnTo>
                  <a:lnTo>
                    <a:pt x="16" y="128"/>
                  </a:lnTo>
                  <a:lnTo>
                    <a:pt x="26" y="110"/>
                  </a:lnTo>
                  <a:lnTo>
                    <a:pt x="36" y="93"/>
                  </a:lnTo>
                  <a:lnTo>
                    <a:pt x="47" y="75"/>
                  </a:lnTo>
                  <a:lnTo>
                    <a:pt x="62" y="61"/>
                  </a:lnTo>
                  <a:lnTo>
                    <a:pt x="76" y="48"/>
                  </a:lnTo>
                  <a:lnTo>
                    <a:pt x="92" y="36"/>
                  </a:lnTo>
                  <a:lnTo>
                    <a:pt x="109" y="26"/>
                  </a:lnTo>
                  <a:lnTo>
                    <a:pt x="128" y="17"/>
                  </a:lnTo>
                  <a:lnTo>
                    <a:pt x="146" y="10"/>
                  </a:lnTo>
                  <a:lnTo>
                    <a:pt x="166" y="4"/>
                  </a:lnTo>
                  <a:lnTo>
                    <a:pt x="186" y="1"/>
                  </a:lnTo>
                  <a:lnTo>
                    <a:pt x="208" y="0"/>
                  </a:lnTo>
                  <a:lnTo>
                    <a:pt x="208" y="0"/>
                  </a:lnTo>
                  <a:lnTo>
                    <a:pt x="229" y="1"/>
                  </a:lnTo>
                  <a:lnTo>
                    <a:pt x="249" y="4"/>
                  </a:lnTo>
                  <a:lnTo>
                    <a:pt x="269" y="10"/>
                  </a:lnTo>
                  <a:lnTo>
                    <a:pt x="289" y="17"/>
                  </a:lnTo>
                  <a:lnTo>
                    <a:pt x="306" y="26"/>
                  </a:lnTo>
                  <a:lnTo>
                    <a:pt x="324" y="36"/>
                  </a:lnTo>
                  <a:lnTo>
                    <a:pt x="339" y="48"/>
                  </a:lnTo>
                  <a:lnTo>
                    <a:pt x="355" y="61"/>
                  </a:lnTo>
                  <a:lnTo>
                    <a:pt x="368" y="75"/>
                  </a:lnTo>
                  <a:lnTo>
                    <a:pt x="379" y="93"/>
                  </a:lnTo>
                  <a:lnTo>
                    <a:pt x="391" y="110"/>
                  </a:lnTo>
                  <a:lnTo>
                    <a:pt x="400" y="128"/>
                  </a:lnTo>
                  <a:lnTo>
                    <a:pt x="407" y="147"/>
                  </a:lnTo>
                  <a:lnTo>
                    <a:pt x="411" y="167"/>
                  </a:lnTo>
                  <a:lnTo>
                    <a:pt x="414" y="188"/>
                  </a:lnTo>
                  <a:lnTo>
                    <a:pt x="415" y="209"/>
                  </a:lnTo>
                  <a:lnTo>
                    <a:pt x="415" y="20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02" name="Line 24"/>
            <p:cNvSpPr>
              <a:spLocks noChangeShapeType="1"/>
            </p:cNvSpPr>
            <p:nvPr userDrawn="1"/>
          </p:nvSpPr>
          <p:spPr bwMode="auto">
            <a:xfrm>
              <a:off x="5664" y="742"/>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pic>
          <p:nvPicPr>
            <p:cNvPr id="103" name="Picture 25"/>
            <p:cNvPicPr>
              <a:picLocks noChangeAspect="1" noChangeArrowheads="1"/>
            </p:cNvPicPr>
            <p:nvPr userDrawn="1"/>
          </p:nvPicPr>
          <p:blipFill>
            <a:blip r:embed="rId8" cstate="hqprint">
              <a:extLst>
                <a:ext uri="{28A0092B-C50C-407E-A947-70E740481C1C}">
                  <a14:useLocalDpi xmlns:a14="http://schemas.microsoft.com/office/drawing/2010/main" val="0"/>
                </a:ext>
              </a:extLst>
            </a:blip>
            <a:srcRect/>
            <a:stretch>
              <a:fillRect/>
            </a:stretch>
          </p:blipFill>
          <p:spPr bwMode="auto">
            <a:xfrm>
              <a:off x="5478" y="637"/>
              <a:ext cx="282" cy="2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4" name="Freeform 26"/>
            <p:cNvSpPr>
              <a:spLocks noEditPoints="1"/>
            </p:cNvSpPr>
            <p:nvPr userDrawn="1"/>
          </p:nvSpPr>
          <p:spPr bwMode="auto">
            <a:xfrm>
              <a:off x="5563" y="717"/>
              <a:ext cx="44" cy="62"/>
            </a:xfrm>
            <a:custGeom>
              <a:avLst/>
              <a:gdLst>
                <a:gd name="T0" fmla="*/ 6 w 133"/>
                <a:gd name="T1" fmla="*/ 187 h 187"/>
                <a:gd name="T2" fmla="*/ 1 w 133"/>
                <a:gd name="T3" fmla="*/ 179 h 187"/>
                <a:gd name="T4" fmla="*/ 1 w 133"/>
                <a:gd name="T5" fmla="*/ 151 h 187"/>
                <a:gd name="T6" fmla="*/ 6 w 133"/>
                <a:gd name="T7" fmla="*/ 143 h 187"/>
                <a:gd name="T8" fmla="*/ 61 w 133"/>
                <a:gd name="T9" fmla="*/ 144 h 187"/>
                <a:gd name="T10" fmla="*/ 73 w 133"/>
                <a:gd name="T11" fmla="*/ 144 h 187"/>
                <a:gd name="T12" fmla="*/ 87 w 133"/>
                <a:gd name="T13" fmla="*/ 143 h 187"/>
                <a:gd name="T14" fmla="*/ 91 w 133"/>
                <a:gd name="T15" fmla="*/ 136 h 187"/>
                <a:gd name="T16" fmla="*/ 93 w 133"/>
                <a:gd name="T17" fmla="*/ 130 h 187"/>
                <a:gd name="T18" fmla="*/ 90 w 133"/>
                <a:gd name="T19" fmla="*/ 124 h 187"/>
                <a:gd name="T20" fmla="*/ 66 w 133"/>
                <a:gd name="T21" fmla="*/ 114 h 187"/>
                <a:gd name="T22" fmla="*/ 51 w 133"/>
                <a:gd name="T23" fmla="*/ 107 h 187"/>
                <a:gd name="T24" fmla="*/ 30 w 133"/>
                <a:gd name="T25" fmla="*/ 96 h 187"/>
                <a:gd name="T26" fmla="*/ 17 w 133"/>
                <a:gd name="T27" fmla="*/ 83 h 187"/>
                <a:gd name="T28" fmla="*/ 11 w 133"/>
                <a:gd name="T29" fmla="*/ 76 h 187"/>
                <a:gd name="T30" fmla="*/ 7 w 133"/>
                <a:gd name="T31" fmla="*/ 60 h 187"/>
                <a:gd name="T32" fmla="*/ 6 w 133"/>
                <a:gd name="T33" fmla="*/ 52 h 187"/>
                <a:gd name="T34" fmla="*/ 10 w 133"/>
                <a:gd name="T35" fmla="*/ 27 h 187"/>
                <a:gd name="T36" fmla="*/ 24 w 133"/>
                <a:gd name="T37" fmla="*/ 10 h 187"/>
                <a:gd name="T38" fmla="*/ 28 w 133"/>
                <a:gd name="T39" fmla="*/ 8 h 187"/>
                <a:gd name="T40" fmla="*/ 44 w 133"/>
                <a:gd name="T41" fmla="*/ 2 h 187"/>
                <a:gd name="T42" fmla="*/ 73 w 133"/>
                <a:gd name="T43" fmla="*/ 0 h 187"/>
                <a:gd name="T44" fmla="*/ 121 w 133"/>
                <a:gd name="T45" fmla="*/ 0 h 187"/>
                <a:gd name="T46" fmla="*/ 126 w 133"/>
                <a:gd name="T47" fmla="*/ 9 h 187"/>
                <a:gd name="T48" fmla="*/ 126 w 133"/>
                <a:gd name="T49" fmla="*/ 33 h 187"/>
                <a:gd name="T50" fmla="*/ 121 w 133"/>
                <a:gd name="T51" fmla="*/ 42 h 187"/>
                <a:gd name="T52" fmla="*/ 79 w 133"/>
                <a:gd name="T53" fmla="*/ 42 h 187"/>
                <a:gd name="T54" fmla="*/ 54 w 133"/>
                <a:gd name="T55" fmla="*/ 43 h 187"/>
                <a:gd name="T56" fmla="*/ 47 w 133"/>
                <a:gd name="T57" fmla="*/ 46 h 187"/>
                <a:gd name="T58" fmla="*/ 44 w 133"/>
                <a:gd name="T59" fmla="*/ 53 h 187"/>
                <a:gd name="T60" fmla="*/ 46 w 133"/>
                <a:gd name="T61" fmla="*/ 59 h 187"/>
                <a:gd name="T62" fmla="*/ 57 w 133"/>
                <a:gd name="T63" fmla="*/ 69 h 187"/>
                <a:gd name="T64" fmla="*/ 79 w 133"/>
                <a:gd name="T65" fmla="*/ 79 h 187"/>
                <a:gd name="T66" fmla="*/ 86 w 133"/>
                <a:gd name="T67" fmla="*/ 80 h 187"/>
                <a:gd name="T68" fmla="*/ 116 w 133"/>
                <a:gd name="T69" fmla="*/ 93 h 187"/>
                <a:gd name="T70" fmla="*/ 121 w 133"/>
                <a:gd name="T71" fmla="*/ 99 h 187"/>
                <a:gd name="T72" fmla="*/ 130 w 133"/>
                <a:gd name="T73" fmla="*/ 113 h 187"/>
                <a:gd name="T74" fmla="*/ 133 w 133"/>
                <a:gd name="T75" fmla="*/ 132 h 187"/>
                <a:gd name="T76" fmla="*/ 131 w 133"/>
                <a:gd name="T77" fmla="*/ 143 h 187"/>
                <a:gd name="T78" fmla="*/ 123 w 133"/>
                <a:gd name="T79" fmla="*/ 164 h 187"/>
                <a:gd name="T80" fmla="*/ 114 w 133"/>
                <a:gd name="T81" fmla="*/ 173 h 187"/>
                <a:gd name="T82" fmla="*/ 94 w 133"/>
                <a:gd name="T83" fmla="*/ 184 h 187"/>
                <a:gd name="T84" fmla="*/ 69 w 133"/>
                <a:gd name="T85" fmla="*/ 187 h 187"/>
                <a:gd name="T86" fmla="*/ 6 w 133"/>
                <a:gd name="T87"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3" h="187">
                  <a:moveTo>
                    <a:pt x="6" y="187"/>
                  </a:moveTo>
                  <a:lnTo>
                    <a:pt x="6" y="187"/>
                  </a:lnTo>
                  <a:lnTo>
                    <a:pt x="3" y="184"/>
                  </a:lnTo>
                  <a:lnTo>
                    <a:pt x="1" y="179"/>
                  </a:lnTo>
                  <a:lnTo>
                    <a:pt x="0" y="166"/>
                  </a:lnTo>
                  <a:lnTo>
                    <a:pt x="1" y="151"/>
                  </a:lnTo>
                  <a:lnTo>
                    <a:pt x="3" y="147"/>
                  </a:lnTo>
                  <a:lnTo>
                    <a:pt x="6" y="143"/>
                  </a:lnTo>
                  <a:lnTo>
                    <a:pt x="6" y="143"/>
                  </a:lnTo>
                  <a:lnTo>
                    <a:pt x="61" y="144"/>
                  </a:lnTo>
                  <a:lnTo>
                    <a:pt x="61" y="144"/>
                  </a:lnTo>
                  <a:lnTo>
                    <a:pt x="73" y="144"/>
                  </a:lnTo>
                  <a:lnTo>
                    <a:pt x="83" y="144"/>
                  </a:lnTo>
                  <a:lnTo>
                    <a:pt x="87" y="143"/>
                  </a:lnTo>
                  <a:lnTo>
                    <a:pt x="90" y="140"/>
                  </a:lnTo>
                  <a:lnTo>
                    <a:pt x="91" y="136"/>
                  </a:lnTo>
                  <a:lnTo>
                    <a:pt x="93" y="130"/>
                  </a:lnTo>
                  <a:lnTo>
                    <a:pt x="93" y="130"/>
                  </a:lnTo>
                  <a:lnTo>
                    <a:pt x="91" y="127"/>
                  </a:lnTo>
                  <a:lnTo>
                    <a:pt x="90" y="124"/>
                  </a:lnTo>
                  <a:lnTo>
                    <a:pt x="84" y="122"/>
                  </a:lnTo>
                  <a:lnTo>
                    <a:pt x="66" y="114"/>
                  </a:lnTo>
                  <a:lnTo>
                    <a:pt x="51" y="107"/>
                  </a:lnTo>
                  <a:lnTo>
                    <a:pt x="51" y="107"/>
                  </a:lnTo>
                  <a:lnTo>
                    <a:pt x="40" y="102"/>
                  </a:lnTo>
                  <a:lnTo>
                    <a:pt x="30" y="96"/>
                  </a:lnTo>
                  <a:lnTo>
                    <a:pt x="23" y="89"/>
                  </a:lnTo>
                  <a:lnTo>
                    <a:pt x="17" y="83"/>
                  </a:lnTo>
                  <a:lnTo>
                    <a:pt x="17" y="83"/>
                  </a:lnTo>
                  <a:lnTo>
                    <a:pt x="11" y="76"/>
                  </a:lnTo>
                  <a:lnTo>
                    <a:pt x="8" y="69"/>
                  </a:lnTo>
                  <a:lnTo>
                    <a:pt x="7" y="60"/>
                  </a:lnTo>
                  <a:lnTo>
                    <a:pt x="6" y="52"/>
                  </a:lnTo>
                  <a:lnTo>
                    <a:pt x="6" y="52"/>
                  </a:lnTo>
                  <a:lnTo>
                    <a:pt x="7" y="39"/>
                  </a:lnTo>
                  <a:lnTo>
                    <a:pt x="10" y="27"/>
                  </a:lnTo>
                  <a:lnTo>
                    <a:pt x="16" y="19"/>
                  </a:lnTo>
                  <a:lnTo>
                    <a:pt x="24" y="10"/>
                  </a:lnTo>
                  <a:lnTo>
                    <a:pt x="24" y="10"/>
                  </a:lnTo>
                  <a:lnTo>
                    <a:pt x="28" y="8"/>
                  </a:lnTo>
                  <a:lnTo>
                    <a:pt x="33" y="5"/>
                  </a:lnTo>
                  <a:lnTo>
                    <a:pt x="44" y="2"/>
                  </a:lnTo>
                  <a:lnTo>
                    <a:pt x="58" y="0"/>
                  </a:lnTo>
                  <a:lnTo>
                    <a:pt x="73" y="0"/>
                  </a:lnTo>
                  <a:lnTo>
                    <a:pt x="121" y="0"/>
                  </a:lnTo>
                  <a:lnTo>
                    <a:pt x="121" y="0"/>
                  </a:lnTo>
                  <a:lnTo>
                    <a:pt x="124" y="3"/>
                  </a:lnTo>
                  <a:lnTo>
                    <a:pt x="126" y="9"/>
                  </a:lnTo>
                  <a:lnTo>
                    <a:pt x="127" y="20"/>
                  </a:lnTo>
                  <a:lnTo>
                    <a:pt x="126" y="33"/>
                  </a:lnTo>
                  <a:lnTo>
                    <a:pt x="124" y="39"/>
                  </a:lnTo>
                  <a:lnTo>
                    <a:pt x="121" y="42"/>
                  </a:lnTo>
                  <a:lnTo>
                    <a:pt x="79" y="42"/>
                  </a:lnTo>
                  <a:lnTo>
                    <a:pt x="79" y="42"/>
                  </a:lnTo>
                  <a:lnTo>
                    <a:pt x="66" y="42"/>
                  </a:lnTo>
                  <a:lnTo>
                    <a:pt x="54" y="43"/>
                  </a:lnTo>
                  <a:lnTo>
                    <a:pt x="50" y="45"/>
                  </a:lnTo>
                  <a:lnTo>
                    <a:pt x="47" y="46"/>
                  </a:lnTo>
                  <a:lnTo>
                    <a:pt x="46" y="49"/>
                  </a:lnTo>
                  <a:lnTo>
                    <a:pt x="44" y="53"/>
                  </a:lnTo>
                  <a:lnTo>
                    <a:pt x="44" y="53"/>
                  </a:lnTo>
                  <a:lnTo>
                    <a:pt x="46" y="59"/>
                  </a:lnTo>
                  <a:lnTo>
                    <a:pt x="51" y="63"/>
                  </a:lnTo>
                  <a:lnTo>
                    <a:pt x="57" y="69"/>
                  </a:lnTo>
                  <a:lnTo>
                    <a:pt x="64" y="72"/>
                  </a:lnTo>
                  <a:lnTo>
                    <a:pt x="79" y="79"/>
                  </a:lnTo>
                  <a:lnTo>
                    <a:pt x="86" y="80"/>
                  </a:lnTo>
                  <a:lnTo>
                    <a:pt x="86" y="80"/>
                  </a:lnTo>
                  <a:lnTo>
                    <a:pt x="109" y="89"/>
                  </a:lnTo>
                  <a:lnTo>
                    <a:pt x="116" y="93"/>
                  </a:lnTo>
                  <a:lnTo>
                    <a:pt x="121" y="99"/>
                  </a:lnTo>
                  <a:lnTo>
                    <a:pt x="121" y="99"/>
                  </a:lnTo>
                  <a:lnTo>
                    <a:pt x="127" y="104"/>
                  </a:lnTo>
                  <a:lnTo>
                    <a:pt x="130" y="113"/>
                  </a:lnTo>
                  <a:lnTo>
                    <a:pt x="133" y="122"/>
                  </a:lnTo>
                  <a:lnTo>
                    <a:pt x="133" y="132"/>
                  </a:lnTo>
                  <a:lnTo>
                    <a:pt x="133" y="132"/>
                  </a:lnTo>
                  <a:lnTo>
                    <a:pt x="131" y="143"/>
                  </a:lnTo>
                  <a:lnTo>
                    <a:pt x="129" y="154"/>
                  </a:lnTo>
                  <a:lnTo>
                    <a:pt x="123" y="164"/>
                  </a:lnTo>
                  <a:lnTo>
                    <a:pt x="114" y="173"/>
                  </a:lnTo>
                  <a:lnTo>
                    <a:pt x="114" y="173"/>
                  </a:lnTo>
                  <a:lnTo>
                    <a:pt x="104" y="180"/>
                  </a:lnTo>
                  <a:lnTo>
                    <a:pt x="94" y="184"/>
                  </a:lnTo>
                  <a:lnTo>
                    <a:pt x="83" y="187"/>
                  </a:lnTo>
                  <a:lnTo>
                    <a:pt x="69" y="187"/>
                  </a:lnTo>
                  <a:lnTo>
                    <a:pt x="6" y="187"/>
                  </a:lnTo>
                  <a:close/>
                  <a:moveTo>
                    <a:pt x="6" y="187"/>
                  </a:moveTo>
                  <a:lnTo>
                    <a:pt x="6" y="18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05" name="Freeform 27"/>
            <p:cNvSpPr>
              <a:spLocks/>
            </p:cNvSpPr>
            <p:nvPr userDrawn="1"/>
          </p:nvSpPr>
          <p:spPr bwMode="auto">
            <a:xfrm>
              <a:off x="5563" y="717"/>
              <a:ext cx="44" cy="62"/>
            </a:xfrm>
            <a:custGeom>
              <a:avLst/>
              <a:gdLst>
                <a:gd name="T0" fmla="*/ 6 w 133"/>
                <a:gd name="T1" fmla="*/ 187 h 187"/>
                <a:gd name="T2" fmla="*/ 1 w 133"/>
                <a:gd name="T3" fmla="*/ 179 h 187"/>
                <a:gd name="T4" fmla="*/ 1 w 133"/>
                <a:gd name="T5" fmla="*/ 151 h 187"/>
                <a:gd name="T6" fmla="*/ 6 w 133"/>
                <a:gd name="T7" fmla="*/ 143 h 187"/>
                <a:gd name="T8" fmla="*/ 61 w 133"/>
                <a:gd name="T9" fmla="*/ 144 h 187"/>
                <a:gd name="T10" fmla="*/ 73 w 133"/>
                <a:gd name="T11" fmla="*/ 144 h 187"/>
                <a:gd name="T12" fmla="*/ 87 w 133"/>
                <a:gd name="T13" fmla="*/ 143 h 187"/>
                <a:gd name="T14" fmla="*/ 91 w 133"/>
                <a:gd name="T15" fmla="*/ 136 h 187"/>
                <a:gd name="T16" fmla="*/ 93 w 133"/>
                <a:gd name="T17" fmla="*/ 130 h 187"/>
                <a:gd name="T18" fmla="*/ 90 w 133"/>
                <a:gd name="T19" fmla="*/ 124 h 187"/>
                <a:gd name="T20" fmla="*/ 66 w 133"/>
                <a:gd name="T21" fmla="*/ 114 h 187"/>
                <a:gd name="T22" fmla="*/ 51 w 133"/>
                <a:gd name="T23" fmla="*/ 107 h 187"/>
                <a:gd name="T24" fmla="*/ 30 w 133"/>
                <a:gd name="T25" fmla="*/ 96 h 187"/>
                <a:gd name="T26" fmla="*/ 17 w 133"/>
                <a:gd name="T27" fmla="*/ 83 h 187"/>
                <a:gd name="T28" fmla="*/ 11 w 133"/>
                <a:gd name="T29" fmla="*/ 76 h 187"/>
                <a:gd name="T30" fmla="*/ 7 w 133"/>
                <a:gd name="T31" fmla="*/ 60 h 187"/>
                <a:gd name="T32" fmla="*/ 6 w 133"/>
                <a:gd name="T33" fmla="*/ 52 h 187"/>
                <a:gd name="T34" fmla="*/ 10 w 133"/>
                <a:gd name="T35" fmla="*/ 27 h 187"/>
                <a:gd name="T36" fmla="*/ 24 w 133"/>
                <a:gd name="T37" fmla="*/ 10 h 187"/>
                <a:gd name="T38" fmla="*/ 28 w 133"/>
                <a:gd name="T39" fmla="*/ 8 h 187"/>
                <a:gd name="T40" fmla="*/ 44 w 133"/>
                <a:gd name="T41" fmla="*/ 2 h 187"/>
                <a:gd name="T42" fmla="*/ 73 w 133"/>
                <a:gd name="T43" fmla="*/ 0 h 187"/>
                <a:gd name="T44" fmla="*/ 121 w 133"/>
                <a:gd name="T45" fmla="*/ 0 h 187"/>
                <a:gd name="T46" fmla="*/ 126 w 133"/>
                <a:gd name="T47" fmla="*/ 9 h 187"/>
                <a:gd name="T48" fmla="*/ 126 w 133"/>
                <a:gd name="T49" fmla="*/ 33 h 187"/>
                <a:gd name="T50" fmla="*/ 121 w 133"/>
                <a:gd name="T51" fmla="*/ 42 h 187"/>
                <a:gd name="T52" fmla="*/ 79 w 133"/>
                <a:gd name="T53" fmla="*/ 42 h 187"/>
                <a:gd name="T54" fmla="*/ 54 w 133"/>
                <a:gd name="T55" fmla="*/ 43 h 187"/>
                <a:gd name="T56" fmla="*/ 47 w 133"/>
                <a:gd name="T57" fmla="*/ 46 h 187"/>
                <a:gd name="T58" fmla="*/ 44 w 133"/>
                <a:gd name="T59" fmla="*/ 53 h 187"/>
                <a:gd name="T60" fmla="*/ 46 w 133"/>
                <a:gd name="T61" fmla="*/ 59 h 187"/>
                <a:gd name="T62" fmla="*/ 57 w 133"/>
                <a:gd name="T63" fmla="*/ 69 h 187"/>
                <a:gd name="T64" fmla="*/ 79 w 133"/>
                <a:gd name="T65" fmla="*/ 79 h 187"/>
                <a:gd name="T66" fmla="*/ 86 w 133"/>
                <a:gd name="T67" fmla="*/ 80 h 187"/>
                <a:gd name="T68" fmla="*/ 116 w 133"/>
                <a:gd name="T69" fmla="*/ 93 h 187"/>
                <a:gd name="T70" fmla="*/ 121 w 133"/>
                <a:gd name="T71" fmla="*/ 99 h 187"/>
                <a:gd name="T72" fmla="*/ 130 w 133"/>
                <a:gd name="T73" fmla="*/ 113 h 187"/>
                <a:gd name="T74" fmla="*/ 133 w 133"/>
                <a:gd name="T75" fmla="*/ 132 h 187"/>
                <a:gd name="T76" fmla="*/ 131 w 133"/>
                <a:gd name="T77" fmla="*/ 143 h 187"/>
                <a:gd name="T78" fmla="*/ 123 w 133"/>
                <a:gd name="T79" fmla="*/ 164 h 187"/>
                <a:gd name="T80" fmla="*/ 114 w 133"/>
                <a:gd name="T81" fmla="*/ 173 h 187"/>
                <a:gd name="T82" fmla="*/ 94 w 133"/>
                <a:gd name="T83" fmla="*/ 184 h 187"/>
                <a:gd name="T84" fmla="*/ 69 w 133"/>
                <a:gd name="T85"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33" h="187">
                  <a:moveTo>
                    <a:pt x="6" y="187"/>
                  </a:moveTo>
                  <a:lnTo>
                    <a:pt x="6" y="187"/>
                  </a:lnTo>
                  <a:lnTo>
                    <a:pt x="3" y="184"/>
                  </a:lnTo>
                  <a:lnTo>
                    <a:pt x="1" y="179"/>
                  </a:lnTo>
                  <a:lnTo>
                    <a:pt x="0" y="166"/>
                  </a:lnTo>
                  <a:lnTo>
                    <a:pt x="1" y="151"/>
                  </a:lnTo>
                  <a:lnTo>
                    <a:pt x="3" y="147"/>
                  </a:lnTo>
                  <a:lnTo>
                    <a:pt x="6" y="143"/>
                  </a:lnTo>
                  <a:lnTo>
                    <a:pt x="6" y="143"/>
                  </a:lnTo>
                  <a:lnTo>
                    <a:pt x="61" y="144"/>
                  </a:lnTo>
                  <a:lnTo>
                    <a:pt x="61" y="144"/>
                  </a:lnTo>
                  <a:lnTo>
                    <a:pt x="73" y="144"/>
                  </a:lnTo>
                  <a:lnTo>
                    <a:pt x="83" y="144"/>
                  </a:lnTo>
                  <a:lnTo>
                    <a:pt x="87" y="143"/>
                  </a:lnTo>
                  <a:lnTo>
                    <a:pt x="90" y="140"/>
                  </a:lnTo>
                  <a:lnTo>
                    <a:pt x="91" y="136"/>
                  </a:lnTo>
                  <a:lnTo>
                    <a:pt x="93" y="130"/>
                  </a:lnTo>
                  <a:lnTo>
                    <a:pt x="93" y="130"/>
                  </a:lnTo>
                  <a:lnTo>
                    <a:pt x="91" y="127"/>
                  </a:lnTo>
                  <a:lnTo>
                    <a:pt x="90" y="124"/>
                  </a:lnTo>
                  <a:lnTo>
                    <a:pt x="84" y="122"/>
                  </a:lnTo>
                  <a:lnTo>
                    <a:pt x="66" y="114"/>
                  </a:lnTo>
                  <a:lnTo>
                    <a:pt x="51" y="107"/>
                  </a:lnTo>
                  <a:lnTo>
                    <a:pt x="51" y="107"/>
                  </a:lnTo>
                  <a:lnTo>
                    <a:pt x="40" y="102"/>
                  </a:lnTo>
                  <a:lnTo>
                    <a:pt x="30" y="96"/>
                  </a:lnTo>
                  <a:lnTo>
                    <a:pt x="23" y="89"/>
                  </a:lnTo>
                  <a:lnTo>
                    <a:pt x="17" y="83"/>
                  </a:lnTo>
                  <a:lnTo>
                    <a:pt x="17" y="83"/>
                  </a:lnTo>
                  <a:lnTo>
                    <a:pt x="11" y="76"/>
                  </a:lnTo>
                  <a:lnTo>
                    <a:pt x="8" y="69"/>
                  </a:lnTo>
                  <a:lnTo>
                    <a:pt x="7" y="60"/>
                  </a:lnTo>
                  <a:lnTo>
                    <a:pt x="6" y="52"/>
                  </a:lnTo>
                  <a:lnTo>
                    <a:pt x="6" y="52"/>
                  </a:lnTo>
                  <a:lnTo>
                    <a:pt x="7" y="39"/>
                  </a:lnTo>
                  <a:lnTo>
                    <a:pt x="10" y="27"/>
                  </a:lnTo>
                  <a:lnTo>
                    <a:pt x="16" y="19"/>
                  </a:lnTo>
                  <a:lnTo>
                    <a:pt x="24" y="10"/>
                  </a:lnTo>
                  <a:lnTo>
                    <a:pt x="24" y="10"/>
                  </a:lnTo>
                  <a:lnTo>
                    <a:pt x="28" y="8"/>
                  </a:lnTo>
                  <a:lnTo>
                    <a:pt x="33" y="5"/>
                  </a:lnTo>
                  <a:lnTo>
                    <a:pt x="44" y="2"/>
                  </a:lnTo>
                  <a:lnTo>
                    <a:pt x="58" y="0"/>
                  </a:lnTo>
                  <a:lnTo>
                    <a:pt x="73" y="0"/>
                  </a:lnTo>
                  <a:lnTo>
                    <a:pt x="121" y="0"/>
                  </a:lnTo>
                  <a:lnTo>
                    <a:pt x="121" y="0"/>
                  </a:lnTo>
                  <a:lnTo>
                    <a:pt x="124" y="3"/>
                  </a:lnTo>
                  <a:lnTo>
                    <a:pt x="126" y="9"/>
                  </a:lnTo>
                  <a:lnTo>
                    <a:pt x="127" y="20"/>
                  </a:lnTo>
                  <a:lnTo>
                    <a:pt x="126" y="33"/>
                  </a:lnTo>
                  <a:lnTo>
                    <a:pt x="124" y="39"/>
                  </a:lnTo>
                  <a:lnTo>
                    <a:pt x="121" y="42"/>
                  </a:lnTo>
                  <a:lnTo>
                    <a:pt x="79" y="42"/>
                  </a:lnTo>
                  <a:lnTo>
                    <a:pt x="79" y="42"/>
                  </a:lnTo>
                  <a:lnTo>
                    <a:pt x="66" y="42"/>
                  </a:lnTo>
                  <a:lnTo>
                    <a:pt x="54" y="43"/>
                  </a:lnTo>
                  <a:lnTo>
                    <a:pt x="50" y="45"/>
                  </a:lnTo>
                  <a:lnTo>
                    <a:pt x="47" y="46"/>
                  </a:lnTo>
                  <a:lnTo>
                    <a:pt x="46" y="49"/>
                  </a:lnTo>
                  <a:lnTo>
                    <a:pt x="44" y="53"/>
                  </a:lnTo>
                  <a:lnTo>
                    <a:pt x="44" y="53"/>
                  </a:lnTo>
                  <a:lnTo>
                    <a:pt x="46" y="59"/>
                  </a:lnTo>
                  <a:lnTo>
                    <a:pt x="51" y="63"/>
                  </a:lnTo>
                  <a:lnTo>
                    <a:pt x="57" y="69"/>
                  </a:lnTo>
                  <a:lnTo>
                    <a:pt x="64" y="72"/>
                  </a:lnTo>
                  <a:lnTo>
                    <a:pt x="79" y="79"/>
                  </a:lnTo>
                  <a:lnTo>
                    <a:pt x="86" y="80"/>
                  </a:lnTo>
                  <a:lnTo>
                    <a:pt x="86" y="80"/>
                  </a:lnTo>
                  <a:lnTo>
                    <a:pt x="109" y="89"/>
                  </a:lnTo>
                  <a:lnTo>
                    <a:pt x="116" y="93"/>
                  </a:lnTo>
                  <a:lnTo>
                    <a:pt x="121" y="99"/>
                  </a:lnTo>
                  <a:lnTo>
                    <a:pt x="121" y="99"/>
                  </a:lnTo>
                  <a:lnTo>
                    <a:pt x="127" y="104"/>
                  </a:lnTo>
                  <a:lnTo>
                    <a:pt x="130" y="113"/>
                  </a:lnTo>
                  <a:lnTo>
                    <a:pt x="133" y="122"/>
                  </a:lnTo>
                  <a:lnTo>
                    <a:pt x="133" y="132"/>
                  </a:lnTo>
                  <a:lnTo>
                    <a:pt x="133" y="132"/>
                  </a:lnTo>
                  <a:lnTo>
                    <a:pt x="131" y="143"/>
                  </a:lnTo>
                  <a:lnTo>
                    <a:pt x="129" y="154"/>
                  </a:lnTo>
                  <a:lnTo>
                    <a:pt x="123" y="164"/>
                  </a:lnTo>
                  <a:lnTo>
                    <a:pt x="114" y="173"/>
                  </a:lnTo>
                  <a:lnTo>
                    <a:pt x="114" y="173"/>
                  </a:lnTo>
                  <a:lnTo>
                    <a:pt x="104" y="180"/>
                  </a:lnTo>
                  <a:lnTo>
                    <a:pt x="94" y="184"/>
                  </a:lnTo>
                  <a:lnTo>
                    <a:pt x="83" y="187"/>
                  </a:lnTo>
                  <a:lnTo>
                    <a:pt x="69" y="187"/>
                  </a:lnTo>
                  <a:lnTo>
                    <a:pt x="6" y="18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06" name="Line 28"/>
            <p:cNvSpPr>
              <a:spLocks noChangeShapeType="1"/>
            </p:cNvSpPr>
            <p:nvPr userDrawn="1"/>
          </p:nvSpPr>
          <p:spPr bwMode="auto">
            <a:xfrm>
              <a:off x="5565" y="779"/>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07" name="Freeform 29"/>
            <p:cNvSpPr>
              <a:spLocks noEditPoints="1"/>
            </p:cNvSpPr>
            <p:nvPr userDrawn="1"/>
          </p:nvSpPr>
          <p:spPr bwMode="auto">
            <a:xfrm>
              <a:off x="5671" y="717"/>
              <a:ext cx="80" cy="63"/>
            </a:xfrm>
            <a:custGeom>
              <a:avLst/>
              <a:gdLst>
                <a:gd name="T0" fmla="*/ 0 w 242"/>
                <a:gd name="T1" fmla="*/ 0 h 191"/>
                <a:gd name="T2" fmla="*/ 198 w 242"/>
                <a:gd name="T3" fmla="*/ 0 h 191"/>
                <a:gd name="T4" fmla="*/ 218 w 242"/>
                <a:gd name="T5" fmla="*/ 3 h 191"/>
                <a:gd name="T6" fmla="*/ 231 w 242"/>
                <a:gd name="T7" fmla="*/ 12 h 191"/>
                <a:gd name="T8" fmla="*/ 239 w 242"/>
                <a:gd name="T9" fmla="*/ 27 h 191"/>
                <a:gd name="T10" fmla="*/ 242 w 242"/>
                <a:gd name="T11" fmla="*/ 52 h 191"/>
                <a:gd name="T12" fmla="*/ 242 w 242"/>
                <a:gd name="T13" fmla="*/ 186 h 191"/>
                <a:gd name="T14" fmla="*/ 234 w 242"/>
                <a:gd name="T15" fmla="*/ 190 h 191"/>
                <a:gd name="T16" fmla="*/ 221 w 242"/>
                <a:gd name="T17" fmla="*/ 191 h 191"/>
                <a:gd name="T18" fmla="*/ 209 w 242"/>
                <a:gd name="T19" fmla="*/ 190 h 191"/>
                <a:gd name="T20" fmla="*/ 201 w 242"/>
                <a:gd name="T21" fmla="*/ 186 h 191"/>
                <a:gd name="T22" fmla="*/ 201 w 242"/>
                <a:gd name="T23" fmla="*/ 66 h 191"/>
                <a:gd name="T24" fmla="*/ 198 w 242"/>
                <a:gd name="T25" fmla="*/ 55 h 191"/>
                <a:gd name="T26" fmla="*/ 191 w 242"/>
                <a:gd name="T27" fmla="*/ 46 h 191"/>
                <a:gd name="T28" fmla="*/ 182 w 242"/>
                <a:gd name="T29" fmla="*/ 42 h 191"/>
                <a:gd name="T30" fmla="*/ 161 w 242"/>
                <a:gd name="T31" fmla="*/ 40 h 191"/>
                <a:gd name="T32" fmla="*/ 142 w 242"/>
                <a:gd name="T33" fmla="*/ 43 h 191"/>
                <a:gd name="T34" fmla="*/ 142 w 242"/>
                <a:gd name="T35" fmla="*/ 186 h 191"/>
                <a:gd name="T36" fmla="*/ 133 w 242"/>
                <a:gd name="T37" fmla="*/ 190 h 191"/>
                <a:gd name="T38" fmla="*/ 122 w 242"/>
                <a:gd name="T39" fmla="*/ 191 h 191"/>
                <a:gd name="T40" fmla="*/ 109 w 242"/>
                <a:gd name="T41" fmla="*/ 190 h 191"/>
                <a:gd name="T42" fmla="*/ 101 w 242"/>
                <a:gd name="T43" fmla="*/ 186 h 191"/>
                <a:gd name="T44" fmla="*/ 101 w 242"/>
                <a:gd name="T45" fmla="*/ 67 h 191"/>
                <a:gd name="T46" fmla="*/ 98 w 242"/>
                <a:gd name="T47" fmla="*/ 55 h 191"/>
                <a:gd name="T48" fmla="*/ 92 w 242"/>
                <a:gd name="T49" fmla="*/ 46 h 191"/>
                <a:gd name="T50" fmla="*/ 82 w 242"/>
                <a:gd name="T51" fmla="*/ 42 h 191"/>
                <a:gd name="T52" fmla="*/ 60 w 242"/>
                <a:gd name="T53" fmla="*/ 40 h 191"/>
                <a:gd name="T54" fmla="*/ 43 w 242"/>
                <a:gd name="T55" fmla="*/ 43 h 191"/>
                <a:gd name="T56" fmla="*/ 43 w 242"/>
                <a:gd name="T57" fmla="*/ 186 h 191"/>
                <a:gd name="T58" fmla="*/ 33 w 242"/>
                <a:gd name="T59" fmla="*/ 190 h 191"/>
                <a:gd name="T60" fmla="*/ 22 w 242"/>
                <a:gd name="T61" fmla="*/ 191 h 191"/>
                <a:gd name="T62" fmla="*/ 9 w 242"/>
                <a:gd name="T63" fmla="*/ 190 h 191"/>
                <a:gd name="T64" fmla="*/ 0 w 242"/>
                <a:gd name="T65" fmla="*/ 186 h 191"/>
                <a:gd name="T66" fmla="*/ 0 w 242"/>
                <a:gd name="T67" fmla="*/ 186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42" h="191">
                  <a:moveTo>
                    <a:pt x="0" y="186"/>
                  </a:moveTo>
                  <a:lnTo>
                    <a:pt x="0" y="0"/>
                  </a:lnTo>
                  <a:lnTo>
                    <a:pt x="198" y="0"/>
                  </a:lnTo>
                  <a:lnTo>
                    <a:pt x="198" y="0"/>
                  </a:lnTo>
                  <a:lnTo>
                    <a:pt x="208" y="0"/>
                  </a:lnTo>
                  <a:lnTo>
                    <a:pt x="218" y="3"/>
                  </a:lnTo>
                  <a:lnTo>
                    <a:pt x="225" y="6"/>
                  </a:lnTo>
                  <a:lnTo>
                    <a:pt x="231" y="12"/>
                  </a:lnTo>
                  <a:lnTo>
                    <a:pt x="237" y="19"/>
                  </a:lnTo>
                  <a:lnTo>
                    <a:pt x="239" y="27"/>
                  </a:lnTo>
                  <a:lnTo>
                    <a:pt x="242" y="39"/>
                  </a:lnTo>
                  <a:lnTo>
                    <a:pt x="242" y="52"/>
                  </a:lnTo>
                  <a:lnTo>
                    <a:pt x="242" y="186"/>
                  </a:lnTo>
                  <a:lnTo>
                    <a:pt x="242" y="186"/>
                  </a:lnTo>
                  <a:lnTo>
                    <a:pt x="239" y="189"/>
                  </a:lnTo>
                  <a:lnTo>
                    <a:pt x="234" y="190"/>
                  </a:lnTo>
                  <a:lnTo>
                    <a:pt x="228" y="191"/>
                  </a:lnTo>
                  <a:lnTo>
                    <a:pt x="221" y="191"/>
                  </a:lnTo>
                  <a:lnTo>
                    <a:pt x="215" y="191"/>
                  </a:lnTo>
                  <a:lnTo>
                    <a:pt x="209" y="190"/>
                  </a:lnTo>
                  <a:lnTo>
                    <a:pt x="204" y="189"/>
                  </a:lnTo>
                  <a:lnTo>
                    <a:pt x="201" y="186"/>
                  </a:lnTo>
                  <a:lnTo>
                    <a:pt x="201" y="66"/>
                  </a:lnTo>
                  <a:lnTo>
                    <a:pt x="201" y="66"/>
                  </a:lnTo>
                  <a:lnTo>
                    <a:pt x="199" y="60"/>
                  </a:lnTo>
                  <a:lnTo>
                    <a:pt x="198" y="55"/>
                  </a:lnTo>
                  <a:lnTo>
                    <a:pt x="195" y="50"/>
                  </a:lnTo>
                  <a:lnTo>
                    <a:pt x="191" y="46"/>
                  </a:lnTo>
                  <a:lnTo>
                    <a:pt x="186" y="43"/>
                  </a:lnTo>
                  <a:lnTo>
                    <a:pt x="182" y="42"/>
                  </a:lnTo>
                  <a:lnTo>
                    <a:pt x="171" y="40"/>
                  </a:lnTo>
                  <a:lnTo>
                    <a:pt x="161" y="40"/>
                  </a:lnTo>
                  <a:lnTo>
                    <a:pt x="152" y="40"/>
                  </a:lnTo>
                  <a:lnTo>
                    <a:pt x="142" y="43"/>
                  </a:lnTo>
                  <a:lnTo>
                    <a:pt x="142" y="186"/>
                  </a:lnTo>
                  <a:lnTo>
                    <a:pt x="142" y="186"/>
                  </a:lnTo>
                  <a:lnTo>
                    <a:pt x="139" y="189"/>
                  </a:lnTo>
                  <a:lnTo>
                    <a:pt x="133" y="190"/>
                  </a:lnTo>
                  <a:lnTo>
                    <a:pt x="128" y="191"/>
                  </a:lnTo>
                  <a:lnTo>
                    <a:pt x="122" y="191"/>
                  </a:lnTo>
                  <a:lnTo>
                    <a:pt x="115" y="191"/>
                  </a:lnTo>
                  <a:lnTo>
                    <a:pt x="109" y="190"/>
                  </a:lnTo>
                  <a:lnTo>
                    <a:pt x="103" y="189"/>
                  </a:lnTo>
                  <a:lnTo>
                    <a:pt x="101" y="186"/>
                  </a:lnTo>
                  <a:lnTo>
                    <a:pt x="101" y="67"/>
                  </a:lnTo>
                  <a:lnTo>
                    <a:pt x="101" y="67"/>
                  </a:lnTo>
                  <a:lnTo>
                    <a:pt x="99" y="60"/>
                  </a:lnTo>
                  <a:lnTo>
                    <a:pt x="98" y="55"/>
                  </a:lnTo>
                  <a:lnTo>
                    <a:pt x="95" y="50"/>
                  </a:lnTo>
                  <a:lnTo>
                    <a:pt x="92" y="46"/>
                  </a:lnTo>
                  <a:lnTo>
                    <a:pt x="88" y="43"/>
                  </a:lnTo>
                  <a:lnTo>
                    <a:pt x="82" y="42"/>
                  </a:lnTo>
                  <a:lnTo>
                    <a:pt x="72" y="40"/>
                  </a:lnTo>
                  <a:lnTo>
                    <a:pt x="60" y="40"/>
                  </a:lnTo>
                  <a:lnTo>
                    <a:pt x="52" y="40"/>
                  </a:lnTo>
                  <a:lnTo>
                    <a:pt x="43" y="43"/>
                  </a:lnTo>
                  <a:lnTo>
                    <a:pt x="43" y="186"/>
                  </a:lnTo>
                  <a:lnTo>
                    <a:pt x="43" y="186"/>
                  </a:lnTo>
                  <a:lnTo>
                    <a:pt x="39" y="189"/>
                  </a:lnTo>
                  <a:lnTo>
                    <a:pt x="33" y="190"/>
                  </a:lnTo>
                  <a:lnTo>
                    <a:pt x="28" y="191"/>
                  </a:lnTo>
                  <a:lnTo>
                    <a:pt x="22" y="191"/>
                  </a:lnTo>
                  <a:lnTo>
                    <a:pt x="15" y="191"/>
                  </a:lnTo>
                  <a:lnTo>
                    <a:pt x="9" y="190"/>
                  </a:lnTo>
                  <a:lnTo>
                    <a:pt x="5" y="189"/>
                  </a:lnTo>
                  <a:lnTo>
                    <a:pt x="0" y="186"/>
                  </a:lnTo>
                  <a:lnTo>
                    <a:pt x="0" y="186"/>
                  </a:lnTo>
                  <a:close/>
                  <a:moveTo>
                    <a:pt x="0" y="186"/>
                  </a:moveTo>
                  <a:lnTo>
                    <a:pt x="0" y="18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08" name="Freeform 30"/>
            <p:cNvSpPr>
              <a:spLocks/>
            </p:cNvSpPr>
            <p:nvPr userDrawn="1"/>
          </p:nvSpPr>
          <p:spPr bwMode="auto">
            <a:xfrm>
              <a:off x="5671" y="717"/>
              <a:ext cx="80" cy="63"/>
            </a:xfrm>
            <a:custGeom>
              <a:avLst/>
              <a:gdLst>
                <a:gd name="T0" fmla="*/ 0 w 242"/>
                <a:gd name="T1" fmla="*/ 0 h 191"/>
                <a:gd name="T2" fmla="*/ 198 w 242"/>
                <a:gd name="T3" fmla="*/ 0 h 191"/>
                <a:gd name="T4" fmla="*/ 218 w 242"/>
                <a:gd name="T5" fmla="*/ 3 h 191"/>
                <a:gd name="T6" fmla="*/ 231 w 242"/>
                <a:gd name="T7" fmla="*/ 12 h 191"/>
                <a:gd name="T8" fmla="*/ 239 w 242"/>
                <a:gd name="T9" fmla="*/ 27 h 191"/>
                <a:gd name="T10" fmla="*/ 242 w 242"/>
                <a:gd name="T11" fmla="*/ 52 h 191"/>
                <a:gd name="T12" fmla="*/ 242 w 242"/>
                <a:gd name="T13" fmla="*/ 186 h 191"/>
                <a:gd name="T14" fmla="*/ 234 w 242"/>
                <a:gd name="T15" fmla="*/ 190 h 191"/>
                <a:gd name="T16" fmla="*/ 221 w 242"/>
                <a:gd name="T17" fmla="*/ 191 h 191"/>
                <a:gd name="T18" fmla="*/ 209 w 242"/>
                <a:gd name="T19" fmla="*/ 190 h 191"/>
                <a:gd name="T20" fmla="*/ 201 w 242"/>
                <a:gd name="T21" fmla="*/ 186 h 191"/>
                <a:gd name="T22" fmla="*/ 201 w 242"/>
                <a:gd name="T23" fmla="*/ 66 h 191"/>
                <a:gd name="T24" fmla="*/ 198 w 242"/>
                <a:gd name="T25" fmla="*/ 55 h 191"/>
                <a:gd name="T26" fmla="*/ 191 w 242"/>
                <a:gd name="T27" fmla="*/ 46 h 191"/>
                <a:gd name="T28" fmla="*/ 182 w 242"/>
                <a:gd name="T29" fmla="*/ 42 h 191"/>
                <a:gd name="T30" fmla="*/ 161 w 242"/>
                <a:gd name="T31" fmla="*/ 40 h 191"/>
                <a:gd name="T32" fmla="*/ 142 w 242"/>
                <a:gd name="T33" fmla="*/ 43 h 191"/>
                <a:gd name="T34" fmla="*/ 142 w 242"/>
                <a:gd name="T35" fmla="*/ 186 h 191"/>
                <a:gd name="T36" fmla="*/ 133 w 242"/>
                <a:gd name="T37" fmla="*/ 190 h 191"/>
                <a:gd name="T38" fmla="*/ 122 w 242"/>
                <a:gd name="T39" fmla="*/ 191 h 191"/>
                <a:gd name="T40" fmla="*/ 109 w 242"/>
                <a:gd name="T41" fmla="*/ 190 h 191"/>
                <a:gd name="T42" fmla="*/ 101 w 242"/>
                <a:gd name="T43" fmla="*/ 186 h 191"/>
                <a:gd name="T44" fmla="*/ 101 w 242"/>
                <a:gd name="T45" fmla="*/ 67 h 191"/>
                <a:gd name="T46" fmla="*/ 98 w 242"/>
                <a:gd name="T47" fmla="*/ 55 h 191"/>
                <a:gd name="T48" fmla="*/ 92 w 242"/>
                <a:gd name="T49" fmla="*/ 46 h 191"/>
                <a:gd name="T50" fmla="*/ 82 w 242"/>
                <a:gd name="T51" fmla="*/ 42 h 191"/>
                <a:gd name="T52" fmla="*/ 60 w 242"/>
                <a:gd name="T53" fmla="*/ 40 h 191"/>
                <a:gd name="T54" fmla="*/ 43 w 242"/>
                <a:gd name="T55" fmla="*/ 43 h 191"/>
                <a:gd name="T56" fmla="*/ 43 w 242"/>
                <a:gd name="T57" fmla="*/ 186 h 191"/>
                <a:gd name="T58" fmla="*/ 33 w 242"/>
                <a:gd name="T59" fmla="*/ 190 h 191"/>
                <a:gd name="T60" fmla="*/ 22 w 242"/>
                <a:gd name="T61" fmla="*/ 191 h 191"/>
                <a:gd name="T62" fmla="*/ 9 w 242"/>
                <a:gd name="T63" fmla="*/ 190 h 191"/>
                <a:gd name="T64" fmla="*/ 0 w 242"/>
                <a:gd name="T65" fmla="*/ 186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2" h="191">
                  <a:moveTo>
                    <a:pt x="0" y="186"/>
                  </a:moveTo>
                  <a:lnTo>
                    <a:pt x="0" y="0"/>
                  </a:lnTo>
                  <a:lnTo>
                    <a:pt x="198" y="0"/>
                  </a:lnTo>
                  <a:lnTo>
                    <a:pt x="198" y="0"/>
                  </a:lnTo>
                  <a:lnTo>
                    <a:pt x="208" y="0"/>
                  </a:lnTo>
                  <a:lnTo>
                    <a:pt x="218" y="3"/>
                  </a:lnTo>
                  <a:lnTo>
                    <a:pt x="225" y="6"/>
                  </a:lnTo>
                  <a:lnTo>
                    <a:pt x="231" y="12"/>
                  </a:lnTo>
                  <a:lnTo>
                    <a:pt x="237" y="19"/>
                  </a:lnTo>
                  <a:lnTo>
                    <a:pt x="239" y="27"/>
                  </a:lnTo>
                  <a:lnTo>
                    <a:pt x="242" y="39"/>
                  </a:lnTo>
                  <a:lnTo>
                    <a:pt x="242" y="52"/>
                  </a:lnTo>
                  <a:lnTo>
                    <a:pt x="242" y="186"/>
                  </a:lnTo>
                  <a:lnTo>
                    <a:pt x="242" y="186"/>
                  </a:lnTo>
                  <a:lnTo>
                    <a:pt x="239" y="189"/>
                  </a:lnTo>
                  <a:lnTo>
                    <a:pt x="234" y="190"/>
                  </a:lnTo>
                  <a:lnTo>
                    <a:pt x="228" y="191"/>
                  </a:lnTo>
                  <a:lnTo>
                    <a:pt x="221" y="191"/>
                  </a:lnTo>
                  <a:lnTo>
                    <a:pt x="215" y="191"/>
                  </a:lnTo>
                  <a:lnTo>
                    <a:pt x="209" y="190"/>
                  </a:lnTo>
                  <a:lnTo>
                    <a:pt x="204" y="189"/>
                  </a:lnTo>
                  <a:lnTo>
                    <a:pt x="201" y="186"/>
                  </a:lnTo>
                  <a:lnTo>
                    <a:pt x="201" y="66"/>
                  </a:lnTo>
                  <a:lnTo>
                    <a:pt x="201" y="66"/>
                  </a:lnTo>
                  <a:lnTo>
                    <a:pt x="199" y="60"/>
                  </a:lnTo>
                  <a:lnTo>
                    <a:pt x="198" y="55"/>
                  </a:lnTo>
                  <a:lnTo>
                    <a:pt x="195" y="50"/>
                  </a:lnTo>
                  <a:lnTo>
                    <a:pt x="191" y="46"/>
                  </a:lnTo>
                  <a:lnTo>
                    <a:pt x="186" y="43"/>
                  </a:lnTo>
                  <a:lnTo>
                    <a:pt x="182" y="42"/>
                  </a:lnTo>
                  <a:lnTo>
                    <a:pt x="171" y="40"/>
                  </a:lnTo>
                  <a:lnTo>
                    <a:pt x="161" y="40"/>
                  </a:lnTo>
                  <a:lnTo>
                    <a:pt x="152" y="40"/>
                  </a:lnTo>
                  <a:lnTo>
                    <a:pt x="142" y="43"/>
                  </a:lnTo>
                  <a:lnTo>
                    <a:pt x="142" y="186"/>
                  </a:lnTo>
                  <a:lnTo>
                    <a:pt x="142" y="186"/>
                  </a:lnTo>
                  <a:lnTo>
                    <a:pt x="139" y="189"/>
                  </a:lnTo>
                  <a:lnTo>
                    <a:pt x="133" y="190"/>
                  </a:lnTo>
                  <a:lnTo>
                    <a:pt x="128" y="191"/>
                  </a:lnTo>
                  <a:lnTo>
                    <a:pt x="122" y="191"/>
                  </a:lnTo>
                  <a:lnTo>
                    <a:pt x="115" y="191"/>
                  </a:lnTo>
                  <a:lnTo>
                    <a:pt x="109" y="190"/>
                  </a:lnTo>
                  <a:lnTo>
                    <a:pt x="103" y="189"/>
                  </a:lnTo>
                  <a:lnTo>
                    <a:pt x="101" y="186"/>
                  </a:lnTo>
                  <a:lnTo>
                    <a:pt x="101" y="67"/>
                  </a:lnTo>
                  <a:lnTo>
                    <a:pt x="101" y="67"/>
                  </a:lnTo>
                  <a:lnTo>
                    <a:pt x="99" y="60"/>
                  </a:lnTo>
                  <a:lnTo>
                    <a:pt x="98" y="55"/>
                  </a:lnTo>
                  <a:lnTo>
                    <a:pt x="95" y="50"/>
                  </a:lnTo>
                  <a:lnTo>
                    <a:pt x="92" y="46"/>
                  </a:lnTo>
                  <a:lnTo>
                    <a:pt x="88" y="43"/>
                  </a:lnTo>
                  <a:lnTo>
                    <a:pt x="82" y="42"/>
                  </a:lnTo>
                  <a:lnTo>
                    <a:pt x="72" y="40"/>
                  </a:lnTo>
                  <a:lnTo>
                    <a:pt x="60" y="40"/>
                  </a:lnTo>
                  <a:lnTo>
                    <a:pt x="52" y="40"/>
                  </a:lnTo>
                  <a:lnTo>
                    <a:pt x="43" y="43"/>
                  </a:lnTo>
                  <a:lnTo>
                    <a:pt x="43" y="186"/>
                  </a:lnTo>
                  <a:lnTo>
                    <a:pt x="43" y="186"/>
                  </a:lnTo>
                  <a:lnTo>
                    <a:pt x="39" y="189"/>
                  </a:lnTo>
                  <a:lnTo>
                    <a:pt x="33" y="190"/>
                  </a:lnTo>
                  <a:lnTo>
                    <a:pt x="28" y="191"/>
                  </a:lnTo>
                  <a:lnTo>
                    <a:pt x="22" y="191"/>
                  </a:lnTo>
                  <a:lnTo>
                    <a:pt x="15" y="191"/>
                  </a:lnTo>
                  <a:lnTo>
                    <a:pt x="9" y="190"/>
                  </a:lnTo>
                  <a:lnTo>
                    <a:pt x="5" y="189"/>
                  </a:lnTo>
                  <a:lnTo>
                    <a:pt x="0" y="186"/>
                  </a:lnTo>
                  <a:lnTo>
                    <a:pt x="0" y="18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09" name="Line 31"/>
            <p:cNvSpPr>
              <a:spLocks noChangeShapeType="1"/>
            </p:cNvSpPr>
            <p:nvPr userDrawn="1"/>
          </p:nvSpPr>
          <p:spPr bwMode="auto">
            <a:xfrm>
              <a:off x="5671" y="779"/>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10" name="Freeform 32"/>
            <p:cNvSpPr>
              <a:spLocks noEditPoints="1"/>
            </p:cNvSpPr>
            <p:nvPr userDrawn="1"/>
          </p:nvSpPr>
          <p:spPr bwMode="auto">
            <a:xfrm>
              <a:off x="5615" y="717"/>
              <a:ext cx="45" cy="63"/>
            </a:xfrm>
            <a:custGeom>
              <a:avLst/>
              <a:gdLst>
                <a:gd name="T0" fmla="*/ 93 w 135"/>
                <a:gd name="T1" fmla="*/ 109 h 191"/>
                <a:gd name="T2" fmla="*/ 93 w 135"/>
                <a:gd name="T3" fmla="*/ 42 h 191"/>
                <a:gd name="T4" fmla="*/ 93 w 135"/>
                <a:gd name="T5" fmla="*/ 42 h 191"/>
                <a:gd name="T6" fmla="*/ 86 w 135"/>
                <a:gd name="T7" fmla="*/ 40 h 191"/>
                <a:gd name="T8" fmla="*/ 78 w 135"/>
                <a:gd name="T9" fmla="*/ 39 h 191"/>
                <a:gd name="T10" fmla="*/ 68 w 135"/>
                <a:gd name="T11" fmla="*/ 37 h 191"/>
                <a:gd name="T12" fmla="*/ 59 w 135"/>
                <a:gd name="T13" fmla="*/ 40 h 191"/>
                <a:gd name="T14" fmla="*/ 55 w 135"/>
                <a:gd name="T15" fmla="*/ 42 h 191"/>
                <a:gd name="T16" fmla="*/ 50 w 135"/>
                <a:gd name="T17" fmla="*/ 45 h 191"/>
                <a:gd name="T18" fmla="*/ 48 w 135"/>
                <a:gd name="T19" fmla="*/ 49 h 191"/>
                <a:gd name="T20" fmla="*/ 45 w 135"/>
                <a:gd name="T21" fmla="*/ 53 h 191"/>
                <a:gd name="T22" fmla="*/ 43 w 135"/>
                <a:gd name="T23" fmla="*/ 59 h 191"/>
                <a:gd name="T24" fmla="*/ 42 w 135"/>
                <a:gd name="T25" fmla="*/ 67 h 191"/>
                <a:gd name="T26" fmla="*/ 42 w 135"/>
                <a:gd name="T27" fmla="*/ 109 h 191"/>
                <a:gd name="T28" fmla="*/ 93 w 135"/>
                <a:gd name="T29" fmla="*/ 109 h 191"/>
                <a:gd name="T30" fmla="*/ 42 w 135"/>
                <a:gd name="T31" fmla="*/ 144 h 191"/>
                <a:gd name="T32" fmla="*/ 42 w 135"/>
                <a:gd name="T33" fmla="*/ 186 h 191"/>
                <a:gd name="T34" fmla="*/ 42 w 135"/>
                <a:gd name="T35" fmla="*/ 186 h 191"/>
                <a:gd name="T36" fmla="*/ 39 w 135"/>
                <a:gd name="T37" fmla="*/ 189 h 191"/>
                <a:gd name="T38" fmla="*/ 35 w 135"/>
                <a:gd name="T39" fmla="*/ 190 h 191"/>
                <a:gd name="T40" fmla="*/ 27 w 135"/>
                <a:gd name="T41" fmla="*/ 191 h 191"/>
                <a:gd name="T42" fmla="*/ 22 w 135"/>
                <a:gd name="T43" fmla="*/ 191 h 191"/>
                <a:gd name="T44" fmla="*/ 15 w 135"/>
                <a:gd name="T45" fmla="*/ 191 h 191"/>
                <a:gd name="T46" fmla="*/ 9 w 135"/>
                <a:gd name="T47" fmla="*/ 190 h 191"/>
                <a:gd name="T48" fmla="*/ 3 w 135"/>
                <a:gd name="T49" fmla="*/ 189 h 191"/>
                <a:gd name="T50" fmla="*/ 0 w 135"/>
                <a:gd name="T51" fmla="*/ 186 h 191"/>
                <a:gd name="T52" fmla="*/ 0 w 135"/>
                <a:gd name="T53" fmla="*/ 0 h 191"/>
                <a:gd name="T54" fmla="*/ 102 w 135"/>
                <a:gd name="T55" fmla="*/ 0 h 191"/>
                <a:gd name="T56" fmla="*/ 102 w 135"/>
                <a:gd name="T57" fmla="*/ 0 h 191"/>
                <a:gd name="T58" fmla="*/ 110 w 135"/>
                <a:gd name="T59" fmla="*/ 0 h 191"/>
                <a:gd name="T60" fmla="*/ 118 w 135"/>
                <a:gd name="T61" fmla="*/ 3 h 191"/>
                <a:gd name="T62" fmla="*/ 123 w 135"/>
                <a:gd name="T63" fmla="*/ 6 h 191"/>
                <a:gd name="T64" fmla="*/ 128 w 135"/>
                <a:gd name="T65" fmla="*/ 12 h 191"/>
                <a:gd name="T66" fmla="*/ 132 w 135"/>
                <a:gd name="T67" fmla="*/ 19 h 191"/>
                <a:gd name="T68" fmla="*/ 133 w 135"/>
                <a:gd name="T69" fmla="*/ 27 h 191"/>
                <a:gd name="T70" fmla="*/ 135 w 135"/>
                <a:gd name="T71" fmla="*/ 39 h 191"/>
                <a:gd name="T72" fmla="*/ 135 w 135"/>
                <a:gd name="T73" fmla="*/ 52 h 191"/>
                <a:gd name="T74" fmla="*/ 135 w 135"/>
                <a:gd name="T75" fmla="*/ 186 h 191"/>
                <a:gd name="T76" fmla="*/ 135 w 135"/>
                <a:gd name="T77" fmla="*/ 186 h 191"/>
                <a:gd name="T78" fmla="*/ 132 w 135"/>
                <a:gd name="T79" fmla="*/ 189 h 191"/>
                <a:gd name="T80" fmla="*/ 128 w 135"/>
                <a:gd name="T81" fmla="*/ 190 h 191"/>
                <a:gd name="T82" fmla="*/ 121 w 135"/>
                <a:gd name="T83" fmla="*/ 191 h 191"/>
                <a:gd name="T84" fmla="*/ 115 w 135"/>
                <a:gd name="T85" fmla="*/ 191 h 191"/>
                <a:gd name="T86" fmla="*/ 108 w 135"/>
                <a:gd name="T87" fmla="*/ 191 h 191"/>
                <a:gd name="T88" fmla="*/ 102 w 135"/>
                <a:gd name="T89" fmla="*/ 190 h 191"/>
                <a:gd name="T90" fmla="*/ 96 w 135"/>
                <a:gd name="T91" fmla="*/ 189 h 191"/>
                <a:gd name="T92" fmla="*/ 93 w 135"/>
                <a:gd name="T93" fmla="*/ 186 h 191"/>
                <a:gd name="T94" fmla="*/ 93 w 135"/>
                <a:gd name="T95" fmla="*/ 144 h 191"/>
                <a:gd name="T96" fmla="*/ 110 w 135"/>
                <a:gd name="T97" fmla="*/ 144 h 191"/>
                <a:gd name="T98" fmla="*/ 42 w 135"/>
                <a:gd name="T99" fmla="*/ 144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35" h="191">
                  <a:moveTo>
                    <a:pt x="93" y="109"/>
                  </a:moveTo>
                  <a:lnTo>
                    <a:pt x="93" y="42"/>
                  </a:lnTo>
                  <a:lnTo>
                    <a:pt x="93" y="42"/>
                  </a:lnTo>
                  <a:lnTo>
                    <a:pt x="86" y="40"/>
                  </a:lnTo>
                  <a:lnTo>
                    <a:pt x="78" y="39"/>
                  </a:lnTo>
                  <a:lnTo>
                    <a:pt x="68" y="37"/>
                  </a:lnTo>
                  <a:lnTo>
                    <a:pt x="59" y="40"/>
                  </a:lnTo>
                  <a:lnTo>
                    <a:pt x="55" y="42"/>
                  </a:lnTo>
                  <a:lnTo>
                    <a:pt x="50" y="45"/>
                  </a:lnTo>
                  <a:lnTo>
                    <a:pt x="48" y="49"/>
                  </a:lnTo>
                  <a:lnTo>
                    <a:pt x="45" y="53"/>
                  </a:lnTo>
                  <a:lnTo>
                    <a:pt x="43" y="59"/>
                  </a:lnTo>
                  <a:lnTo>
                    <a:pt x="42" y="67"/>
                  </a:lnTo>
                  <a:lnTo>
                    <a:pt x="42" y="109"/>
                  </a:lnTo>
                  <a:lnTo>
                    <a:pt x="93" y="109"/>
                  </a:lnTo>
                  <a:close/>
                  <a:moveTo>
                    <a:pt x="42" y="144"/>
                  </a:moveTo>
                  <a:lnTo>
                    <a:pt x="42" y="186"/>
                  </a:lnTo>
                  <a:lnTo>
                    <a:pt x="42" y="186"/>
                  </a:lnTo>
                  <a:lnTo>
                    <a:pt x="39" y="189"/>
                  </a:lnTo>
                  <a:lnTo>
                    <a:pt x="35" y="190"/>
                  </a:lnTo>
                  <a:lnTo>
                    <a:pt x="27" y="191"/>
                  </a:lnTo>
                  <a:lnTo>
                    <a:pt x="22" y="191"/>
                  </a:lnTo>
                  <a:lnTo>
                    <a:pt x="15" y="191"/>
                  </a:lnTo>
                  <a:lnTo>
                    <a:pt x="9" y="190"/>
                  </a:lnTo>
                  <a:lnTo>
                    <a:pt x="3" y="189"/>
                  </a:lnTo>
                  <a:lnTo>
                    <a:pt x="0" y="186"/>
                  </a:lnTo>
                  <a:lnTo>
                    <a:pt x="0" y="0"/>
                  </a:lnTo>
                  <a:lnTo>
                    <a:pt x="102" y="0"/>
                  </a:lnTo>
                  <a:lnTo>
                    <a:pt x="102" y="0"/>
                  </a:lnTo>
                  <a:lnTo>
                    <a:pt x="110" y="0"/>
                  </a:lnTo>
                  <a:lnTo>
                    <a:pt x="118" y="3"/>
                  </a:lnTo>
                  <a:lnTo>
                    <a:pt x="123" y="6"/>
                  </a:lnTo>
                  <a:lnTo>
                    <a:pt x="128" y="12"/>
                  </a:lnTo>
                  <a:lnTo>
                    <a:pt x="132" y="19"/>
                  </a:lnTo>
                  <a:lnTo>
                    <a:pt x="133" y="27"/>
                  </a:lnTo>
                  <a:lnTo>
                    <a:pt x="135" y="39"/>
                  </a:lnTo>
                  <a:lnTo>
                    <a:pt x="135" y="52"/>
                  </a:lnTo>
                  <a:lnTo>
                    <a:pt x="135" y="186"/>
                  </a:lnTo>
                  <a:lnTo>
                    <a:pt x="135" y="186"/>
                  </a:lnTo>
                  <a:lnTo>
                    <a:pt x="132" y="189"/>
                  </a:lnTo>
                  <a:lnTo>
                    <a:pt x="128" y="190"/>
                  </a:lnTo>
                  <a:lnTo>
                    <a:pt x="121" y="191"/>
                  </a:lnTo>
                  <a:lnTo>
                    <a:pt x="115" y="191"/>
                  </a:lnTo>
                  <a:lnTo>
                    <a:pt x="108" y="191"/>
                  </a:lnTo>
                  <a:lnTo>
                    <a:pt x="102" y="190"/>
                  </a:lnTo>
                  <a:lnTo>
                    <a:pt x="96" y="189"/>
                  </a:lnTo>
                  <a:lnTo>
                    <a:pt x="93" y="186"/>
                  </a:lnTo>
                  <a:lnTo>
                    <a:pt x="93" y="144"/>
                  </a:lnTo>
                  <a:lnTo>
                    <a:pt x="110" y="144"/>
                  </a:lnTo>
                  <a:lnTo>
                    <a:pt x="42" y="14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11" name="Freeform 33"/>
            <p:cNvSpPr>
              <a:spLocks/>
            </p:cNvSpPr>
            <p:nvPr userDrawn="1"/>
          </p:nvSpPr>
          <p:spPr bwMode="auto">
            <a:xfrm>
              <a:off x="5629" y="729"/>
              <a:ext cx="17" cy="24"/>
            </a:xfrm>
            <a:custGeom>
              <a:avLst/>
              <a:gdLst>
                <a:gd name="T0" fmla="*/ 51 w 51"/>
                <a:gd name="T1" fmla="*/ 72 h 72"/>
                <a:gd name="T2" fmla="*/ 51 w 51"/>
                <a:gd name="T3" fmla="*/ 5 h 72"/>
                <a:gd name="T4" fmla="*/ 51 w 51"/>
                <a:gd name="T5" fmla="*/ 5 h 72"/>
                <a:gd name="T6" fmla="*/ 44 w 51"/>
                <a:gd name="T7" fmla="*/ 3 h 72"/>
                <a:gd name="T8" fmla="*/ 36 w 51"/>
                <a:gd name="T9" fmla="*/ 2 h 72"/>
                <a:gd name="T10" fmla="*/ 26 w 51"/>
                <a:gd name="T11" fmla="*/ 0 h 72"/>
                <a:gd name="T12" fmla="*/ 17 w 51"/>
                <a:gd name="T13" fmla="*/ 3 h 72"/>
                <a:gd name="T14" fmla="*/ 13 w 51"/>
                <a:gd name="T15" fmla="*/ 5 h 72"/>
                <a:gd name="T16" fmla="*/ 8 w 51"/>
                <a:gd name="T17" fmla="*/ 8 h 72"/>
                <a:gd name="T18" fmla="*/ 6 w 51"/>
                <a:gd name="T19" fmla="*/ 12 h 72"/>
                <a:gd name="T20" fmla="*/ 3 w 51"/>
                <a:gd name="T21" fmla="*/ 16 h 72"/>
                <a:gd name="T22" fmla="*/ 1 w 51"/>
                <a:gd name="T23" fmla="*/ 22 h 72"/>
                <a:gd name="T24" fmla="*/ 0 w 51"/>
                <a:gd name="T25" fmla="*/ 30 h 72"/>
                <a:gd name="T26" fmla="*/ 0 w 51"/>
                <a:gd name="T27"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1" h="72">
                  <a:moveTo>
                    <a:pt x="51" y="72"/>
                  </a:moveTo>
                  <a:lnTo>
                    <a:pt x="51" y="5"/>
                  </a:lnTo>
                  <a:lnTo>
                    <a:pt x="51" y="5"/>
                  </a:lnTo>
                  <a:lnTo>
                    <a:pt x="44" y="3"/>
                  </a:lnTo>
                  <a:lnTo>
                    <a:pt x="36" y="2"/>
                  </a:lnTo>
                  <a:lnTo>
                    <a:pt x="26" y="0"/>
                  </a:lnTo>
                  <a:lnTo>
                    <a:pt x="17" y="3"/>
                  </a:lnTo>
                  <a:lnTo>
                    <a:pt x="13" y="5"/>
                  </a:lnTo>
                  <a:lnTo>
                    <a:pt x="8" y="8"/>
                  </a:lnTo>
                  <a:lnTo>
                    <a:pt x="6" y="12"/>
                  </a:lnTo>
                  <a:lnTo>
                    <a:pt x="3" y="16"/>
                  </a:lnTo>
                  <a:lnTo>
                    <a:pt x="1" y="22"/>
                  </a:lnTo>
                  <a:lnTo>
                    <a:pt x="0" y="30"/>
                  </a:lnTo>
                  <a:lnTo>
                    <a:pt x="0" y="7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12" name="Freeform 34"/>
            <p:cNvSpPr>
              <a:spLocks/>
            </p:cNvSpPr>
            <p:nvPr userDrawn="1"/>
          </p:nvSpPr>
          <p:spPr bwMode="auto">
            <a:xfrm>
              <a:off x="5615" y="717"/>
              <a:ext cx="45" cy="63"/>
            </a:xfrm>
            <a:custGeom>
              <a:avLst/>
              <a:gdLst>
                <a:gd name="T0" fmla="*/ 42 w 135"/>
                <a:gd name="T1" fmla="*/ 144 h 191"/>
                <a:gd name="T2" fmla="*/ 42 w 135"/>
                <a:gd name="T3" fmla="*/ 186 h 191"/>
                <a:gd name="T4" fmla="*/ 42 w 135"/>
                <a:gd name="T5" fmla="*/ 186 h 191"/>
                <a:gd name="T6" fmla="*/ 39 w 135"/>
                <a:gd name="T7" fmla="*/ 189 h 191"/>
                <a:gd name="T8" fmla="*/ 35 w 135"/>
                <a:gd name="T9" fmla="*/ 190 h 191"/>
                <a:gd name="T10" fmla="*/ 27 w 135"/>
                <a:gd name="T11" fmla="*/ 191 h 191"/>
                <a:gd name="T12" fmla="*/ 22 w 135"/>
                <a:gd name="T13" fmla="*/ 191 h 191"/>
                <a:gd name="T14" fmla="*/ 15 w 135"/>
                <a:gd name="T15" fmla="*/ 191 h 191"/>
                <a:gd name="T16" fmla="*/ 9 w 135"/>
                <a:gd name="T17" fmla="*/ 190 h 191"/>
                <a:gd name="T18" fmla="*/ 3 w 135"/>
                <a:gd name="T19" fmla="*/ 189 h 191"/>
                <a:gd name="T20" fmla="*/ 0 w 135"/>
                <a:gd name="T21" fmla="*/ 186 h 191"/>
                <a:gd name="T22" fmla="*/ 0 w 135"/>
                <a:gd name="T23" fmla="*/ 0 h 191"/>
                <a:gd name="T24" fmla="*/ 102 w 135"/>
                <a:gd name="T25" fmla="*/ 0 h 191"/>
                <a:gd name="T26" fmla="*/ 102 w 135"/>
                <a:gd name="T27" fmla="*/ 0 h 191"/>
                <a:gd name="T28" fmla="*/ 110 w 135"/>
                <a:gd name="T29" fmla="*/ 0 h 191"/>
                <a:gd name="T30" fmla="*/ 118 w 135"/>
                <a:gd name="T31" fmla="*/ 3 h 191"/>
                <a:gd name="T32" fmla="*/ 123 w 135"/>
                <a:gd name="T33" fmla="*/ 6 h 191"/>
                <a:gd name="T34" fmla="*/ 128 w 135"/>
                <a:gd name="T35" fmla="*/ 12 h 191"/>
                <a:gd name="T36" fmla="*/ 132 w 135"/>
                <a:gd name="T37" fmla="*/ 19 h 191"/>
                <a:gd name="T38" fmla="*/ 133 w 135"/>
                <a:gd name="T39" fmla="*/ 27 h 191"/>
                <a:gd name="T40" fmla="*/ 135 w 135"/>
                <a:gd name="T41" fmla="*/ 39 h 191"/>
                <a:gd name="T42" fmla="*/ 135 w 135"/>
                <a:gd name="T43" fmla="*/ 52 h 191"/>
                <a:gd name="T44" fmla="*/ 135 w 135"/>
                <a:gd name="T45" fmla="*/ 186 h 191"/>
                <a:gd name="T46" fmla="*/ 135 w 135"/>
                <a:gd name="T47" fmla="*/ 186 h 191"/>
                <a:gd name="T48" fmla="*/ 132 w 135"/>
                <a:gd name="T49" fmla="*/ 189 h 191"/>
                <a:gd name="T50" fmla="*/ 128 w 135"/>
                <a:gd name="T51" fmla="*/ 190 h 191"/>
                <a:gd name="T52" fmla="*/ 121 w 135"/>
                <a:gd name="T53" fmla="*/ 191 h 191"/>
                <a:gd name="T54" fmla="*/ 115 w 135"/>
                <a:gd name="T55" fmla="*/ 191 h 191"/>
                <a:gd name="T56" fmla="*/ 108 w 135"/>
                <a:gd name="T57" fmla="*/ 191 h 191"/>
                <a:gd name="T58" fmla="*/ 102 w 135"/>
                <a:gd name="T59" fmla="*/ 190 h 191"/>
                <a:gd name="T60" fmla="*/ 96 w 135"/>
                <a:gd name="T61" fmla="*/ 189 h 191"/>
                <a:gd name="T62" fmla="*/ 93 w 135"/>
                <a:gd name="T63" fmla="*/ 186 h 191"/>
                <a:gd name="T64" fmla="*/ 93 w 135"/>
                <a:gd name="T65" fmla="*/ 144 h 191"/>
                <a:gd name="T66" fmla="*/ 110 w 135"/>
                <a:gd name="T67" fmla="*/ 144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5" h="191">
                  <a:moveTo>
                    <a:pt x="42" y="144"/>
                  </a:moveTo>
                  <a:lnTo>
                    <a:pt x="42" y="186"/>
                  </a:lnTo>
                  <a:lnTo>
                    <a:pt x="42" y="186"/>
                  </a:lnTo>
                  <a:lnTo>
                    <a:pt x="39" y="189"/>
                  </a:lnTo>
                  <a:lnTo>
                    <a:pt x="35" y="190"/>
                  </a:lnTo>
                  <a:lnTo>
                    <a:pt x="27" y="191"/>
                  </a:lnTo>
                  <a:lnTo>
                    <a:pt x="22" y="191"/>
                  </a:lnTo>
                  <a:lnTo>
                    <a:pt x="15" y="191"/>
                  </a:lnTo>
                  <a:lnTo>
                    <a:pt x="9" y="190"/>
                  </a:lnTo>
                  <a:lnTo>
                    <a:pt x="3" y="189"/>
                  </a:lnTo>
                  <a:lnTo>
                    <a:pt x="0" y="186"/>
                  </a:lnTo>
                  <a:lnTo>
                    <a:pt x="0" y="0"/>
                  </a:lnTo>
                  <a:lnTo>
                    <a:pt x="102" y="0"/>
                  </a:lnTo>
                  <a:lnTo>
                    <a:pt x="102" y="0"/>
                  </a:lnTo>
                  <a:lnTo>
                    <a:pt x="110" y="0"/>
                  </a:lnTo>
                  <a:lnTo>
                    <a:pt x="118" y="3"/>
                  </a:lnTo>
                  <a:lnTo>
                    <a:pt x="123" y="6"/>
                  </a:lnTo>
                  <a:lnTo>
                    <a:pt x="128" y="12"/>
                  </a:lnTo>
                  <a:lnTo>
                    <a:pt x="132" y="19"/>
                  </a:lnTo>
                  <a:lnTo>
                    <a:pt x="133" y="27"/>
                  </a:lnTo>
                  <a:lnTo>
                    <a:pt x="135" y="39"/>
                  </a:lnTo>
                  <a:lnTo>
                    <a:pt x="135" y="52"/>
                  </a:lnTo>
                  <a:lnTo>
                    <a:pt x="135" y="186"/>
                  </a:lnTo>
                  <a:lnTo>
                    <a:pt x="135" y="186"/>
                  </a:lnTo>
                  <a:lnTo>
                    <a:pt x="132" y="189"/>
                  </a:lnTo>
                  <a:lnTo>
                    <a:pt x="128" y="190"/>
                  </a:lnTo>
                  <a:lnTo>
                    <a:pt x="121" y="191"/>
                  </a:lnTo>
                  <a:lnTo>
                    <a:pt x="115" y="191"/>
                  </a:lnTo>
                  <a:lnTo>
                    <a:pt x="108" y="191"/>
                  </a:lnTo>
                  <a:lnTo>
                    <a:pt x="102" y="190"/>
                  </a:lnTo>
                  <a:lnTo>
                    <a:pt x="96" y="189"/>
                  </a:lnTo>
                  <a:lnTo>
                    <a:pt x="93" y="186"/>
                  </a:lnTo>
                  <a:lnTo>
                    <a:pt x="93" y="144"/>
                  </a:lnTo>
                  <a:lnTo>
                    <a:pt x="110" y="14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sp>
        <p:nvSpPr>
          <p:cNvPr id="113" name="Textfeld 112"/>
          <p:cNvSpPr txBox="1"/>
          <p:nvPr userDrawn="1"/>
        </p:nvSpPr>
        <p:spPr>
          <a:xfrm>
            <a:off x="10029282" y="1249779"/>
            <a:ext cx="1320124" cy="461665"/>
          </a:xfrm>
          <a:prstGeom prst="rect">
            <a:avLst/>
          </a:prstGeom>
          <a:noFill/>
        </p:spPr>
        <p:txBody>
          <a:bodyPr wrap="square" rtlCol="0">
            <a:spAutoFit/>
          </a:bodyPr>
          <a:lstStyle/>
          <a:p>
            <a:pPr algn="l">
              <a:lnSpc>
                <a:spcPct val="100000"/>
              </a:lnSpc>
              <a:spcAft>
                <a:spcPts val="167"/>
              </a:spcAft>
            </a:pPr>
            <a:r>
              <a:rPr lang="de-DE" sz="600" b="0" spc="0" baseline="0" dirty="0">
                <a:solidFill>
                  <a:schemeClr val="tx1"/>
                </a:solidFill>
                <a:latin typeface="+mj-lt"/>
              </a:rPr>
              <a:t>FACHGEBIET SYSTEMZUVERLÄSSIGKEIT, ADAPTRONIK UND MASCHINENAKUSTIK</a:t>
            </a:r>
          </a:p>
        </p:txBody>
      </p:sp>
    </p:spTree>
    <p:extLst>
      <p:ext uri="{BB962C8B-B14F-4D97-AF65-F5344CB8AC3E}">
        <p14:creationId xmlns:p14="http://schemas.microsoft.com/office/powerpoint/2010/main" val="2581252366"/>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2_Abschnittsüberschrift">
    <p:spTree>
      <p:nvGrpSpPr>
        <p:cNvPr id="1" name=""/>
        <p:cNvGrpSpPr/>
        <p:nvPr/>
      </p:nvGrpSpPr>
      <p:grpSpPr>
        <a:xfrm>
          <a:off x="0" y="0"/>
          <a:ext cx="0" cy="0"/>
          <a:chOff x="0" y="0"/>
          <a:chExt cx="0" cy="0"/>
        </a:xfrm>
      </p:grpSpPr>
      <p:sp>
        <p:nvSpPr>
          <p:cNvPr id="9" name="Rechteck 8"/>
          <p:cNvSpPr/>
          <p:nvPr/>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sp>
        <p:nvSpPr>
          <p:cNvPr id="17" name="Titel 11"/>
          <p:cNvSpPr>
            <a:spLocks noGrp="1"/>
          </p:cNvSpPr>
          <p:nvPr>
            <p:ph type="title" hasCustomPrompt="1"/>
          </p:nvPr>
        </p:nvSpPr>
        <p:spPr>
          <a:xfrm>
            <a:off x="672001" y="480000"/>
            <a:ext cx="9120000" cy="480000"/>
          </a:xfrm>
        </p:spPr>
        <p:txBody>
          <a:bodyPr/>
          <a:lstStyle>
            <a:lvl1pPr>
              <a:defRPr>
                <a:solidFill>
                  <a:schemeClr val="tx2"/>
                </a:solidFill>
              </a:defRPr>
            </a:lvl1pPr>
          </a:lstStyle>
          <a:p>
            <a:r>
              <a:rPr lang="de-DE" dirty="0"/>
              <a:t>TITELMASTERFORMAT DURCH KLICKEN</a:t>
            </a:r>
          </a:p>
        </p:txBody>
      </p:sp>
      <p:pic>
        <p:nvPicPr>
          <p:cNvPr id="12" name="Bild 1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87712" y="6204469"/>
            <a:ext cx="11192933" cy="508000"/>
          </a:xfrm>
          <a:prstGeom prst="rect">
            <a:avLst/>
          </a:prstGeom>
        </p:spPr>
      </p:pic>
      <p:sp>
        <p:nvSpPr>
          <p:cNvPr id="8" name="Titel 2"/>
          <p:cNvSpPr txBox="1">
            <a:spLocks/>
          </p:cNvSpPr>
          <p:nvPr userDrawn="1"/>
        </p:nvSpPr>
        <p:spPr bwMode="auto">
          <a:xfrm>
            <a:off x="1962782" y="5988089"/>
            <a:ext cx="1812295" cy="1117600"/>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lvl1pPr algn="l" rtl="0" eaLnBrk="1" fontAlgn="base" hangingPunct="1">
              <a:spcBef>
                <a:spcPct val="0"/>
              </a:spcBef>
              <a:spcAft>
                <a:spcPct val="0"/>
              </a:spcAft>
              <a:defRPr sz="2800" b="1" i="0">
                <a:solidFill>
                  <a:srgbClr val="FDCA00"/>
                </a:solidFill>
                <a:latin typeface="+mj-lt"/>
                <a:ea typeface="Verdana" charset="0"/>
                <a:cs typeface="Verdana" charset="0"/>
              </a:defRPr>
            </a:lvl1pPr>
            <a:lvl2pPr algn="l" rtl="0" eaLnBrk="1" fontAlgn="base" hangingPunct="1">
              <a:spcBef>
                <a:spcPct val="0"/>
              </a:spcBef>
              <a:spcAft>
                <a:spcPct val="0"/>
              </a:spcAft>
              <a:defRPr sz="2400" b="1">
                <a:solidFill>
                  <a:schemeClr val="tx1"/>
                </a:solidFill>
                <a:latin typeface="Arial" charset="0"/>
              </a:defRPr>
            </a:lvl2pPr>
            <a:lvl3pPr algn="l" rtl="0" eaLnBrk="1" fontAlgn="base" hangingPunct="1">
              <a:spcBef>
                <a:spcPct val="0"/>
              </a:spcBef>
              <a:spcAft>
                <a:spcPct val="0"/>
              </a:spcAft>
              <a:defRPr sz="2400" b="1">
                <a:solidFill>
                  <a:schemeClr val="tx1"/>
                </a:solidFill>
                <a:latin typeface="Arial" charset="0"/>
              </a:defRPr>
            </a:lvl3pPr>
            <a:lvl4pPr algn="l" rtl="0" eaLnBrk="1" fontAlgn="base" hangingPunct="1">
              <a:spcBef>
                <a:spcPct val="0"/>
              </a:spcBef>
              <a:spcAft>
                <a:spcPct val="0"/>
              </a:spcAft>
              <a:defRPr sz="2400" b="1">
                <a:solidFill>
                  <a:schemeClr val="tx1"/>
                </a:solidFill>
                <a:latin typeface="Arial" charset="0"/>
              </a:defRPr>
            </a:lvl4pPr>
            <a:lvl5pPr algn="l" rtl="0" eaLnBrk="1" fontAlgn="base" hangingPunct="1">
              <a:spcBef>
                <a:spcPct val="0"/>
              </a:spcBef>
              <a:spcAft>
                <a:spcPct val="0"/>
              </a:spcAft>
              <a:defRPr sz="2400" b="1">
                <a:solidFill>
                  <a:schemeClr val="tx1"/>
                </a:solidFill>
                <a:latin typeface="Arial" charset="0"/>
              </a:defRPr>
            </a:lvl5pPr>
            <a:lvl6pPr marL="457200" algn="l" rtl="0" eaLnBrk="1" fontAlgn="base" hangingPunct="1">
              <a:spcBef>
                <a:spcPct val="0"/>
              </a:spcBef>
              <a:spcAft>
                <a:spcPct val="0"/>
              </a:spcAft>
              <a:defRPr sz="2400" b="1">
                <a:solidFill>
                  <a:schemeClr val="tx1"/>
                </a:solidFill>
                <a:latin typeface="Arial" charset="0"/>
              </a:defRPr>
            </a:lvl6pPr>
            <a:lvl7pPr marL="914400" algn="l" rtl="0" eaLnBrk="1" fontAlgn="base" hangingPunct="1">
              <a:spcBef>
                <a:spcPct val="0"/>
              </a:spcBef>
              <a:spcAft>
                <a:spcPct val="0"/>
              </a:spcAft>
              <a:defRPr sz="2400" b="1">
                <a:solidFill>
                  <a:schemeClr val="tx1"/>
                </a:solidFill>
                <a:latin typeface="Arial" charset="0"/>
              </a:defRPr>
            </a:lvl7pPr>
            <a:lvl8pPr marL="1371600" algn="l" rtl="0" eaLnBrk="1" fontAlgn="base" hangingPunct="1">
              <a:spcBef>
                <a:spcPct val="0"/>
              </a:spcBef>
              <a:spcAft>
                <a:spcPct val="0"/>
              </a:spcAft>
              <a:defRPr sz="2400" b="1">
                <a:solidFill>
                  <a:schemeClr val="tx1"/>
                </a:solidFill>
                <a:latin typeface="Arial" charset="0"/>
              </a:defRPr>
            </a:lvl8pPr>
            <a:lvl9pPr marL="1828800" algn="l" rtl="0" eaLnBrk="1" fontAlgn="base" hangingPunct="1">
              <a:spcBef>
                <a:spcPct val="0"/>
              </a:spcBef>
              <a:spcAft>
                <a:spcPct val="0"/>
              </a:spcAft>
              <a:defRPr sz="2400" b="1">
                <a:solidFill>
                  <a:schemeClr val="tx1"/>
                </a:solidFill>
                <a:latin typeface="Arial" charset="0"/>
              </a:defRPr>
            </a:lvl9pPr>
          </a:lstStyle>
          <a:p>
            <a:endParaRPr lang="de-DE" sz="2933" b="0" kern="0" dirty="0">
              <a:solidFill>
                <a:schemeClr val="tx2"/>
              </a:solidFill>
              <a:latin typeface="+mj-lt"/>
            </a:endParaRPr>
          </a:p>
        </p:txBody>
      </p:sp>
      <p:sp>
        <p:nvSpPr>
          <p:cNvPr id="47" name="Rectangle 4"/>
          <p:cNvSpPr>
            <a:spLocks noGrp="1" noChangeArrowheads="1"/>
          </p:cNvSpPr>
          <p:nvPr>
            <p:ph type="subTitle" idx="1" hasCustomPrompt="1"/>
          </p:nvPr>
        </p:nvSpPr>
        <p:spPr>
          <a:xfrm>
            <a:off x="671077" y="1152001"/>
            <a:ext cx="9216012" cy="789519"/>
          </a:xfrm>
        </p:spPr>
        <p:txBody>
          <a:bodyPr lIns="0" tIns="0" rIns="0" bIns="0"/>
          <a:lstStyle>
            <a:lvl1pPr marL="0" marR="0" indent="0" algn="l" defTabSz="1219170" rtl="0" eaLnBrk="1" fontAlgn="base" latinLnBrk="0" hangingPunct="1">
              <a:lnSpc>
                <a:spcPct val="100000"/>
              </a:lnSpc>
              <a:spcBef>
                <a:spcPct val="0"/>
              </a:spcBef>
              <a:spcAft>
                <a:spcPts val="276"/>
              </a:spcAft>
              <a:buClrTx/>
              <a:buSzTx/>
              <a:buFont typeface="Wingdings" pitchFamily="2" charset="2"/>
              <a:buNone/>
              <a:tabLst/>
              <a:defRPr sz="2200" b="0" i="0">
                <a:solidFill>
                  <a:schemeClr val="tx2"/>
                </a:solidFill>
                <a:latin typeface="+mj-lt"/>
                <a:ea typeface="Verdana" charset="0"/>
                <a:cs typeface="Verdana" charset="0"/>
              </a:defRPr>
            </a:lvl1pPr>
          </a:lstStyle>
          <a:p>
            <a:pPr marL="0" marR="0" lvl="0" indent="0" algn="l" defTabSz="1219170" rtl="0" eaLnBrk="1" fontAlgn="base" latinLnBrk="0" hangingPunct="1">
              <a:lnSpc>
                <a:spcPct val="100000"/>
              </a:lnSpc>
              <a:spcBef>
                <a:spcPct val="0"/>
              </a:spcBef>
              <a:spcAft>
                <a:spcPts val="276"/>
              </a:spcAft>
              <a:buClrTx/>
              <a:buSzTx/>
              <a:buFont typeface="Wingdings" pitchFamily="2" charset="2"/>
              <a:buNone/>
              <a:tabLst/>
              <a:defRPr/>
            </a:pPr>
            <a:r>
              <a:rPr lang="de-DE" dirty="0"/>
              <a:t>Master-Untertitelformat bearbeiten</a:t>
            </a:r>
          </a:p>
        </p:txBody>
      </p:sp>
      <p:grpSp>
        <p:nvGrpSpPr>
          <p:cNvPr id="7" name="Gruppierung 9"/>
          <p:cNvGrpSpPr/>
          <p:nvPr userDrawn="1"/>
        </p:nvGrpSpPr>
        <p:grpSpPr>
          <a:xfrm>
            <a:off x="9887088" y="477223"/>
            <a:ext cx="2304912" cy="870205"/>
            <a:chOff x="7415316" y="357917"/>
            <a:chExt cx="1728684" cy="652654"/>
          </a:xfrm>
          <a:solidFill>
            <a:schemeClr val="bg1"/>
          </a:solidFill>
        </p:grpSpPr>
        <p:sp>
          <p:nvSpPr>
            <p:cNvPr id="10" name="Rechteck 9"/>
            <p:cNvSpPr/>
            <p:nvPr/>
          </p:nvSpPr>
          <p:spPr>
            <a:xfrm>
              <a:off x="7415316" y="357917"/>
              <a:ext cx="1728684" cy="65265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1" name="Picture 9" descr="tud_logo"/>
            <p:cNvPicPr>
              <a:picLocks noChangeAspect="1" noChangeArrowheads="1"/>
            </p:cNvPicPr>
            <p:nvPr/>
          </p:nvPicPr>
          <p:blipFill rotWithShape="1">
            <a:blip r:embed="rId3" cstate="print">
              <a:clrChange>
                <a:clrFrom>
                  <a:srgbClr val="FDFDFD"/>
                </a:clrFrom>
                <a:clrTo>
                  <a:srgbClr val="FDFDFD">
                    <a:alpha val="0"/>
                  </a:srgbClr>
                </a:clrTo>
              </a:clrChange>
              <a:extLst>
                <a:ext uri="{28A0092B-C50C-407E-A947-70E740481C1C}">
                  <a14:useLocalDpi xmlns:a14="http://schemas.microsoft.com/office/drawing/2010/main" val="0"/>
                </a:ext>
              </a:extLst>
            </a:blip>
            <a:srcRect l="7733" t="6878" r="5453" b="9546"/>
            <a:stretch/>
          </p:blipFill>
          <p:spPr bwMode="auto">
            <a:xfrm>
              <a:off x="7608875" y="407299"/>
              <a:ext cx="1404584" cy="540631"/>
            </a:xfrm>
            <a:prstGeom prst="rect">
              <a:avLst/>
            </a:prstGeom>
            <a:grpFill/>
            <a:ln w="9525">
              <a:noFill/>
              <a:miter lim="800000"/>
              <a:headEnd/>
              <a:tailEnd/>
            </a:ln>
          </p:spPr>
        </p:pic>
      </p:grpSp>
      <p:sp>
        <p:nvSpPr>
          <p:cNvPr id="13" name="Rechteck 12"/>
          <p:cNvSpPr/>
          <p:nvPr userDrawn="1"/>
        </p:nvSpPr>
        <p:spPr>
          <a:xfrm>
            <a:off x="9887088" y="1345096"/>
            <a:ext cx="2304912" cy="429605"/>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14" name="Group 4"/>
          <p:cNvGrpSpPr>
            <a:grpSpLocks noChangeAspect="1"/>
          </p:cNvGrpSpPr>
          <p:nvPr userDrawn="1"/>
        </p:nvGrpSpPr>
        <p:grpSpPr bwMode="auto">
          <a:xfrm>
            <a:off x="11268361" y="1286959"/>
            <a:ext cx="601441" cy="445749"/>
            <a:chOff x="5478" y="637"/>
            <a:chExt cx="282" cy="209"/>
          </a:xfrm>
        </p:grpSpPr>
        <p:sp>
          <p:nvSpPr>
            <p:cNvPr id="15" name="AutoShape 3"/>
            <p:cNvSpPr>
              <a:spLocks noChangeAspect="1" noChangeArrowheads="1" noTextEdit="1"/>
            </p:cNvSpPr>
            <p:nvPr userDrawn="1"/>
          </p:nvSpPr>
          <p:spPr bwMode="auto">
            <a:xfrm>
              <a:off x="5478" y="637"/>
              <a:ext cx="282" cy="2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pic>
          <p:nvPicPr>
            <p:cNvPr id="16" name="Picture 5"/>
            <p:cNvPicPr>
              <a:picLocks noChangeAspect="1" noChangeArrowheads="1"/>
            </p:cNvPicPr>
            <p:nvPr userDrawn="1"/>
          </p:nvPicPr>
          <p:blipFill>
            <a:blip r:embed="rId4" cstate="hqprint">
              <a:extLst>
                <a:ext uri="{28A0092B-C50C-407E-A947-70E740481C1C}">
                  <a14:useLocalDpi xmlns:a14="http://schemas.microsoft.com/office/drawing/2010/main" val="0"/>
                </a:ext>
              </a:extLst>
            </a:blip>
            <a:srcRect/>
            <a:stretch>
              <a:fillRect/>
            </a:stretch>
          </p:blipFill>
          <p:spPr bwMode="auto">
            <a:xfrm>
              <a:off x="5478" y="637"/>
              <a:ext cx="282" cy="2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 name="Freeform 6"/>
            <p:cNvSpPr>
              <a:spLocks noEditPoints="1"/>
            </p:cNvSpPr>
            <p:nvPr userDrawn="1"/>
          </p:nvSpPr>
          <p:spPr bwMode="auto">
            <a:xfrm>
              <a:off x="5486" y="647"/>
              <a:ext cx="185" cy="183"/>
            </a:xfrm>
            <a:custGeom>
              <a:avLst/>
              <a:gdLst>
                <a:gd name="T0" fmla="*/ 554 w 554"/>
                <a:gd name="T1" fmla="*/ 275 h 550"/>
                <a:gd name="T2" fmla="*/ 549 w 554"/>
                <a:gd name="T3" fmla="*/ 331 h 550"/>
                <a:gd name="T4" fmla="*/ 533 w 554"/>
                <a:gd name="T5" fmla="*/ 382 h 550"/>
                <a:gd name="T6" fmla="*/ 507 w 554"/>
                <a:gd name="T7" fmla="*/ 429 h 550"/>
                <a:gd name="T8" fmla="*/ 473 w 554"/>
                <a:gd name="T9" fmla="*/ 470 h 550"/>
                <a:gd name="T10" fmla="*/ 433 w 554"/>
                <a:gd name="T11" fmla="*/ 503 h 550"/>
                <a:gd name="T12" fmla="*/ 385 w 554"/>
                <a:gd name="T13" fmla="*/ 529 h 550"/>
                <a:gd name="T14" fmla="*/ 334 w 554"/>
                <a:gd name="T15" fmla="*/ 544 h 550"/>
                <a:gd name="T16" fmla="*/ 278 w 554"/>
                <a:gd name="T17" fmla="*/ 550 h 550"/>
                <a:gd name="T18" fmla="*/ 249 w 554"/>
                <a:gd name="T19" fmla="*/ 549 h 550"/>
                <a:gd name="T20" fmla="*/ 195 w 554"/>
                <a:gd name="T21" fmla="*/ 539 h 550"/>
                <a:gd name="T22" fmla="*/ 145 w 554"/>
                <a:gd name="T23" fmla="*/ 517 h 550"/>
                <a:gd name="T24" fmla="*/ 102 w 554"/>
                <a:gd name="T25" fmla="*/ 487 h 550"/>
                <a:gd name="T26" fmla="*/ 63 w 554"/>
                <a:gd name="T27" fmla="*/ 450 h 550"/>
                <a:gd name="T28" fmla="*/ 33 w 554"/>
                <a:gd name="T29" fmla="*/ 406 h 550"/>
                <a:gd name="T30" fmla="*/ 13 w 554"/>
                <a:gd name="T31" fmla="*/ 358 h 550"/>
                <a:gd name="T32" fmla="*/ 2 w 554"/>
                <a:gd name="T33" fmla="*/ 303 h 550"/>
                <a:gd name="T34" fmla="*/ 0 w 554"/>
                <a:gd name="T35" fmla="*/ 275 h 550"/>
                <a:gd name="T36" fmla="*/ 6 w 554"/>
                <a:gd name="T37" fmla="*/ 219 h 550"/>
                <a:gd name="T38" fmla="*/ 22 w 554"/>
                <a:gd name="T39" fmla="*/ 168 h 550"/>
                <a:gd name="T40" fmla="*/ 48 w 554"/>
                <a:gd name="T41" fmla="*/ 121 h 550"/>
                <a:gd name="T42" fmla="*/ 82 w 554"/>
                <a:gd name="T43" fmla="*/ 80 h 550"/>
                <a:gd name="T44" fmla="*/ 122 w 554"/>
                <a:gd name="T45" fmla="*/ 47 h 550"/>
                <a:gd name="T46" fmla="*/ 169 w 554"/>
                <a:gd name="T47" fmla="*/ 21 h 550"/>
                <a:gd name="T48" fmla="*/ 222 w 554"/>
                <a:gd name="T49" fmla="*/ 6 h 550"/>
                <a:gd name="T50" fmla="*/ 278 w 554"/>
                <a:gd name="T51" fmla="*/ 0 h 550"/>
                <a:gd name="T52" fmla="*/ 305 w 554"/>
                <a:gd name="T53" fmla="*/ 1 h 550"/>
                <a:gd name="T54" fmla="*/ 360 w 554"/>
                <a:gd name="T55" fmla="*/ 11 h 550"/>
                <a:gd name="T56" fmla="*/ 410 w 554"/>
                <a:gd name="T57" fmla="*/ 33 h 550"/>
                <a:gd name="T58" fmla="*/ 454 w 554"/>
                <a:gd name="T59" fmla="*/ 63 h 550"/>
                <a:gd name="T60" fmla="*/ 491 w 554"/>
                <a:gd name="T61" fmla="*/ 100 h 550"/>
                <a:gd name="T62" fmla="*/ 521 w 554"/>
                <a:gd name="T63" fmla="*/ 144 h 550"/>
                <a:gd name="T64" fmla="*/ 541 w 554"/>
                <a:gd name="T65" fmla="*/ 192 h 550"/>
                <a:gd name="T66" fmla="*/ 553 w 554"/>
                <a:gd name="T67" fmla="*/ 246 h 550"/>
                <a:gd name="T68" fmla="*/ 554 w 554"/>
                <a:gd name="T69" fmla="*/ 275 h 550"/>
                <a:gd name="T70" fmla="*/ 554 w 554"/>
                <a:gd name="T71" fmla="*/ 275 h 5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54" h="550">
                  <a:moveTo>
                    <a:pt x="554" y="275"/>
                  </a:moveTo>
                  <a:lnTo>
                    <a:pt x="554" y="275"/>
                  </a:lnTo>
                  <a:lnTo>
                    <a:pt x="553" y="303"/>
                  </a:lnTo>
                  <a:lnTo>
                    <a:pt x="549" y="331"/>
                  </a:lnTo>
                  <a:lnTo>
                    <a:pt x="541" y="358"/>
                  </a:lnTo>
                  <a:lnTo>
                    <a:pt x="533" y="382"/>
                  </a:lnTo>
                  <a:lnTo>
                    <a:pt x="521" y="406"/>
                  </a:lnTo>
                  <a:lnTo>
                    <a:pt x="507" y="429"/>
                  </a:lnTo>
                  <a:lnTo>
                    <a:pt x="491" y="450"/>
                  </a:lnTo>
                  <a:lnTo>
                    <a:pt x="473" y="470"/>
                  </a:lnTo>
                  <a:lnTo>
                    <a:pt x="454" y="487"/>
                  </a:lnTo>
                  <a:lnTo>
                    <a:pt x="433" y="503"/>
                  </a:lnTo>
                  <a:lnTo>
                    <a:pt x="410" y="517"/>
                  </a:lnTo>
                  <a:lnTo>
                    <a:pt x="385" y="529"/>
                  </a:lnTo>
                  <a:lnTo>
                    <a:pt x="360" y="539"/>
                  </a:lnTo>
                  <a:lnTo>
                    <a:pt x="334" y="544"/>
                  </a:lnTo>
                  <a:lnTo>
                    <a:pt x="305" y="549"/>
                  </a:lnTo>
                  <a:lnTo>
                    <a:pt x="278" y="550"/>
                  </a:lnTo>
                  <a:lnTo>
                    <a:pt x="278" y="550"/>
                  </a:lnTo>
                  <a:lnTo>
                    <a:pt x="249" y="549"/>
                  </a:lnTo>
                  <a:lnTo>
                    <a:pt x="222" y="544"/>
                  </a:lnTo>
                  <a:lnTo>
                    <a:pt x="195" y="539"/>
                  </a:lnTo>
                  <a:lnTo>
                    <a:pt x="169" y="529"/>
                  </a:lnTo>
                  <a:lnTo>
                    <a:pt x="145" y="517"/>
                  </a:lnTo>
                  <a:lnTo>
                    <a:pt x="122" y="503"/>
                  </a:lnTo>
                  <a:lnTo>
                    <a:pt x="102" y="487"/>
                  </a:lnTo>
                  <a:lnTo>
                    <a:pt x="82" y="470"/>
                  </a:lnTo>
                  <a:lnTo>
                    <a:pt x="63" y="450"/>
                  </a:lnTo>
                  <a:lnTo>
                    <a:pt x="48" y="429"/>
                  </a:lnTo>
                  <a:lnTo>
                    <a:pt x="33" y="406"/>
                  </a:lnTo>
                  <a:lnTo>
                    <a:pt x="22" y="382"/>
                  </a:lnTo>
                  <a:lnTo>
                    <a:pt x="13" y="358"/>
                  </a:lnTo>
                  <a:lnTo>
                    <a:pt x="6" y="331"/>
                  </a:lnTo>
                  <a:lnTo>
                    <a:pt x="2" y="303"/>
                  </a:lnTo>
                  <a:lnTo>
                    <a:pt x="0" y="275"/>
                  </a:lnTo>
                  <a:lnTo>
                    <a:pt x="0" y="275"/>
                  </a:lnTo>
                  <a:lnTo>
                    <a:pt x="2" y="246"/>
                  </a:lnTo>
                  <a:lnTo>
                    <a:pt x="6" y="219"/>
                  </a:lnTo>
                  <a:lnTo>
                    <a:pt x="13" y="192"/>
                  </a:lnTo>
                  <a:lnTo>
                    <a:pt x="22" y="168"/>
                  </a:lnTo>
                  <a:lnTo>
                    <a:pt x="33" y="144"/>
                  </a:lnTo>
                  <a:lnTo>
                    <a:pt x="48" y="121"/>
                  </a:lnTo>
                  <a:lnTo>
                    <a:pt x="63" y="100"/>
                  </a:lnTo>
                  <a:lnTo>
                    <a:pt x="82" y="80"/>
                  </a:lnTo>
                  <a:lnTo>
                    <a:pt x="102" y="63"/>
                  </a:lnTo>
                  <a:lnTo>
                    <a:pt x="122" y="47"/>
                  </a:lnTo>
                  <a:lnTo>
                    <a:pt x="145" y="33"/>
                  </a:lnTo>
                  <a:lnTo>
                    <a:pt x="169" y="21"/>
                  </a:lnTo>
                  <a:lnTo>
                    <a:pt x="195" y="11"/>
                  </a:lnTo>
                  <a:lnTo>
                    <a:pt x="222" y="6"/>
                  </a:lnTo>
                  <a:lnTo>
                    <a:pt x="249" y="1"/>
                  </a:lnTo>
                  <a:lnTo>
                    <a:pt x="278" y="0"/>
                  </a:lnTo>
                  <a:lnTo>
                    <a:pt x="278" y="0"/>
                  </a:lnTo>
                  <a:lnTo>
                    <a:pt x="305" y="1"/>
                  </a:lnTo>
                  <a:lnTo>
                    <a:pt x="334" y="6"/>
                  </a:lnTo>
                  <a:lnTo>
                    <a:pt x="360" y="11"/>
                  </a:lnTo>
                  <a:lnTo>
                    <a:pt x="385" y="21"/>
                  </a:lnTo>
                  <a:lnTo>
                    <a:pt x="410" y="33"/>
                  </a:lnTo>
                  <a:lnTo>
                    <a:pt x="433" y="47"/>
                  </a:lnTo>
                  <a:lnTo>
                    <a:pt x="454" y="63"/>
                  </a:lnTo>
                  <a:lnTo>
                    <a:pt x="473" y="80"/>
                  </a:lnTo>
                  <a:lnTo>
                    <a:pt x="491" y="100"/>
                  </a:lnTo>
                  <a:lnTo>
                    <a:pt x="507" y="121"/>
                  </a:lnTo>
                  <a:lnTo>
                    <a:pt x="521" y="144"/>
                  </a:lnTo>
                  <a:lnTo>
                    <a:pt x="533" y="168"/>
                  </a:lnTo>
                  <a:lnTo>
                    <a:pt x="541" y="192"/>
                  </a:lnTo>
                  <a:lnTo>
                    <a:pt x="549" y="219"/>
                  </a:lnTo>
                  <a:lnTo>
                    <a:pt x="553" y="246"/>
                  </a:lnTo>
                  <a:lnTo>
                    <a:pt x="554" y="275"/>
                  </a:lnTo>
                  <a:lnTo>
                    <a:pt x="554" y="275"/>
                  </a:lnTo>
                  <a:close/>
                  <a:moveTo>
                    <a:pt x="554" y="275"/>
                  </a:moveTo>
                  <a:lnTo>
                    <a:pt x="554" y="275"/>
                  </a:lnTo>
                  <a:close/>
                </a:path>
              </a:pathLst>
            </a:custGeom>
            <a:solidFill>
              <a:srgbClr val="B61F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9" name="Freeform 7"/>
            <p:cNvSpPr>
              <a:spLocks/>
            </p:cNvSpPr>
            <p:nvPr userDrawn="1"/>
          </p:nvSpPr>
          <p:spPr bwMode="auto">
            <a:xfrm>
              <a:off x="5486" y="647"/>
              <a:ext cx="185" cy="183"/>
            </a:xfrm>
            <a:custGeom>
              <a:avLst/>
              <a:gdLst>
                <a:gd name="T0" fmla="*/ 554 w 554"/>
                <a:gd name="T1" fmla="*/ 275 h 550"/>
                <a:gd name="T2" fmla="*/ 549 w 554"/>
                <a:gd name="T3" fmla="*/ 331 h 550"/>
                <a:gd name="T4" fmla="*/ 533 w 554"/>
                <a:gd name="T5" fmla="*/ 382 h 550"/>
                <a:gd name="T6" fmla="*/ 507 w 554"/>
                <a:gd name="T7" fmla="*/ 429 h 550"/>
                <a:gd name="T8" fmla="*/ 473 w 554"/>
                <a:gd name="T9" fmla="*/ 470 h 550"/>
                <a:gd name="T10" fmla="*/ 433 w 554"/>
                <a:gd name="T11" fmla="*/ 503 h 550"/>
                <a:gd name="T12" fmla="*/ 385 w 554"/>
                <a:gd name="T13" fmla="*/ 529 h 550"/>
                <a:gd name="T14" fmla="*/ 334 w 554"/>
                <a:gd name="T15" fmla="*/ 544 h 550"/>
                <a:gd name="T16" fmla="*/ 278 w 554"/>
                <a:gd name="T17" fmla="*/ 550 h 550"/>
                <a:gd name="T18" fmla="*/ 249 w 554"/>
                <a:gd name="T19" fmla="*/ 549 h 550"/>
                <a:gd name="T20" fmla="*/ 195 w 554"/>
                <a:gd name="T21" fmla="*/ 539 h 550"/>
                <a:gd name="T22" fmla="*/ 145 w 554"/>
                <a:gd name="T23" fmla="*/ 517 h 550"/>
                <a:gd name="T24" fmla="*/ 102 w 554"/>
                <a:gd name="T25" fmla="*/ 487 h 550"/>
                <a:gd name="T26" fmla="*/ 63 w 554"/>
                <a:gd name="T27" fmla="*/ 450 h 550"/>
                <a:gd name="T28" fmla="*/ 33 w 554"/>
                <a:gd name="T29" fmla="*/ 406 h 550"/>
                <a:gd name="T30" fmla="*/ 13 w 554"/>
                <a:gd name="T31" fmla="*/ 358 h 550"/>
                <a:gd name="T32" fmla="*/ 2 w 554"/>
                <a:gd name="T33" fmla="*/ 303 h 550"/>
                <a:gd name="T34" fmla="*/ 0 w 554"/>
                <a:gd name="T35" fmla="*/ 275 h 550"/>
                <a:gd name="T36" fmla="*/ 6 w 554"/>
                <a:gd name="T37" fmla="*/ 219 h 550"/>
                <a:gd name="T38" fmla="*/ 22 w 554"/>
                <a:gd name="T39" fmla="*/ 168 h 550"/>
                <a:gd name="T40" fmla="*/ 48 w 554"/>
                <a:gd name="T41" fmla="*/ 121 h 550"/>
                <a:gd name="T42" fmla="*/ 82 w 554"/>
                <a:gd name="T43" fmla="*/ 80 h 550"/>
                <a:gd name="T44" fmla="*/ 122 w 554"/>
                <a:gd name="T45" fmla="*/ 47 h 550"/>
                <a:gd name="T46" fmla="*/ 169 w 554"/>
                <a:gd name="T47" fmla="*/ 21 h 550"/>
                <a:gd name="T48" fmla="*/ 222 w 554"/>
                <a:gd name="T49" fmla="*/ 6 h 550"/>
                <a:gd name="T50" fmla="*/ 278 w 554"/>
                <a:gd name="T51" fmla="*/ 0 h 550"/>
                <a:gd name="T52" fmla="*/ 305 w 554"/>
                <a:gd name="T53" fmla="*/ 1 h 550"/>
                <a:gd name="T54" fmla="*/ 360 w 554"/>
                <a:gd name="T55" fmla="*/ 11 h 550"/>
                <a:gd name="T56" fmla="*/ 410 w 554"/>
                <a:gd name="T57" fmla="*/ 33 h 550"/>
                <a:gd name="T58" fmla="*/ 454 w 554"/>
                <a:gd name="T59" fmla="*/ 63 h 550"/>
                <a:gd name="T60" fmla="*/ 491 w 554"/>
                <a:gd name="T61" fmla="*/ 100 h 550"/>
                <a:gd name="T62" fmla="*/ 521 w 554"/>
                <a:gd name="T63" fmla="*/ 144 h 550"/>
                <a:gd name="T64" fmla="*/ 541 w 554"/>
                <a:gd name="T65" fmla="*/ 192 h 550"/>
                <a:gd name="T66" fmla="*/ 553 w 554"/>
                <a:gd name="T67" fmla="*/ 246 h 550"/>
                <a:gd name="T68" fmla="*/ 554 w 554"/>
                <a:gd name="T69" fmla="*/ 275 h 5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54" h="550">
                  <a:moveTo>
                    <a:pt x="554" y="275"/>
                  </a:moveTo>
                  <a:lnTo>
                    <a:pt x="554" y="275"/>
                  </a:lnTo>
                  <a:lnTo>
                    <a:pt x="553" y="303"/>
                  </a:lnTo>
                  <a:lnTo>
                    <a:pt x="549" y="331"/>
                  </a:lnTo>
                  <a:lnTo>
                    <a:pt x="541" y="358"/>
                  </a:lnTo>
                  <a:lnTo>
                    <a:pt x="533" y="382"/>
                  </a:lnTo>
                  <a:lnTo>
                    <a:pt x="521" y="406"/>
                  </a:lnTo>
                  <a:lnTo>
                    <a:pt x="507" y="429"/>
                  </a:lnTo>
                  <a:lnTo>
                    <a:pt x="491" y="450"/>
                  </a:lnTo>
                  <a:lnTo>
                    <a:pt x="473" y="470"/>
                  </a:lnTo>
                  <a:lnTo>
                    <a:pt x="454" y="487"/>
                  </a:lnTo>
                  <a:lnTo>
                    <a:pt x="433" y="503"/>
                  </a:lnTo>
                  <a:lnTo>
                    <a:pt x="410" y="517"/>
                  </a:lnTo>
                  <a:lnTo>
                    <a:pt x="385" y="529"/>
                  </a:lnTo>
                  <a:lnTo>
                    <a:pt x="360" y="539"/>
                  </a:lnTo>
                  <a:lnTo>
                    <a:pt x="334" y="544"/>
                  </a:lnTo>
                  <a:lnTo>
                    <a:pt x="305" y="549"/>
                  </a:lnTo>
                  <a:lnTo>
                    <a:pt x="278" y="550"/>
                  </a:lnTo>
                  <a:lnTo>
                    <a:pt x="278" y="550"/>
                  </a:lnTo>
                  <a:lnTo>
                    <a:pt x="249" y="549"/>
                  </a:lnTo>
                  <a:lnTo>
                    <a:pt x="222" y="544"/>
                  </a:lnTo>
                  <a:lnTo>
                    <a:pt x="195" y="539"/>
                  </a:lnTo>
                  <a:lnTo>
                    <a:pt x="169" y="529"/>
                  </a:lnTo>
                  <a:lnTo>
                    <a:pt x="145" y="517"/>
                  </a:lnTo>
                  <a:lnTo>
                    <a:pt x="122" y="503"/>
                  </a:lnTo>
                  <a:lnTo>
                    <a:pt x="102" y="487"/>
                  </a:lnTo>
                  <a:lnTo>
                    <a:pt x="82" y="470"/>
                  </a:lnTo>
                  <a:lnTo>
                    <a:pt x="63" y="450"/>
                  </a:lnTo>
                  <a:lnTo>
                    <a:pt x="48" y="429"/>
                  </a:lnTo>
                  <a:lnTo>
                    <a:pt x="33" y="406"/>
                  </a:lnTo>
                  <a:lnTo>
                    <a:pt x="22" y="382"/>
                  </a:lnTo>
                  <a:lnTo>
                    <a:pt x="13" y="358"/>
                  </a:lnTo>
                  <a:lnTo>
                    <a:pt x="6" y="331"/>
                  </a:lnTo>
                  <a:lnTo>
                    <a:pt x="2" y="303"/>
                  </a:lnTo>
                  <a:lnTo>
                    <a:pt x="0" y="275"/>
                  </a:lnTo>
                  <a:lnTo>
                    <a:pt x="0" y="275"/>
                  </a:lnTo>
                  <a:lnTo>
                    <a:pt x="2" y="246"/>
                  </a:lnTo>
                  <a:lnTo>
                    <a:pt x="6" y="219"/>
                  </a:lnTo>
                  <a:lnTo>
                    <a:pt x="13" y="192"/>
                  </a:lnTo>
                  <a:lnTo>
                    <a:pt x="22" y="168"/>
                  </a:lnTo>
                  <a:lnTo>
                    <a:pt x="33" y="144"/>
                  </a:lnTo>
                  <a:lnTo>
                    <a:pt x="48" y="121"/>
                  </a:lnTo>
                  <a:lnTo>
                    <a:pt x="63" y="100"/>
                  </a:lnTo>
                  <a:lnTo>
                    <a:pt x="82" y="80"/>
                  </a:lnTo>
                  <a:lnTo>
                    <a:pt x="102" y="63"/>
                  </a:lnTo>
                  <a:lnTo>
                    <a:pt x="122" y="47"/>
                  </a:lnTo>
                  <a:lnTo>
                    <a:pt x="145" y="33"/>
                  </a:lnTo>
                  <a:lnTo>
                    <a:pt x="169" y="21"/>
                  </a:lnTo>
                  <a:lnTo>
                    <a:pt x="195" y="11"/>
                  </a:lnTo>
                  <a:lnTo>
                    <a:pt x="222" y="6"/>
                  </a:lnTo>
                  <a:lnTo>
                    <a:pt x="249" y="1"/>
                  </a:lnTo>
                  <a:lnTo>
                    <a:pt x="278" y="0"/>
                  </a:lnTo>
                  <a:lnTo>
                    <a:pt x="278" y="0"/>
                  </a:lnTo>
                  <a:lnTo>
                    <a:pt x="305" y="1"/>
                  </a:lnTo>
                  <a:lnTo>
                    <a:pt x="334" y="6"/>
                  </a:lnTo>
                  <a:lnTo>
                    <a:pt x="360" y="11"/>
                  </a:lnTo>
                  <a:lnTo>
                    <a:pt x="385" y="21"/>
                  </a:lnTo>
                  <a:lnTo>
                    <a:pt x="410" y="33"/>
                  </a:lnTo>
                  <a:lnTo>
                    <a:pt x="433" y="47"/>
                  </a:lnTo>
                  <a:lnTo>
                    <a:pt x="454" y="63"/>
                  </a:lnTo>
                  <a:lnTo>
                    <a:pt x="473" y="80"/>
                  </a:lnTo>
                  <a:lnTo>
                    <a:pt x="491" y="100"/>
                  </a:lnTo>
                  <a:lnTo>
                    <a:pt x="507" y="121"/>
                  </a:lnTo>
                  <a:lnTo>
                    <a:pt x="521" y="144"/>
                  </a:lnTo>
                  <a:lnTo>
                    <a:pt x="533" y="168"/>
                  </a:lnTo>
                  <a:lnTo>
                    <a:pt x="541" y="192"/>
                  </a:lnTo>
                  <a:lnTo>
                    <a:pt x="549" y="219"/>
                  </a:lnTo>
                  <a:lnTo>
                    <a:pt x="553" y="246"/>
                  </a:lnTo>
                  <a:lnTo>
                    <a:pt x="554" y="275"/>
                  </a:lnTo>
                  <a:lnTo>
                    <a:pt x="554" y="27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0" name="Line 8"/>
            <p:cNvSpPr>
              <a:spLocks noChangeShapeType="1"/>
            </p:cNvSpPr>
            <p:nvPr userDrawn="1"/>
          </p:nvSpPr>
          <p:spPr bwMode="auto">
            <a:xfrm>
              <a:off x="5671" y="739"/>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1" name="Freeform 9"/>
            <p:cNvSpPr>
              <a:spLocks/>
            </p:cNvSpPr>
            <p:nvPr userDrawn="1"/>
          </p:nvSpPr>
          <p:spPr bwMode="auto">
            <a:xfrm>
              <a:off x="5486" y="647"/>
              <a:ext cx="185" cy="183"/>
            </a:xfrm>
            <a:custGeom>
              <a:avLst/>
              <a:gdLst>
                <a:gd name="T0" fmla="*/ 554 w 554"/>
                <a:gd name="T1" fmla="*/ 275 h 550"/>
                <a:gd name="T2" fmla="*/ 549 w 554"/>
                <a:gd name="T3" fmla="*/ 331 h 550"/>
                <a:gd name="T4" fmla="*/ 533 w 554"/>
                <a:gd name="T5" fmla="*/ 382 h 550"/>
                <a:gd name="T6" fmla="*/ 507 w 554"/>
                <a:gd name="T7" fmla="*/ 429 h 550"/>
                <a:gd name="T8" fmla="*/ 473 w 554"/>
                <a:gd name="T9" fmla="*/ 470 h 550"/>
                <a:gd name="T10" fmla="*/ 433 w 554"/>
                <a:gd name="T11" fmla="*/ 503 h 550"/>
                <a:gd name="T12" fmla="*/ 385 w 554"/>
                <a:gd name="T13" fmla="*/ 529 h 550"/>
                <a:gd name="T14" fmla="*/ 334 w 554"/>
                <a:gd name="T15" fmla="*/ 544 h 550"/>
                <a:gd name="T16" fmla="*/ 278 w 554"/>
                <a:gd name="T17" fmla="*/ 550 h 550"/>
                <a:gd name="T18" fmla="*/ 249 w 554"/>
                <a:gd name="T19" fmla="*/ 549 h 550"/>
                <a:gd name="T20" fmla="*/ 195 w 554"/>
                <a:gd name="T21" fmla="*/ 539 h 550"/>
                <a:gd name="T22" fmla="*/ 145 w 554"/>
                <a:gd name="T23" fmla="*/ 517 h 550"/>
                <a:gd name="T24" fmla="*/ 102 w 554"/>
                <a:gd name="T25" fmla="*/ 487 h 550"/>
                <a:gd name="T26" fmla="*/ 63 w 554"/>
                <a:gd name="T27" fmla="*/ 450 h 550"/>
                <a:gd name="T28" fmla="*/ 33 w 554"/>
                <a:gd name="T29" fmla="*/ 406 h 550"/>
                <a:gd name="T30" fmla="*/ 13 w 554"/>
                <a:gd name="T31" fmla="*/ 358 h 550"/>
                <a:gd name="T32" fmla="*/ 2 w 554"/>
                <a:gd name="T33" fmla="*/ 303 h 550"/>
                <a:gd name="T34" fmla="*/ 0 w 554"/>
                <a:gd name="T35" fmla="*/ 275 h 550"/>
                <a:gd name="T36" fmla="*/ 6 w 554"/>
                <a:gd name="T37" fmla="*/ 219 h 550"/>
                <a:gd name="T38" fmla="*/ 22 w 554"/>
                <a:gd name="T39" fmla="*/ 168 h 550"/>
                <a:gd name="T40" fmla="*/ 48 w 554"/>
                <a:gd name="T41" fmla="*/ 121 h 550"/>
                <a:gd name="T42" fmla="*/ 82 w 554"/>
                <a:gd name="T43" fmla="*/ 80 h 550"/>
                <a:gd name="T44" fmla="*/ 122 w 554"/>
                <a:gd name="T45" fmla="*/ 47 h 550"/>
                <a:gd name="T46" fmla="*/ 169 w 554"/>
                <a:gd name="T47" fmla="*/ 21 h 550"/>
                <a:gd name="T48" fmla="*/ 222 w 554"/>
                <a:gd name="T49" fmla="*/ 6 h 550"/>
                <a:gd name="T50" fmla="*/ 278 w 554"/>
                <a:gd name="T51" fmla="*/ 0 h 550"/>
                <a:gd name="T52" fmla="*/ 305 w 554"/>
                <a:gd name="T53" fmla="*/ 1 h 550"/>
                <a:gd name="T54" fmla="*/ 360 w 554"/>
                <a:gd name="T55" fmla="*/ 11 h 550"/>
                <a:gd name="T56" fmla="*/ 410 w 554"/>
                <a:gd name="T57" fmla="*/ 33 h 550"/>
                <a:gd name="T58" fmla="*/ 454 w 554"/>
                <a:gd name="T59" fmla="*/ 63 h 550"/>
                <a:gd name="T60" fmla="*/ 491 w 554"/>
                <a:gd name="T61" fmla="*/ 100 h 550"/>
                <a:gd name="T62" fmla="*/ 521 w 554"/>
                <a:gd name="T63" fmla="*/ 144 h 550"/>
                <a:gd name="T64" fmla="*/ 541 w 554"/>
                <a:gd name="T65" fmla="*/ 192 h 550"/>
                <a:gd name="T66" fmla="*/ 553 w 554"/>
                <a:gd name="T67" fmla="*/ 246 h 550"/>
                <a:gd name="T68" fmla="*/ 554 w 554"/>
                <a:gd name="T69" fmla="*/ 275 h 5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54" h="550">
                  <a:moveTo>
                    <a:pt x="554" y="275"/>
                  </a:moveTo>
                  <a:lnTo>
                    <a:pt x="554" y="275"/>
                  </a:lnTo>
                  <a:lnTo>
                    <a:pt x="553" y="303"/>
                  </a:lnTo>
                  <a:lnTo>
                    <a:pt x="549" y="331"/>
                  </a:lnTo>
                  <a:lnTo>
                    <a:pt x="541" y="358"/>
                  </a:lnTo>
                  <a:lnTo>
                    <a:pt x="533" y="382"/>
                  </a:lnTo>
                  <a:lnTo>
                    <a:pt x="521" y="406"/>
                  </a:lnTo>
                  <a:lnTo>
                    <a:pt x="507" y="429"/>
                  </a:lnTo>
                  <a:lnTo>
                    <a:pt x="491" y="450"/>
                  </a:lnTo>
                  <a:lnTo>
                    <a:pt x="473" y="470"/>
                  </a:lnTo>
                  <a:lnTo>
                    <a:pt x="454" y="487"/>
                  </a:lnTo>
                  <a:lnTo>
                    <a:pt x="433" y="503"/>
                  </a:lnTo>
                  <a:lnTo>
                    <a:pt x="410" y="517"/>
                  </a:lnTo>
                  <a:lnTo>
                    <a:pt x="385" y="529"/>
                  </a:lnTo>
                  <a:lnTo>
                    <a:pt x="360" y="539"/>
                  </a:lnTo>
                  <a:lnTo>
                    <a:pt x="334" y="544"/>
                  </a:lnTo>
                  <a:lnTo>
                    <a:pt x="305" y="549"/>
                  </a:lnTo>
                  <a:lnTo>
                    <a:pt x="278" y="550"/>
                  </a:lnTo>
                  <a:lnTo>
                    <a:pt x="278" y="550"/>
                  </a:lnTo>
                  <a:lnTo>
                    <a:pt x="249" y="549"/>
                  </a:lnTo>
                  <a:lnTo>
                    <a:pt x="222" y="544"/>
                  </a:lnTo>
                  <a:lnTo>
                    <a:pt x="195" y="539"/>
                  </a:lnTo>
                  <a:lnTo>
                    <a:pt x="169" y="529"/>
                  </a:lnTo>
                  <a:lnTo>
                    <a:pt x="145" y="517"/>
                  </a:lnTo>
                  <a:lnTo>
                    <a:pt x="122" y="503"/>
                  </a:lnTo>
                  <a:lnTo>
                    <a:pt x="102" y="487"/>
                  </a:lnTo>
                  <a:lnTo>
                    <a:pt x="82" y="470"/>
                  </a:lnTo>
                  <a:lnTo>
                    <a:pt x="63" y="450"/>
                  </a:lnTo>
                  <a:lnTo>
                    <a:pt x="48" y="429"/>
                  </a:lnTo>
                  <a:lnTo>
                    <a:pt x="33" y="406"/>
                  </a:lnTo>
                  <a:lnTo>
                    <a:pt x="22" y="382"/>
                  </a:lnTo>
                  <a:lnTo>
                    <a:pt x="13" y="358"/>
                  </a:lnTo>
                  <a:lnTo>
                    <a:pt x="6" y="331"/>
                  </a:lnTo>
                  <a:lnTo>
                    <a:pt x="2" y="303"/>
                  </a:lnTo>
                  <a:lnTo>
                    <a:pt x="0" y="275"/>
                  </a:lnTo>
                  <a:lnTo>
                    <a:pt x="0" y="275"/>
                  </a:lnTo>
                  <a:lnTo>
                    <a:pt x="2" y="246"/>
                  </a:lnTo>
                  <a:lnTo>
                    <a:pt x="6" y="219"/>
                  </a:lnTo>
                  <a:lnTo>
                    <a:pt x="13" y="192"/>
                  </a:lnTo>
                  <a:lnTo>
                    <a:pt x="22" y="168"/>
                  </a:lnTo>
                  <a:lnTo>
                    <a:pt x="33" y="144"/>
                  </a:lnTo>
                  <a:lnTo>
                    <a:pt x="48" y="121"/>
                  </a:lnTo>
                  <a:lnTo>
                    <a:pt x="63" y="100"/>
                  </a:lnTo>
                  <a:lnTo>
                    <a:pt x="82" y="80"/>
                  </a:lnTo>
                  <a:lnTo>
                    <a:pt x="102" y="63"/>
                  </a:lnTo>
                  <a:lnTo>
                    <a:pt x="122" y="47"/>
                  </a:lnTo>
                  <a:lnTo>
                    <a:pt x="145" y="33"/>
                  </a:lnTo>
                  <a:lnTo>
                    <a:pt x="169" y="21"/>
                  </a:lnTo>
                  <a:lnTo>
                    <a:pt x="195" y="11"/>
                  </a:lnTo>
                  <a:lnTo>
                    <a:pt x="222" y="6"/>
                  </a:lnTo>
                  <a:lnTo>
                    <a:pt x="249" y="1"/>
                  </a:lnTo>
                  <a:lnTo>
                    <a:pt x="278" y="0"/>
                  </a:lnTo>
                  <a:lnTo>
                    <a:pt x="278" y="0"/>
                  </a:lnTo>
                  <a:lnTo>
                    <a:pt x="305" y="1"/>
                  </a:lnTo>
                  <a:lnTo>
                    <a:pt x="334" y="6"/>
                  </a:lnTo>
                  <a:lnTo>
                    <a:pt x="360" y="11"/>
                  </a:lnTo>
                  <a:lnTo>
                    <a:pt x="385" y="21"/>
                  </a:lnTo>
                  <a:lnTo>
                    <a:pt x="410" y="33"/>
                  </a:lnTo>
                  <a:lnTo>
                    <a:pt x="433" y="47"/>
                  </a:lnTo>
                  <a:lnTo>
                    <a:pt x="454" y="63"/>
                  </a:lnTo>
                  <a:lnTo>
                    <a:pt x="473" y="80"/>
                  </a:lnTo>
                  <a:lnTo>
                    <a:pt x="491" y="100"/>
                  </a:lnTo>
                  <a:lnTo>
                    <a:pt x="507" y="121"/>
                  </a:lnTo>
                  <a:lnTo>
                    <a:pt x="521" y="144"/>
                  </a:lnTo>
                  <a:lnTo>
                    <a:pt x="533" y="168"/>
                  </a:lnTo>
                  <a:lnTo>
                    <a:pt x="541" y="192"/>
                  </a:lnTo>
                  <a:lnTo>
                    <a:pt x="549" y="219"/>
                  </a:lnTo>
                  <a:lnTo>
                    <a:pt x="553" y="246"/>
                  </a:lnTo>
                  <a:lnTo>
                    <a:pt x="554" y="275"/>
                  </a:lnTo>
                  <a:lnTo>
                    <a:pt x="554" y="275"/>
                  </a:lnTo>
                </a:path>
              </a:pathLst>
            </a:custGeom>
            <a:noFill/>
            <a:ln w="1588">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2" name="Line 10"/>
            <p:cNvSpPr>
              <a:spLocks noChangeShapeType="1"/>
            </p:cNvSpPr>
            <p:nvPr userDrawn="1"/>
          </p:nvSpPr>
          <p:spPr bwMode="auto">
            <a:xfrm>
              <a:off x="5671" y="739"/>
              <a:ext cx="0" cy="0"/>
            </a:xfrm>
            <a:prstGeom prst="line">
              <a:avLst/>
            </a:prstGeom>
            <a:noFill/>
            <a:ln w="1588">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3" name="Freeform 11"/>
            <p:cNvSpPr>
              <a:spLocks noEditPoints="1"/>
            </p:cNvSpPr>
            <p:nvPr userDrawn="1"/>
          </p:nvSpPr>
          <p:spPr bwMode="auto">
            <a:xfrm>
              <a:off x="5497" y="659"/>
              <a:ext cx="170" cy="170"/>
            </a:xfrm>
            <a:custGeom>
              <a:avLst/>
              <a:gdLst>
                <a:gd name="T0" fmla="*/ 510 w 510"/>
                <a:gd name="T1" fmla="*/ 257 h 511"/>
                <a:gd name="T2" fmla="*/ 504 w 510"/>
                <a:gd name="T3" fmla="*/ 309 h 511"/>
                <a:gd name="T4" fmla="*/ 490 w 510"/>
                <a:gd name="T5" fmla="*/ 356 h 511"/>
                <a:gd name="T6" fmla="*/ 465 w 510"/>
                <a:gd name="T7" fmla="*/ 399 h 511"/>
                <a:gd name="T8" fmla="*/ 434 w 510"/>
                <a:gd name="T9" fmla="*/ 437 h 511"/>
                <a:gd name="T10" fmla="*/ 397 w 510"/>
                <a:gd name="T11" fmla="*/ 467 h 511"/>
                <a:gd name="T12" fmla="*/ 354 w 510"/>
                <a:gd name="T13" fmla="*/ 491 h 511"/>
                <a:gd name="T14" fmla="*/ 307 w 510"/>
                <a:gd name="T15" fmla="*/ 505 h 511"/>
                <a:gd name="T16" fmla="*/ 255 w 510"/>
                <a:gd name="T17" fmla="*/ 511 h 511"/>
                <a:gd name="T18" fmla="*/ 229 w 510"/>
                <a:gd name="T19" fmla="*/ 510 h 511"/>
                <a:gd name="T20" fmla="*/ 179 w 510"/>
                <a:gd name="T21" fmla="*/ 500 h 511"/>
                <a:gd name="T22" fmla="*/ 133 w 510"/>
                <a:gd name="T23" fmla="*/ 480 h 511"/>
                <a:gd name="T24" fmla="*/ 93 w 510"/>
                <a:gd name="T25" fmla="*/ 453 h 511"/>
                <a:gd name="T26" fmla="*/ 59 w 510"/>
                <a:gd name="T27" fmla="*/ 419 h 511"/>
                <a:gd name="T28" fmla="*/ 30 w 510"/>
                <a:gd name="T29" fmla="*/ 379 h 511"/>
                <a:gd name="T30" fmla="*/ 12 w 510"/>
                <a:gd name="T31" fmla="*/ 333 h 511"/>
                <a:gd name="T32" fmla="*/ 2 w 510"/>
                <a:gd name="T33" fmla="*/ 283 h 511"/>
                <a:gd name="T34" fmla="*/ 0 w 510"/>
                <a:gd name="T35" fmla="*/ 257 h 511"/>
                <a:gd name="T36" fmla="*/ 6 w 510"/>
                <a:gd name="T37" fmla="*/ 206 h 511"/>
                <a:gd name="T38" fmla="*/ 20 w 510"/>
                <a:gd name="T39" fmla="*/ 158 h 511"/>
                <a:gd name="T40" fmla="*/ 43 w 510"/>
                <a:gd name="T41" fmla="*/ 115 h 511"/>
                <a:gd name="T42" fmla="*/ 75 w 510"/>
                <a:gd name="T43" fmla="*/ 77 h 511"/>
                <a:gd name="T44" fmla="*/ 112 w 510"/>
                <a:gd name="T45" fmla="*/ 44 h 511"/>
                <a:gd name="T46" fmla="*/ 156 w 510"/>
                <a:gd name="T47" fmla="*/ 21 h 511"/>
                <a:gd name="T48" fmla="*/ 204 w 510"/>
                <a:gd name="T49" fmla="*/ 5 h 511"/>
                <a:gd name="T50" fmla="*/ 255 w 510"/>
                <a:gd name="T51" fmla="*/ 0 h 511"/>
                <a:gd name="T52" fmla="*/ 284 w 510"/>
                <a:gd name="T53" fmla="*/ 1 h 511"/>
                <a:gd name="T54" fmla="*/ 337 w 510"/>
                <a:gd name="T55" fmla="*/ 11 h 511"/>
                <a:gd name="T56" fmla="*/ 384 w 510"/>
                <a:gd name="T57" fmla="*/ 31 h 511"/>
                <a:gd name="T58" fmla="*/ 424 w 510"/>
                <a:gd name="T59" fmla="*/ 59 h 511"/>
                <a:gd name="T60" fmla="*/ 457 w 510"/>
                <a:gd name="T61" fmla="*/ 95 h 511"/>
                <a:gd name="T62" fmla="*/ 481 w 510"/>
                <a:gd name="T63" fmla="*/ 136 h 511"/>
                <a:gd name="T64" fmla="*/ 500 w 510"/>
                <a:gd name="T65" fmla="*/ 182 h 511"/>
                <a:gd name="T66" fmla="*/ 508 w 510"/>
                <a:gd name="T67" fmla="*/ 232 h 511"/>
                <a:gd name="T68" fmla="*/ 510 w 510"/>
                <a:gd name="T69" fmla="*/ 257 h 511"/>
                <a:gd name="T70" fmla="*/ 510 w 510"/>
                <a:gd name="T71" fmla="*/ 257 h 5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0" h="511">
                  <a:moveTo>
                    <a:pt x="510" y="257"/>
                  </a:moveTo>
                  <a:lnTo>
                    <a:pt x="510" y="257"/>
                  </a:lnTo>
                  <a:lnTo>
                    <a:pt x="508" y="283"/>
                  </a:lnTo>
                  <a:lnTo>
                    <a:pt x="504" y="309"/>
                  </a:lnTo>
                  <a:lnTo>
                    <a:pt x="498" y="333"/>
                  </a:lnTo>
                  <a:lnTo>
                    <a:pt x="490" y="356"/>
                  </a:lnTo>
                  <a:lnTo>
                    <a:pt x="478" y="379"/>
                  </a:lnTo>
                  <a:lnTo>
                    <a:pt x="465" y="399"/>
                  </a:lnTo>
                  <a:lnTo>
                    <a:pt x="451" y="419"/>
                  </a:lnTo>
                  <a:lnTo>
                    <a:pt x="434" y="437"/>
                  </a:lnTo>
                  <a:lnTo>
                    <a:pt x="417" y="453"/>
                  </a:lnTo>
                  <a:lnTo>
                    <a:pt x="397" y="467"/>
                  </a:lnTo>
                  <a:lnTo>
                    <a:pt x="377" y="480"/>
                  </a:lnTo>
                  <a:lnTo>
                    <a:pt x="354" y="491"/>
                  </a:lnTo>
                  <a:lnTo>
                    <a:pt x="331" y="500"/>
                  </a:lnTo>
                  <a:lnTo>
                    <a:pt x="307" y="505"/>
                  </a:lnTo>
                  <a:lnTo>
                    <a:pt x="281" y="510"/>
                  </a:lnTo>
                  <a:lnTo>
                    <a:pt x="255" y="511"/>
                  </a:lnTo>
                  <a:lnTo>
                    <a:pt x="255" y="511"/>
                  </a:lnTo>
                  <a:lnTo>
                    <a:pt x="229" y="510"/>
                  </a:lnTo>
                  <a:lnTo>
                    <a:pt x="204" y="505"/>
                  </a:lnTo>
                  <a:lnTo>
                    <a:pt x="179" y="500"/>
                  </a:lnTo>
                  <a:lnTo>
                    <a:pt x="156" y="491"/>
                  </a:lnTo>
                  <a:lnTo>
                    <a:pt x="133" y="480"/>
                  </a:lnTo>
                  <a:lnTo>
                    <a:pt x="112" y="467"/>
                  </a:lnTo>
                  <a:lnTo>
                    <a:pt x="93" y="453"/>
                  </a:lnTo>
                  <a:lnTo>
                    <a:pt x="75" y="437"/>
                  </a:lnTo>
                  <a:lnTo>
                    <a:pt x="59" y="419"/>
                  </a:lnTo>
                  <a:lnTo>
                    <a:pt x="43" y="399"/>
                  </a:lnTo>
                  <a:lnTo>
                    <a:pt x="30" y="379"/>
                  </a:lnTo>
                  <a:lnTo>
                    <a:pt x="20" y="356"/>
                  </a:lnTo>
                  <a:lnTo>
                    <a:pt x="12" y="333"/>
                  </a:lnTo>
                  <a:lnTo>
                    <a:pt x="6" y="309"/>
                  </a:lnTo>
                  <a:lnTo>
                    <a:pt x="2" y="283"/>
                  </a:lnTo>
                  <a:lnTo>
                    <a:pt x="0" y="257"/>
                  </a:lnTo>
                  <a:lnTo>
                    <a:pt x="0" y="257"/>
                  </a:lnTo>
                  <a:lnTo>
                    <a:pt x="2" y="232"/>
                  </a:lnTo>
                  <a:lnTo>
                    <a:pt x="6" y="206"/>
                  </a:lnTo>
                  <a:lnTo>
                    <a:pt x="12" y="182"/>
                  </a:lnTo>
                  <a:lnTo>
                    <a:pt x="20" y="158"/>
                  </a:lnTo>
                  <a:lnTo>
                    <a:pt x="30" y="136"/>
                  </a:lnTo>
                  <a:lnTo>
                    <a:pt x="43" y="115"/>
                  </a:lnTo>
                  <a:lnTo>
                    <a:pt x="59" y="95"/>
                  </a:lnTo>
                  <a:lnTo>
                    <a:pt x="75" y="77"/>
                  </a:lnTo>
                  <a:lnTo>
                    <a:pt x="93" y="59"/>
                  </a:lnTo>
                  <a:lnTo>
                    <a:pt x="112" y="44"/>
                  </a:lnTo>
                  <a:lnTo>
                    <a:pt x="133" y="31"/>
                  </a:lnTo>
                  <a:lnTo>
                    <a:pt x="156" y="21"/>
                  </a:lnTo>
                  <a:lnTo>
                    <a:pt x="179" y="11"/>
                  </a:lnTo>
                  <a:lnTo>
                    <a:pt x="204" y="5"/>
                  </a:lnTo>
                  <a:lnTo>
                    <a:pt x="229" y="1"/>
                  </a:lnTo>
                  <a:lnTo>
                    <a:pt x="255" y="0"/>
                  </a:lnTo>
                  <a:lnTo>
                    <a:pt x="255" y="0"/>
                  </a:lnTo>
                  <a:lnTo>
                    <a:pt x="284" y="1"/>
                  </a:lnTo>
                  <a:lnTo>
                    <a:pt x="311" y="5"/>
                  </a:lnTo>
                  <a:lnTo>
                    <a:pt x="337" y="11"/>
                  </a:lnTo>
                  <a:lnTo>
                    <a:pt x="361" y="21"/>
                  </a:lnTo>
                  <a:lnTo>
                    <a:pt x="384" y="31"/>
                  </a:lnTo>
                  <a:lnTo>
                    <a:pt x="404" y="44"/>
                  </a:lnTo>
                  <a:lnTo>
                    <a:pt x="424" y="59"/>
                  </a:lnTo>
                  <a:lnTo>
                    <a:pt x="441" y="77"/>
                  </a:lnTo>
                  <a:lnTo>
                    <a:pt x="457" y="95"/>
                  </a:lnTo>
                  <a:lnTo>
                    <a:pt x="470" y="115"/>
                  </a:lnTo>
                  <a:lnTo>
                    <a:pt x="481" y="136"/>
                  </a:lnTo>
                  <a:lnTo>
                    <a:pt x="491" y="158"/>
                  </a:lnTo>
                  <a:lnTo>
                    <a:pt x="500" y="182"/>
                  </a:lnTo>
                  <a:lnTo>
                    <a:pt x="504" y="206"/>
                  </a:lnTo>
                  <a:lnTo>
                    <a:pt x="508" y="232"/>
                  </a:lnTo>
                  <a:lnTo>
                    <a:pt x="510" y="257"/>
                  </a:lnTo>
                  <a:lnTo>
                    <a:pt x="510" y="257"/>
                  </a:lnTo>
                  <a:close/>
                  <a:moveTo>
                    <a:pt x="510" y="257"/>
                  </a:moveTo>
                  <a:lnTo>
                    <a:pt x="510" y="257"/>
                  </a:lnTo>
                  <a:close/>
                </a:path>
              </a:pathLst>
            </a:custGeom>
            <a:solidFill>
              <a:srgbClr val="00987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4" name="Freeform 12"/>
            <p:cNvSpPr>
              <a:spLocks/>
            </p:cNvSpPr>
            <p:nvPr userDrawn="1"/>
          </p:nvSpPr>
          <p:spPr bwMode="auto">
            <a:xfrm>
              <a:off x="5497" y="659"/>
              <a:ext cx="170" cy="170"/>
            </a:xfrm>
            <a:custGeom>
              <a:avLst/>
              <a:gdLst>
                <a:gd name="T0" fmla="*/ 510 w 510"/>
                <a:gd name="T1" fmla="*/ 257 h 511"/>
                <a:gd name="T2" fmla="*/ 504 w 510"/>
                <a:gd name="T3" fmla="*/ 309 h 511"/>
                <a:gd name="T4" fmla="*/ 490 w 510"/>
                <a:gd name="T5" fmla="*/ 356 h 511"/>
                <a:gd name="T6" fmla="*/ 465 w 510"/>
                <a:gd name="T7" fmla="*/ 399 h 511"/>
                <a:gd name="T8" fmla="*/ 434 w 510"/>
                <a:gd name="T9" fmla="*/ 437 h 511"/>
                <a:gd name="T10" fmla="*/ 397 w 510"/>
                <a:gd name="T11" fmla="*/ 467 h 511"/>
                <a:gd name="T12" fmla="*/ 354 w 510"/>
                <a:gd name="T13" fmla="*/ 491 h 511"/>
                <a:gd name="T14" fmla="*/ 307 w 510"/>
                <a:gd name="T15" fmla="*/ 505 h 511"/>
                <a:gd name="T16" fmla="*/ 255 w 510"/>
                <a:gd name="T17" fmla="*/ 511 h 511"/>
                <a:gd name="T18" fmla="*/ 229 w 510"/>
                <a:gd name="T19" fmla="*/ 510 h 511"/>
                <a:gd name="T20" fmla="*/ 179 w 510"/>
                <a:gd name="T21" fmla="*/ 500 h 511"/>
                <a:gd name="T22" fmla="*/ 133 w 510"/>
                <a:gd name="T23" fmla="*/ 480 h 511"/>
                <a:gd name="T24" fmla="*/ 93 w 510"/>
                <a:gd name="T25" fmla="*/ 453 h 511"/>
                <a:gd name="T26" fmla="*/ 59 w 510"/>
                <a:gd name="T27" fmla="*/ 419 h 511"/>
                <a:gd name="T28" fmla="*/ 30 w 510"/>
                <a:gd name="T29" fmla="*/ 379 h 511"/>
                <a:gd name="T30" fmla="*/ 12 w 510"/>
                <a:gd name="T31" fmla="*/ 333 h 511"/>
                <a:gd name="T32" fmla="*/ 2 w 510"/>
                <a:gd name="T33" fmla="*/ 283 h 511"/>
                <a:gd name="T34" fmla="*/ 0 w 510"/>
                <a:gd name="T35" fmla="*/ 257 h 511"/>
                <a:gd name="T36" fmla="*/ 6 w 510"/>
                <a:gd name="T37" fmla="*/ 206 h 511"/>
                <a:gd name="T38" fmla="*/ 20 w 510"/>
                <a:gd name="T39" fmla="*/ 158 h 511"/>
                <a:gd name="T40" fmla="*/ 43 w 510"/>
                <a:gd name="T41" fmla="*/ 115 h 511"/>
                <a:gd name="T42" fmla="*/ 75 w 510"/>
                <a:gd name="T43" fmla="*/ 77 h 511"/>
                <a:gd name="T44" fmla="*/ 112 w 510"/>
                <a:gd name="T45" fmla="*/ 44 h 511"/>
                <a:gd name="T46" fmla="*/ 156 w 510"/>
                <a:gd name="T47" fmla="*/ 21 h 511"/>
                <a:gd name="T48" fmla="*/ 204 w 510"/>
                <a:gd name="T49" fmla="*/ 5 h 511"/>
                <a:gd name="T50" fmla="*/ 255 w 510"/>
                <a:gd name="T51" fmla="*/ 0 h 511"/>
                <a:gd name="T52" fmla="*/ 284 w 510"/>
                <a:gd name="T53" fmla="*/ 1 h 511"/>
                <a:gd name="T54" fmla="*/ 337 w 510"/>
                <a:gd name="T55" fmla="*/ 11 h 511"/>
                <a:gd name="T56" fmla="*/ 384 w 510"/>
                <a:gd name="T57" fmla="*/ 31 h 511"/>
                <a:gd name="T58" fmla="*/ 424 w 510"/>
                <a:gd name="T59" fmla="*/ 59 h 511"/>
                <a:gd name="T60" fmla="*/ 457 w 510"/>
                <a:gd name="T61" fmla="*/ 95 h 511"/>
                <a:gd name="T62" fmla="*/ 481 w 510"/>
                <a:gd name="T63" fmla="*/ 136 h 511"/>
                <a:gd name="T64" fmla="*/ 500 w 510"/>
                <a:gd name="T65" fmla="*/ 182 h 511"/>
                <a:gd name="T66" fmla="*/ 508 w 510"/>
                <a:gd name="T67" fmla="*/ 232 h 511"/>
                <a:gd name="T68" fmla="*/ 510 w 510"/>
                <a:gd name="T69" fmla="*/ 257 h 5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0" h="511">
                  <a:moveTo>
                    <a:pt x="510" y="257"/>
                  </a:moveTo>
                  <a:lnTo>
                    <a:pt x="510" y="257"/>
                  </a:lnTo>
                  <a:lnTo>
                    <a:pt x="508" y="283"/>
                  </a:lnTo>
                  <a:lnTo>
                    <a:pt x="504" y="309"/>
                  </a:lnTo>
                  <a:lnTo>
                    <a:pt x="498" y="333"/>
                  </a:lnTo>
                  <a:lnTo>
                    <a:pt x="490" y="356"/>
                  </a:lnTo>
                  <a:lnTo>
                    <a:pt x="478" y="379"/>
                  </a:lnTo>
                  <a:lnTo>
                    <a:pt x="465" y="399"/>
                  </a:lnTo>
                  <a:lnTo>
                    <a:pt x="451" y="419"/>
                  </a:lnTo>
                  <a:lnTo>
                    <a:pt x="434" y="437"/>
                  </a:lnTo>
                  <a:lnTo>
                    <a:pt x="417" y="453"/>
                  </a:lnTo>
                  <a:lnTo>
                    <a:pt x="397" y="467"/>
                  </a:lnTo>
                  <a:lnTo>
                    <a:pt x="377" y="480"/>
                  </a:lnTo>
                  <a:lnTo>
                    <a:pt x="354" y="491"/>
                  </a:lnTo>
                  <a:lnTo>
                    <a:pt x="331" y="500"/>
                  </a:lnTo>
                  <a:lnTo>
                    <a:pt x="307" y="505"/>
                  </a:lnTo>
                  <a:lnTo>
                    <a:pt x="281" y="510"/>
                  </a:lnTo>
                  <a:lnTo>
                    <a:pt x="255" y="511"/>
                  </a:lnTo>
                  <a:lnTo>
                    <a:pt x="255" y="511"/>
                  </a:lnTo>
                  <a:lnTo>
                    <a:pt x="229" y="510"/>
                  </a:lnTo>
                  <a:lnTo>
                    <a:pt x="204" y="505"/>
                  </a:lnTo>
                  <a:lnTo>
                    <a:pt x="179" y="500"/>
                  </a:lnTo>
                  <a:lnTo>
                    <a:pt x="156" y="491"/>
                  </a:lnTo>
                  <a:lnTo>
                    <a:pt x="133" y="480"/>
                  </a:lnTo>
                  <a:lnTo>
                    <a:pt x="112" y="467"/>
                  </a:lnTo>
                  <a:lnTo>
                    <a:pt x="93" y="453"/>
                  </a:lnTo>
                  <a:lnTo>
                    <a:pt x="75" y="437"/>
                  </a:lnTo>
                  <a:lnTo>
                    <a:pt x="59" y="419"/>
                  </a:lnTo>
                  <a:lnTo>
                    <a:pt x="43" y="399"/>
                  </a:lnTo>
                  <a:lnTo>
                    <a:pt x="30" y="379"/>
                  </a:lnTo>
                  <a:lnTo>
                    <a:pt x="20" y="356"/>
                  </a:lnTo>
                  <a:lnTo>
                    <a:pt x="12" y="333"/>
                  </a:lnTo>
                  <a:lnTo>
                    <a:pt x="6" y="309"/>
                  </a:lnTo>
                  <a:lnTo>
                    <a:pt x="2" y="283"/>
                  </a:lnTo>
                  <a:lnTo>
                    <a:pt x="0" y="257"/>
                  </a:lnTo>
                  <a:lnTo>
                    <a:pt x="0" y="257"/>
                  </a:lnTo>
                  <a:lnTo>
                    <a:pt x="2" y="232"/>
                  </a:lnTo>
                  <a:lnTo>
                    <a:pt x="6" y="206"/>
                  </a:lnTo>
                  <a:lnTo>
                    <a:pt x="12" y="182"/>
                  </a:lnTo>
                  <a:lnTo>
                    <a:pt x="20" y="158"/>
                  </a:lnTo>
                  <a:lnTo>
                    <a:pt x="30" y="136"/>
                  </a:lnTo>
                  <a:lnTo>
                    <a:pt x="43" y="115"/>
                  </a:lnTo>
                  <a:lnTo>
                    <a:pt x="59" y="95"/>
                  </a:lnTo>
                  <a:lnTo>
                    <a:pt x="75" y="77"/>
                  </a:lnTo>
                  <a:lnTo>
                    <a:pt x="93" y="59"/>
                  </a:lnTo>
                  <a:lnTo>
                    <a:pt x="112" y="44"/>
                  </a:lnTo>
                  <a:lnTo>
                    <a:pt x="133" y="31"/>
                  </a:lnTo>
                  <a:lnTo>
                    <a:pt x="156" y="21"/>
                  </a:lnTo>
                  <a:lnTo>
                    <a:pt x="179" y="11"/>
                  </a:lnTo>
                  <a:lnTo>
                    <a:pt x="204" y="5"/>
                  </a:lnTo>
                  <a:lnTo>
                    <a:pt x="229" y="1"/>
                  </a:lnTo>
                  <a:lnTo>
                    <a:pt x="255" y="0"/>
                  </a:lnTo>
                  <a:lnTo>
                    <a:pt x="255" y="0"/>
                  </a:lnTo>
                  <a:lnTo>
                    <a:pt x="284" y="1"/>
                  </a:lnTo>
                  <a:lnTo>
                    <a:pt x="311" y="5"/>
                  </a:lnTo>
                  <a:lnTo>
                    <a:pt x="337" y="11"/>
                  </a:lnTo>
                  <a:lnTo>
                    <a:pt x="361" y="21"/>
                  </a:lnTo>
                  <a:lnTo>
                    <a:pt x="384" y="31"/>
                  </a:lnTo>
                  <a:lnTo>
                    <a:pt x="404" y="44"/>
                  </a:lnTo>
                  <a:lnTo>
                    <a:pt x="424" y="59"/>
                  </a:lnTo>
                  <a:lnTo>
                    <a:pt x="441" y="77"/>
                  </a:lnTo>
                  <a:lnTo>
                    <a:pt x="457" y="95"/>
                  </a:lnTo>
                  <a:lnTo>
                    <a:pt x="470" y="115"/>
                  </a:lnTo>
                  <a:lnTo>
                    <a:pt x="481" y="136"/>
                  </a:lnTo>
                  <a:lnTo>
                    <a:pt x="491" y="158"/>
                  </a:lnTo>
                  <a:lnTo>
                    <a:pt x="500" y="182"/>
                  </a:lnTo>
                  <a:lnTo>
                    <a:pt x="504" y="206"/>
                  </a:lnTo>
                  <a:lnTo>
                    <a:pt x="508" y="232"/>
                  </a:lnTo>
                  <a:lnTo>
                    <a:pt x="510" y="257"/>
                  </a:lnTo>
                  <a:lnTo>
                    <a:pt x="510" y="25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5" name="Line 13"/>
            <p:cNvSpPr>
              <a:spLocks noChangeShapeType="1"/>
            </p:cNvSpPr>
            <p:nvPr userDrawn="1"/>
          </p:nvSpPr>
          <p:spPr bwMode="auto">
            <a:xfrm>
              <a:off x="5667" y="745"/>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pic>
          <p:nvPicPr>
            <p:cNvPr id="26" name="Picture 14"/>
            <p:cNvPicPr>
              <a:picLocks noChangeAspect="1" noChangeArrowheads="1"/>
            </p:cNvPicPr>
            <p:nvPr userDrawn="1"/>
          </p:nvPicPr>
          <p:blipFill>
            <a:blip r:embed="rId5" cstate="hqprint">
              <a:extLst>
                <a:ext uri="{28A0092B-C50C-407E-A947-70E740481C1C}">
                  <a14:useLocalDpi xmlns:a14="http://schemas.microsoft.com/office/drawing/2010/main" val="0"/>
                </a:ext>
              </a:extLst>
            </a:blip>
            <a:srcRect/>
            <a:stretch>
              <a:fillRect/>
            </a:stretch>
          </p:blipFill>
          <p:spPr bwMode="auto">
            <a:xfrm>
              <a:off x="5478" y="637"/>
              <a:ext cx="282" cy="2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7" name="Freeform 15"/>
            <p:cNvSpPr>
              <a:spLocks/>
            </p:cNvSpPr>
            <p:nvPr userDrawn="1"/>
          </p:nvSpPr>
          <p:spPr bwMode="auto">
            <a:xfrm>
              <a:off x="5525" y="658"/>
              <a:ext cx="121" cy="25"/>
            </a:xfrm>
            <a:custGeom>
              <a:avLst/>
              <a:gdLst>
                <a:gd name="T0" fmla="*/ 0 w 364"/>
                <a:gd name="T1" fmla="*/ 75 h 75"/>
                <a:gd name="T2" fmla="*/ 0 w 364"/>
                <a:gd name="T3" fmla="*/ 75 h 75"/>
                <a:gd name="T4" fmla="*/ 19 w 364"/>
                <a:gd name="T5" fmla="*/ 58 h 75"/>
                <a:gd name="T6" fmla="*/ 40 w 364"/>
                <a:gd name="T7" fmla="*/ 44 h 75"/>
                <a:gd name="T8" fmla="*/ 62 w 364"/>
                <a:gd name="T9" fmla="*/ 31 h 75"/>
                <a:gd name="T10" fmla="*/ 85 w 364"/>
                <a:gd name="T11" fmla="*/ 20 h 75"/>
                <a:gd name="T12" fmla="*/ 108 w 364"/>
                <a:gd name="T13" fmla="*/ 11 h 75"/>
                <a:gd name="T14" fmla="*/ 132 w 364"/>
                <a:gd name="T15" fmla="*/ 5 h 75"/>
                <a:gd name="T16" fmla="*/ 156 w 364"/>
                <a:gd name="T17" fmla="*/ 1 h 75"/>
                <a:gd name="T18" fmla="*/ 182 w 364"/>
                <a:gd name="T19" fmla="*/ 0 h 75"/>
                <a:gd name="T20" fmla="*/ 206 w 364"/>
                <a:gd name="T21" fmla="*/ 1 h 75"/>
                <a:gd name="T22" fmla="*/ 231 w 364"/>
                <a:gd name="T23" fmla="*/ 4 h 75"/>
                <a:gd name="T24" fmla="*/ 255 w 364"/>
                <a:gd name="T25" fmla="*/ 10 h 75"/>
                <a:gd name="T26" fmla="*/ 278 w 364"/>
                <a:gd name="T27" fmla="*/ 18 h 75"/>
                <a:gd name="T28" fmla="*/ 301 w 364"/>
                <a:gd name="T29" fmla="*/ 28 h 75"/>
                <a:gd name="T30" fmla="*/ 324 w 364"/>
                <a:gd name="T31" fmla="*/ 41 h 75"/>
                <a:gd name="T32" fmla="*/ 344 w 364"/>
                <a:gd name="T33" fmla="*/ 55 h 75"/>
                <a:gd name="T34" fmla="*/ 364 w 364"/>
                <a:gd name="T35" fmla="*/ 72 h 75"/>
                <a:gd name="T36" fmla="*/ 0 w 364"/>
                <a:gd name="T37"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4" h="75">
                  <a:moveTo>
                    <a:pt x="0" y="75"/>
                  </a:moveTo>
                  <a:lnTo>
                    <a:pt x="0" y="75"/>
                  </a:lnTo>
                  <a:lnTo>
                    <a:pt x="19" y="58"/>
                  </a:lnTo>
                  <a:lnTo>
                    <a:pt x="40" y="44"/>
                  </a:lnTo>
                  <a:lnTo>
                    <a:pt x="62" y="31"/>
                  </a:lnTo>
                  <a:lnTo>
                    <a:pt x="85" y="20"/>
                  </a:lnTo>
                  <a:lnTo>
                    <a:pt x="108" y="11"/>
                  </a:lnTo>
                  <a:lnTo>
                    <a:pt x="132" y="5"/>
                  </a:lnTo>
                  <a:lnTo>
                    <a:pt x="156" y="1"/>
                  </a:lnTo>
                  <a:lnTo>
                    <a:pt x="182" y="0"/>
                  </a:lnTo>
                  <a:lnTo>
                    <a:pt x="206" y="1"/>
                  </a:lnTo>
                  <a:lnTo>
                    <a:pt x="231" y="4"/>
                  </a:lnTo>
                  <a:lnTo>
                    <a:pt x="255" y="10"/>
                  </a:lnTo>
                  <a:lnTo>
                    <a:pt x="278" y="18"/>
                  </a:lnTo>
                  <a:lnTo>
                    <a:pt x="301" y="28"/>
                  </a:lnTo>
                  <a:lnTo>
                    <a:pt x="324" y="41"/>
                  </a:lnTo>
                  <a:lnTo>
                    <a:pt x="344" y="55"/>
                  </a:lnTo>
                  <a:lnTo>
                    <a:pt x="364" y="72"/>
                  </a:lnTo>
                  <a:lnTo>
                    <a:pt x="0" y="75"/>
                  </a:lnTo>
                  <a:close/>
                </a:path>
              </a:pathLst>
            </a:custGeom>
            <a:solidFill>
              <a:srgbClr val="00987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8" name="Freeform 16"/>
            <p:cNvSpPr>
              <a:spLocks/>
            </p:cNvSpPr>
            <p:nvPr userDrawn="1"/>
          </p:nvSpPr>
          <p:spPr bwMode="auto">
            <a:xfrm>
              <a:off x="5525" y="658"/>
              <a:ext cx="121" cy="25"/>
            </a:xfrm>
            <a:custGeom>
              <a:avLst/>
              <a:gdLst>
                <a:gd name="T0" fmla="*/ 0 w 364"/>
                <a:gd name="T1" fmla="*/ 75 h 75"/>
                <a:gd name="T2" fmla="*/ 0 w 364"/>
                <a:gd name="T3" fmla="*/ 75 h 75"/>
                <a:gd name="T4" fmla="*/ 19 w 364"/>
                <a:gd name="T5" fmla="*/ 58 h 75"/>
                <a:gd name="T6" fmla="*/ 40 w 364"/>
                <a:gd name="T7" fmla="*/ 44 h 75"/>
                <a:gd name="T8" fmla="*/ 62 w 364"/>
                <a:gd name="T9" fmla="*/ 31 h 75"/>
                <a:gd name="T10" fmla="*/ 85 w 364"/>
                <a:gd name="T11" fmla="*/ 20 h 75"/>
                <a:gd name="T12" fmla="*/ 108 w 364"/>
                <a:gd name="T13" fmla="*/ 11 h 75"/>
                <a:gd name="T14" fmla="*/ 132 w 364"/>
                <a:gd name="T15" fmla="*/ 5 h 75"/>
                <a:gd name="T16" fmla="*/ 156 w 364"/>
                <a:gd name="T17" fmla="*/ 1 h 75"/>
                <a:gd name="T18" fmla="*/ 182 w 364"/>
                <a:gd name="T19" fmla="*/ 0 h 75"/>
                <a:gd name="T20" fmla="*/ 206 w 364"/>
                <a:gd name="T21" fmla="*/ 1 h 75"/>
                <a:gd name="T22" fmla="*/ 231 w 364"/>
                <a:gd name="T23" fmla="*/ 4 h 75"/>
                <a:gd name="T24" fmla="*/ 255 w 364"/>
                <a:gd name="T25" fmla="*/ 10 h 75"/>
                <a:gd name="T26" fmla="*/ 278 w 364"/>
                <a:gd name="T27" fmla="*/ 18 h 75"/>
                <a:gd name="T28" fmla="*/ 301 w 364"/>
                <a:gd name="T29" fmla="*/ 28 h 75"/>
                <a:gd name="T30" fmla="*/ 324 w 364"/>
                <a:gd name="T31" fmla="*/ 41 h 75"/>
                <a:gd name="T32" fmla="*/ 344 w 364"/>
                <a:gd name="T33" fmla="*/ 55 h 75"/>
                <a:gd name="T34" fmla="*/ 364 w 364"/>
                <a:gd name="T35" fmla="*/ 7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64" h="75">
                  <a:moveTo>
                    <a:pt x="0" y="75"/>
                  </a:moveTo>
                  <a:lnTo>
                    <a:pt x="0" y="75"/>
                  </a:lnTo>
                  <a:lnTo>
                    <a:pt x="19" y="58"/>
                  </a:lnTo>
                  <a:lnTo>
                    <a:pt x="40" y="44"/>
                  </a:lnTo>
                  <a:lnTo>
                    <a:pt x="62" y="31"/>
                  </a:lnTo>
                  <a:lnTo>
                    <a:pt x="85" y="20"/>
                  </a:lnTo>
                  <a:lnTo>
                    <a:pt x="108" y="11"/>
                  </a:lnTo>
                  <a:lnTo>
                    <a:pt x="132" y="5"/>
                  </a:lnTo>
                  <a:lnTo>
                    <a:pt x="156" y="1"/>
                  </a:lnTo>
                  <a:lnTo>
                    <a:pt x="182" y="0"/>
                  </a:lnTo>
                  <a:lnTo>
                    <a:pt x="206" y="1"/>
                  </a:lnTo>
                  <a:lnTo>
                    <a:pt x="231" y="4"/>
                  </a:lnTo>
                  <a:lnTo>
                    <a:pt x="255" y="10"/>
                  </a:lnTo>
                  <a:lnTo>
                    <a:pt x="278" y="18"/>
                  </a:lnTo>
                  <a:lnTo>
                    <a:pt x="301" y="28"/>
                  </a:lnTo>
                  <a:lnTo>
                    <a:pt x="324" y="41"/>
                  </a:lnTo>
                  <a:lnTo>
                    <a:pt x="344" y="55"/>
                  </a:lnTo>
                  <a:lnTo>
                    <a:pt x="364" y="7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pic>
          <p:nvPicPr>
            <p:cNvPr id="29" name="Picture 17"/>
            <p:cNvPicPr>
              <a:picLocks noChangeAspect="1" noChangeArrowheads="1"/>
            </p:cNvPicPr>
            <p:nvPr userDrawn="1"/>
          </p:nvPicPr>
          <p:blipFill>
            <a:blip r:embed="rId6" cstate="hqprint">
              <a:extLst>
                <a:ext uri="{28A0092B-C50C-407E-A947-70E740481C1C}">
                  <a14:useLocalDpi xmlns:a14="http://schemas.microsoft.com/office/drawing/2010/main" val="0"/>
                </a:ext>
              </a:extLst>
            </a:blip>
            <a:srcRect/>
            <a:stretch>
              <a:fillRect/>
            </a:stretch>
          </p:blipFill>
          <p:spPr bwMode="auto">
            <a:xfrm>
              <a:off x="5478" y="637"/>
              <a:ext cx="282" cy="2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 name="Freeform 18"/>
            <p:cNvSpPr>
              <a:spLocks noEditPoints="1"/>
            </p:cNvSpPr>
            <p:nvPr userDrawn="1"/>
          </p:nvSpPr>
          <p:spPr bwMode="auto">
            <a:xfrm>
              <a:off x="5510" y="659"/>
              <a:ext cx="160" cy="156"/>
            </a:xfrm>
            <a:custGeom>
              <a:avLst/>
              <a:gdLst>
                <a:gd name="T0" fmla="*/ 478 w 478"/>
                <a:gd name="T1" fmla="*/ 232 h 466"/>
                <a:gd name="T2" fmla="*/ 474 w 478"/>
                <a:gd name="T3" fmla="*/ 279 h 466"/>
                <a:gd name="T4" fmla="*/ 460 w 478"/>
                <a:gd name="T5" fmla="*/ 323 h 466"/>
                <a:gd name="T6" fmla="*/ 437 w 478"/>
                <a:gd name="T7" fmla="*/ 363 h 466"/>
                <a:gd name="T8" fmla="*/ 408 w 478"/>
                <a:gd name="T9" fmla="*/ 398 h 466"/>
                <a:gd name="T10" fmla="*/ 373 w 478"/>
                <a:gd name="T11" fmla="*/ 426 h 466"/>
                <a:gd name="T12" fmla="*/ 332 w 478"/>
                <a:gd name="T13" fmla="*/ 447 h 466"/>
                <a:gd name="T14" fmla="*/ 288 w 478"/>
                <a:gd name="T15" fmla="*/ 460 h 466"/>
                <a:gd name="T16" fmla="*/ 239 w 478"/>
                <a:gd name="T17" fmla="*/ 466 h 466"/>
                <a:gd name="T18" fmla="*/ 215 w 478"/>
                <a:gd name="T19" fmla="*/ 465 h 466"/>
                <a:gd name="T20" fmla="*/ 168 w 478"/>
                <a:gd name="T21" fmla="*/ 455 h 466"/>
                <a:gd name="T22" fmla="*/ 125 w 478"/>
                <a:gd name="T23" fmla="*/ 437 h 466"/>
                <a:gd name="T24" fmla="*/ 88 w 478"/>
                <a:gd name="T25" fmla="*/ 412 h 466"/>
                <a:gd name="T26" fmla="*/ 55 w 478"/>
                <a:gd name="T27" fmla="*/ 380 h 466"/>
                <a:gd name="T28" fmla="*/ 29 w 478"/>
                <a:gd name="T29" fmla="*/ 343 h 466"/>
                <a:gd name="T30" fmla="*/ 12 w 478"/>
                <a:gd name="T31" fmla="*/ 302 h 466"/>
                <a:gd name="T32" fmla="*/ 2 w 478"/>
                <a:gd name="T33" fmla="*/ 256 h 466"/>
                <a:gd name="T34" fmla="*/ 0 w 478"/>
                <a:gd name="T35" fmla="*/ 232 h 466"/>
                <a:gd name="T36" fmla="*/ 5 w 478"/>
                <a:gd name="T37" fmla="*/ 185 h 466"/>
                <a:gd name="T38" fmla="*/ 19 w 478"/>
                <a:gd name="T39" fmla="*/ 141 h 466"/>
                <a:gd name="T40" fmla="*/ 42 w 478"/>
                <a:gd name="T41" fmla="*/ 103 h 466"/>
                <a:gd name="T42" fmla="*/ 70 w 478"/>
                <a:gd name="T43" fmla="*/ 68 h 466"/>
                <a:gd name="T44" fmla="*/ 106 w 478"/>
                <a:gd name="T45" fmla="*/ 40 h 466"/>
                <a:gd name="T46" fmla="*/ 146 w 478"/>
                <a:gd name="T47" fmla="*/ 17 h 466"/>
                <a:gd name="T48" fmla="*/ 191 w 478"/>
                <a:gd name="T49" fmla="*/ 4 h 466"/>
                <a:gd name="T50" fmla="*/ 239 w 478"/>
                <a:gd name="T51" fmla="*/ 0 h 466"/>
                <a:gd name="T52" fmla="*/ 264 w 478"/>
                <a:gd name="T53" fmla="*/ 0 h 466"/>
                <a:gd name="T54" fmla="*/ 311 w 478"/>
                <a:gd name="T55" fmla="*/ 10 h 466"/>
                <a:gd name="T56" fmla="*/ 354 w 478"/>
                <a:gd name="T57" fmla="*/ 27 h 466"/>
                <a:gd name="T58" fmla="*/ 391 w 478"/>
                <a:gd name="T59" fmla="*/ 53 h 466"/>
                <a:gd name="T60" fmla="*/ 424 w 478"/>
                <a:gd name="T61" fmla="*/ 84 h 466"/>
                <a:gd name="T62" fmla="*/ 450 w 478"/>
                <a:gd name="T63" fmla="*/ 121 h 466"/>
                <a:gd name="T64" fmla="*/ 467 w 478"/>
                <a:gd name="T65" fmla="*/ 164 h 466"/>
                <a:gd name="T66" fmla="*/ 477 w 478"/>
                <a:gd name="T67" fmla="*/ 208 h 466"/>
                <a:gd name="T68" fmla="*/ 478 w 478"/>
                <a:gd name="T69" fmla="*/ 232 h 466"/>
                <a:gd name="T70" fmla="*/ 478 w 478"/>
                <a:gd name="T71" fmla="*/ 232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78" h="466">
                  <a:moveTo>
                    <a:pt x="478" y="232"/>
                  </a:moveTo>
                  <a:lnTo>
                    <a:pt x="478" y="232"/>
                  </a:lnTo>
                  <a:lnTo>
                    <a:pt x="477" y="256"/>
                  </a:lnTo>
                  <a:lnTo>
                    <a:pt x="474" y="279"/>
                  </a:lnTo>
                  <a:lnTo>
                    <a:pt x="467" y="302"/>
                  </a:lnTo>
                  <a:lnTo>
                    <a:pt x="460" y="323"/>
                  </a:lnTo>
                  <a:lnTo>
                    <a:pt x="450" y="343"/>
                  </a:lnTo>
                  <a:lnTo>
                    <a:pt x="437" y="363"/>
                  </a:lnTo>
                  <a:lnTo>
                    <a:pt x="424" y="380"/>
                  </a:lnTo>
                  <a:lnTo>
                    <a:pt x="408" y="398"/>
                  </a:lnTo>
                  <a:lnTo>
                    <a:pt x="391" y="412"/>
                  </a:lnTo>
                  <a:lnTo>
                    <a:pt x="373" y="426"/>
                  </a:lnTo>
                  <a:lnTo>
                    <a:pt x="354" y="437"/>
                  </a:lnTo>
                  <a:lnTo>
                    <a:pt x="332" y="447"/>
                  </a:lnTo>
                  <a:lnTo>
                    <a:pt x="311" y="455"/>
                  </a:lnTo>
                  <a:lnTo>
                    <a:pt x="288" y="460"/>
                  </a:lnTo>
                  <a:lnTo>
                    <a:pt x="264" y="465"/>
                  </a:lnTo>
                  <a:lnTo>
                    <a:pt x="239" y="466"/>
                  </a:lnTo>
                  <a:lnTo>
                    <a:pt x="239" y="466"/>
                  </a:lnTo>
                  <a:lnTo>
                    <a:pt x="215" y="465"/>
                  </a:lnTo>
                  <a:lnTo>
                    <a:pt x="191" y="460"/>
                  </a:lnTo>
                  <a:lnTo>
                    <a:pt x="168" y="455"/>
                  </a:lnTo>
                  <a:lnTo>
                    <a:pt x="146" y="447"/>
                  </a:lnTo>
                  <a:lnTo>
                    <a:pt x="125" y="437"/>
                  </a:lnTo>
                  <a:lnTo>
                    <a:pt x="106" y="426"/>
                  </a:lnTo>
                  <a:lnTo>
                    <a:pt x="88" y="412"/>
                  </a:lnTo>
                  <a:lnTo>
                    <a:pt x="70" y="398"/>
                  </a:lnTo>
                  <a:lnTo>
                    <a:pt x="55" y="380"/>
                  </a:lnTo>
                  <a:lnTo>
                    <a:pt x="42" y="363"/>
                  </a:lnTo>
                  <a:lnTo>
                    <a:pt x="29" y="343"/>
                  </a:lnTo>
                  <a:lnTo>
                    <a:pt x="19" y="323"/>
                  </a:lnTo>
                  <a:lnTo>
                    <a:pt x="12" y="302"/>
                  </a:lnTo>
                  <a:lnTo>
                    <a:pt x="5" y="279"/>
                  </a:lnTo>
                  <a:lnTo>
                    <a:pt x="2" y="256"/>
                  </a:lnTo>
                  <a:lnTo>
                    <a:pt x="0" y="232"/>
                  </a:lnTo>
                  <a:lnTo>
                    <a:pt x="0" y="232"/>
                  </a:lnTo>
                  <a:lnTo>
                    <a:pt x="2" y="208"/>
                  </a:lnTo>
                  <a:lnTo>
                    <a:pt x="5" y="185"/>
                  </a:lnTo>
                  <a:lnTo>
                    <a:pt x="12" y="164"/>
                  </a:lnTo>
                  <a:lnTo>
                    <a:pt x="19" y="141"/>
                  </a:lnTo>
                  <a:lnTo>
                    <a:pt x="29" y="121"/>
                  </a:lnTo>
                  <a:lnTo>
                    <a:pt x="42" y="103"/>
                  </a:lnTo>
                  <a:lnTo>
                    <a:pt x="55" y="84"/>
                  </a:lnTo>
                  <a:lnTo>
                    <a:pt x="70" y="68"/>
                  </a:lnTo>
                  <a:lnTo>
                    <a:pt x="88" y="53"/>
                  </a:lnTo>
                  <a:lnTo>
                    <a:pt x="106" y="40"/>
                  </a:lnTo>
                  <a:lnTo>
                    <a:pt x="125" y="27"/>
                  </a:lnTo>
                  <a:lnTo>
                    <a:pt x="146" y="17"/>
                  </a:lnTo>
                  <a:lnTo>
                    <a:pt x="168" y="10"/>
                  </a:lnTo>
                  <a:lnTo>
                    <a:pt x="191" y="4"/>
                  </a:lnTo>
                  <a:lnTo>
                    <a:pt x="215" y="0"/>
                  </a:lnTo>
                  <a:lnTo>
                    <a:pt x="239" y="0"/>
                  </a:lnTo>
                  <a:lnTo>
                    <a:pt x="239" y="0"/>
                  </a:lnTo>
                  <a:lnTo>
                    <a:pt x="264" y="0"/>
                  </a:lnTo>
                  <a:lnTo>
                    <a:pt x="288" y="4"/>
                  </a:lnTo>
                  <a:lnTo>
                    <a:pt x="311" y="10"/>
                  </a:lnTo>
                  <a:lnTo>
                    <a:pt x="332" y="17"/>
                  </a:lnTo>
                  <a:lnTo>
                    <a:pt x="354" y="27"/>
                  </a:lnTo>
                  <a:lnTo>
                    <a:pt x="373" y="40"/>
                  </a:lnTo>
                  <a:lnTo>
                    <a:pt x="391" y="53"/>
                  </a:lnTo>
                  <a:lnTo>
                    <a:pt x="408" y="67"/>
                  </a:lnTo>
                  <a:lnTo>
                    <a:pt x="424" y="84"/>
                  </a:lnTo>
                  <a:lnTo>
                    <a:pt x="437" y="103"/>
                  </a:lnTo>
                  <a:lnTo>
                    <a:pt x="450" y="121"/>
                  </a:lnTo>
                  <a:lnTo>
                    <a:pt x="460" y="141"/>
                  </a:lnTo>
                  <a:lnTo>
                    <a:pt x="467" y="164"/>
                  </a:lnTo>
                  <a:lnTo>
                    <a:pt x="474" y="185"/>
                  </a:lnTo>
                  <a:lnTo>
                    <a:pt x="477" y="208"/>
                  </a:lnTo>
                  <a:lnTo>
                    <a:pt x="478" y="232"/>
                  </a:lnTo>
                  <a:lnTo>
                    <a:pt x="478" y="232"/>
                  </a:lnTo>
                  <a:close/>
                  <a:moveTo>
                    <a:pt x="478" y="232"/>
                  </a:moveTo>
                  <a:lnTo>
                    <a:pt x="478" y="23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1" name="Freeform 19"/>
            <p:cNvSpPr>
              <a:spLocks/>
            </p:cNvSpPr>
            <p:nvPr userDrawn="1"/>
          </p:nvSpPr>
          <p:spPr bwMode="auto">
            <a:xfrm>
              <a:off x="5510" y="659"/>
              <a:ext cx="160" cy="156"/>
            </a:xfrm>
            <a:custGeom>
              <a:avLst/>
              <a:gdLst>
                <a:gd name="T0" fmla="*/ 478 w 478"/>
                <a:gd name="T1" fmla="*/ 232 h 466"/>
                <a:gd name="T2" fmla="*/ 474 w 478"/>
                <a:gd name="T3" fmla="*/ 279 h 466"/>
                <a:gd name="T4" fmla="*/ 460 w 478"/>
                <a:gd name="T5" fmla="*/ 323 h 466"/>
                <a:gd name="T6" fmla="*/ 437 w 478"/>
                <a:gd name="T7" fmla="*/ 363 h 466"/>
                <a:gd name="T8" fmla="*/ 408 w 478"/>
                <a:gd name="T9" fmla="*/ 398 h 466"/>
                <a:gd name="T10" fmla="*/ 373 w 478"/>
                <a:gd name="T11" fmla="*/ 426 h 466"/>
                <a:gd name="T12" fmla="*/ 332 w 478"/>
                <a:gd name="T13" fmla="*/ 447 h 466"/>
                <a:gd name="T14" fmla="*/ 288 w 478"/>
                <a:gd name="T15" fmla="*/ 460 h 466"/>
                <a:gd name="T16" fmla="*/ 239 w 478"/>
                <a:gd name="T17" fmla="*/ 466 h 466"/>
                <a:gd name="T18" fmla="*/ 215 w 478"/>
                <a:gd name="T19" fmla="*/ 465 h 466"/>
                <a:gd name="T20" fmla="*/ 168 w 478"/>
                <a:gd name="T21" fmla="*/ 455 h 466"/>
                <a:gd name="T22" fmla="*/ 125 w 478"/>
                <a:gd name="T23" fmla="*/ 437 h 466"/>
                <a:gd name="T24" fmla="*/ 88 w 478"/>
                <a:gd name="T25" fmla="*/ 412 h 466"/>
                <a:gd name="T26" fmla="*/ 55 w 478"/>
                <a:gd name="T27" fmla="*/ 380 h 466"/>
                <a:gd name="T28" fmla="*/ 29 w 478"/>
                <a:gd name="T29" fmla="*/ 343 h 466"/>
                <a:gd name="T30" fmla="*/ 12 w 478"/>
                <a:gd name="T31" fmla="*/ 302 h 466"/>
                <a:gd name="T32" fmla="*/ 2 w 478"/>
                <a:gd name="T33" fmla="*/ 256 h 466"/>
                <a:gd name="T34" fmla="*/ 0 w 478"/>
                <a:gd name="T35" fmla="*/ 232 h 466"/>
                <a:gd name="T36" fmla="*/ 5 w 478"/>
                <a:gd name="T37" fmla="*/ 185 h 466"/>
                <a:gd name="T38" fmla="*/ 19 w 478"/>
                <a:gd name="T39" fmla="*/ 141 h 466"/>
                <a:gd name="T40" fmla="*/ 42 w 478"/>
                <a:gd name="T41" fmla="*/ 103 h 466"/>
                <a:gd name="T42" fmla="*/ 70 w 478"/>
                <a:gd name="T43" fmla="*/ 68 h 466"/>
                <a:gd name="T44" fmla="*/ 106 w 478"/>
                <a:gd name="T45" fmla="*/ 40 h 466"/>
                <a:gd name="T46" fmla="*/ 146 w 478"/>
                <a:gd name="T47" fmla="*/ 17 h 466"/>
                <a:gd name="T48" fmla="*/ 191 w 478"/>
                <a:gd name="T49" fmla="*/ 4 h 466"/>
                <a:gd name="T50" fmla="*/ 239 w 478"/>
                <a:gd name="T51" fmla="*/ 0 h 466"/>
                <a:gd name="T52" fmla="*/ 264 w 478"/>
                <a:gd name="T53" fmla="*/ 0 h 466"/>
                <a:gd name="T54" fmla="*/ 311 w 478"/>
                <a:gd name="T55" fmla="*/ 10 h 466"/>
                <a:gd name="T56" fmla="*/ 354 w 478"/>
                <a:gd name="T57" fmla="*/ 27 h 466"/>
                <a:gd name="T58" fmla="*/ 391 w 478"/>
                <a:gd name="T59" fmla="*/ 53 h 466"/>
                <a:gd name="T60" fmla="*/ 424 w 478"/>
                <a:gd name="T61" fmla="*/ 84 h 466"/>
                <a:gd name="T62" fmla="*/ 450 w 478"/>
                <a:gd name="T63" fmla="*/ 121 h 466"/>
                <a:gd name="T64" fmla="*/ 467 w 478"/>
                <a:gd name="T65" fmla="*/ 164 h 466"/>
                <a:gd name="T66" fmla="*/ 477 w 478"/>
                <a:gd name="T67" fmla="*/ 208 h 466"/>
                <a:gd name="T68" fmla="*/ 478 w 478"/>
                <a:gd name="T69" fmla="*/ 232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78" h="466">
                  <a:moveTo>
                    <a:pt x="478" y="232"/>
                  </a:moveTo>
                  <a:lnTo>
                    <a:pt x="478" y="232"/>
                  </a:lnTo>
                  <a:lnTo>
                    <a:pt x="477" y="256"/>
                  </a:lnTo>
                  <a:lnTo>
                    <a:pt x="474" y="279"/>
                  </a:lnTo>
                  <a:lnTo>
                    <a:pt x="467" y="302"/>
                  </a:lnTo>
                  <a:lnTo>
                    <a:pt x="460" y="323"/>
                  </a:lnTo>
                  <a:lnTo>
                    <a:pt x="450" y="343"/>
                  </a:lnTo>
                  <a:lnTo>
                    <a:pt x="437" y="363"/>
                  </a:lnTo>
                  <a:lnTo>
                    <a:pt x="424" y="380"/>
                  </a:lnTo>
                  <a:lnTo>
                    <a:pt x="408" y="398"/>
                  </a:lnTo>
                  <a:lnTo>
                    <a:pt x="391" y="412"/>
                  </a:lnTo>
                  <a:lnTo>
                    <a:pt x="373" y="426"/>
                  </a:lnTo>
                  <a:lnTo>
                    <a:pt x="354" y="437"/>
                  </a:lnTo>
                  <a:lnTo>
                    <a:pt x="332" y="447"/>
                  </a:lnTo>
                  <a:lnTo>
                    <a:pt x="311" y="455"/>
                  </a:lnTo>
                  <a:lnTo>
                    <a:pt x="288" y="460"/>
                  </a:lnTo>
                  <a:lnTo>
                    <a:pt x="264" y="465"/>
                  </a:lnTo>
                  <a:lnTo>
                    <a:pt x="239" y="466"/>
                  </a:lnTo>
                  <a:lnTo>
                    <a:pt x="239" y="466"/>
                  </a:lnTo>
                  <a:lnTo>
                    <a:pt x="215" y="465"/>
                  </a:lnTo>
                  <a:lnTo>
                    <a:pt x="191" y="460"/>
                  </a:lnTo>
                  <a:lnTo>
                    <a:pt x="168" y="455"/>
                  </a:lnTo>
                  <a:lnTo>
                    <a:pt x="146" y="447"/>
                  </a:lnTo>
                  <a:lnTo>
                    <a:pt x="125" y="437"/>
                  </a:lnTo>
                  <a:lnTo>
                    <a:pt x="106" y="426"/>
                  </a:lnTo>
                  <a:lnTo>
                    <a:pt x="88" y="412"/>
                  </a:lnTo>
                  <a:lnTo>
                    <a:pt x="70" y="398"/>
                  </a:lnTo>
                  <a:lnTo>
                    <a:pt x="55" y="380"/>
                  </a:lnTo>
                  <a:lnTo>
                    <a:pt x="42" y="363"/>
                  </a:lnTo>
                  <a:lnTo>
                    <a:pt x="29" y="343"/>
                  </a:lnTo>
                  <a:lnTo>
                    <a:pt x="19" y="323"/>
                  </a:lnTo>
                  <a:lnTo>
                    <a:pt x="12" y="302"/>
                  </a:lnTo>
                  <a:lnTo>
                    <a:pt x="5" y="279"/>
                  </a:lnTo>
                  <a:lnTo>
                    <a:pt x="2" y="256"/>
                  </a:lnTo>
                  <a:lnTo>
                    <a:pt x="0" y="232"/>
                  </a:lnTo>
                  <a:lnTo>
                    <a:pt x="0" y="232"/>
                  </a:lnTo>
                  <a:lnTo>
                    <a:pt x="2" y="208"/>
                  </a:lnTo>
                  <a:lnTo>
                    <a:pt x="5" y="185"/>
                  </a:lnTo>
                  <a:lnTo>
                    <a:pt x="12" y="164"/>
                  </a:lnTo>
                  <a:lnTo>
                    <a:pt x="19" y="141"/>
                  </a:lnTo>
                  <a:lnTo>
                    <a:pt x="29" y="121"/>
                  </a:lnTo>
                  <a:lnTo>
                    <a:pt x="42" y="103"/>
                  </a:lnTo>
                  <a:lnTo>
                    <a:pt x="55" y="84"/>
                  </a:lnTo>
                  <a:lnTo>
                    <a:pt x="70" y="68"/>
                  </a:lnTo>
                  <a:lnTo>
                    <a:pt x="88" y="53"/>
                  </a:lnTo>
                  <a:lnTo>
                    <a:pt x="106" y="40"/>
                  </a:lnTo>
                  <a:lnTo>
                    <a:pt x="125" y="27"/>
                  </a:lnTo>
                  <a:lnTo>
                    <a:pt x="146" y="17"/>
                  </a:lnTo>
                  <a:lnTo>
                    <a:pt x="168" y="10"/>
                  </a:lnTo>
                  <a:lnTo>
                    <a:pt x="191" y="4"/>
                  </a:lnTo>
                  <a:lnTo>
                    <a:pt x="215" y="0"/>
                  </a:lnTo>
                  <a:lnTo>
                    <a:pt x="239" y="0"/>
                  </a:lnTo>
                  <a:lnTo>
                    <a:pt x="239" y="0"/>
                  </a:lnTo>
                  <a:lnTo>
                    <a:pt x="264" y="0"/>
                  </a:lnTo>
                  <a:lnTo>
                    <a:pt x="288" y="4"/>
                  </a:lnTo>
                  <a:lnTo>
                    <a:pt x="311" y="10"/>
                  </a:lnTo>
                  <a:lnTo>
                    <a:pt x="332" y="17"/>
                  </a:lnTo>
                  <a:lnTo>
                    <a:pt x="354" y="27"/>
                  </a:lnTo>
                  <a:lnTo>
                    <a:pt x="373" y="40"/>
                  </a:lnTo>
                  <a:lnTo>
                    <a:pt x="391" y="53"/>
                  </a:lnTo>
                  <a:lnTo>
                    <a:pt x="408" y="67"/>
                  </a:lnTo>
                  <a:lnTo>
                    <a:pt x="424" y="84"/>
                  </a:lnTo>
                  <a:lnTo>
                    <a:pt x="437" y="103"/>
                  </a:lnTo>
                  <a:lnTo>
                    <a:pt x="450" y="121"/>
                  </a:lnTo>
                  <a:lnTo>
                    <a:pt x="460" y="141"/>
                  </a:lnTo>
                  <a:lnTo>
                    <a:pt x="467" y="164"/>
                  </a:lnTo>
                  <a:lnTo>
                    <a:pt x="474" y="185"/>
                  </a:lnTo>
                  <a:lnTo>
                    <a:pt x="477" y="208"/>
                  </a:lnTo>
                  <a:lnTo>
                    <a:pt x="478" y="232"/>
                  </a:lnTo>
                  <a:lnTo>
                    <a:pt x="478" y="23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2" name="Line 20"/>
            <p:cNvSpPr>
              <a:spLocks noChangeShapeType="1"/>
            </p:cNvSpPr>
            <p:nvPr userDrawn="1"/>
          </p:nvSpPr>
          <p:spPr bwMode="auto">
            <a:xfrm>
              <a:off x="5670" y="737"/>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pic>
          <p:nvPicPr>
            <p:cNvPr id="33" name="Picture 21"/>
            <p:cNvPicPr>
              <a:picLocks noChangeAspect="1" noChangeArrowheads="1"/>
            </p:cNvPicPr>
            <p:nvPr userDrawn="1"/>
          </p:nvPicPr>
          <p:blipFill>
            <a:blip r:embed="rId7" cstate="hqprint">
              <a:extLst>
                <a:ext uri="{28A0092B-C50C-407E-A947-70E740481C1C}">
                  <a14:useLocalDpi xmlns:a14="http://schemas.microsoft.com/office/drawing/2010/main" val="0"/>
                </a:ext>
              </a:extLst>
            </a:blip>
            <a:srcRect/>
            <a:stretch>
              <a:fillRect/>
            </a:stretch>
          </p:blipFill>
          <p:spPr bwMode="auto">
            <a:xfrm>
              <a:off x="5478" y="637"/>
              <a:ext cx="282" cy="2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4" name="Freeform 22"/>
            <p:cNvSpPr>
              <a:spLocks noEditPoints="1"/>
            </p:cNvSpPr>
            <p:nvPr userDrawn="1"/>
          </p:nvSpPr>
          <p:spPr bwMode="auto">
            <a:xfrm>
              <a:off x="5526" y="673"/>
              <a:ext cx="138" cy="139"/>
            </a:xfrm>
            <a:custGeom>
              <a:avLst/>
              <a:gdLst>
                <a:gd name="T0" fmla="*/ 415 w 415"/>
                <a:gd name="T1" fmla="*/ 209 h 417"/>
                <a:gd name="T2" fmla="*/ 411 w 415"/>
                <a:gd name="T3" fmla="*/ 251 h 417"/>
                <a:gd name="T4" fmla="*/ 400 w 415"/>
                <a:gd name="T5" fmla="*/ 291 h 417"/>
                <a:gd name="T6" fmla="*/ 379 w 415"/>
                <a:gd name="T7" fmla="*/ 325 h 417"/>
                <a:gd name="T8" fmla="*/ 355 w 415"/>
                <a:gd name="T9" fmla="*/ 356 h 417"/>
                <a:gd name="T10" fmla="*/ 324 w 415"/>
                <a:gd name="T11" fmla="*/ 382 h 417"/>
                <a:gd name="T12" fmla="*/ 289 w 415"/>
                <a:gd name="T13" fmla="*/ 400 h 417"/>
                <a:gd name="T14" fmla="*/ 249 w 415"/>
                <a:gd name="T15" fmla="*/ 413 h 417"/>
                <a:gd name="T16" fmla="*/ 208 w 415"/>
                <a:gd name="T17" fmla="*/ 417 h 417"/>
                <a:gd name="T18" fmla="*/ 186 w 415"/>
                <a:gd name="T19" fmla="*/ 416 h 417"/>
                <a:gd name="T20" fmla="*/ 146 w 415"/>
                <a:gd name="T21" fmla="*/ 407 h 417"/>
                <a:gd name="T22" fmla="*/ 109 w 415"/>
                <a:gd name="T23" fmla="*/ 392 h 417"/>
                <a:gd name="T24" fmla="*/ 76 w 415"/>
                <a:gd name="T25" fmla="*/ 370 h 417"/>
                <a:gd name="T26" fmla="*/ 47 w 415"/>
                <a:gd name="T27" fmla="*/ 342 h 417"/>
                <a:gd name="T28" fmla="*/ 26 w 415"/>
                <a:gd name="T29" fmla="*/ 308 h 417"/>
                <a:gd name="T30" fmla="*/ 10 w 415"/>
                <a:gd name="T31" fmla="*/ 271 h 417"/>
                <a:gd name="T32" fmla="*/ 2 w 415"/>
                <a:gd name="T33" fmla="*/ 229 h 417"/>
                <a:gd name="T34" fmla="*/ 0 w 415"/>
                <a:gd name="T35" fmla="*/ 209 h 417"/>
                <a:gd name="T36" fmla="*/ 4 w 415"/>
                <a:gd name="T37" fmla="*/ 167 h 417"/>
                <a:gd name="T38" fmla="*/ 16 w 415"/>
                <a:gd name="T39" fmla="*/ 128 h 417"/>
                <a:gd name="T40" fmla="*/ 36 w 415"/>
                <a:gd name="T41" fmla="*/ 93 h 417"/>
                <a:gd name="T42" fmla="*/ 62 w 415"/>
                <a:gd name="T43" fmla="*/ 61 h 417"/>
                <a:gd name="T44" fmla="*/ 92 w 415"/>
                <a:gd name="T45" fmla="*/ 36 h 417"/>
                <a:gd name="T46" fmla="*/ 128 w 415"/>
                <a:gd name="T47" fmla="*/ 17 h 417"/>
                <a:gd name="T48" fmla="*/ 166 w 415"/>
                <a:gd name="T49" fmla="*/ 4 h 417"/>
                <a:gd name="T50" fmla="*/ 208 w 415"/>
                <a:gd name="T51" fmla="*/ 0 h 417"/>
                <a:gd name="T52" fmla="*/ 229 w 415"/>
                <a:gd name="T53" fmla="*/ 1 h 417"/>
                <a:gd name="T54" fmla="*/ 269 w 415"/>
                <a:gd name="T55" fmla="*/ 10 h 417"/>
                <a:gd name="T56" fmla="*/ 306 w 415"/>
                <a:gd name="T57" fmla="*/ 26 h 417"/>
                <a:gd name="T58" fmla="*/ 339 w 415"/>
                <a:gd name="T59" fmla="*/ 48 h 417"/>
                <a:gd name="T60" fmla="*/ 368 w 415"/>
                <a:gd name="T61" fmla="*/ 75 h 417"/>
                <a:gd name="T62" fmla="*/ 391 w 415"/>
                <a:gd name="T63" fmla="*/ 110 h 417"/>
                <a:gd name="T64" fmla="*/ 407 w 415"/>
                <a:gd name="T65" fmla="*/ 147 h 417"/>
                <a:gd name="T66" fmla="*/ 414 w 415"/>
                <a:gd name="T67" fmla="*/ 188 h 417"/>
                <a:gd name="T68" fmla="*/ 415 w 415"/>
                <a:gd name="T69" fmla="*/ 209 h 417"/>
                <a:gd name="T70" fmla="*/ 415 w 415"/>
                <a:gd name="T71" fmla="*/ 209 h 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15" h="417">
                  <a:moveTo>
                    <a:pt x="415" y="209"/>
                  </a:moveTo>
                  <a:lnTo>
                    <a:pt x="415" y="209"/>
                  </a:lnTo>
                  <a:lnTo>
                    <a:pt x="414" y="229"/>
                  </a:lnTo>
                  <a:lnTo>
                    <a:pt x="411" y="251"/>
                  </a:lnTo>
                  <a:lnTo>
                    <a:pt x="407" y="271"/>
                  </a:lnTo>
                  <a:lnTo>
                    <a:pt x="400" y="291"/>
                  </a:lnTo>
                  <a:lnTo>
                    <a:pt x="391" y="308"/>
                  </a:lnTo>
                  <a:lnTo>
                    <a:pt x="379" y="325"/>
                  </a:lnTo>
                  <a:lnTo>
                    <a:pt x="368" y="342"/>
                  </a:lnTo>
                  <a:lnTo>
                    <a:pt x="355" y="356"/>
                  </a:lnTo>
                  <a:lnTo>
                    <a:pt x="339" y="370"/>
                  </a:lnTo>
                  <a:lnTo>
                    <a:pt x="324" y="382"/>
                  </a:lnTo>
                  <a:lnTo>
                    <a:pt x="306" y="392"/>
                  </a:lnTo>
                  <a:lnTo>
                    <a:pt x="289" y="400"/>
                  </a:lnTo>
                  <a:lnTo>
                    <a:pt x="269" y="407"/>
                  </a:lnTo>
                  <a:lnTo>
                    <a:pt x="249" y="413"/>
                  </a:lnTo>
                  <a:lnTo>
                    <a:pt x="229" y="416"/>
                  </a:lnTo>
                  <a:lnTo>
                    <a:pt x="208" y="417"/>
                  </a:lnTo>
                  <a:lnTo>
                    <a:pt x="208" y="417"/>
                  </a:lnTo>
                  <a:lnTo>
                    <a:pt x="186" y="416"/>
                  </a:lnTo>
                  <a:lnTo>
                    <a:pt x="166" y="413"/>
                  </a:lnTo>
                  <a:lnTo>
                    <a:pt x="146" y="407"/>
                  </a:lnTo>
                  <a:lnTo>
                    <a:pt x="128" y="400"/>
                  </a:lnTo>
                  <a:lnTo>
                    <a:pt x="109" y="392"/>
                  </a:lnTo>
                  <a:lnTo>
                    <a:pt x="92" y="382"/>
                  </a:lnTo>
                  <a:lnTo>
                    <a:pt x="76" y="370"/>
                  </a:lnTo>
                  <a:lnTo>
                    <a:pt x="62" y="356"/>
                  </a:lnTo>
                  <a:lnTo>
                    <a:pt x="47" y="342"/>
                  </a:lnTo>
                  <a:lnTo>
                    <a:pt x="36" y="325"/>
                  </a:lnTo>
                  <a:lnTo>
                    <a:pt x="26" y="308"/>
                  </a:lnTo>
                  <a:lnTo>
                    <a:pt x="16" y="291"/>
                  </a:lnTo>
                  <a:lnTo>
                    <a:pt x="10" y="271"/>
                  </a:lnTo>
                  <a:lnTo>
                    <a:pt x="4" y="251"/>
                  </a:lnTo>
                  <a:lnTo>
                    <a:pt x="2" y="229"/>
                  </a:lnTo>
                  <a:lnTo>
                    <a:pt x="0" y="209"/>
                  </a:lnTo>
                  <a:lnTo>
                    <a:pt x="0" y="209"/>
                  </a:lnTo>
                  <a:lnTo>
                    <a:pt x="2" y="188"/>
                  </a:lnTo>
                  <a:lnTo>
                    <a:pt x="4" y="167"/>
                  </a:lnTo>
                  <a:lnTo>
                    <a:pt x="10" y="147"/>
                  </a:lnTo>
                  <a:lnTo>
                    <a:pt x="16" y="128"/>
                  </a:lnTo>
                  <a:lnTo>
                    <a:pt x="26" y="110"/>
                  </a:lnTo>
                  <a:lnTo>
                    <a:pt x="36" y="93"/>
                  </a:lnTo>
                  <a:lnTo>
                    <a:pt x="47" y="75"/>
                  </a:lnTo>
                  <a:lnTo>
                    <a:pt x="62" y="61"/>
                  </a:lnTo>
                  <a:lnTo>
                    <a:pt x="76" y="48"/>
                  </a:lnTo>
                  <a:lnTo>
                    <a:pt x="92" y="36"/>
                  </a:lnTo>
                  <a:lnTo>
                    <a:pt x="109" y="26"/>
                  </a:lnTo>
                  <a:lnTo>
                    <a:pt x="128" y="17"/>
                  </a:lnTo>
                  <a:lnTo>
                    <a:pt x="146" y="10"/>
                  </a:lnTo>
                  <a:lnTo>
                    <a:pt x="166" y="4"/>
                  </a:lnTo>
                  <a:lnTo>
                    <a:pt x="186" y="1"/>
                  </a:lnTo>
                  <a:lnTo>
                    <a:pt x="208" y="0"/>
                  </a:lnTo>
                  <a:lnTo>
                    <a:pt x="208" y="0"/>
                  </a:lnTo>
                  <a:lnTo>
                    <a:pt x="229" y="1"/>
                  </a:lnTo>
                  <a:lnTo>
                    <a:pt x="249" y="4"/>
                  </a:lnTo>
                  <a:lnTo>
                    <a:pt x="269" y="10"/>
                  </a:lnTo>
                  <a:lnTo>
                    <a:pt x="289" y="17"/>
                  </a:lnTo>
                  <a:lnTo>
                    <a:pt x="306" y="26"/>
                  </a:lnTo>
                  <a:lnTo>
                    <a:pt x="324" y="36"/>
                  </a:lnTo>
                  <a:lnTo>
                    <a:pt x="339" y="48"/>
                  </a:lnTo>
                  <a:lnTo>
                    <a:pt x="355" y="61"/>
                  </a:lnTo>
                  <a:lnTo>
                    <a:pt x="368" y="75"/>
                  </a:lnTo>
                  <a:lnTo>
                    <a:pt x="379" y="93"/>
                  </a:lnTo>
                  <a:lnTo>
                    <a:pt x="391" y="110"/>
                  </a:lnTo>
                  <a:lnTo>
                    <a:pt x="400" y="128"/>
                  </a:lnTo>
                  <a:lnTo>
                    <a:pt x="407" y="147"/>
                  </a:lnTo>
                  <a:lnTo>
                    <a:pt x="411" y="167"/>
                  </a:lnTo>
                  <a:lnTo>
                    <a:pt x="414" y="188"/>
                  </a:lnTo>
                  <a:lnTo>
                    <a:pt x="415" y="209"/>
                  </a:lnTo>
                  <a:lnTo>
                    <a:pt x="415" y="209"/>
                  </a:lnTo>
                  <a:close/>
                  <a:moveTo>
                    <a:pt x="415" y="209"/>
                  </a:moveTo>
                  <a:lnTo>
                    <a:pt x="415" y="20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5" name="Freeform 23"/>
            <p:cNvSpPr>
              <a:spLocks/>
            </p:cNvSpPr>
            <p:nvPr userDrawn="1"/>
          </p:nvSpPr>
          <p:spPr bwMode="auto">
            <a:xfrm>
              <a:off x="5526" y="673"/>
              <a:ext cx="138" cy="139"/>
            </a:xfrm>
            <a:custGeom>
              <a:avLst/>
              <a:gdLst>
                <a:gd name="T0" fmla="*/ 415 w 415"/>
                <a:gd name="T1" fmla="*/ 209 h 417"/>
                <a:gd name="T2" fmla="*/ 411 w 415"/>
                <a:gd name="T3" fmla="*/ 251 h 417"/>
                <a:gd name="T4" fmla="*/ 400 w 415"/>
                <a:gd name="T5" fmla="*/ 291 h 417"/>
                <a:gd name="T6" fmla="*/ 379 w 415"/>
                <a:gd name="T7" fmla="*/ 325 h 417"/>
                <a:gd name="T8" fmla="*/ 355 w 415"/>
                <a:gd name="T9" fmla="*/ 356 h 417"/>
                <a:gd name="T10" fmla="*/ 324 w 415"/>
                <a:gd name="T11" fmla="*/ 382 h 417"/>
                <a:gd name="T12" fmla="*/ 289 w 415"/>
                <a:gd name="T13" fmla="*/ 400 h 417"/>
                <a:gd name="T14" fmla="*/ 249 w 415"/>
                <a:gd name="T15" fmla="*/ 413 h 417"/>
                <a:gd name="T16" fmla="*/ 208 w 415"/>
                <a:gd name="T17" fmla="*/ 417 h 417"/>
                <a:gd name="T18" fmla="*/ 186 w 415"/>
                <a:gd name="T19" fmla="*/ 416 h 417"/>
                <a:gd name="T20" fmla="*/ 146 w 415"/>
                <a:gd name="T21" fmla="*/ 407 h 417"/>
                <a:gd name="T22" fmla="*/ 109 w 415"/>
                <a:gd name="T23" fmla="*/ 392 h 417"/>
                <a:gd name="T24" fmla="*/ 76 w 415"/>
                <a:gd name="T25" fmla="*/ 370 h 417"/>
                <a:gd name="T26" fmla="*/ 47 w 415"/>
                <a:gd name="T27" fmla="*/ 342 h 417"/>
                <a:gd name="T28" fmla="*/ 26 w 415"/>
                <a:gd name="T29" fmla="*/ 308 h 417"/>
                <a:gd name="T30" fmla="*/ 10 w 415"/>
                <a:gd name="T31" fmla="*/ 271 h 417"/>
                <a:gd name="T32" fmla="*/ 2 w 415"/>
                <a:gd name="T33" fmla="*/ 229 h 417"/>
                <a:gd name="T34" fmla="*/ 0 w 415"/>
                <a:gd name="T35" fmla="*/ 209 h 417"/>
                <a:gd name="T36" fmla="*/ 4 w 415"/>
                <a:gd name="T37" fmla="*/ 167 h 417"/>
                <a:gd name="T38" fmla="*/ 16 w 415"/>
                <a:gd name="T39" fmla="*/ 128 h 417"/>
                <a:gd name="T40" fmla="*/ 36 w 415"/>
                <a:gd name="T41" fmla="*/ 93 h 417"/>
                <a:gd name="T42" fmla="*/ 62 w 415"/>
                <a:gd name="T43" fmla="*/ 61 h 417"/>
                <a:gd name="T44" fmla="*/ 92 w 415"/>
                <a:gd name="T45" fmla="*/ 36 h 417"/>
                <a:gd name="T46" fmla="*/ 128 w 415"/>
                <a:gd name="T47" fmla="*/ 17 h 417"/>
                <a:gd name="T48" fmla="*/ 166 w 415"/>
                <a:gd name="T49" fmla="*/ 4 h 417"/>
                <a:gd name="T50" fmla="*/ 208 w 415"/>
                <a:gd name="T51" fmla="*/ 0 h 417"/>
                <a:gd name="T52" fmla="*/ 229 w 415"/>
                <a:gd name="T53" fmla="*/ 1 h 417"/>
                <a:gd name="T54" fmla="*/ 269 w 415"/>
                <a:gd name="T55" fmla="*/ 10 h 417"/>
                <a:gd name="T56" fmla="*/ 306 w 415"/>
                <a:gd name="T57" fmla="*/ 26 h 417"/>
                <a:gd name="T58" fmla="*/ 339 w 415"/>
                <a:gd name="T59" fmla="*/ 48 h 417"/>
                <a:gd name="T60" fmla="*/ 368 w 415"/>
                <a:gd name="T61" fmla="*/ 75 h 417"/>
                <a:gd name="T62" fmla="*/ 391 w 415"/>
                <a:gd name="T63" fmla="*/ 110 h 417"/>
                <a:gd name="T64" fmla="*/ 407 w 415"/>
                <a:gd name="T65" fmla="*/ 147 h 417"/>
                <a:gd name="T66" fmla="*/ 414 w 415"/>
                <a:gd name="T67" fmla="*/ 188 h 417"/>
                <a:gd name="T68" fmla="*/ 415 w 415"/>
                <a:gd name="T69" fmla="*/ 209 h 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15" h="417">
                  <a:moveTo>
                    <a:pt x="415" y="209"/>
                  </a:moveTo>
                  <a:lnTo>
                    <a:pt x="415" y="209"/>
                  </a:lnTo>
                  <a:lnTo>
                    <a:pt x="414" y="229"/>
                  </a:lnTo>
                  <a:lnTo>
                    <a:pt x="411" y="251"/>
                  </a:lnTo>
                  <a:lnTo>
                    <a:pt x="407" y="271"/>
                  </a:lnTo>
                  <a:lnTo>
                    <a:pt x="400" y="291"/>
                  </a:lnTo>
                  <a:lnTo>
                    <a:pt x="391" y="308"/>
                  </a:lnTo>
                  <a:lnTo>
                    <a:pt x="379" y="325"/>
                  </a:lnTo>
                  <a:lnTo>
                    <a:pt x="368" y="342"/>
                  </a:lnTo>
                  <a:lnTo>
                    <a:pt x="355" y="356"/>
                  </a:lnTo>
                  <a:lnTo>
                    <a:pt x="339" y="370"/>
                  </a:lnTo>
                  <a:lnTo>
                    <a:pt x="324" y="382"/>
                  </a:lnTo>
                  <a:lnTo>
                    <a:pt x="306" y="392"/>
                  </a:lnTo>
                  <a:lnTo>
                    <a:pt x="289" y="400"/>
                  </a:lnTo>
                  <a:lnTo>
                    <a:pt x="269" y="407"/>
                  </a:lnTo>
                  <a:lnTo>
                    <a:pt x="249" y="413"/>
                  </a:lnTo>
                  <a:lnTo>
                    <a:pt x="229" y="416"/>
                  </a:lnTo>
                  <a:lnTo>
                    <a:pt x="208" y="417"/>
                  </a:lnTo>
                  <a:lnTo>
                    <a:pt x="208" y="417"/>
                  </a:lnTo>
                  <a:lnTo>
                    <a:pt x="186" y="416"/>
                  </a:lnTo>
                  <a:lnTo>
                    <a:pt x="166" y="413"/>
                  </a:lnTo>
                  <a:lnTo>
                    <a:pt x="146" y="407"/>
                  </a:lnTo>
                  <a:lnTo>
                    <a:pt x="128" y="400"/>
                  </a:lnTo>
                  <a:lnTo>
                    <a:pt x="109" y="392"/>
                  </a:lnTo>
                  <a:lnTo>
                    <a:pt x="92" y="382"/>
                  </a:lnTo>
                  <a:lnTo>
                    <a:pt x="76" y="370"/>
                  </a:lnTo>
                  <a:lnTo>
                    <a:pt x="62" y="356"/>
                  </a:lnTo>
                  <a:lnTo>
                    <a:pt x="47" y="342"/>
                  </a:lnTo>
                  <a:lnTo>
                    <a:pt x="36" y="325"/>
                  </a:lnTo>
                  <a:lnTo>
                    <a:pt x="26" y="308"/>
                  </a:lnTo>
                  <a:lnTo>
                    <a:pt x="16" y="291"/>
                  </a:lnTo>
                  <a:lnTo>
                    <a:pt x="10" y="271"/>
                  </a:lnTo>
                  <a:lnTo>
                    <a:pt x="4" y="251"/>
                  </a:lnTo>
                  <a:lnTo>
                    <a:pt x="2" y="229"/>
                  </a:lnTo>
                  <a:lnTo>
                    <a:pt x="0" y="209"/>
                  </a:lnTo>
                  <a:lnTo>
                    <a:pt x="0" y="209"/>
                  </a:lnTo>
                  <a:lnTo>
                    <a:pt x="2" y="188"/>
                  </a:lnTo>
                  <a:lnTo>
                    <a:pt x="4" y="167"/>
                  </a:lnTo>
                  <a:lnTo>
                    <a:pt x="10" y="147"/>
                  </a:lnTo>
                  <a:lnTo>
                    <a:pt x="16" y="128"/>
                  </a:lnTo>
                  <a:lnTo>
                    <a:pt x="26" y="110"/>
                  </a:lnTo>
                  <a:lnTo>
                    <a:pt x="36" y="93"/>
                  </a:lnTo>
                  <a:lnTo>
                    <a:pt x="47" y="75"/>
                  </a:lnTo>
                  <a:lnTo>
                    <a:pt x="62" y="61"/>
                  </a:lnTo>
                  <a:lnTo>
                    <a:pt x="76" y="48"/>
                  </a:lnTo>
                  <a:lnTo>
                    <a:pt x="92" y="36"/>
                  </a:lnTo>
                  <a:lnTo>
                    <a:pt x="109" y="26"/>
                  </a:lnTo>
                  <a:lnTo>
                    <a:pt x="128" y="17"/>
                  </a:lnTo>
                  <a:lnTo>
                    <a:pt x="146" y="10"/>
                  </a:lnTo>
                  <a:lnTo>
                    <a:pt x="166" y="4"/>
                  </a:lnTo>
                  <a:lnTo>
                    <a:pt x="186" y="1"/>
                  </a:lnTo>
                  <a:lnTo>
                    <a:pt x="208" y="0"/>
                  </a:lnTo>
                  <a:lnTo>
                    <a:pt x="208" y="0"/>
                  </a:lnTo>
                  <a:lnTo>
                    <a:pt x="229" y="1"/>
                  </a:lnTo>
                  <a:lnTo>
                    <a:pt x="249" y="4"/>
                  </a:lnTo>
                  <a:lnTo>
                    <a:pt x="269" y="10"/>
                  </a:lnTo>
                  <a:lnTo>
                    <a:pt x="289" y="17"/>
                  </a:lnTo>
                  <a:lnTo>
                    <a:pt x="306" y="26"/>
                  </a:lnTo>
                  <a:lnTo>
                    <a:pt x="324" y="36"/>
                  </a:lnTo>
                  <a:lnTo>
                    <a:pt x="339" y="48"/>
                  </a:lnTo>
                  <a:lnTo>
                    <a:pt x="355" y="61"/>
                  </a:lnTo>
                  <a:lnTo>
                    <a:pt x="368" y="75"/>
                  </a:lnTo>
                  <a:lnTo>
                    <a:pt x="379" y="93"/>
                  </a:lnTo>
                  <a:lnTo>
                    <a:pt x="391" y="110"/>
                  </a:lnTo>
                  <a:lnTo>
                    <a:pt x="400" y="128"/>
                  </a:lnTo>
                  <a:lnTo>
                    <a:pt x="407" y="147"/>
                  </a:lnTo>
                  <a:lnTo>
                    <a:pt x="411" y="167"/>
                  </a:lnTo>
                  <a:lnTo>
                    <a:pt x="414" y="188"/>
                  </a:lnTo>
                  <a:lnTo>
                    <a:pt x="415" y="209"/>
                  </a:lnTo>
                  <a:lnTo>
                    <a:pt x="415" y="20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6" name="Line 24"/>
            <p:cNvSpPr>
              <a:spLocks noChangeShapeType="1"/>
            </p:cNvSpPr>
            <p:nvPr userDrawn="1"/>
          </p:nvSpPr>
          <p:spPr bwMode="auto">
            <a:xfrm>
              <a:off x="5664" y="742"/>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pic>
          <p:nvPicPr>
            <p:cNvPr id="37" name="Picture 25"/>
            <p:cNvPicPr>
              <a:picLocks noChangeAspect="1" noChangeArrowheads="1"/>
            </p:cNvPicPr>
            <p:nvPr userDrawn="1"/>
          </p:nvPicPr>
          <p:blipFill>
            <a:blip r:embed="rId8" cstate="hqprint">
              <a:extLst>
                <a:ext uri="{28A0092B-C50C-407E-A947-70E740481C1C}">
                  <a14:useLocalDpi xmlns:a14="http://schemas.microsoft.com/office/drawing/2010/main" val="0"/>
                </a:ext>
              </a:extLst>
            </a:blip>
            <a:srcRect/>
            <a:stretch>
              <a:fillRect/>
            </a:stretch>
          </p:blipFill>
          <p:spPr bwMode="auto">
            <a:xfrm>
              <a:off x="5478" y="637"/>
              <a:ext cx="282" cy="2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8" name="Freeform 26"/>
            <p:cNvSpPr>
              <a:spLocks noEditPoints="1"/>
            </p:cNvSpPr>
            <p:nvPr userDrawn="1"/>
          </p:nvSpPr>
          <p:spPr bwMode="auto">
            <a:xfrm>
              <a:off x="5563" y="717"/>
              <a:ext cx="44" cy="62"/>
            </a:xfrm>
            <a:custGeom>
              <a:avLst/>
              <a:gdLst>
                <a:gd name="T0" fmla="*/ 6 w 133"/>
                <a:gd name="T1" fmla="*/ 187 h 187"/>
                <a:gd name="T2" fmla="*/ 1 w 133"/>
                <a:gd name="T3" fmla="*/ 179 h 187"/>
                <a:gd name="T4" fmla="*/ 1 w 133"/>
                <a:gd name="T5" fmla="*/ 151 h 187"/>
                <a:gd name="T6" fmla="*/ 6 w 133"/>
                <a:gd name="T7" fmla="*/ 143 h 187"/>
                <a:gd name="T8" fmla="*/ 61 w 133"/>
                <a:gd name="T9" fmla="*/ 144 h 187"/>
                <a:gd name="T10" fmla="*/ 73 w 133"/>
                <a:gd name="T11" fmla="*/ 144 h 187"/>
                <a:gd name="T12" fmla="*/ 87 w 133"/>
                <a:gd name="T13" fmla="*/ 143 h 187"/>
                <a:gd name="T14" fmla="*/ 91 w 133"/>
                <a:gd name="T15" fmla="*/ 136 h 187"/>
                <a:gd name="T16" fmla="*/ 93 w 133"/>
                <a:gd name="T17" fmla="*/ 130 h 187"/>
                <a:gd name="T18" fmla="*/ 90 w 133"/>
                <a:gd name="T19" fmla="*/ 124 h 187"/>
                <a:gd name="T20" fmla="*/ 66 w 133"/>
                <a:gd name="T21" fmla="*/ 114 h 187"/>
                <a:gd name="T22" fmla="*/ 51 w 133"/>
                <a:gd name="T23" fmla="*/ 107 h 187"/>
                <a:gd name="T24" fmla="*/ 30 w 133"/>
                <a:gd name="T25" fmla="*/ 96 h 187"/>
                <a:gd name="T26" fmla="*/ 17 w 133"/>
                <a:gd name="T27" fmla="*/ 83 h 187"/>
                <a:gd name="T28" fmla="*/ 11 w 133"/>
                <a:gd name="T29" fmla="*/ 76 h 187"/>
                <a:gd name="T30" fmla="*/ 7 w 133"/>
                <a:gd name="T31" fmla="*/ 60 h 187"/>
                <a:gd name="T32" fmla="*/ 6 w 133"/>
                <a:gd name="T33" fmla="*/ 52 h 187"/>
                <a:gd name="T34" fmla="*/ 10 w 133"/>
                <a:gd name="T35" fmla="*/ 27 h 187"/>
                <a:gd name="T36" fmla="*/ 24 w 133"/>
                <a:gd name="T37" fmla="*/ 10 h 187"/>
                <a:gd name="T38" fmla="*/ 28 w 133"/>
                <a:gd name="T39" fmla="*/ 8 h 187"/>
                <a:gd name="T40" fmla="*/ 44 w 133"/>
                <a:gd name="T41" fmla="*/ 2 h 187"/>
                <a:gd name="T42" fmla="*/ 73 w 133"/>
                <a:gd name="T43" fmla="*/ 0 h 187"/>
                <a:gd name="T44" fmla="*/ 121 w 133"/>
                <a:gd name="T45" fmla="*/ 0 h 187"/>
                <a:gd name="T46" fmla="*/ 126 w 133"/>
                <a:gd name="T47" fmla="*/ 9 h 187"/>
                <a:gd name="T48" fmla="*/ 126 w 133"/>
                <a:gd name="T49" fmla="*/ 33 h 187"/>
                <a:gd name="T50" fmla="*/ 121 w 133"/>
                <a:gd name="T51" fmla="*/ 42 h 187"/>
                <a:gd name="T52" fmla="*/ 79 w 133"/>
                <a:gd name="T53" fmla="*/ 42 h 187"/>
                <a:gd name="T54" fmla="*/ 54 w 133"/>
                <a:gd name="T55" fmla="*/ 43 h 187"/>
                <a:gd name="T56" fmla="*/ 47 w 133"/>
                <a:gd name="T57" fmla="*/ 46 h 187"/>
                <a:gd name="T58" fmla="*/ 44 w 133"/>
                <a:gd name="T59" fmla="*/ 53 h 187"/>
                <a:gd name="T60" fmla="*/ 46 w 133"/>
                <a:gd name="T61" fmla="*/ 59 h 187"/>
                <a:gd name="T62" fmla="*/ 57 w 133"/>
                <a:gd name="T63" fmla="*/ 69 h 187"/>
                <a:gd name="T64" fmla="*/ 79 w 133"/>
                <a:gd name="T65" fmla="*/ 79 h 187"/>
                <a:gd name="T66" fmla="*/ 86 w 133"/>
                <a:gd name="T67" fmla="*/ 80 h 187"/>
                <a:gd name="T68" fmla="*/ 116 w 133"/>
                <a:gd name="T69" fmla="*/ 93 h 187"/>
                <a:gd name="T70" fmla="*/ 121 w 133"/>
                <a:gd name="T71" fmla="*/ 99 h 187"/>
                <a:gd name="T72" fmla="*/ 130 w 133"/>
                <a:gd name="T73" fmla="*/ 113 h 187"/>
                <a:gd name="T74" fmla="*/ 133 w 133"/>
                <a:gd name="T75" fmla="*/ 132 h 187"/>
                <a:gd name="T76" fmla="*/ 131 w 133"/>
                <a:gd name="T77" fmla="*/ 143 h 187"/>
                <a:gd name="T78" fmla="*/ 123 w 133"/>
                <a:gd name="T79" fmla="*/ 164 h 187"/>
                <a:gd name="T80" fmla="*/ 114 w 133"/>
                <a:gd name="T81" fmla="*/ 173 h 187"/>
                <a:gd name="T82" fmla="*/ 94 w 133"/>
                <a:gd name="T83" fmla="*/ 184 h 187"/>
                <a:gd name="T84" fmla="*/ 69 w 133"/>
                <a:gd name="T85" fmla="*/ 187 h 187"/>
                <a:gd name="T86" fmla="*/ 6 w 133"/>
                <a:gd name="T87"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3" h="187">
                  <a:moveTo>
                    <a:pt x="6" y="187"/>
                  </a:moveTo>
                  <a:lnTo>
                    <a:pt x="6" y="187"/>
                  </a:lnTo>
                  <a:lnTo>
                    <a:pt x="3" y="184"/>
                  </a:lnTo>
                  <a:lnTo>
                    <a:pt x="1" y="179"/>
                  </a:lnTo>
                  <a:lnTo>
                    <a:pt x="0" y="166"/>
                  </a:lnTo>
                  <a:lnTo>
                    <a:pt x="1" y="151"/>
                  </a:lnTo>
                  <a:lnTo>
                    <a:pt x="3" y="147"/>
                  </a:lnTo>
                  <a:lnTo>
                    <a:pt x="6" y="143"/>
                  </a:lnTo>
                  <a:lnTo>
                    <a:pt x="6" y="143"/>
                  </a:lnTo>
                  <a:lnTo>
                    <a:pt x="61" y="144"/>
                  </a:lnTo>
                  <a:lnTo>
                    <a:pt x="61" y="144"/>
                  </a:lnTo>
                  <a:lnTo>
                    <a:pt x="73" y="144"/>
                  </a:lnTo>
                  <a:lnTo>
                    <a:pt x="83" y="144"/>
                  </a:lnTo>
                  <a:lnTo>
                    <a:pt x="87" y="143"/>
                  </a:lnTo>
                  <a:lnTo>
                    <a:pt x="90" y="140"/>
                  </a:lnTo>
                  <a:lnTo>
                    <a:pt x="91" y="136"/>
                  </a:lnTo>
                  <a:lnTo>
                    <a:pt x="93" y="130"/>
                  </a:lnTo>
                  <a:lnTo>
                    <a:pt x="93" y="130"/>
                  </a:lnTo>
                  <a:lnTo>
                    <a:pt x="91" y="127"/>
                  </a:lnTo>
                  <a:lnTo>
                    <a:pt x="90" y="124"/>
                  </a:lnTo>
                  <a:lnTo>
                    <a:pt x="84" y="122"/>
                  </a:lnTo>
                  <a:lnTo>
                    <a:pt x="66" y="114"/>
                  </a:lnTo>
                  <a:lnTo>
                    <a:pt x="51" y="107"/>
                  </a:lnTo>
                  <a:lnTo>
                    <a:pt x="51" y="107"/>
                  </a:lnTo>
                  <a:lnTo>
                    <a:pt x="40" y="102"/>
                  </a:lnTo>
                  <a:lnTo>
                    <a:pt x="30" y="96"/>
                  </a:lnTo>
                  <a:lnTo>
                    <a:pt x="23" y="89"/>
                  </a:lnTo>
                  <a:lnTo>
                    <a:pt x="17" y="83"/>
                  </a:lnTo>
                  <a:lnTo>
                    <a:pt x="17" y="83"/>
                  </a:lnTo>
                  <a:lnTo>
                    <a:pt x="11" y="76"/>
                  </a:lnTo>
                  <a:lnTo>
                    <a:pt x="8" y="69"/>
                  </a:lnTo>
                  <a:lnTo>
                    <a:pt x="7" y="60"/>
                  </a:lnTo>
                  <a:lnTo>
                    <a:pt x="6" y="52"/>
                  </a:lnTo>
                  <a:lnTo>
                    <a:pt x="6" y="52"/>
                  </a:lnTo>
                  <a:lnTo>
                    <a:pt x="7" y="39"/>
                  </a:lnTo>
                  <a:lnTo>
                    <a:pt x="10" y="27"/>
                  </a:lnTo>
                  <a:lnTo>
                    <a:pt x="16" y="19"/>
                  </a:lnTo>
                  <a:lnTo>
                    <a:pt x="24" y="10"/>
                  </a:lnTo>
                  <a:lnTo>
                    <a:pt x="24" y="10"/>
                  </a:lnTo>
                  <a:lnTo>
                    <a:pt x="28" y="8"/>
                  </a:lnTo>
                  <a:lnTo>
                    <a:pt x="33" y="5"/>
                  </a:lnTo>
                  <a:lnTo>
                    <a:pt x="44" y="2"/>
                  </a:lnTo>
                  <a:lnTo>
                    <a:pt x="58" y="0"/>
                  </a:lnTo>
                  <a:lnTo>
                    <a:pt x="73" y="0"/>
                  </a:lnTo>
                  <a:lnTo>
                    <a:pt x="121" y="0"/>
                  </a:lnTo>
                  <a:lnTo>
                    <a:pt x="121" y="0"/>
                  </a:lnTo>
                  <a:lnTo>
                    <a:pt x="124" y="3"/>
                  </a:lnTo>
                  <a:lnTo>
                    <a:pt x="126" y="9"/>
                  </a:lnTo>
                  <a:lnTo>
                    <a:pt x="127" y="20"/>
                  </a:lnTo>
                  <a:lnTo>
                    <a:pt x="126" y="33"/>
                  </a:lnTo>
                  <a:lnTo>
                    <a:pt x="124" y="39"/>
                  </a:lnTo>
                  <a:lnTo>
                    <a:pt x="121" y="42"/>
                  </a:lnTo>
                  <a:lnTo>
                    <a:pt x="79" y="42"/>
                  </a:lnTo>
                  <a:lnTo>
                    <a:pt x="79" y="42"/>
                  </a:lnTo>
                  <a:lnTo>
                    <a:pt x="66" y="42"/>
                  </a:lnTo>
                  <a:lnTo>
                    <a:pt x="54" y="43"/>
                  </a:lnTo>
                  <a:lnTo>
                    <a:pt x="50" y="45"/>
                  </a:lnTo>
                  <a:lnTo>
                    <a:pt x="47" y="46"/>
                  </a:lnTo>
                  <a:lnTo>
                    <a:pt x="46" y="49"/>
                  </a:lnTo>
                  <a:lnTo>
                    <a:pt x="44" y="53"/>
                  </a:lnTo>
                  <a:lnTo>
                    <a:pt x="44" y="53"/>
                  </a:lnTo>
                  <a:lnTo>
                    <a:pt x="46" y="59"/>
                  </a:lnTo>
                  <a:lnTo>
                    <a:pt x="51" y="63"/>
                  </a:lnTo>
                  <a:lnTo>
                    <a:pt x="57" y="69"/>
                  </a:lnTo>
                  <a:lnTo>
                    <a:pt x="64" y="72"/>
                  </a:lnTo>
                  <a:lnTo>
                    <a:pt x="79" y="79"/>
                  </a:lnTo>
                  <a:lnTo>
                    <a:pt x="86" y="80"/>
                  </a:lnTo>
                  <a:lnTo>
                    <a:pt x="86" y="80"/>
                  </a:lnTo>
                  <a:lnTo>
                    <a:pt x="109" y="89"/>
                  </a:lnTo>
                  <a:lnTo>
                    <a:pt x="116" y="93"/>
                  </a:lnTo>
                  <a:lnTo>
                    <a:pt x="121" y="99"/>
                  </a:lnTo>
                  <a:lnTo>
                    <a:pt x="121" y="99"/>
                  </a:lnTo>
                  <a:lnTo>
                    <a:pt x="127" y="104"/>
                  </a:lnTo>
                  <a:lnTo>
                    <a:pt x="130" y="113"/>
                  </a:lnTo>
                  <a:lnTo>
                    <a:pt x="133" y="122"/>
                  </a:lnTo>
                  <a:lnTo>
                    <a:pt x="133" y="132"/>
                  </a:lnTo>
                  <a:lnTo>
                    <a:pt x="133" y="132"/>
                  </a:lnTo>
                  <a:lnTo>
                    <a:pt x="131" y="143"/>
                  </a:lnTo>
                  <a:lnTo>
                    <a:pt x="129" y="154"/>
                  </a:lnTo>
                  <a:lnTo>
                    <a:pt x="123" y="164"/>
                  </a:lnTo>
                  <a:lnTo>
                    <a:pt x="114" y="173"/>
                  </a:lnTo>
                  <a:lnTo>
                    <a:pt x="114" y="173"/>
                  </a:lnTo>
                  <a:lnTo>
                    <a:pt x="104" y="180"/>
                  </a:lnTo>
                  <a:lnTo>
                    <a:pt x="94" y="184"/>
                  </a:lnTo>
                  <a:lnTo>
                    <a:pt x="83" y="187"/>
                  </a:lnTo>
                  <a:lnTo>
                    <a:pt x="69" y="187"/>
                  </a:lnTo>
                  <a:lnTo>
                    <a:pt x="6" y="187"/>
                  </a:lnTo>
                  <a:close/>
                  <a:moveTo>
                    <a:pt x="6" y="187"/>
                  </a:moveTo>
                  <a:lnTo>
                    <a:pt x="6" y="18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9" name="Freeform 27"/>
            <p:cNvSpPr>
              <a:spLocks/>
            </p:cNvSpPr>
            <p:nvPr userDrawn="1"/>
          </p:nvSpPr>
          <p:spPr bwMode="auto">
            <a:xfrm>
              <a:off x="5563" y="717"/>
              <a:ext cx="44" cy="62"/>
            </a:xfrm>
            <a:custGeom>
              <a:avLst/>
              <a:gdLst>
                <a:gd name="T0" fmla="*/ 6 w 133"/>
                <a:gd name="T1" fmla="*/ 187 h 187"/>
                <a:gd name="T2" fmla="*/ 1 w 133"/>
                <a:gd name="T3" fmla="*/ 179 h 187"/>
                <a:gd name="T4" fmla="*/ 1 w 133"/>
                <a:gd name="T5" fmla="*/ 151 h 187"/>
                <a:gd name="T6" fmla="*/ 6 w 133"/>
                <a:gd name="T7" fmla="*/ 143 h 187"/>
                <a:gd name="T8" fmla="*/ 61 w 133"/>
                <a:gd name="T9" fmla="*/ 144 h 187"/>
                <a:gd name="T10" fmla="*/ 73 w 133"/>
                <a:gd name="T11" fmla="*/ 144 h 187"/>
                <a:gd name="T12" fmla="*/ 87 w 133"/>
                <a:gd name="T13" fmla="*/ 143 h 187"/>
                <a:gd name="T14" fmla="*/ 91 w 133"/>
                <a:gd name="T15" fmla="*/ 136 h 187"/>
                <a:gd name="T16" fmla="*/ 93 w 133"/>
                <a:gd name="T17" fmla="*/ 130 h 187"/>
                <a:gd name="T18" fmla="*/ 90 w 133"/>
                <a:gd name="T19" fmla="*/ 124 h 187"/>
                <a:gd name="T20" fmla="*/ 66 w 133"/>
                <a:gd name="T21" fmla="*/ 114 h 187"/>
                <a:gd name="T22" fmla="*/ 51 w 133"/>
                <a:gd name="T23" fmla="*/ 107 h 187"/>
                <a:gd name="T24" fmla="*/ 30 w 133"/>
                <a:gd name="T25" fmla="*/ 96 h 187"/>
                <a:gd name="T26" fmla="*/ 17 w 133"/>
                <a:gd name="T27" fmla="*/ 83 h 187"/>
                <a:gd name="T28" fmla="*/ 11 w 133"/>
                <a:gd name="T29" fmla="*/ 76 h 187"/>
                <a:gd name="T30" fmla="*/ 7 w 133"/>
                <a:gd name="T31" fmla="*/ 60 h 187"/>
                <a:gd name="T32" fmla="*/ 6 w 133"/>
                <a:gd name="T33" fmla="*/ 52 h 187"/>
                <a:gd name="T34" fmla="*/ 10 w 133"/>
                <a:gd name="T35" fmla="*/ 27 h 187"/>
                <a:gd name="T36" fmla="*/ 24 w 133"/>
                <a:gd name="T37" fmla="*/ 10 h 187"/>
                <a:gd name="T38" fmla="*/ 28 w 133"/>
                <a:gd name="T39" fmla="*/ 8 h 187"/>
                <a:gd name="T40" fmla="*/ 44 w 133"/>
                <a:gd name="T41" fmla="*/ 2 h 187"/>
                <a:gd name="T42" fmla="*/ 73 w 133"/>
                <a:gd name="T43" fmla="*/ 0 h 187"/>
                <a:gd name="T44" fmla="*/ 121 w 133"/>
                <a:gd name="T45" fmla="*/ 0 h 187"/>
                <a:gd name="T46" fmla="*/ 126 w 133"/>
                <a:gd name="T47" fmla="*/ 9 h 187"/>
                <a:gd name="T48" fmla="*/ 126 w 133"/>
                <a:gd name="T49" fmla="*/ 33 h 187"/>
                <a:gd name="T50" fmla="*/ 121 w 133"/>
                <a:gd name="T51" fmla="*/ 42 h 187"/>
                <a:gd name="T52" fmla="*/ 79 w 133"/>
                <a:gd name="T53" fmla="*/ 42 h 187"/>
                <a:gd name="T54" fmla="*/ 54 w 133"/>
                <a:gd name="T55" fmla="*/ 43 h 187"/>
                <a:gd name="T56" fmla="*/ 47 w 133"/>
                <a:gd name="T57" fmla="*/ 46 h 187"/>
                <a:gd name="T58" fmla="*/ 44 w 133"/>
                <a:gd name="T59" fmla="*/ 53 h 187"/>
                <a:gd name="T60" fmla="*/ 46 w 133"/>
                <a:gd name="T61" fmla="*/ 59 h 187"/>
                <a:gd name="T62" fmla="*/ 57 w 133"/>
                <a:gd name="T63" fmla="*/ 69 h 187"/>
                <a:gd name="T64" fmla="*/ 79 w 133"/>
                <a:gd name="T65" fmla="*/ 79 h 187"/>
                <a:gd name="T66" fmla="*/ 86 w 133"/>
                <a:gd name="T67" fmla="*/ 80 h 187"/>
                <a:gd name="T68" fmla="*/ 116 w 133"/>
                <a:gd name="T69" fmla="*/ 93 h 187"/>
                <a:gd name="T70" fmla="*/ 121 w 133"/>
                <a:gd name="T71" fmla="*/ 99 h 187"/>
                <a:gd name="T72" fmla="*/ 130 w 133"/>
                <a:gd name="T73" fmla="*/ 113 h 187"/>
                <a:gd name="T74" fmla="*/ 133 w 133"/>
                <a:gd name="T75" fmla="*/ 132 h 187"/>
                <a:gd name="T76" fmla="*/ 131 w 133"/>
                <a:gd name="T77" fmla="*/ 143 h 187"/>
                <a:gd name="T78" fmla="*/ 123 w 133"/>
                <a:gd name="T79" fmla="*/ 164 h 187"/>
                <a:gd name="T80" fmla="*/ 114 w 133"/>
                <a:gd name="T81" fmla="*/ 173 h 187"/>
                <a:gd name="T82" fmla="*/ 94 w 133"/>
                <a:gd name="T83" fmla="*/ 184 h 187"/>
                <a:gd name="T84" fmla="*/ 69 w 133"/>
                <a:gd name="T85"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33" h="187">
                  <a:moveTo>
                    <a:pt x="6" y="187"/>
                  </a:moveTo>
                  <a:lnTo>
                    <a:pt x="6" y="187"/>
                  </a:lnTo>
                  <a:lnTo>
                    <a:pt x="3" y="184"/>
                  </a:lnTo>
                  <a:lnTo>
                    <a:pt x="1" y="179"/>
                  </a:lnTo>
                  <a:lnTo>
                    <a:pt x="0" y="166"/>
                  </a:lnTo>
                  <a:lnTo>
                    <a:pt x="1" y="151"/>
                  </a:lnTo>
                  <a:lnTo>
                    <a:pt x="3" y="147"/>
                  </a:lnTo>
                  <a:lnTo>
                    <a:pt x="6" y="143"/>
                  </a:lnTo>
                  <a:lnTo>
                    <a:pt x="6" y="143"/>
                  </a:lnTo>
                  <a:lnTo>
                    <a:pt x="61" y="144"/>
                  </a:lnTo>
                  <a:lnTo>
                    <a:pt x="61" y="144"/>
                  </a:lnTo>
                  <a:lnTo>
                    <a:pt x="73" y="144"/>
                  </a:lnTo>
                  <a:lnTo>
                    <a:pt x="83" y="144"/>
                  </a:lnTo>
                  <a:lnTo>
                    <a:pt x="87" y="143"/>
                  </a:lnTo>
                  <a:lnTo>
                    <a:pt x="90" y="140"/>
                  </a:lnTo>
                  <a:lnTo>
                    <a:pt x="91" y="136"/>
                  </a:lnTo>
                  <a:lnTo>
                    <a:pt x="93" y="130"/>
                  </a:lnTo>
                  <a:lnTo>
                    <a:pt x="93" y="130"/>
                  </a:lnTo>
                  <a:lnTo>
                    <a:pt x="91" y="127"/>
                  </a:lnTo>
                  <a:lnTo>
                    <a:pt x="90" y="124"/>
                  </a:lnTo>
                  <a:lnTo>
                    <a:pt x="84" y="122"/>
                  </a:lnTo>
                  <a:lnTo>
                    <a:pt x="66" y="114"/>
                  </a:lnTo>
                  <a:lnTo>
                    <a:pt x="51" y="107"/>
                  </a:lnTo>
                  <a:lnTo>
                    <a:pt x="51" y="107"/>
                  </a:lnTo>
                  <a:lnTo>
                    <a:pt x="40" y="102"/>
                  </a:lnTo>
                  <a:lnTo>
                    <a:pt x="30" y="96"/>
                  </a:lnTo>
                  <a:lnTo>
                    <a:pt x="23" y="89"/>
                  </a:lnTo>
                  <a:lnTo>
                    <a:pt x="17" y="83"/>
                  </a:lnTo>
                  <a:lnTo>
                    <a:pt x="17" y="83"/>
                  </a:lnTo>
                  <a:lnTo>
                    <a:pt x="11" y="76"/>
                  </a:lnTo>
                  <a:lnTo>
                    <a:pt x="8" y="69"/>
                  </a:lnTo>
                  <a:lnTo>
                    <a:pt x="7" y="60"/>
                  </a:lnTo>
                  <a:lnTo>
                    <a:pt x="6" y="52"/>
                  </a:lnTo>
                  <a:lnTo>
                    <a:pt x="6" y="52"/>
                  </a:lnTo>
                  <a:lnTo>
                    <a:pt x="7" y="39"/>
                  </a:lnTo>
                  <a:lnTo>
                    <a:pt x="10" y="27"/>
                  </a:lnTo>
                  <a:lnTo>
                    <a:pt x="16" y="19"/>
                  </a:lnTo>
                  <a:lnTo>
                    <a:pt x="24" y="10"/>
                  </a:lnTo>
                  <a:lnTo>
                    <a:pt x="24" y="10"/>
                  </a:lnTo>
                  <a:lnTo>
                    <a:pt x="28" y="8"/>
                  </a:lnTo>
                  <a:lnTo>
                    <a:pt x="33" y="5"/>
                  </a:lnTo>
                  <a:lnTo>
                    <a:pt x="44" y="2"/>
                  </a:lnTo>
                  <a:lnTo>
                    <a:pt x="58" y="0"/>
                  </a:lnTo>
                  <a:lnTo>
                    <a:pt x="73" y="0"/>
                  </a:lnTo>
                  <a:lnTo>
                    <a:pt x="121" y="0"/>
                  </a:lnTo>
                  <a:lnTo>
                    <a:pt x="121" y="0"/>
                  </a:lnTo>
                  <a:lnTo>
                    <a:pt x="124" y="3"/>
                  </a:lnTo>
                  <a:lnTo>
                    <a:pt x="126" y="9"/>
                  </a:lnTo>
                  <a:lnTo>
                    <a:pt x="127" y="20"/>
                  </a:lnTo>
                  <a:lnTo>
                    <a:pt x="126" y="33"/>
                  </a:lnTo>
                  <a:lnTo>
                    <a:pt x="124" y="39"/>
                  </a:lnTo>
                  <a:lnTo>
                    <a:pt x="121" y="42"/>
                  </a:lnTo>
                  <a:lnTo>
                    <a:pt x="79" y="42"/>
                  </a:lnTo>
                  <a:lnTo>
                    <a:pt x="79" y="42"/>
                  </a:lnTo>
                  <a:lnTo>
                    <a:pt x="66" y="42"/>
                  </a:lnTo>
                  <a:lnTo>
                    <a:pt x="54" y="43"/>
                  </a:lnTo>
                  <a:lnTo>
                    <a:pt x="50" y="45"/>
                  </a:lnTo>
                  <a:lnTo>
                    <a:pt x="47" y="46"/>
                  </a:lnTo>
                  <a:lnTo>
                    <a:pt x="46" y="49"/>
                  </a:lnTo>
                  <a:lnTo>
                    <a:pt x="44" y="53"/>
                  </a:lnTo>
                  <a:lnTo>
                    <a:pt x="44" y="53"/>
                  </a:lnTo>
                  <a:lnTo>
                    <a:pt x="46" y="59"/>
                  </a:lnTo>
                  <a:lnTo>
                    <a:pt x="51" y="63"/>
                  </a:lnTo>
                  <a:lnTo>
                    <a:pt x="57" y="69"/>
                  </a:lnTo>
                  <a:lnTo>
                    <a:pt x="64" y="72"/>
                  </a:lnTo>
                  <a:lnTo>
                    <a:pt x="79" y="79"/>
                  </a:lnTo>
                  <a:lnTo>
                    <a:pt x="86" y="80"/>
                  </a:lnTo>
                  <a:lnTo>
                    <a:pt x="86" y="80"/>
                  </a:lnTo>
                  <a:lnTo>
                    <a:pt x="109" y="89"/>
                  </a:lnTo>
                  <a:lnTo>
                    <a:pt x="116" y="93"/>
                  </a:lnTo>
                  <a:lnTo>
                    <a:pt x="121" y="99"/>
                  </a:lnTo>
                  <a:lnTo>
                    <a:pt x="121" y="99"/>
                  </a:lnTo>
                  <a:lnTo>
                    <a:pt x="127" y="104"/>
                  </a:lnTo>
                  <a:lnTo>
                    <a:pt x="130" y="113"/>
                  </a:lnTo>
                  <a:lnTo>
                    <a:pt x="133" y="122"/>
                  </a:lnTo>
                  <a:lnTo>
                    <a:pt x="133" y="132"/>
                  </a:lnTo>
                  <a:lnTo>
                    <a:pt x="133" y="132"/>
                  </a:lnTo>
                  <a:lnTo>
                    <a:pt x="131" y="143"/>
                  </a:lnTo>
                  <a:lnTo>
                    <a:pt x="129" y="154"/>
                  </a:lnTo>
                  <a:lnTo>
                    <a:pt x="123" y="164"/>
                  </a:lnTo>
                  <a:lnTo>
                    <a:pt x="114" y="173"/>
                  </a:lnTo>
                  <a:lnTo>
                    <a:pt x="114" y="173"/>
                  </a:lnTo>
                  <a:lnTo>
                    <a:pt x="104" y="180"/>
                  </a:lnTo>
                  <a:lnTo>
                    <a:pt x="94" y="184"/>
                  </a:lnTo>
                  <a:lnTo>
                    <a:pt x="83" y="187"/>
                  </a:lnTo>
                  <a:lnTo>
                    <a:pt x="69" y="187"/>
                  </a:lnTo>
                  <a:lnTo>
                    <a:pt x="6" y="18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0" name="Line 28"/>
            <p:cNvSpPr>
              <a:spLocks noChangeShapeType="1"/>
            </p:cNvSpPr>
            <p:nvPr userDrawn="1"/>
          </p:nvSpPr>
          <p:spPr bwMode="auto">
            <a:xfrm>
              <a:off x="5565" y="779"/>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1" name="Freeform 29"/>
            <p:cNvSpPr>
              <a:spLocks noEditPoints="1"/>
            </p:cNvSpPr>
            <p:nvPr userDrawn="1"/>
          </p:nvSpPr>
          <p:spPr bwMode="auto">
            <a:xfrm>
              <a:off x="5671" y="717"/>
              <a:ext cx="80" cy="63"/>
            </a:xfrm>
            <a:custGeom>
              <a:avLst/>
              <a:gdLst>
                <a:gd name="T0" fmla="*/ 0 w 242"/>
                <a:gd name="T1" fmla="*/ 0 h 191"/>
                <a:gd name="T2" fmla="*/ 198 w 242"/>
                <a:gd name="T3" fmla="*/ 0 h 191"/>
                <a:gd name="T4" fmla="*/ 218 w 242"/>
                <a:gd name="T5" fmla="*/ 3 h 191"/>
                <a:gd name="T6" fmla="*/ 231 w 242"/>
                <a:gd name="T7" fmla="*/ 12 h 191"/>
                <a:gd name="T8" fmla="*/ 239 w 242"/>
                <a:gd name="T9" fmla="*/ 27 h 191"/>
                <a:gd name="T10" fmla="*/ 242 w 242"/>
                <a:gd name="T11" fmla="*/ 52 h 191"/>
                <a:gd name="T12" fmla="*/ 242 w 242"/>
                <a:gd name="T13" fmla="*/ 186 h 191"/>
                <a:gd name="T14" fmla="*/ 234 w 242"/>
                <a:gd name="T15" fmla="*/ 190 h 191"/>
                <a:gd name="T16" fmla="*/ 221 w 242"/>
                <a:gd name="T17" fmla="*/ 191 h 191"/>
                <a:gd name="T18" fmla="*/ 209 w 242"/>
                <a:gd name="T19" fmla="*/ 190 h 191"/>
                <a:gd name="T20" fmla="*/ 201 w 242"/>
                <a:gd name="T21" fmla="*/ 186 h 191"/>
                <a:gd name="T22" fmla="*/ 201 w 242"/>
                <a:gd name="T23" fmla="*/ 66 h 191"/>
                <a:gd name="T24" fmla="*/ 198 w 242"/>
                <a:gd name="T25" fmla="*/ 55 h 191"/>
                <a:gd name="T26" fmla="*/ 191 w 242"/>
                <a:gd name="T27" fmla="*/ 46 h 191"/>
                <a:gd name="T28" fmla="*/ 182 w 242"/>
                <a:gd name="T29" fmla="*/ 42 h 191"/>
                <a:gd name="T30" fmla="*/ 161 w 242"/>
                <a:gd name="T31" fmla="*/ 40 h 191"/>
                <a:gd name="T32" fmla="*/ 142 w 242"/>
                <a:gd name="T33" fmla="*/ 43 h 191"/>
                <a:gd name="T34" fmla="*/ 142 w 242"/>
                <a:gd name="T35" fmla="*/ 186 h 191"/>
                <a:gd name="T36" fmla="*/ 133 w 242"/>
                <a:gd name="T37" fmla="*/ 190 h 191"/>
                <a:gd name="T38" fmla="*/ 122 w 242"/>
                <a:gd name="T39" fmla="*/ 191 h 191"/>
                <a:gd name="T40" fmla="*/ 109 w 242"/>
                <a:gd name="T41" fmla="*/ 190 h 191"/>
                <a:gd name="T42" fmla="*/ 101 w 242"/>
                <a:gd name="T43" fmla="*/ 186 h 191"/>
                <a:gd name="T44" fmla="*/ 101 w 242"/>
                <a:gd name="T45" fmla="*/ 67 h 191"/>
                <a:gd name="T46" fmla="*/ 98 w 242"/>
                <a:gd name="T47" fmla="*/ 55 h 191"/>
                <a:gd name="T48" fmla="*/ 92 w 242"/>
                <a:gd name="T49" fmla="*/ 46 h 191"/>
                <a:gd name="T50" fmla="*/ 82 w 242"/>
                <a:gd name="T51" fmla="*/ 42 h 191"/>
                <a:gd name="T52" fmla="*/ 60 w 242"/>
                <a:gd name="T53" fmla="*/ 40 h 191"/>
                <a:gd name="T54" fmla="*/ 43 w 242"/>
                <a:gd name="T55" fmla="*/ 43 h 191"/>
                <a:gd name="T56" fmla="*/ 43 w 242"/>
                <a:gd name="T57" fmla="*/ 186 h 191"/>
                <a:gd name="T58" fmla="*/ 33 w 242"/>
                <a:gd name="T59" fmla="*/ 190 h 191"/>
                <a:gd name="T60" fmla="*/ 22 w 242"/>
                <a:gd name="T61" fmla="*/ 191 h 191"/>
                <a:gd name="T62" fmla="*/ 9 w 242"/>
                <a:gd name="T63" fmla="*/ 190 h 191"/>
                <a:gd name="T64" fmla="*/ 0 w 242"/>
                <a:gd name="T65" fmla="*/ 186 h 191"/>
                <a:gd name="T66" fmla="*/ 0 w 242"/>
                <a:gd name="T67" fmla="*/ 186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42" h="191">
                  <a:moveTo>
                    <a:pt x="0" y="186"/>
                  </a:moveTo>
                  <a:lnTo>
                    <a:pt x="0" y="0"/>
                  </a:lnTo>
                  <a:lnTo>
                    <a:pt x="198" y="0"/>
                  </a:lnTo>
                  <a:lnTo>
                    <a:pt x="198" y="0"/>
                  </a:lnTo>
                  <a:lnTo>
                    <a:pt x="208" y="0"/>
                  </a:lnTo>
                  <a:lnTo>
                    <a:pt x="218" y="3"/>
                  </a:lnTo>
                  <a:lnTo>
                    <a:pt x="225" y="6"/>
                  </a:lnTo>
                  <a:lnTo>
                    <a:pt x="231" y="12"/>
                  </a:lnTo>
                  <a:lnTo>
                    <a:pt x="237" y="19"/>
                  </a:lnTo>
                  <a:lnTo>
                    <a:pt x="239" y="27"/>
                  </a:lnTo>
                  <a:lnTo>
                    <a:pt x="242" y="39"/>
                  </a:lnTo>
                  <a:lnTo>
                    <a:pt x="242" y="52"/>
                  </a:lnTo>
                  <a:lnTo>
                    <a:pt x="242" y="186"/>
                  </a:lnTo>
                  <a:lnTo>
                    <a:pt x="242" y="186"/>
                  </a:lnTo>
                  <a:lnTo>
                    <a:pt x="239" y="189"/>
                  </a:lnTo>
                  <a:lnTo>
                    <a:pt x="234" y="190"/>
                  </a:lnTo>
                  <a:lnTo>
                    <a:pt x="228" y="191"/>
                  </a:lnTo>
                  <a:lnTo>
                    <a:pt x="221" y="191"/>
                  </a:lnTo>
                  <a:lnTo>
                    <a:pt x="215" y="191"/>
                  </a:lnTo>
                  <a:lnTo>
                    <a:pt x="209" y="190"/>
                  </a:lnTo>
                  <a:lnTo>
                    <a:pt x="204" y="189"/>
                  </a:lnTo>
                  <a:lnTo>
                    <a:pt x="201" y="186"/>
                  </a:lnTo>
                  <a:lnTo>
                    <a:pt x="201" y="66"/>
                  </a:lnTo>
                  <a:lnTo>
                    <a:pt x="201" y="66"/>
                  </a:lnTo>
                  <a:lnTo>
                    <a:pt x="199" y="60"/>
                  </a:lnTo>
                  <a:lnTo>
                    <a:pt x="198" y="55"/>
                  </a:lnTo>
                  <a:lnTo>
                    <a:pt x="195" y="50"/>
                  </a:lnTo>
                  <a:lnTo>
                    <a:pt x="191" y="46"/>
                  </a:lnTo>
                  <a:lnTo>
                    <a:pt x="186" y="43"/>
                  </a:lnTo>
                  <a:lnTo>
                    <a:pt x="182" y="42"/>
                  </a:lnTo>
                  <a:lnTo>
                    <a:pt x="171" y="40"/>
                  </a:lnTo>
                  <a:lnTo>
                    <a:pt x="161" y="40"/>
                  </a:lnTo>
                  <a:lnTo>
                    <a:pt x="152" y="40"/>
                  </a:lnTo>
                  <a:lnTo>
                    <a:pt x="142" y="43"/>
                  </a:lnTo>
                  <a:lnTo>
                    <a:pt x="142" y="186"/>
                  </a:lnTo>
                  <a:lnTo>
                    <a:pt x="142" y="186"/>
                  </a:lnTo>
                  <a:lnTo>
                    <a:pt x="139" y="189"/>
                  </a:lnTo>
                  <a:lnTo>
                    <a:pt x="133" y="190"/>
                  </a:lnTo>
                  <a:lnTo>
                    <a:pt x="128" y="191"/>
                  </a:lnTo>
                  <a:lnTo>
                    <a:pt x="122" y="191"/>
                  </a:lnTo>
                  <a:lnTo>
                    <a:pt x="115" y="191"/>
                  </a:lnTo>
                  <a:lnTo>
                    <a:pt x="109" y="190"/>
                  </a:lnTo>
                  <a:lnTo>
                    <a:pt x="103" y="189"/>
                  </a:lnTo>
                  <a:lnTo>
                    <a:pt x="101" y="186"/>
                  </a:lnTo>
                  <a:lnTo>
                    <a:pt x="101" y="67"/>
                  </a:lnTo>
                  <a:lnTo>
                    <a:pt x="101" y="67"/>
                  </a:lnTo>
                  <a:lnTo>
                    <a:pt x="99" y="60"/>
                  </a:lnTo>
                  <a:lnTo>
                    <a:pt x="98" y="55"/>
                  </a:lnTo>
                  <a:lnTo>
                    <a:pt x="95" y="50"/>
                  </a:lnTo>
                  <a:lnTo>
                    <a:pt x="92" y="46"/>
                  </a:lnTo>
                  <a:lnTo>
                    <a:pt x="88" y="43"/>
                  </a:lnTo>
                  <a:lnTo>
                    <a:pt x="82" y="42"/>
                  </a:lnTo>
                  <a:lnTo>
                    <a:pt x="72" y="40"/>
                  </a:lnTo>
                  <a:lnTo>
                    <a:pt x="60" y="40"/>
                  </a:lnTo>
                  <a:lnTo>
                    <a:pt x="52" y="40"/>
                  </a:lnTo>
                  <a:lnTo>
                    <a:pt x="43" y="43"/>
                  </a:lnTo>
                  <a:lnTo>
                    <a:pt x="43" y="186"/>
                  </a:lnTo>
                  <a:lnTo>
                    <a:pt x="43" y="186"/>
                  </a:lnTo>
                  <a:lnTo>
                    <a:pt x="39" y="189"/>
                  </a:lnTo>
                  <a:lnTo>
                    <a:pt x="33" y="190"/>
                  </a:lnTo>
                  <a:lnTo>
                    <a:pt x="28" y="191"/>
                  </a:lnTo>
                  <a:lnTo>
                    <a:pt x="22" y="191"/>
                  </a:lnTo>
                  <a:lnTo>
                    <a:pt x="15" y="191"/>
                  </a:lnTo>
                  <a:lnTo>
                    <a:pt x="9" y="190"/>
                  </a:lnTo>
                  <a:lnTo>
                    <a:pt x="5" y="189"/>
                  </a:lnTo>
                  <a:lnTo>
                    <a:pt x="0" y="186"/>
                  </a:lnTo>
                  <a:lnTo>
                    <a:pt x="0" y="186"/>
                  </a:lnTo>
                  <a:close/>
                  <a:moveTo>
                    <a:pt x="0" y="186"/>
                  </a:moveTo>
                  <a:lnTo>
                    <a:pt x="0" y="18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2" name="Freeform 30"/>
            <p:cNvSpPr>
              <a:spLocks/>
            </p:cNvSpPr>
            <p:nvPr userDrawn="1"/>
          </p:nvSpPr>
          <p:spPr bwMode="auto">
            <a:xfrm>
              <a:off x="5671" y="717"/>
              <a:ext cx="80" cy="63"/>
            </a:xfrm>
            <a:custGeom>
              <a:avLst/>
              <a:gdLst>
                <a:gd name="T0" fmla="*/ 0 w 242"/>
                <a:gd name="T1" fmla="*/ 0 h 191"/>
                <a:gd name="T2" fmla="*/ 198 w 242"/>
                <a:gd name="T3" fmla="*/ 0 h 191"/>
                <a:gd name="T4" fmla="*/ 218 w 242"/>
                <a:gd name="T5" fmla="*/ 3 h 191"/>
                <a:gd name="T6" fmla="*/ 231 w 242"/>
                <a:gd name="T7" fmla="*/ 12 h 191"/>
                <a:gd name="T8" fmla="*/ 239 w 242"/>
                <a:gd name="T9" fmla="*/ 27 h 191"/>
                <a:gd name="T10" fmla="*/ 242 w 242"/>
                <a:gd name="T11" fmla="*/ 52 h 191"/>
                <a:gd name="T12" fmla="*/ 242 w 242"/>
                <a:gd name="T13" fmla="*/ 186 h 191"/>
                <a:gd name="T14" fmla="*/ 234 w 242"/>
                <a:gd name="T15" fmla="*/ 190 h 191"/>
                <a:gd name="T16" fmla="*/ 221 w 242"/>
                <a:gd name="T17" fmla="*/ 191 h 191"/>
                <a:gd name="T18" fmla="*/ 209 w 242"/>
                <a:gd name="T19" fmla="*/ 190 h 191"/>
                <a:gd name="T20" fmla="*/ 201 w 242"/>
                <a:gd name="T21" fmla="*/ 186 h 191"/>
                <a:gd name="T22" fmla="*/ 201 w 242"/>
                <a:gd name="T23" fmla="*/ 66 h 191"/>
                <a:gd name="T24" fmla="*/ 198 w 242"/>
                <a:gd name="T25" fmla="*/ 55 h 191"/>
                <a:gd name="T26" fmla="*/ 191 w 242"/>
                <a:gd name="T27" fmla="*/ 46 h 191"/>
                <a:gd name="T28" fmla="*/ 182 w 242"/>
                <a:gd name="T29" fmla="*/ 42 h 191"/>
                <a:gd name="T30" fmla="*/ 161 w 242"/>
                <a:gd name="T31" fmla="*/ 40 h 191"/>
                <a:gd name="T32" fmla="*/ 142 w 242"/>
                <a:gd name="T33" fmla="*/ 43 h 191"/>
                <a:gd name="T34" fmla="*/ 142 w 242"/>
                <a:gd name="T35" fmla="*/ 186 h 191"/>
                <a:gd name="T36" fmla="*/ 133 w 242"/>
                <a:gd name="T37" fmla="*/ 190 h 191"/>
                <a:gd name="T38" fmla="*/ 122 w 242"/>
                <a:gd name="T39" fmla="*/ 191 h 191"/>
                <a:gd name="T40" fmla="*/ 109 w 242"/>
                <a:gd name="T41" fmla="*/ 190 h 191"/>
                <a:gd name="T42" fmla="*/ 101 w 242"/>
                <a:gd name="T43" fmla="*/ 186 h 191"/>
                <a:gd name="T44" fmla="*/ 101 w 242"/>
                <a:gd name="T45" fmla="*/ 67 h 191"/>
                <a:gd name="T46" fmla="*/ 98 w 242"/>
                <a:gd name="T47" fmla="*/ 55 h 191"/>
                <a:gd name="T48" fmla="*/ 92 w 242"/>
                <a:gd name="T49" fmla="*/ 46 h 191"/>
                <a:gd name="T50" fmla="*/ 82 w 242"/>
                <a:gd name="T51" fmla="*/ 42 h 191"/>
                <a:gd name="T52" fmla="*/ 60 w 242"/>
                <a:gd name="T53" fmla="*/ 40 h 191"/>
                <a:gd name="T54" fmla="*/ 43 w 242"/>
                <a:gd name="T55" fmla="*/ 43 h 191"/>
                <a:gd name="T56" fmla="*/ 43 w 242"/>
                <a:gd name="T57" fmla="*/ 186 h 191"/>
                <a:gd name="T58" fmla="*/ 33 w 242"/>
                <a:gd name="T59" fmla="*/ 190 h 191"/>
                <a:gd name="T60" fmla="*/ 22 w 242"/>
                <a:gd name="T61" fmla="*/ 191 h 191"/>
                <a:gd name="T62" fmla="*/ 9 w 242"/>
                <a:gd name="T63" fmla="*/ 190 h 191"/>
                <a:gd name="T64" fmla="*/ 0 w 242"/>
                <a:gd name="T65" fmla="*/ 186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2" h="191">
                  <a:moveTo>
                    <a:pt x="0" y="186"/>
                  </a:moveTo>
                  <a:lnTo>
                    <a:pt x="0" y="0"/>
                  </a:lnTo>
                  <a:lnTo>
                    <a:pt x="198" y="0"/>
                  </a:lnTo>
                  <a:lnTo>
                    <a:pt x="198" y="0"/>
                  </a:lnTo>
                  <a:lnTo>
                    <a:pt x="208" y="0"/>
                  </a:lnTo>
                  <a:lnTo>
                    <a:pt x="218" y="3"/>
                  </a:lnTo>
                  <a:lnTo>
                    <a:pt x="225" y="6"/>
                  </a:lnTo>
                  <a:lnTo>
                    <a:pt x="231" y="12"/>
                  </a:lnTo>
                  <a:lnTo>
                    <a:pt x="237" y="19"/>
                  </a:lnTo>
                  <a:lnTo>
                    <a:pt x="239" y="27"/>
                  </a:lnTo>
                  <a:lnTo>
                    <a:pt x="242" y="39"/>
                  </a:lnTo>
                  <a:lnTo>
                    <a:pt x="242" y="52"/>
                  </a:lnTo>
                  <a:lnTo>
                    <a:pt x="242" y="186"/>
                  </a:lnTo>
                  <a:lnTo>
                    <a:pt x="242" y="186"/>
                  </a:lnTo>
                  <a:lnTo>
                    <a:pt x="239" y="189"/>
                  </a:lnTo>
                  <a:lnTo>
                    <a:pt x="234" y="190"/>
                  </a:lnTo>
                  <a:lnTo>
                    <a:pt x="228" y="191"/>
                  </a:lnTo>
                  <a:lnTo>
                    <a:pt x="221" y="191"/>
                  </a:lnTo>
                  <a:lnTo>
                    <a:pt x="215" y="191"/>
                  </a:lnTo>
                  <a:lnTo>
                    <a:pt x="209" y="190"/>
                  </a:lnTo>
                  <a:lnTo>
                    <a:pt x="204" y="189"/>
                  </a:lnTo>
                  <a:lnTo>
                    <a:pt x="201" y="186"/>
                  </a:lnTo>
                  <a:lnTo>
                    <a:pt x="201" y="66"/>
                  </a:lnTo>
                  <a:lnTo>
                    <a:pt x="201" y="66"/>
                  </a:lnTo>
                  <a:lnTo>
                    <a:pt x="199" y="60"/>
                  </a:lnTo>
                  <a:lnTo>
                    <a:pt x="198" y="55"/>
                  </a:lnTo>
                  <a:lnTo>
                    <a:pt x="195" y="50"/>
                  </a:lnTo>
                  <a:lnTo>
                    <a:pt x="191" y="46"/>
                  </a:lnTo>
                  <a:lnTo>
                    <a:pt x="186" y="43"/>
                  </a:lnTo>
                  <a:lnTo>
                    <a:pt x="182" y="42"/>
                  </a:lnTo>
                  <a:lnTo>
                    <a:pt x="171" y="40"/>
                  </a:lnTo>
                  <a:lnTo>
                    <a:pt x="161" y="40"/>
                  </a:lnTo>
                  <a:lnTo>
                    <a:pt x="152" y="40"/>
                  </a:lnTo>
                  <a:lnTo>
                    <a:pt x="142" y="43"/>
                  </a:lnTo>
                  <a:lnTo>
                    <a:pt x="142" y="186"/>
                  </a:lnTo>
                  <a:lnTo>
                    <a:pt x="142" y="186"/>
                  </a:lnTo>
                  <a:lnTo>
                    <a:pt x="139" y="189"/>
                  </a:lnTo>
                  <a:lnTo>
                    <a:pt x="133" y="190"/>
                  </a:lnTo>
                  <a:lnTo>
                    <a:pt x="128" y="191"/>
                  </a:lnTo>
                  <a:lnTo>
                    <a:pt x="122" y="191"/>
                  </a:lnTo>
                  <a:lnTo>
                    <a:pt x="115" y="191"/>
                  </a:lnTo>
                  <a:lnTo>
                    <a:pt x="109" y="190"/>
                  </a:lnTo>
                  <a:lnTo>
                    <a:pt x="103" y="189"/>
                  </a:lnTo>
                  <a:lnTo>
                    <a:pt x="101" y="186"/>
                  </a:lnTo>
                  <a:lnTo>
                    <a:pt x="101" y="67"/>
                  </a:lnTo>
                  <a:lnTo>
                    <a:pt x="101" y="67"/>
                  </a:lnTo>
                  <a:lnTo>
                    <a:pt x="99" y="60"/>
                  </a:lnTo>
                  <a:lnTo>
                    <a:pt x="98" y="55"/>
                  </a:lnTo>
                  <a:lnTo>
                    <a:pt x="95" y="50"/>
                  </a:lnTo>
                  <a:lnTo>
                    <a:pt x="92" y="46"/>
                  </a:lnTo>
                  <a:lnTo>
                    <a:pt x="88" y="43"/>
                  </a:lnTo>
                  <a:lnTo>
                    <a:pt x="82" y="42"/>
                  </a:lnTo>
                  <a:lnTo>
                    <a:pt x="72" y="40"/>
                  </a:lnTo>
                  <a:lnTo>
                    <a:pt x="60" y="40"/>
                  </a:lnTo>
                  <a:lnTo>
                    <a:pt x="52" y="40"/>
                  </a:lnTo>
                  <a:lnTo>
                    <a:pt x="43" y="43"/>
                  </a:lnTo>
                  <a:lnTo>
                    <a:pt x="43" y="186"/>
                  </a:lnTo>
                  <a:lnTo>
                    <a:pt x="43" y="186"/>
                  </a:lnTo>
                  <a:lnTo>
                    <a:pt x="39" y="189"/>
                  </a:lnTo>
                  <a:lnTo>
                    <a:pt x="33" y="190"/>
                  </a:lnTo>
                  <a:lnTo>
                    <a:pt x="28" y="191"/>
                  </a:lnTo>
                  <a:lnTo>
                    <a:pt x="22" y="191"/>
                  </a:lnTo>
                  <a:lnTo>
                    <a:pt x="15" y="191"/>
                  </a:lnTo>
                  <a:lnTo>
                    <a:pt x="9" y="190"/>
                  </a:lnTo>
                  <a:lnTo>
                    <a:pt x="5" y="189"/>
                  </a:lnTo>
                  <a:lnTo>
                    <a:pt x="0" y="186"/>
                  </a:lnTo>
                  <a:lnTo>
                    <a:pt x="0" y="18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3" name="Line 31"/>
            <p:cNvSpPr>
              <a:spLocks noChangeShapeType="1"/>
            </p:cNvSpPr>
            <p:nvPr userDrawn="1"/>
          </p:nvSpPr>
          <p:spPr bwMode="auto">
            <a:xfrm>
              <a:off x="5671" y="779"/>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4" name="Freeform 32"/>
            <p:cNvSpPr>
              <a:spLocks noEditPoints="1"/>
            </p:cNvSpPr>
            <p:nvPr userDrawn="1"/>
          </p:nvSpPr>
          <p:spPr bwMode="auto">
            <a:xfrm>
              <a:off x="5615" y="717"/>
              <a:ext cx="45" cy="63"/>
            </a:xfrm>
            <a:custGeom>
              <a:avLst/>
              <a:gdLst>
                <a:gd name="T0" fmla="*/ 93 w 135"/>
                <a:gd name="T1" fmla="*/ 109 h 191"/>
                <a:gd name="T2" fmla="*/ 93 w 135"/>
                <a:gd name="T3" fmla="*/ 42 h 191"/>
                <a:gd name="T4" fmla="*/ 93 w 135"/>
                <a:gd name="T5" fmla="*/ 42 h 191"/>
                <a:gd name="T6" fmla="*/ 86 w 135"/>
                <a:gd name="T7" fmla="*/ 40 h 191"/>
                <a:gd name="T8" fmla="*/ 78 w 135"/>
                <a:gd name="T9" fmla="*/ 39 h 191"/>
                <a:gd name="T10" fmla="*/ 68 w 135"/>
                <a:gd name="T11" fmla="*/ 37 h 191"/>
                <a:gd name="T12" fmla="*/ 59 w 135"/>
                <a:gd name="T13" fmla="*/ 40 h 191"/>
                <a:gd name="T14" fmla="*/ 55 w 135"/>
                <a:gd name="T15" fmla="*/ 42 h 191"/>
                <a:gd name="T16" fmla="*/ 50 w 135"/>
                <a:gd name="T17" fmla="*/ 45 h 191"/>
                <a:gd name="T18" fmla="*/ 48 w 135"/>
                <a:gd name="T19" fmla="*/ 49 h 191"/>
                <a:gd name="T20" fmla="*/ 45 w 135"/>
                <a:gd name="T21" fmla="*/ 53 h 191"/>
                <a:gd name="T22" fmla="*/ 43 w 135"/>
                <a:gd name="T23" fmla="*/ 59 h 191"/>
                <a:gd name="T24" fmla="*/ 42 w 135"/>
                <a:gd name="T25" fmla="*/ 67 h 191"/>
                <a:gd name="T26" fmla="*/ 42 w 135"/>
                <a:gd name="T27" fmla="*/ 109 h 191"/>
                <a:gd name="T28" fmla="*/ 93 w 135"/>
                <a:gd name="T29" fmla="*/ 109 h 191"/>
                <a:gd name="T30" fmla="*/ 42 w 135"/>
                <a:gd name="T31" fmla="*/ 144 h 191"/>
                <a:gd name="T32" fmla="*/ 42 w 135"/>
                <a:gd name="T33" fmla="*/ 186 h 191"/>
                <a:gd name="T34" fmla="*/ 42 w 135"/>
                <a:gd name="T35" fmla="*/ 186 h 191"/>
                <a:gd name="T36" fmla="*/ 39 w 135"/>
                <a:gd name="T37" fmla="*/ 189 h 191"/>
                <a:gd name="T38" fmla="*/ 35 w 135"/>
                <a:gd name="T39" fmla="*/ 190 h 191"/>
                <a:gd name="T40" fmla="*/ 27 w 135"/>
                <a:gd name="T41" fmla="*/ 191 h 191"/>
                <a:gd name="T42" fmla="*/ 22 w 135"/>
                <a:gd name="T43" fmla="*/ 191 h 191"/>
                <a:gd name="T44" fmla="*/ 15 w 135"/>
                <a:gd name="T45" fmla="*/ 191 h 191"/>
                <a:gd name="T46" fmla="*/ 9 w 135"/>
                <a:gd name="T47" fmla="*/ 190 h 191"/>
                <a:gd name="T48" fmla="*/ 3 w 135"/>
                <a:gd name="T49" fmla="*/ 189 h 191"/>
                <a:gd name="T50" fmla="*/ 0 w 135"/>
                <a:gd name="T51" fmla="*/ 186 h 191"/>
                <a:gd name="T52" fmla="*/ 0 w 135"/>
                <a:gd name="T53" fmla="*/ 0 h 191"/>
                <a:gd name="T54" fmla="*/ 102 w 135"/>
                <a:gd name="T55" fmla="*/ 0 h 191"/>
                <a:gd name="T56" fmla="*/ 102 w 135"/>
                <a:gd name="T57" fmla="*/ 0 h 191"/>
                <a:gd name="T58" fmla="*/ 110 w 135"/>
                <a:gd name="T59" fmla="*/ 0 h 191"/>
                <a:gd name="T60" fmla="*/ 118 w 135"/>
                <a:gd name="T61" fmla="*/ 3 h 191"/>
                <a:gd name="T62" fmla="*/ 123 w 135"/>
                <a:gd name="T63" fmla="*/ 6 h 191"/>
                <a:gd name="T64" fmla="*/ 128 w 135"/>
                <a:gd name="T65" fmla="*/ 12 h 191"/>
                <a:gd name="T66" fmla="*/ 132 w 135"/>
                <a:gd name="T67" fmla="*/ 19 h 191"/>
                <a:gd name="T68" fmla="*/ 133 w 135"/>
                <a:gd name="T69" fmla="*/ 27 h 191"/>
                <a:gd name="T70" fmla="*/ 135 w 135"/>
                <a:gd name="T71" fmla="*/ 39 h 191"/>
                <a:gd name="T72" fmla="*/ 135 w 135"/>
                <a:gd name="T73" fmla="*/ 52 h 191"/>
                <a:gd name="T74" fmla="*/ 135 w 135"/>
                <a:gd name="T75" fmla="*/ 186 h 191"/>
                <a:gd name="T76" fmla="*/ 135 w 135"/>
                <a:gd name="T77" fmla="*/ 186 h 191"/>
                <a:gd name="T78" fmla="*/ 132 w 135"/>
                <a:gd name="T79" fmla="*/ 189 h 191"/>
                <a:gd name="T80" fmla="*/ 128 w 135"/>
                <a:gd name="T81" fmla="*/ 190 h 191"/>
                <a:gd name="T82" fmla="*/ 121 w 135"/>
                <a:gd name="T83" fmla="*/ 191 h 191"/>
                <a:gd name="T84" fmla="*/ 115 w 135"/>
                <a:gd name="T85" fmla="*/ 191 h 191"/>
                <a:gd name="T86" fmla="*/ 108 w 135"/>
                <a:gd name="T87" fmla="*/ 191 h 191"/>
                <a:gd name="T88" fmla="*/ 102 w 135"/>
                <a:gd name="T89" fmla="*/ 190 h 191"/>
                <a:gd name="T90" fmla="*/ 96 w 135"/>
                <a:gd name="T91" fmla="*/ 189 h 191"/>
                <a:gd name="T92" fmla="*/ 93 w 135"/>
                <a:gd name="T93" fmla="*/ 186 h 191"/>
                <a:gd name="T94" fmla="*/ 93 w 135"/>
                <a:gd name="T95" fmla="*/ 144 h 191"/>
                <a:gd name="T96" fmla="*/ 110 w 135"/>
                <a:gd name="T97" fmla="*/ 144 h 191"/>
                <a:gd name="T98" fmla="*/ 42 w 135"/>
                <a:gd name="T99" fmla="*/ 144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35" h="191">
                  <a:moveTo>
                    <a:pt x="93" y="109"/>
                  </a:moveTo>
                  <a:lnTo>
                    <a:pt x="93" y="42"/>
                  </a:lnTo>
                  <a:lnTo>
                    <a:pt x="93" y="42"/>
                  </a:lnTo>
                  <a:lnTo>
                    <a:pt x="86" y="40"/>
                  </a:lnTo>
                  <a:lnTo>
                    <a:pt x="78" y="39"/>
                  </a:lnTo>
                  <a:lnTo>
                    <a:pt x="68" y="37"/>
                  </a:lnTo>
                  <a:lnTo>
                    <a:pt x="59" y="40"/>
                  </a:lnTo>
                  <a:lnTo>
                    <a:pt x="55" y="42"/>
                  </a:lnTo>
                  <a:lnTo>
                    <a:pt x="50" y="45"/>
                  </a:lnTo>
                  <a:lnTo>
                    <a:pt x="48" y="49"/>
                  </a:lnTo>
                  <a:lnTo>
                    <a:pt x="45" y="53"/>
                  </a:lnTo>
                  <a:lnTo>
                    <a:pt x="43" y="59"/>
                  </a:lnTo>
                  <a:lnTo>
                    <a:pt x="42" y="67"/>
                  </a:lnTo>
                  <a:lnTo>
                    <a:pt x="42" y="109"/>
                  </a:lnTo>
                  <a:lnTo>
                    <a:pt x="93" y="109"/>
                  </a:lnTo>
                  <a:close/>
                  <a:moveTo>
                    <a:pt x="42" y="144"/>
                  </a:moveTo>
                  <a:lnTo>
                    <a:pt x="42" y="186"/>
                  </a:lnTo>
                  <a:lnTo>
                    <a:pt x="42" y="186"/>
                  </a:lnTo>
                  <a:lnTo>
                    <a:pt x="39" y="189"/>
                  </a:lnTo>
                  <a:lnTo>
                    <a:pt x="35" y="190"/>
                  </a:lnTo>
                  <a:lnTo>
                    <a:pt x="27" y="191"/>
                  </a:lnTo>
                  <a:lnTo>
                    <a:pt x="22" y="191"/>
                  </a:lnTo>
                  <a:lnTo>
                    <a:pt x="15" y="191"/>
                  </a:lnTo>
                  <a:lnTo>
                    <a:pt x="9" y="190"/>
                  </a:lnTo>
                  <a:lnTo>
                    <a:pt x="3" y="189"/>
                  </a:lnTo>
                  <a:lnTo>
                    <a:pt x="0" y="186"/>
                  </a:lnTo>
                  <a:lnTo>
                    <a:pt x="0" y="0"/>
                  </a:lnTo>
                  <a:lnTo>
                    <a:pt x="102" y="0"/>
                  </a:lnTo>
                  <a:lnTo>
                    <a:pt x="102" y="0"/>
                  </a:lnTo>
                  <a:lnTo>
                    <a:pt x="110" y="0"/>
                  </a:lnTo>
                  <a:lnTo>
                    <a:pt x="118" y="3"/>
                  </a:lnTo>
                  <a:lnTo>
                    <a:pt x="123" y="6"/>
                  </a:lnTo>
                  <a:lnTo>
                    <a:pt x="128" y="12"/>
                  </a:lnTo>
                  <a:lnTo>
                    <a:pt x="132" y="19"/>
                  </a:lnTo>
                  <a:lnTo>
                    <a:pt x="133" y="27"/>
                  </a:lnTo>
                  <a:lnTo>
                    <a:pt x="135" y="39"/>
                  </a:lnTo>
                  <a:lnTo>
                    <a:pt x="135" y="52"/>
                  </a:lnTo>
                  <a:lnTo>
                    <a:pt x="135" y="186"/>
                  </a:lnTo>
                  <a:lnTo>
                    <a:pt x="135" y="186"/>
                  </a:lnTo>
                  <a:lnTo>
                    <a:pt x="132" y="189"/>
                  </a:lnTo>
                  <a:lnTo>
                    <a:pt x="128" y="190"/>
                  </a:lnTo>
                  <a:lnTo>
                    <a:pt x="121" y="191"/>
                  </a:lnTo>
                  <a:lnTo>
                    <a:pt x="115" y="191"/>
                  </a:lnTo>
                  <a:lnTo>
                    <a:pt x="108" y="191"/>
                  </a:lnTo>
                  <a:lnTo>
                    <a:pt x="102" y="190"/>
                  </a:lnTo>
                  <a:lnTo>
                    <a:pt x="96" y="189"/>
                  </a:lnTo>
                  <a:lnTo>
                    <a:pt x="93" y="186"/>
                  </a:lnTo>
                  <a:lnTo>
                    <a:pt x="93" y="144"/>
                  </a:lnTo>
                  <a:lnTo>
                    <a:pt x="110" y="144"/>
                  </a:lnTo>
                  <a:lnTo>
                    <a:pt x="42" y="14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5" name="Freeform 33"/>
            <p:cNvSpPr>
              <a:spLocks/>
            </p:cNvSpPr>
            <p:nvPr userDrawn="1"/>
          </p:nvSpPr>
          <p:spPr bwMode="auto">
            <a:xfrm>
              <a:off x="5629" y="729"/>
              <a:ext cx="17" cy="24"/>
            </a:xfrm>
            <a:custGeom>
              <a:avLst/>
              <a:gdLst>
                <a:gd name="T0" fmla="*/ 51 w 51"/>
                <a:gd name="T1" fmla="*/ 72 h 72"/>
                <a:gd name="T2" fmla="*/ 51 w 51"/>
                <a:gd name="T3" fmla="*/ 5 h 72"/>
                <a:gd name="T4" fmla="*/ 51 w 51"/>
                <a:gd name="T5" fmla="*/ 5 h 72"/>
                <a:gd name="T6" fmla="*/ 44 w 51"/>
                <a:gd name="T7" fmla="*/ 3 h 72"/>
                <a:gd name="T8" fmla="*/ 36 w 51"/>
                <a:gd name="T9" fmla="*/ 2 h 72"/>
                <a:gd name="T10" fmla="*/ 26 w 51"/>
                <a:gd name="T11" fmla="*/ 0 h 72"/>
                <a:gd name="T12" fmla="*/ 17 w 51"/>
                <a:gd name="T13" fmla="*/ 3 h 72"/>
                <a:gd name="T14" fmla="*/ 13 w 51"/>
                <a:gd name="T15" fmla="*/ 5 h 72"/>
                <a:gd name="T16" fmla="*/ 8 w 51"/>
                <a:gd name="T17" fmla="*/ 8 h 72"/>
                <a:gd name="T18" fmla="*/ 6 w 51"/>
                <a:gd name="T19" fmla="*/ 12 h 72"/>
                <a:gd name="T20" fmla="*/ 3 w 51"/>
                <a:gd name="T21" fmla="*/ 16 h 72"/>
                <a:gd name="T22" fmla="*/ 1 w 51"/>
                <a:gd name="T23" fmla="*/ 22 h 72"/>
                <a:gd name="T24" fmla="*/ 0 w 51"/>
                <a:gd name="T25" fmla="*/ 30 h 72"/>
                <a:gd name="T26" fmla="*/ 0 w 51"/>
                <a:gd name="T27"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1" h="72">
                  <a:moveTo>
                    <a:pt x="51" y="72"/>
                  </a:moveTo>
                  <a:lnTo>
                    <a:pt x="51" y="5"/>
                  </a:lnTo>
                  <a:lnTo>
                    <a:pt x="51" y="5"/>
                  </a:lnTo>
                  <a:lnTo>
                    <a:pt x="44" y="3"/>
                  </a:lnTo>
                  <a:lnTo>
                    <a:pt x="36" y="2"/>
                  </a:lnTo>
                  <a:lnTo>
                    <a:pt x="26" y="0"/>
                  </a:lnTo>
                  <a:lnTo>
                    <a:pt x="17" y="3"/>
                  </a:lnTo>
                  <a:lnTo>
                    <a:pt x="13" y="5"/>
                  </a:lnTo>
                  <a:lnTo>
                    <a:pt x="8" y="8"/>
                  </a:lnTo>
                  <a:lnTo>
                    <a:pt x="6" y="12"/>
                  </a:lnTo>
                  <a:lnTo>
                    <a:pt x="3" y="16"/>
                  </a:lnTo>
                  <a:lnTo>
                    <a:pt x="1" y="22"/>
                  </a:lnTo>
                  <a:lnTo>
                    <a:pt x="0" y="30"/>
                  </a:lnTo>
                  <a:lnTo>
                    <a:pt x="0" y="7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6" name="Freeform 34"/>
            <p:cNvSpPr>
              <a:spLocks/>
            </p:cNvSpPr>
            <p:nvPr userDrawn="1"/>
          </p:nvSpPr>
          <p:spPr bwMode="auto">
            <a:xfrm>
              <a:off x="5615" y="717"/>
              <a:ext cx="45" cy="63"/>
            </a:xfrm>
            <a:custGeom>
              <a:avLst/>
              <a:gdLst>
                <a:gd name="T0" fmla="*/ 42 w 135"/>
                <a:gd name="T1" fmla="*/ 144 h 191"/>
                <a:gd name="T2" fmla="*/ 42 w 135"/>
                <a:gd name="T3" fmla="*/ 186 h 191"/>
                <a:gd name="T4" fmla="*/ 42 w 135"/>
                <a:gd name="T5" fmla="*/ 186 h 191"/>
                <a:gd name="T6" fmla="*/ 39 w 135"/>
                <a:gd name="T7" fmla="*/ 189 h 191"/>
                <a:gd name="T8" fmla="*/ 35 w 135"/>
                <a:gd name="T9" fmla="*/ 190 h 191"/>
                <a:gd name="T10" fmla="*/ 27 w 135"/>
                <a:gd name="T11" fmla="*/ 191 h 191"/>
                <a:gd name="T12" fmla="*/ 22 w 135"/>
                <a:gd name="T13" fmla="*/ 191 h 191"/>
                <a:gd name="T14" fmla="*/ 15 w 135"/>
                <a:gd name="T15" fmla="*/ 191 h 191"/>
                <a:gd name="T16" fmla="*/ 9 w 135"/>
                <a:gd name="T17" fmla="*/ 190 h 191"/>
                <a:gd name="T18" fmla="*/ 3 w 135"/>
                <a:gd name="T19" fmla="*/ 189 h 191"/>
                <a:gd name="T20" fmla="*/ 0 w 135"/>
                <a:gd name="T21" fmla="*/ 186 h 191"/>
                <a:gd name="T22" fmla="*/ 0 w 135"/>
                <a:gd name="T23" fmla="*/ 0 h 191"/>
                <a:gd name="T24" fmla="*/ 102 w 135"/>
                <a:gd name="T25" fmla="*/ 0 h 191"/>
                <a:gd name="T26" fmla="*/ 102 w 135"/>
                <a:gd name="T27" fmla="*/ 0 h 191"/>
                <a:gd name="T28" fmla="*/ 110 w 135"/>
                <a:gd name="T29" fmla="*/ 0 h 191"/>
                <a:gd name="T30" fmla="*/ 118 w 135"/>
                <a:gd name="T31" fmla="*/ 3 h 191"/>
                <a:gd name="T32" fmla="*/ 123 w 135"/>
                <a:gd name="T33" fmla="*/ 6 h 191"/>
                <a:gd name="T34" fmla="*/ 128 w 135"/>
                <a:gd name="T35" fmla="*/ 12 h 191"/>
                <a:gd name="T36" fmla="*/ 132 w 135"/>
                <a:gd name="T37" fmla="*/ 19 h 191"/>
                <a:gd name="T38" fmla="*/ 133 w 135"/>
                <a:gd name="T39" fmla="*/ 27 h 191"/>
                <a:gd name="T40" fmla="*/ 135 w 135"/>
                <a:gd name="T41" fmla="*/ 39 h 191"/>
                <a:gd name="T42" fmla="*/ 135 w 135"/>
                <a:gd name="T43" fmla="*/ 52 h 191"/>
                <a:gd name="T44" fmla="*/ 135 w 135"/>
                <a:gd name="T45" fmla="*/ 186 h 191"/>
                <a:gd name="T46" fmla="*/ 135 w 135"/>
                <a:gd name="T47" fmla="*/ 186 h 191"/>
                <a:gd name="T48" fmla="*/ 132 w 135"/>
                <a:gd name="T49" fmla="*/ 189 h 191"/>
                <a:gd name="T50" fmla="*/ 128 w 135"/>
                <a:gd name="T51" fmla="*/ 190 h 191"/>
                <a:gd name="T52" fmla="*/ 121 w 135"/>
                <a:gd name="T53" fmla="*/ 191 h 191"/>
                <a:gd name="T54" fmla="*/ 115 w 135"/>
                <a:gd name="T55" fmla="*/ 191 h 191"/>
                <a:gd name="T56" fmla="*/ 108 w 135"/>
                <a:gd name="T57" fmla="*/ 191 h 191"/>
                <a:gd name="T58" fmla="*/ 102 w 135"/>
                <a:gd name="T59" fmla="*/ 190 h 191"/>
                <a:gd name="T60" fmla="*/ 96 w 135"/>
                <a:gd name="T61" fmla="*/ 189 h 191"/>
                <a:gd name="T62" fmla="*/ 93 w 135"/>
                <a:gd name="T63" fmla="*/ 186 h 191"/>
                <a:gd name="T64" fmla="*/ 93 w 135"/>
                <a:gd name="T65" fmla="*/ 144 h 191"/>
                <a:gd name="T66" fmla="*/ 110 w 135"/>
                <a:gd name="T67" fmla="*/ 144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5" h="191">
                  <a:moveTo>
                    <a:pt x="42" y="144"/>
                  </a:moveTo>
                  <a:lnTo>
                    <a:pt x="42" y="186"/>
                  </a:lnTo>
                  <a:lnTo>
                    <a:pt x="42" y="186"/>
                  </a:lnTo>
                  <a:lnTo>
                    <a:pt x="39" y="189"/>
                  </a:lnTo>
                  <a:lnTo>
                    <a:pt x="35" y="190"/>
                  </a:lnTo>
                  <a:lnTo>
                    <a:pt x="27" y="191"/>
                  </a:lnTo>
                  <a:lnTo>
                    <a:pt x="22" y="191"/>
                  </a:lnTo>
                  <a:lnTo>
                    <a:pt x="15" y="191"/>
                  </a:lnTo>
                  <a:lnTo>
                    <a:pt x="9" y="190"/>
                  </a:lnTo>
                  <a:lnTo>
                    <a:pt x="3" y="189"/>
                  </a:lnTo>
                  <a:lnTo>
                    <a:pt x="0" y="186"/>
                  </a:lnTo>
                  <a:lnTo>
                    <a:pt x="0" y="0"/>
                  </a:lnTo>
                  <a:lnTo>
                    <a:pt x="102" y="0"/>
                  </a:lnTo>
                  <a:lnTo>
                    <a:pt x="102" y="0"/>
                  </a:lnTo>
                  <a:lnTo>
                    <a:pt x="110" y="0"/>
                  </a:lnTo>
                  <a:lnTo>
                    <a:pt x="118" y="3"/>
                  </a:lnTo>
                  <a:lnTo>
                    <a:pt x="123" y="6"/>
                  </a:lnTo>
                  <a:lnTo>
                    <a:pt x="128" y="12"/>
                  </a:lnTo>
                  <a:lnTo>
                    <a:pt x="132" y="19"/>
                  </a:lnTo>
                  <a:lnTo>
                    <a:pt x="133" y="27"/>
                  </a:lnTo>
                  <a:lnTo>
                    <a:pt x="135" y="39"/>
                  </a:lnTo>
                  <a:lnTo>
                    <a:pt x="135" y="52"/>
                  </a:lnTo>
                  <a:lnTo>
                    <a:pt x="135" y="186"/>
                  </a:lnTo>
                  <a:lnTo>
                    <a:pt x="135" y="186"/>
                  </a:lnTo>
                  <a:lnTo>
                    <a:pt x="132" y="189"/>
                  </a:lnTo>
                  <a:lnTo>
                    <a:pt x="128" y="190"/>
                  </a:lnTo>
                  <a:lnTo>
                    <a:pt x="121" y="191"/>
                  </a:lnTo>
                  <a:lnTo>
                    <a:pt x="115" y="191"/>
                  </a:lnTo>
                  <a:lnTo>
                    <a:pt x="108" y="191"/>
                  </a:lnTo>
                  <a:lnTo>
                    <a:pt x="102" y="190"/>
                  </a:lnTo>
                  <a:lnTo>
                    <a:pt x="96" y="189"/>
                  </a:lnTo>
                  <a:lnTo>
                    <a:pt x="93" y="186"/>
                  </a:lnTo>
                  <a:lnTo>
                    <a:pt x="93" y="144"/>
                  </a:lnTo>
                  <a:lnTo>
                    <a:pt x="110" y="14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sp>
        <p:nvSpPr>
          <p:cNvPr id="48" name="Textfeld 47"/>
          <p:cNvSpPr txBox="1"/>
          <p:nvPr userDrawn="1"/>
        </p:nvSpPr>
        <p:spPr>
          <a:xfrm>
            <a:off x="10029282" y="1249779"/>
            <a:ext cx="1320124" cy="461665"/>
          </a:xfrm>
          <a:prstGeom prst="rect">
            <a:avLst/>
          </a:prstGeom>
          <a:noFill/>
        </p:spPr>
        <p:txBody>
          <a:bodyPr wrap="square" rtlCol="0">
            <a:spAutoFit/>
          </a:bodyPr>
          <a:lstStyle/>
          <a:p>
            <a:pPr algn="l">
              <a:lnSpc>
                <a:spcPct val="100000"/>
              </a:lnSpc>
              <a:spcAft>
                <a:spcPts val="167"/>
              </a:spcAft>
            </a:pPr>
            <a:r>
              <a:rPr lang="de-DE" sz="600" b="0" spc="0" baseline="0" dirty="0">
                <a:solidFill>
                  <a:schemeClr val="tx1"/>
                </a:solidFill>
                <a:latin typeface="+mj-lt"/>
              </a:rPr>
              <a:t>FACHGEBIET SYSTEMZUVERLÄSSIGKEIT, ADAPTRONIK UND MASCHINENAKUSTIK</a:t>
            </a:r>
          </a:p>
        </p:txBody>
      </p:sp>
    </p:spTree>
    <p:extLst>
      <p:ext uri="{BB962C8B-B14F-4D97-AF65-F5344CB8AC3E}">
        <p14:creationId xmlns:p14="http://schemas.microsoft.com/office/powerpoint/2010/main" val="1728350191"/>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4_Abschnittsüberschrift_Druck">
    <p:spTree>
      <p:nvGrpSpPr>
        <p:cNvPr id="1" name=""/>
        <p:cNvGrpSpPr/>
        <p:nvPr/>
      </p:nvGrpSpPr>
      <p:grpSpPr>
        <a:xfrm>
          <a:off x="0" y="0"/>
          <a:ext cx="0" cy="0"/>
          <a:chOff x="0" y="0"/>
          <a:chExt cx="0" cy="0"/>
        </a:xfrm>
      </p:grpSpPr>
      <p:sp>
        <p:nvSpPr>
          <p:cNvPr id="17" name="Titel 11"/>
          <p:cNvSpPr>
            <a:spLocks noGrp="1"/>
          </p:cNvSpPr>
          <p:nvPr>
            <p:ph type="title" hasCustomPrompt="1"/>
          </p:nvPr>
        </p:nvSpPr>
        <p:spPr>
          <a:xfrm>
            <a:off x="672001" y="480000"/>
            <a:ext cx="9120000" cy="480000"/>
          </a:xfrm>
        </p:spPr>
        <p:txBody>
          <a:bodyPr/>
          <a:lstStyle>
            <a:lvl1pPr>
              <a:defRPr>
                <a:solidFill>
                  <a:schemeClr val="tx2"/>
                </a:solidFill>
              </a:defRPr>
            </a:lvl1pPr>
          </a:lstStyle>
          <a:p>
            <a:r>
              <a:rPr lang="de-DE" dirty="0"/>
              <a:t>TITELMASTERFORMAT DURCH KLICKEN</a:t>
            </a:r>
          </a:p>
        </p:txBody>
      </p:sp>
      <p:sp>
        <p:nvSpPr>
          <p:cNvPr id="2" name="Rechteck 1"/>
          <p:cNvSpPr/>
          <p:nvPr/>
        </p:nvSpPr>
        <p:spPr>
          <a:xfrm>
            <a:off x="0" y="0"/>
            <a:ext cx="12192000" cy="4367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7" name="Rectangle 4"/>
          <p:cNvSpPr>
            <a:spLocks noGrp="1" noChangeArrowheads="1"/>
          </p:cNvSpPr>
          <p:nvPr>
            <p:ph type="subTitle" idx="1"/>
          </p:nvPr>
        </p:nvSpPr>
        <p:spPr>
          <a:xfrm>
            <a:off x="671076" y="1152001"/>
            <a:ext cx="9120000" cy="789519"/>
          </a:xfrm>
        </p:spPr>
        <p:txBody>
          <a:bodyPr lIns="0" tIns="0" rIns="0" bIns="0"/>
          <a:lstStyle>
            <a:lvl1pPr marL="0" indent="0">
              <a:spcBef>
                <a:spcPct val="0"/>
              </a:spcBef>
              <a:buFont typeface="Wingdings" pitchFamily="2" charset="2"/>
              <a:buNone/>
              <a:defRPr sz="2200" b="0" i="0">
                <a:solidFill>
                  <a:schemeClr val="tx2"/>
                </a:solidFill>
                <a:latin typeface="+mj-lt"/>
                <a:ea typeface="Verdana" charset="0"/>
                <a:cs typeface="Verdana" charset="0"/>
              </a:defRPr>
            </a:lvl1pPr>
          </a:lstStyle>
          <a:p>
            <a:r>
              <a:rPr lang="de-DE" dirty="0"/>
              <a:t>Master-Untertitelformat bearbeiten</a:t>
            </a:r>
          </a:p>
        </p:txBody>
      </p:sp>
    </p:spTree>
    <p:extLst>
      <p:ext uri="{BB962C8B-B14F-4D97-AF65-F5344CB8AC3E}">
        <p14:creationId xmlns:p14="http://schemas.microsoft.com/office/powerpoint/2010/main" val="2343467622"/>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1_Benutzerdefiniertes Layou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Rectangle 4"/>
          <p:cNvSpPr>
            <a:spLocks noGrp="1" noChangeArrowheads="1"/>
          </p:cNvSpPr>
          <p:nvPr>
            <p:ph type="subTitle" idx="1" hasCustomPrompt="1"/>
          </p:nvPr>
        </p:nvSpPr>
        <p:spPr>
          <a:xfrm>
            <a:off x="671076" y="1152001"/>
            <a:ext cx="9120000" cy="789519"/>
          </a:xfrm>
        </p:spPr>
        <p:txBody>
          <a:bodyPr lIns="0" tIns="0" rIns="0" bIns="0"/>
          <a:lstStyle>
            <a:lvl1pPr marL="0" indent="0">
              <a:spcBef>
                <a:spcPct val="0"/>
              </a:spcBef>
              <a:buFont typeface="Wingdings" pitchFamily="2" charset="2"/>
              <a:buNone/>
              <a:defRPr sz="2200" b="0" i="0">
                <a:solidFill>
                  <a:schemeClr val="tx1"/>
                </a:solidFill>
                <a:latin typeface="+mj-lt"/>
                <a:ea typeface="Verdana" charset="0"/>
                <a:cs typeface="Verdana" charset="0"/>
              </a:defRPr>
            </a:lvl1pPr>
          </a:lstStyle>
          <a:p>
            <a:r>
              <a:rPr lang="de-DE" dirty="0"/>
              <a:t>Sub-Titel</a:t>
            </a:r>
          </a:p>
          <a:p>
            <a:r>
              <a:rPr lang="de-DE" dirty="0"/>
              <a:t>Sub-Sub-Titel</a:t>
            </a:r>
          </a:p>
        </p:txBody>
      </p:sp>
    </p:spTree>
    <p:extLst>
      <p:ext uri="{BB962C8B-B14F-4D97-AF65-F5344CB8AC3E}">
        <p14:creationId xmlns:p14="http://schemas.microsoft.com/office/powerpoint/2010/main" val="1641918748"/>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Benutzerdefiniertes Layou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4" name="Rectangle 4"/>
          <p:cNvSpPr>
            <a:spLocks noGrp="1" noChangeArrowheads="1"/>
          </p:cNvSpPr>
          <p:nvPr>
            <p:ph type="subTitle" idx="1" hasCustomPrompt="1"/>
          </p:nvPr>
        </p:nvSpPr>
        <p:spPr>
          <a:xfrm>
            <a:off x="671076" y="1152001"/>
            <a:ext cx="9120000" cy="789519"/>
          </a:xfrm>
        </p:spPr>
        <p:txBody>
          <a:bodyPr lIns="0" tIns="0" rIns="0" bIns="0"/>
          <a:lstStyle>
            <a:lvl1pPr marL="0" indent="0">
              <a:spcBef>
                <a:spcPct val="0"/>
              </a:spcBef>
              <a:buFont typeface="Wingdings" pitchFamily="2" charset="2"/>
              <a:buNone/>
              <a:defRPr sz="2200" b="0" i="0">
                <a:solidFill>
                  <a:schemeClr val="tx1"/>
                </a:solidFill>
                <a:latin typeface="+mj-lt"/>
                <a:ea typeface="Verdana" charset="0"/>
                <a:cs typeface="Verdana" charset="0"/>
              </a:defRPr>
            </a:lvl1pPr>
          </a:lstStyle>
          <a:p>
            <a:r>
              <a:rPr lang="de-DE" dirty="0"/>
              <a:t>Sub-Titel</a:t>
            </a:r>
          </a:p>
          <a:p>
            <a:r>
              <a:rPr lang="de-DE" dirty="0"/>
              <a:t>Sub-Sub-Titel</a:t>
            </a:r>
          </a:p>
        </p:txBody>
      </p:sp>
      <p:sp>
        <p:nvSpPr>
          <p:cNvPr id="6" name="Inhaltsplatzhalter 2"/>
          <p:cNvSpPr>
            <a:spLocks noGrp="1"/>
          </p:cNvSpPr>
          <p:nvPr>
            <p:ph sz="half" idx="10"/>
          </p:nvPr>
        </p:nvSpPr>
        <p:spPr>
          <a:xfrm>
            <a:off x="672000" y="2112000"/>
            <a:ext cx="11040000" cy="3936000"/>
          </a:xfrm>
        </p:spPr>
        <p:txBody>
          <a:bodyPr/>
          <a:lstStyle>
            <a:lvl1pPr marL="0" indent="0">
              <a:defRPr sz="1600">
                <a:solidFill>
                  <a:schemeClr val="tx1"/>
                </a:solidFill>
              </a:defRPr>
            </a:lvl1pPr>
            <a:lvl2pPr>
              <a:defRPr sz="1600">
                <a:solidFill>
                  <a:schemeClr val="tx1"/>
                </a:solidFill>
              </a:defRPr>
            </a:lvl2pPr>
            <a:lvl3pPr>
              <a:defRPr sz="1600">
                <a:solidFill>
                  <a:schemeClr val="tx1"/>
                </a:solidFill>
              </a:defRPr>
            </a:lvl3pPr>
            <a:lvl4pPr>
              <a:defRPr sz="1600">
                <a:solidFill>
                  <a:schemeClr val="tx1"/>
                </a:solidFill>
              </a:defRPr>
            </a:lvl4pPr>
            <a:lvl5pPr>
              <a:defRPr sz="1600">
                <a:solidFill>
                  <a:schemeClr val="tx1"/>
                </a:solidFill>
              </a:defRPr>
            </a:lvl5pPr>
            <a:lvl6pPr>
              <a:defRPr sz="2160"/>
            </a:lvl6pPr>
            <a:lvl7pPr>
              <a:defRPr sz="2160"/>
            </a:lvl7pPr>
            <a:lvl8pPr>
              <a:defRPr sz="2160"/>
            </a:lvl8pPr>
            <a:lvl9pPr>
              <a:defRPr sz="2160"/>
            </a:lvl9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Tree>
    <p:extLst>
      <p:ext uri="{BB962C8B-B14F-4D97-AF65-F5344CB8AC3E}">
        <p14:creationId xmlns:p14="http://schemas.microsoft.com/office/powerpoint/2010/main" val="884696136"/>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Zwei Inhalte">
    <p:spTree>
      <p:nvGrpSpPr>
        <p:cNvPr id="1" name=""/>
        <p:cNvGrpSpPr/>
        <p:nvPr/>
      </p:nvGrpSpPr>
      <p:grpSpPr>
        <a:xfrm>
          <a:off x="0" y="0"/>
          <a:ext cx="0" cy="0"/>
          <a:chOff x="0" y="0"/>
          <a:chExt cx="0" cy="0"/>
        </a:xfrm>
      </p:grpSpPr>
      <p:sp>
        <p:nvSpPr>
          <p:cNvPr id="8" name="Titel 1"/>
          <p:cNvSpPr>
            <a:spLocks noGrp="1"/>
          </p:cNvSpPr>
          <p:nvPr>
            <p:ph type="title" hasCustomPrompt="1"/>
          </p:nvPr>
        </p:nvSpPr>
        <p:spPr>
          <a:xfrm>
            <a:off x="672000" y="480000"/>
            <a:ext cx="9120000" cy="480000"/>
          </a:xfrm>
        </p:spPr>
        <p:txBody>
          <a:bodyPr/>
          <a:lstStyle>
            <a:lvl1pPr>
              <a:defRPr>
                <a:solidFill>
                  <a:schemeClr val="tx1"/>
                </a:solidFill>
              </a:defRPr>
            </a:lvl1pPr>
          </a:lstStyle>
          <a:p>
            <a:r>
              <a:rPr lang="de-DE" dirty="0"/>
              <a:t>Titelmasterformat durch Klicken bearbeiten</a:t>
            </a:r>
          </a:p>
        </p:txBody>
      </p:sp>
      <p:sp>
        <p:nvSpPr>
          <p:cNvPr id="6" name="Rectangle 4"/>
          <p:cNvSpPr>
            <a:spLocks noGrp="1" noChangeArrowheads="1"/>
          </p:cNvSpPr>
          <p:nvPr>
            <p:ph type="subTitle" idx="11" hasCustomPrompt="1"/>
          </p:nvPr>
        </p:nvSpPr>
        <p:spPr>
          <a:xfrm>
            <a:off x="671076" y="1152001"/>
            <a:ext cx="9120000" cy="789519"/>
          </a:xfrm>
        </p:spPr>
        <p:txBody>
          <a:bodyPr lIns="0" tIns="0" rIns="0" bIns="0"/>
          <a:lstStyle>
            <a:lvl1pPr marL="0" indent="0">
              <a:spcBef>
                <a:spcPct val="0"/>
              </a:spcBef>
              <a:buFont typeface="Wingdings" pitchFamily="2" charset="2"/>
              <a:buNone/>
              <a:defRPr sz="2200" b="0" i="0">
                <a:solidFill>
                  <a:schemeClr val="tx1"/>
                </a:solidFill>
                <a:latin typeface="+mj-lt"/>
                <a:ea typeface="Verdana" charset="0"/>
                <a:cs typeface="Verdana" charset="0"/>
              </a:defRPr>
            </a:lvl1pPr>
          </a:lstStyle>
          <a:p>
            <a:r>
              <a:rPr lang="de-DE" dirty="0"/>
              <a:t>Sub-Titel</a:t>
            </a:r>
          </a:p>
          <a:p>
            <a:r>
              <a:rPr lang="de-DE" dirty="0"/>
              <a:t>Sub-Sub-Titel</a:t>
            </a:r>
          </a:p>
        </p:txBody>
      </p:sp>
      <p:sp>
        <p:nvSpPr>
          <p:cNvPr id="9" name="Inhaltsplatzhalter 2"/>
          <p:cNvSpPr>
            <a:spLocks noGrp="1"/>
          </p:cNvSpPr>
          <p:nvPr>
            <p:ph sz="half" idx="1"/>
          </p:nvPr>
        </p:nvSpPr>
        <p:spPr>
          <a:xfrm>
            <a:off x="672000" y="2112000"/>
            <a:ext cx="5376000" cy="3936000"/>
          </a:xfrm>
        </p:spPr>
        <p:txBody>
          <a:bodyPr/>
          <a:lstStyle>
            <a:lvl1pPr marL="0" indent="0">
              <a:defRPr sz="1600">
                <a:solidFill>
                  <a:schemeClr val="tx1"/>
                </a:solidFill>
              </a:defRPr>
            </a:lvl1pPr>
            <a:lvl2pPr>
              <a:defRPr sz="1600">
                <a:solidFill>
                  <a:schemeClr val="tx1"/>
                </a:solidFill>
              </a:defRPr>
            </a:lvl2pPr>
            <a:lvl3pPr>
              <a:defRPr sz="1600">
                <a:solidFill>
                  <a:schemeClr val="tx1"/>
                </a:solidFill>
              </a:defRPr>
            </a:lvl3pPr>
            <a:lvl4pPr>
              <a:defRPr sz="1600">
                <a:solidFill>
                  <a:schemeClr val="tx1"/>
                </a:solidFill>
              </a:defRPr>
            </a:lvl4pPr>
            <a:lvl5pPr>
              <a:defRPr sz="1600">
                <a:solidFill>
                  <a:schemeClr val="tx1"/>
                </a:solidFill>
              </a:defRPr>
            </a:lvl5pPr>
            <a:lvl6pPr>
              <a:defRPr sz="2160"/>
            </a:lvl6pPr>
            <a:lvl7pPr>
              <a:defRPr sz="2160"/>
            </a:lvl7pPr>
            <a:lvl8pPr>
              <a:defRPr sz="2160"/>
            </a:lvl8pPr>
            <a:lvl9pPr>
              <a:defRPr sz="2160"/>
            </a:lvl9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0" name="Inhaltsplatzhalter 2"/>
          <p:cNvSpPr>
            <a:spLocks noGrp="1"/>
          </p:cNvSpPr>
          <p:nvPr>
            <p:ph sz="half" idx="12"/>
          </p:nvPr>
        </p:nvSpPr>
        <p:spPr>
          <a:xfrm>
            <a:off x="6336000" y="2112000"/>
            <a:ext cx="5376000" cy="3936000"/>
          </a:xfrm>
        </p:spPr>
        <p:txBody>
          <a:bodyPr/>
          <a:lstStyle>
            <a:lvl1pPr marL="0" indent="0">
              <a:defRPr sz="1600">
                <a:solidFill>
                  <a:schemeClr val="tx1"/>
                </a:solidFill>
              </a:defRPr>
            </a:lvl1pPr>
            <a:lvl2pPr>
              <a:defRPr sz="1600">
                <a:solidFill>
                  <a:schemeClr val="tx1"/>
                </a:solidFill>
              </a:defRPr>
            </a:lvl2pPr>
            <a:lvl3pPr>
              <a:defRPr sz="1600">
                <a:solidFill>
                  <a:schemeClr val="tx1"/>
                </a:solidFill>
              </a:defRPr>
            </a:lvl3pPr>
            <a:lvl4pPr>
              <a:defRPr sz="1600">
                <a:solidFill>
                  <a:schemeClr val="tx1"/>
                </a:solidFill>
              </a:defRPr>
            </a:lvl4pPr>
            <a:lvl5pPr>
              <a:defRPr sz="1600">
                <a:solidFill>
                  <a:schemeClr val="tx1"/>
                </a:solidFill>
              </a:defRPr>
            </a:lvl5pPr>
            <a:lvl6pPr>
              <a:defRPr sz="2160"/>
            </a:lvl6pPr>
            <a:lvl7pPr>
              <a:defRPr sz="2160"/>
            </a:lvl7pPr>
            <a:lvl8pPr>
              <a:defRPr sz="2160"/>
            </a:lvl8pPr>
            <a:lvl9pPr>
              <a:defRPr sz="2160"/>
            </a:lvl9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Tree>
    <p:extLst>
      <p:ext uri="{BB962C8B-B14F-4D97-AF65-F5344CB8AC3E}">
        <p14:creationId xmlns:p14="http://schemas.microsoft.com/office/powerpoint/2010/main" val="266086631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a:xfrm>
            <a:off x="478367" y="559974"/>
            <a:ext cx="9169400" cy="838200"/>
          </a:xfrm>
        </p:spPr>
        <p:txBody>
          <a:bodyPr anchor="t"/>
          <a:lstStyle>
            <a:lvl1pPr>
              <a:defRPr sz="2000"/>
            </a:lvl1pPr>
          </a:lstStyle>
          <a:p>
            <a:r>
              <a:rPr lang="de-DE" dirty="0"/>
              <a:t>Titelmasterformat durch Klicken bearbeiten</a:t>
            </a:r>
          </a:p>
        </p:txBody>
      </p:sp>
      <p:sp>
        <p:nvSpPr>
          <p:cNvPr id="3" name="Inhaltsplatzhalter 2"/>
          <p:cNvSpPr>
            <a:spLocks noGrp="1"/>
          </p:cNvSpPr>
          <p:nvPr>
            <p:ph idx="1"/>
          </p:nvPr>
        </p:nvSpPr>
        <p:spPr/>
        <p:txBody>
          <a:bodyPr/>
          <a:lstStyle/>
          <a:p>
            <a:pPr lvl="0"/>
            <a:r>
              <a:rPr lang="de-DE" dirty="0"/>
              <a:t>Textmasterformate durch Klicken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Rectangle 1041">
            <a:extLst>
              <a:ext uri="{FF2B5EF4-FFF2-40B4-BE49-F238E27FC236}">
                <a16:creationId xmlns:a16="http://schemas.microsoft.com/office/drawing/2014/main" id="{513202F3-D6A7-6924-6E62-19294A4A65C9}"/>
              </a:ext>
            </a:extLst>
          </p:cNvPr>
          <p:cNvSpPr>
            <a:spLocks noGrp="1" noChangeArrowheads="1"/>
          </p:cNvSpPr>
          <p:nvPr>
            <p:ph type="ftr" sz="quarter" idx="10"/>
          </p:nvPr>
        </p:nvSpPr>
        <p:spPr>
          <a:xfrm>
            <a:off x="627063" y="6310313"/>
            <a:ext cx="7007225" cy="215900"/>
          </a:xfrm>
          <a:prstGeom prst="rect">
            <a:avLst/>
          </a:prstGeom>
        </p:spPr>
        <p:txBody>
          <a:bodyPr vert="horz" wrap="square" lIns="91440" tIns="45720" rIns="91440" bIns="45720" numCol="1" anchor="t" anchorCtr="0" compatLnSpc="1">
            <a:prstTxWarp prst="textNoShape">
              <a:avLst/>
            </a:prstTxWarp>
          </a:bodyPr>
          <a:lstStyle>
            <a:lvl1pPr>
              <a:defRPr/>
            </a:lvl1pPr>
          </a:lstStyle>
          <a:p>
            <a:pPr>
              <a:defRPr/>
            </a:pPr>
            <a:r>
              <a:rPr lang="en-GB" altLang="de-DE"/>
              <a:t>Lecture: Interactions in Turbomachinery Rotordynamics - </a:t>
            </a:r>
            <a:fld id="{F47777F5-B2B5-4B5B-A876-EC1E7AF90E20}" type="datetime1">
              <a:rPr lang="en-GB" altLang="de-DE" smtClean="0"/>
              <a:pPr>
                <a:defRPr/>
              </a:pPr>
              <a:t>28/01/2024</a:t>
            </a:fld>
            <a:r>
              <a:rPr lang="en-GB" altLang="de-DE"/>
              <a:t> - P </a:t>
            </a:r>
            <a:fld id="{56EE89C2-84ED-4039-90F3-0927CCD4BEDD}" type="slidenum">
              <a:rPr lang="en-GB" altLang="de-DE" smtClean="0"/>
              <a:pPr>
                <a:defRPr/>
              </a:pPr>
              <a:t>‹Nr.›</a:t>
            </a:fld>
            <a:endParaRPr lang="en-GB" altLang="de-DE"/>
          </a:p>
        </p:txBody>
      </p:sp>
    </p:spTree>
    <p:extLst>
      <p:ext uri="{BB962C8B-B14F-4D97-AF65-F5344CB8AC3E}">
        <p14:creationId xmlns:p14="http://schemas.microsoft.com/office/powerpoint/2010/main" val="1401917284"/>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Drei Inhalte">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672000" y="480000"/>
            <a:ext cx="9120000" cy="480000"/>
          </a:xfrm>
        </p:spPr>
        <p:txBody>
          <a:bodyPr/>
          <a:lstStyle>
            <a:lvl1pPr>
              <a:defRPr>
                <a:solidFill>
                  <a:schemeClr val="tx1"/>
                </a:solidFill>
              </a:defRPr>
            </a:lvl1pPr>
          </a:lstStyle>
          <a:p>
            <a:r>
              <a:rPr lang="de-DE" dirty="0"/>
              <a:t>Titelmasterformat durch Klicken bearbeiten</a:t>
            </a:r>
          </a:p>
        </p:txBody>
      </p:sp>
      <p:sp>
        <p:nvSpPr>
          <p:cNvPr id="3" name="Inhaltsplatzhalter 2"/>
          <p:cNvSpPr>
            <a:spLocks noGrp="1"/>
          </p:cNvSpPr>
          <p:nvPr>
            <p:ph sz="half" idx="1"/>
          </p:nvPr>
        </p:nvSpPr>
        <p:spPr>
          <a:xfrm>
            <a:off x="672000" y="2112000"/>
            <a:ext cx="3504000" cy="3936000"/>
          </a:xfrm>
        </p:spPr>
        <p:txBody>
          <a:bodyPr/>
          <a:lstStyle>
            <a:lvl1pPr marL="0" indent="0">
              <a:defRPr sz="1600">
                <a:solidFill>
                  <a:schemeClr val="tx1"/>
                </a:solidFill>
              </a:defRPr>
            </a:lvl1pPr>
            <a:lvl2pPr>
              <a:defRPr sz="1600">
                <a:solidFill>
                  <a:schemeClr val="tx1"/>
                </a:solidFill>
              </a:defRPr>
            </a:lvl2pPr>
            <a:lvl3pPr>
              <a:defRPr sz="1600">
                <a:solidFill>
                  <a:schemeClr val="tx1"/>
                </a:solidFill>
              </a:defRPr>
            </a:lvl3pPr>
            <a:lvl4pPr>
              <a:defRPr sz="1600">
                <a:solidFill>
                  <a:schemeClr val="tx1"/>
                </a:solidFill>
              </a:defRPr>
            </a:lvl4pPr>
            <a:lvl5pPr>
              <a:defRPr sz="1600">
                <a:solidFill>
                  <a:schemeClr val="tx1"/>
                </a:solidFill>
              </a:defRPr>
            </a:lvl5pPr>
            <a:lvl6pPr>
              <a:defRPr sz="2160"/>
            </a:lvl6pPr>
            <a:lvl7pPr>
              <a:defRPr sz="2160"/>
            </a:lvl7pPr>
            <a:lvl8pPr>
              <a:defRPr sz="2160"/>
            </a:lvl8pPr>
            <a:lvl9pPr>
              <a:defRPr sz="2160"/>
            </a:lvl9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9" name="Inhaltsplatzhalter 2"/>
          <p:cNvSpPr>
            <a:spLocks noGrp="1"/>
          </p:cNvSpPr>
          <p:nvPr>
            <p:ph sz="half" idx="10"/>
          </p:nvPr>
        </p:nvSpPr>
        <p:spPr>
          <a:xfrm>
            <a:off x="4440000" y="2112000"/>
            <a:ext cx="3504000" cy="3936000"/>
          </a:xfrm>
        </p:spPr>
        <p:txBody>
          <a:bodyPr/>
          <a:lstStyle>
            <a:lvl1pPr marL="0" indent="0">
              <a:defRPr sz="1600">
                <a:solidFill>
                  <a:schemeClr val="tx1"/>
                </a:solidFill>
              </a:defRPr>
            </a:lvl1pPr>
            <a:lvl2pPr>
              <a:defRPr sz="1600">
                <a:solidFill>
                  <a:schemeClr val="tx1"/>
                </a:solidFill>
              </a:defRPr>
            </a:lvl2pPr>
            <a:lvl3pPr>
              <a:defRPr sz="1600">
                <a:solidFill>
                  <a:schemeClr val="tx1"/>
                </a:solidFill>
              </a:defRPr>
            </a:lvl3pPr>
            <a:lvl4pPr>
              <a:defRPr sz="1600">
                <a:solidFill>
                  <a:schemeClr val="tx1"/>
                </a:solidFill>
              </a:defRPr>
            </a:lvl4pPr>
            <a:lvl5pPr>
              <a:defRPr sz="1600">
                <a:solidFill>
                  <a:schemeClr val="tx1"/>
                </a:solidFill>
              </a:defRPr>
            </a:lvl5pPr>
            <a:lvl6pPr>
              <a:defRPr sz="2160"/>
            </a:lvl6pPr>
            <a:lvl7pPr>
              <a:defRPr sz="2160"/>
            </a:lvl7pPr>
            <a:lvl8pPr>
              <a:defRPr sz="2160"/>
            </a:lvl8pPr>
            <a:lvl9pPr>
              <a:defRPr sz="2160"/>
            </a:lvl9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1" name="Inhaltsplatzhalter 2"/>
          <p:cNvSpPr>
            <a:spLocks noGrp="1"/>
          </p:cNvSpPr>
          <p:nvPr>
            <p:ph sz="half" idx="12"/>
          </p:nvPr>
        </p:nvSpPr>
        <p:spPr>
          <a:xfrm>
            <a:off x="8208000" y="2112000"/>
            <a:ext cx="3504000" cy="3936000"/>
          </a:xfrm>
        </p:spPr>
        <p:txBody>
          <a:bodyPr/>
          <a:lstStyle>
            <a:lvl1pPr marL="0" indent="0">
              <a:defRPr sz="1600">
                <a:solidFill>
                  <a:schemeClr val="tx1"/>
                </a:solidFill>
              </a:defRPr>
            </a:lvl1pPr>
            <a:lvl2pPr>
              <a:defRPr sz="1600">
                <a:solidFill>
                  <a:schemeClr val="tx1"/>
                </a:solidFill>
              </a:defRPr>
            </a:lvl2pPr>
            <a:lvl3pPr>
              <a:defRPr sz="1600">
                <a:solidFill>
                  <a:schemeClr val="tx1"/>
                </a:solidFill>
              </a:defRPr>
            </a:lvl3pPr>
            <a:lvl4pPr>
              <a:defRPr sz="1600">
                <a:solidFill>
                  <a:schemeClr val="tx1"/>
                </a:solidFill>
              </a:defRPr>
            </a:lvl4pPr>
            <a:lvl5pPr>
              <a:defRPr sz="1600">
                <a:solidFill>
                  <a:schemeClr val="tx1"/>
                </a:solidFill>
              </a:defRPr>
            </a:lvl5pPr>
            <a:lvl6pPr>
              <a:defRPr sz="2160"/>
            </a:lvl6pPr>
            <a:lvl7pPr>
              <a:defRPr sz="2160"/>
            </a:lvl7pPr>
            <a:lvl8pPr>
              <a:defRPr sz="2160"/>
            </a:lvl8pPr>
            <a:lvl9pPr>
              <a:defRPr sz="2160"/>
            </a:lvl9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6" name="Rectangle 4"/>
          <p:cNvSpPr>
            <a:spLocks noGrp="1" noChangeArrowheads="1"/>
          </p:cNvSpPr>
          <p:nvPr>
            <p:ph type="subTitle" idx="11" hasCustomPrompt="1"/>
          </p:nvPr>
        </p:nvSpPr>
        <p:spPr>
          <a:xfrm>
            <a:off x="671076" y="1152001"/>
            <a:ext cx="9120000" cy="789519"/>
          </a:xfrm>
        </p:spPr>
        <p:txBody>
          <a:bodyPr lIns="0" tIns="0" rIns="0" bIns="0"/>
          <a:lstStyle>
            <a:lvl1pPr marL="0" indent="0">
              <a:spcBef>
                <a:spcPct val="0"/>
              </a:spcBef>
              <a:buFont typeface="Wingdings" pitchFamily="2" charset="2"/>
              <a:buNone/>
              <a:defRPr sz="2200" b="0" i="0">
                <a:solidFill>
                  <a:schemeClr val="tx1"/>
                </a:solidFill>
                <a:latin typeface="+mj-lt"/>
                <a:ea typeface="Verdana" charset="0"/>
                <a:cs typeface="Verdana" charset="0"/>
              </a:defRPr>
            </a:lvl1pPr>
          </a:lstStyle>
          <a:p>
            <a:r>
              <a:rPr lang="de-DE" dirty="0"/>
              <a:t>Sub-Titel</a:t>
            </a:r>
          </a:p>
          <a:p>
            <a:r>
              <a:rPr lang="de-DE" dirty="0"/>
              <a:t>Sub-Sub-Titel</a:t>
            </a:r>
          </a:p>
        </p:txBody>
      </p:sp>
    </p:spTree>
    <p:extLst>
      <p:ext uri="{BB962C8B-B14F-4D97-AF65-F5344CB8AC3E}">
        <p14:creationId xmlns:p14="http://schemas.microsoft.com/office/powerpoint/2010/main" val="3027837428"/>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a:xfrm>
            <a:off x="478367" y="559974"/>
            <a:ext cx="9169400" cy="838200"/>
          </a:xfrm>
        </p:spPr>
        <p:txBody>
          <a:bodyPr anchor="t"/>
          <a:lstStyle>
            <a:lvl1pPr>
              <a:defRPr sz="2000"/>
            </a:lvl1pPr>
          </a:lstStyle>
          <a:p>
            <a:r>
              <a:rPr lang="de-DE" dirty="0"/>
              <a:t>Titelmasterformat durch Klicken bearbeiten</a:t>
            </a:r>
          </a:p>
        </p:txBody>
      </p:sp>
      <p:sp>
        <p:nvSpPr>
          <p:cNvPr id="3" name="Inhaltsplatzhalter 2"/>
          <p:cNvSpPr>
            <a:spLocks noGrp="1"/>
          </p:cNvSpPr>
          <p:nvPr>
            <p:ph idx="1"/>
          </p:nvPr>
        </p:nvSpPr>
        <p:spPr/>
        <p:txBody>
          <a:bodyPr/>
          <a:lstStyle/>
          <a:p>
            <a:pPr lvl="0"/>
            <a:r>
              <a:rPr lang="de-DE" dirty="0"/>
              <a:t>Textmasterformate durch Klicken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Rectangle 1041">
            <a:extLst>
              <a:ext uri="{FF2B5EF4-FFF2-40B4-BE49-F238E27FC236}">
                <a16:creationId xmlns:a16="http://schemas.microsoft.com/office/drawing/2014/main" id="{E4DF0130-0774-D7BD-CED3-C46BB43993A4}"/>
              </a:ext>
            </a:extLst>
          </p:cNvPr>
          <p:cNvSpPr>
            <a:spLocks noGrp="1" noChangeArrowheads="1"/>
          </p:cNvSpPr>
          <p:nvPr>
            <p:ph type="ftr" sz="quarter" idx="10"/>
          </p:nvPr>
        </p:nvSpPr>
        <p:spPr>
          <a:xfrm>
            <a:off x="627063" y="6310313"/>
            <a:ext cx="7007225" cy="215900"/>
          </a:xfrm>
          <a:prstGeom prst="rect">
            <a:avLst/>
          </a:prstGeom>
        </p:spPr>
        <p:txBody>
          <a:bodyPr vert="horz" wrap="square" lIns="91440" tIns="45720" rIns="91440" bIns="45720" numCol="1" anchor="t" anchorCtr="0" compatLnSpc="1">
            <a:prstTxWarp prst="textNoShape">
              <a:avLst/>
            </a:prstTxWarp>
          </a:bodyPr>
          <a:lstStyle>
            <a:lvl1pPr eaLnBrk="1" hangingPunct="1">
              <a:defRPr/>
            </a:lvl1pPr>
          </a:lstStyle>
          <a:p>
            <a:pPr>
              <a:defRPr/>
            </a:pPr>
            <a:r>
              <a:rPr lang="en-GB" altLang="de-DE"/>
              <a:t>Lecture: Interactions in Turbomachinery Rotordynamics - </a:t>
            </a:r>
            <a:fld id="{BD176000-88EA-4B0D-AA64-40FAAF40BFAE}" type="datetime1">
              <a:rPr lang="en-GB" altLang="de-DE" smtClean="0"/>
              <a:pPr>
                <a:defRPr/>
              </a:pPr>
              <a:t>28/01/2024</a:t>
            </a:fld>
            <a:r>
              <a:rPr lang="en-GB" altLang="de-DE"/>
              <a:t> - P </a:t>
            </a:r>
            <a:fld id="{2EA9304C-208A-4746-A614-2D16B9B421AA}" type="slidenum">
              <a:rPr lang="en-GB" altLang="de-DE" smtClean="0"/>
              <a:pPr>
                <a:defRPr/>
              </a:pPr>
              <a:t>‹Nr.›</a:t>
            </a:fld>
            <a:endParaRPr lang="en-GB" altLang="de-DE"/>
          </a:p>
        </p:txBody>
      </p:sp>
    </p:spTree>
    <p:extLst>
      <p:ext uri="{BB962C8B-B14F-4D97-AF65-F5344CB8AC3E}">
        <p14:creationId xmlns:p14="http://schemas.microsoft.com/office/powerpoint/2010/main" val="4188096084"/>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type="blank" preserve="1">
  <p:cSld name="Leer">
    <p:spTree>
      <p:nvGrpSpPr>
        <p:cNvPr id="1" name=""/>
        <p:cNvGrpSpPr/>
        <p:nvPr/>
      </p:nvGrpSpPr>
      <p:grpSpPr>
        <a:xfrm>
          <a:off x="0" y="0"/>
          <a:ext cx="0" cy="0"/>
          <a:chOff x="0" y="0"/>
          <a:chExt cx="0" cy="0"/>
        </a:xfrm>
      </p:grpSpPr>
      <p:sp>
        <p:nvSpPr>
          <p:cNvPr id="2" name="Line 1039">
            <a:extLst>
              <a:ext uri="{FF2B5EF4-FFF2-40B4-BE49-F238E27FC236}">
                <a16:creationId xmlns:a16="http://schemas.microsoft.com/office/drawing/2014/main" id="{3A5F4805-6EA9-E251-F4C6-FC973E061E9B}"/>
              </a:ext>
            </a:extLst>
          </p:cNvPr>
          <p:cNvSpPr>
            <a:spLocks noChangeShapeType="1"/>
          </p:cNvSpPr>
          <p:nvPr userDrawn="1"/>
        </p:nvSpPr>
        <p:spPr bwMode="auto">
          <a:xfrm>
            <a:off x="465138" y="950913"/>
            <a:ext cx="11263312" cy="0"/>
          </a:xfrm>
          <a:prstGeom prst="line">
            <a:avLst/>
          </a:prstGeom>
          <a:noFill/>
          <a:ln w="12700">
            <a:solidFill>
              <a:srgbClr val="5F5F5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Tree>
    <p:extLst>
      <p:ext uri="{BB962C8B-B14F-4D97-AF65-F5344CB8AC3E}">
        <p14:creationId xmlns:p14="http://schemas.microsoft.com/office/powerpoint/2010/main" val="391597498"/>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blank" preserve="1">
  <p:cSld name="1_Leer">
    <p:spTree>
      <p:nvGrpSpPr>
        <p:cNvPr id="1" name=""/>
        <p:cNvGrpSpPr/>
        <p:nvPr/>
      </p:nvGrpSpPr>
      <p:grpSpPr>
        <a:xfrm>
          <a:off x="0" y="0"/>
          <a:ext cx="0" cy="0"/>
          <a:chOff x="0" y="0"/>
          <a:chExt cx="0" cy="0"/>
        </a:xfrm>
      </p:grpSpPr>
    </p:spTree>
    <p:extLst>
      <p:ext uri="{BB962C8B-B14F-4D97-AF65-F5344CB8AC3E}">
        <p14:creationId xmlns:p14="http://schemas.microsoft.com/office/powerpoint/2010/main" val="1977502539"/>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type="title">
  <p:cSld name="Titelfolie">
    <p:spTree>
      <p:nvGrpSpPr>
        <p:cNvPr id="1" name=""/>
        <p:cNvGrpSpPr/>
        <p:nvPr/>
      </p:nvGrpSpPr>
      <p:grpSpPr>
        <a:xfrm>
          <a:off x="0" y="0"/>
          <a:ext cx="0" cy="0"/>
          <a:chOff x="0" y="0"/>
          <a:chExt cx="0" cy="0"/>
        </a:xfrm>
      </p:grpSpPr>
      <p:sp>
        <p:nvSpPr>
          <p:cNvPr id="2" name="Rectangle 2">
            <a:extLst>
              <a:ext uri="{FF2B5EF4-FFF2-40B4-BE49-F238E27FC236}">
                <a16:creationId xmlns:a16="http://schemas.microsoft.com/office/drawing/2014/main" id="{D7C0B004-69FD-E49A-6943-0AFB84CDF50E}"/>
              </a:ext>
            </a:extLst>
          </p:cNvPr>
          <p:cNvSpPr>
            <a:spLocks noChangeArrowheads="1"/>
          </p:cNvSpPr>
          <p:nvPr/>
        </p:nvSpPr>
        <p:spPr bwMode="auto">
          <a:xfrm>
            <a:off x="334963" y="368300"/>
            <a:ext cx="11522075" cy="1868488"/>
          </a:xfrm>
          <a:prstGeom prst="rect">
            <a:avLst/>
          </a:prstGeom>
          <a:solidFill>
            <a:srgbClr val="243572"/>
          </a:solidFill>
          <a:ln>
            <a:noFill/>
          </a:ln>
        </p:spPr>
        <p:txBody>
          <a:bodyPr wrap="none" anchor="ctr"/>
          <a:lstStyle>
            <a:lvl1pPr eaLnBrk="0" hangingPunct="0">
              <a:defRPr b="1">
                <a:solidFill>
                  <a:schemeClr val="tx1"/>
                </a:solidFill>
                <a:latin typeface="Verdana" pitchFamily="34" charset="0"/>
              </a:defRPr>
            </a:lvl1pPr>
            <a:lvl2pPr marL="742950" indent="-285750" eaLnBrk="0" hangingPunct="0">
              <a:defRPr b="1">
                <a:solidFill>
                  <a:schemeClr val="tx1"/>
                </a:solidFill>
                <a:latin typeface="Verdana" pitchFamily="34" charset="0"/>
              </a:defRPr>
            </a:lvl2pPr>
            <a:lvl3pPr marL="1143000" indent="-228600" eaLnBrk="0" hangingPunct="0">
              <a:defRPr b="1">
                <a:solidFill>
                  <a:schemeClr val="tx1"/>
                </a:solidFill>
                <a:latin typeface="Verdana" pitchFamily="34" charset="0"/>
              </a:defRPr>
            </a:lvl3pPr>
            <a:lvl4pPr marL="1600200" indent="-228600" eaLnBrk="0" hangingPunct="0">
              <a:defRPr b="1">
                <a:solidFill>
                  <a:schemeClr val="tx1"/>
                </a:solidFill>
                <a:latin typeface="Verdana" pitchFamily="34" charset="0"/>
              </a:defRPr>
            </a:lvl4pPr>
            <a:lvl5pPr marL="2057400" indent="-228600" eaLnBrk="0" hangingPunct="0">
              <a:defRPr b="1">
                <a:solidFill>
                  <a:schemeClr val="tx1"/>
                </a:solidFill>
                <a:latin typeface="Verdana" pitchFamily="34" charset="0"/>
              </a:defRPr>
            </a:lvl5pPr>
            <a:lvl6pPr marL="2514600" indent="-228600" eaLnBrk="0" fontAlgn="base" hangingPunct="0">
              <a:spcBef>
                <a:spcPct val="0"/>
              </a:spcBef>
              <a:spcAft>
                <a:spcPct val="0"/>
              </a:spcAft>
              <a:defRPr b="1">
                <a:solidFill>
                  <a:schemeClr val="tx1"/>
                </a:solidFill>
                <a:latin typeface="Verdana" pitchFamily="34" charset="0"/>
              </a:defRPr>
            </a:lvl6pPr>
            <a:lvl7pPr marL="2971800" indent="-228600" eaLnBrk="0" fontAlgn="base" hangingPunct="0">
              <a:spcBef>
                <a:spcPct val="0"/>
              </a:spcBef>
              <a:spcAft>
                <a:spcPct val="0"/>
              </a:spcAft>
              <a:defRPr b="1">
                <a:solidFill>
                  <a:schemeClr val="tx1"/>
                </a:solidFill>
                <a:latin typeface="Verdana" pitchFamily="34" charset="0"/>
              </a:defRPr>
            </a:lvl7pPr>
            <a:lvl8pPr marL="3429000" indent="-228600" eaLnBrk="0" fontAlgn="base" hangingPunct="0">
              <a:spcBef>
                <a:spcPct val="0"/>
              </a:spcBef>
              <a:spcAft>
                <a:spcPct val="0"/>
              </a:spcAft>
              <a:defRPr b="1">
                <a:solidFill>
                  <a:schemeClr val="tx1"/>
                </a:solidFill>
                <a:latin typeface="Verdana" pitchFamily="34" charset="0"/>
              </a:defRPr>
            </a:lvl8pPr>
            <a:lvl9pPr marL="3886200" indent="-228600" eaLnBrk="0" fontAlgn="base" hangingPunct="0">
              <a:spcBef>
                <a:spcPct val="0"/>
              </a:spcBef>
              <a:spcAft>
                <a:spcPct val="0"/>
              </a:spcAft>
              <a:defRPr b="1">
                <a:solidFill>
                  <a:schemeClr val="tx1"/>
                </a:solidFill>
                <a:latin typeface="Verdana" pitchFamily="34" charset="0"/>
              </a:defRPr>
            </a:lvl9pPr>
          </a:lstStyle>
          <a:p>
            <a:pPr algn="ctr" eaLnBrk="1" hangingPunct="1">
              <a:defRPr/>
            </a:pPr>
            <a:endParaRPr lang="de-DE" altLang="de-DE"/>
          </a:p>
        </p:txBody>
      </p:sp>
      <p:sp>
        <p:nvSpPr>
          <p:cNvPr id="3" name="Rectangle 8">
            <a:extLst>
              <a:ext uri="{FF2B5EF4-FFF2-40B4-BE49-F238E27FC236}">
                <a16:creationId xmlns:a16="http://schemas.microsoft.com/office/drawing/2014/main" id="{5E66A1DD-1F04-EAB6-C3DD-A9F2BE8A118D}"/>
              </a:ext>
            </a:extLst>
          </p:cNvPr>
          <p:cNvSpPr>
            <a:spLocks noChangeArrowheads="1"/>
          </p:cNvSpPr>
          <p:nvPr/>
        </p:nvSpPr>
        <p:spPr bwMode="auto">
          <a:xfrm>
            <a:off x="334963" y="196850"/>
            <a:ext cx="11522075" cy="144463"/>
          </a:xfrm>
          <a:prstGeom prst="rect">
            <a:avLst/>
          </a:prstGeom>
          <a:solidFill>
            <a:srgbClr val="243572"/>
          </a:solidFill>
          <a:ln>
            <a:noFill/>
          </a:ln>
        </p:spPr>
        <p:txBody>
          <a:bodyPr/>
          <a:lstStyle>
            <a:lvl1pPr eaLnBrk="0" hangingPunct="0">
              <a:defRPr b="1">
                <a:solidFill>
                  <a:schemeClr val="tx1"/>
                </a:solidFill>
                <a:latin typeface="Verdana" pitchFamily="34" charset="0"/>
              </a:defRPr>
            </a:lvl1pPr>
            <a:lvl2pPr marL="742950" indent="-285750" eaLnBrk="0" hangingPunct="0">
              <a:defRPr b="1">
                <a:solidFill>
                  <a:schemeClr val="tx1"/>
                </a:solidFill>
                <a:latin typeface="Verdana" pitchFamily="34" charset="0"/>
              </a:defRPr>
            </a:lvl2pPr>
            <a:lvl3pPr marL="1143000" indent="-228600" eaLnBrk="0" hangingPunct="0">
              <a:defRPr b="1">
                <a:solidFill>
                  <a:schemeClr val="tx1"/>
                </a:solidFill>
                <a:latin typeface="Verdana" pitchFamily="34" charset="0"/>
              </a:defRPr>
            </a:lvl3pPr>
            <a:lvl4pPr marL="1600200" indent="-228600" eaLnBrk="0" hangingPunct="0">
              <a:defRPr b="1">
                <a:solidFill>
                  <a:schemeClr val="tx1"/>
                </a:solidFill>
                <a:latin typeface="Verdana" pitchFamily="34" charset="0"/>
              </a:defRPr>
            </a:lvl4pPr>
            <a:lvl5pPr marL="2057400" indent="-228600" eaLnBrk="0" hangingPunct="0">
              <a:defRPr b="1">
                <a:solidFill>
                  <a:schemeClr val="tx1"/>
                </a:solidFill>
                <a:latin typeface="Verdana" pitchFamily="34" charset="0"/>
              </a:defRPr>
            </a:lvl5pPr>
            <a:lvl6pPr marL="2514600" indent="-228600" eaLnBrk="0" fontAlgn="base" hangingPunct="0">
              <a:spcBef>
                <a:spcPct val="0"/>
              </a:spcBef>
              <a:spcAft>
                <a:spcPct val="0"/>
              </a:spcAft>
              <a:defRPr b="1">
                <a:solidFill>
                  <a:schemeClr val="tx1"/>
                </a:solidFill>
                <a:latin typeface="Verdana" pitchFamily="34" charset="0"/>
              </a:defRPr>
            </a:lvl6pPr>
            <a:lvl7pPr marL="2971800" indent="-228600" eaLnBrk="0" fontAlgn="base" hangingPunct="0">
              <a:spcBef>
                <a:spcPct val="0"/>
              </a:spcBef>
              <a:spcAft>
                <a:spcPct val="0"/>
              </a:spcAft>
              <a:defRPr b="1">
                <a:solidFill>
                  <a:schemeClr val="tx1"/>
                </a:solidFill>
                <a:latin typeface="Verdana" pitchFamily="34" charset="0"/>
              </a:defRPr>
            </a:lvl7pPr>
            <a:lvl8pPr marL="3429000" indent="-228600" eaLnBrk="0" fontAlgn="base" hangingPunct="0">
              <a:spcBef>
                <a:spcPct val="0"/>
              </a:spcBef>
              <a:spcAft>
                <a:spcPct val="0"/>
              </a:spcAft>
              <a:defRPr b="1">
                <a:solidFill>
                  <a:schemeClr val="tx1"/>
                </a:solidFill>
                <a:latin typeface="Verdana" pitchFamily="34" charset="0"/>
              </a:defRPr>
            </a:lvl8pPr>
            <a:lvl9pPr marL="3886200" indent="-228600" eaLnBrk="0" fontAlgn="base" hangingPunct="0">
              <a:spcBef>
                <a:spcPct val="0"/>
              </a:spcBef>
              <a:spcAft>
                <a:spcPct val="0"/>
              </a:spcAft>
              <a:defRPr b="1">
                <a:solidFill>
                  <a:schemeClr val="tx1"/>
                </a:solidFill>
                <a:latin typeface="Verdana" pitchFamily="34" charset="0"/>
              </a:defRPr>
            </a:lvl9pPr>
          </a:lstStyle>
          <a:p>
            <a:pPr eaLnBrk="1" hangingPunct="1">
              <a:defRPr/>
            </a:pPr>
            <a:endParaRPr lang="de-DE" altLang="de-DE"/>
          </a:p>
        </p:txBody>
      </p:sp>
      <p:pic>
        <p:nvPicPr>
          <p:cNvPr id="4" name="Picture 9" descr="tud_logo">
            <a:extLst>
              <a:ext uri="{FF2B5EF4-FFF2-40B4-BE49-F238E27FC236}">
                <a16:creationId xmlns:a16="http://schemas.microsoft.com/office/drawing/2014/main" id="{D2965698-2CF5-AF5A-17B7-AEE6DAAC9D9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r="5453"/>
          <a:stretch>
            <a:fillRect/>
          </a:stretch>
        </p:blipFill>
        <p:spPr bwMode="auto">
          <a:xfrm>
            <a:off x="9563100" y="500063"/>
            <a:ext cx="2497138" cy="792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Line 11">
            <a:extLst>
              <a:ext uri="{FF2B5EF4-FFF2-40B4-BE49-F238E27FC236}">
                <a16:creationId xmlns:a16="http://schemas.microsoft.com/office/drawing/2014/main" id="{2BA146A3-A08C-4929-33C5-A392F3F41BDE}"/>
              </a:ext>
            </a:extLst>
          </p:cNvPr>
          <p:cNvSpPr>
            <a:spLocks noChangeShapeType="1"/>
          </p:cNvSpPr>
          <p:nvPr/>
        </p:nvSpPr>
        <p:spPr bwMode="auto">
          <a:xfrm>
            <a:off x="336550" y="6489700"/>
            <a:ext cx="11520488" cy="0"/>
          </a:xfrm>
          <a:prstGeom prst="line">
            <a:avLst/>
          </a:prstGeom>
          <a:noFill/>
          <a:ln w="7620">
            <a:solidFill>
              <a:srgbClr val="000000"/>
            </a:solidFill>
            <a:round/>
            <a:headEnd/>
            <a:tailEnd/>
          </a:ln>
          <a:extLst>
            <a:ext uri="{909E8E84-426E-40DD-AFC4-6F175D3DCCD1}">
              <a14:hiddenFill xmlns:a14="http://schemas.microsoft.com/office/drawing/2010/main">
                <a:noFill/>
              </a14:hiddenFill>
            </a:ext>
          </a:extLst>
        </p:spPr>
        <p:txBody>
          <a:bodyPr/>
          <a:lstStyle/>
          <a:p>
            <a:endParaRPr lang="de-DE"/>
          </a:p>
        </p:txBody>
      </p:sp>
      <p:sp>
        <p:nvSpPr>
          <p:cNvPr id="6" name="Line 15">
            <a:extLst>
              <a:ext uri="{FF2B5EF4-FFF2-40B4-BE49-F238E27FC236}">
                <a16:creationId xmlns:a16="http://schemas.microsoft.com/office/drawing/2014/main" id="{C0247E05-CD96-D7C0-3829-A80611946C70}"/>
              </a:ext>
            </a:extLst>
          </p:cNvPr>
          <p:cNvSpPr>
            <a:spLocks noChangeShapeType="1"/>
          </p:cNvSpPr>
          <p:nvPr/>
        </p:nvSpPr>
        <p:spPr bwMode="auto">
          <a:xfrm>
            <a:off x="336550" y="6489700"/>
            <a:ext cx="11520488" cy="0"/>
          </a:xfrm>
          <a:prstGeom prst="line">
            <a:avLst/>
          </a:prstGeom>
          <a:noFill/>
          <a:ln w="7620">
            <a:solidFill>
              <a:srgbClr val="000000"/>
            </a:solidFill>
            <a:round/>
            <a:headEnd/>
            <a:tailEnd/>
          </a:ln>
          <a:extLst>
            <a:ext uri="{909E8E84-426E-40DD-AFC4-6F175D3DCCD1}">
              <a14:hiddenFill xmlns:a14="http://schemas.microsoft.com/office/drawing/2010/main">
                <a:noFill/>
              </a14:hiddenFill>
            </a:ext>
          </a:extLst>
        </p:spPr>
        <p:txBody>
          <a:bodyPr/>
          <a:lstStyle/>
          <a:p>
            <a:endParaRPr lang="de-DE"/>
          </a:p>
        </p:txBody>
      </p:sp>
      <p:sp>
        <p:nvSpPr>
          <p:cNvPr id="7" name="Rectangle 18">
            <a:extLst>
              <a:ext uri="{FF2B5EF4-FFF2-40B4-BE49-F238E27FC236}">
                <a16:creationId xmlns:a16="http://schemas.microsoft.com/office/drawing/2014/main" id="{57068BD6-5CB5-B5C4-B706-550F83808C0E}"/>
              </a:ext>
            </a:extLst>
          </p:cNvPr>
          <p:cNvSpPr>
            <a:spLocks noChangeArrowheads="1"/>
          </p:cNvSpPr>
          <p:nvPr/>
        </p:nvSpPr>
        <p:spPr bwMode="auto">
          <a:xfrm>
            <a:off x="334963" y="360363"/>
            <a:ext cx="11520487" cy="14287"/>
          </a:xfrm>
          <a:prstGeom prst="rect">
            <a:avLst/>
          </a:prstGeom>
          <a:solidFill>
            <a:srgbClr val="000000"/>
          </a:solidFill>
          <a:ln>
            <a:noFill/>
          </a:ln>
        </p:spPr>
        <p:txBody>
          <a:bodyPr wrap="none" anchor="ctr"/>
          <a:lstStyle>
            <a:lvl1pPr eaLnBrk="0" hangingPunct="0">
              <a:defRPr b="1">
                <a:solidFill>
                  <a:schemeClr val="tx1"/>
                </a:solidFill>
                <a:latin typeface="Verdana" pitchFamily="34" charset="0"/>
              </a:defRPr>
            </a:lvl1pPr>
            <a:lvl2pPr marL="742950" indent="-285750" eaLnBrk="0" hangingPunct="0">
              <a:defRPr b="1">
                <a:solidFill>
                  <a:schemeClr val="tx1"/>
                </a:solidFill>
                <a:latin typeface="Verdana" pitchFamily="34" charset="0"/>
              </a:defRPr>
            </a:lvl2pPr>
            <a:lvl3pPr marL="1143000" indent="-228600" eaLnBrk="0" hangingPunct="0">
              <a:defRPr b="1">
                <a:solidFill>
                  <a:schemeClr val="tx1"/>
                </a:solidFill>
                <a:latin typeface="Verdana" pitchFamily="34" charset="0"/>
              </a:defRPr>
            </a:lvl3pPr>
            <a:lvl4pPr marL="1600200" indent="-228600" eaLnBrk="0" hangingPunct="0">
              <a:defRPr b="1">
                <a:solidFill>
                  <a:schemeClr val="tx1"/>
                </a:solidFill>
                <a:latin typeface="Verdana" pitchFamily="34" charset="0"/>
              </a:defRPr>
            </a:lvl4pPr>
            <a:lvl5pPr marL="2057400" indent="-228600" eaLnBrk="0" hangingPunct="0">
              <a:defRPr b="1">
                <a:solidFill>
                  <a:schemeClr val="tx1"/>
                </a:solidFill>
                <a:latin typeface="Verdana" pitchFamily="34" charset="0"/>
              </a:defRPr>
            </a:lvl5pPr>
            <a:lvl6pPr marL="2514600" indent="-228600" eaLnBrk="0" fontAlgn="base" hangingPunct="0">
              <a:spcBef>
                <a:spcPct val="0"/>
              </a:spcBef>
              <a:spcAft>
                <a:spcPct val="0"/>
              </a:spcAft>
              <a:defRPr b="1">
                <a:solidFill>
                  <a:schemeClr val="tx1"/>
                </a:solidFill>
                <a:latin typeface="Verdana" pitchFamily="34" charset="0"/>
              </a:defRPr>
            </a:lvl6pPr>
            <a:lvl7pPr marL="2971800" indent="-228600" eaLnBrk="0" fontAlgn="base" hangingPunct="0">
              <a:spcBef>
                <a:spcPct val="0"/>
              </a:spcBef>
              <a:spcAft>
                <a:spcPct val="0"/>
              </a:spcAft>
              <a:defRPr b="1">
                <a:solidFill>
                  <a:schemeClr val="tx1"/>
                </a:solidFill>
                <a:latin typeface="Verdana" pitchFamily="34" charset="0"/>
              </a:defRPr>
            </a:lvl7pPr>
            <a:lvl8pPr marL="3429000" indent="-228600" eaLnBrk="0" fontAlgn="base" hangingPunct="0">
              <a:spcBef>
                <a:spcPct val="0"/>
              </a:spcBef>
              <a:spcAft>
                <a:spcPct val="0"/>
              </a:spcAft>
              <a:defRPr b="1">
                <a:solidFill>
                  <a:schemeClr val="tx1"/>
                </a:solidFill>
                <a:latin typeface="Verdana" pitchFamily="34" charset="0"/>
              </a:defRPr>
            </a:lvl8pPr>
            <a:lvl9pPr marL="3886200" indent="-228600" eaLnBrk="0" fontAlgn="base" hangingPunct="0">
              <a:spcBef>
                <a:spcPct val="0"/>
              </a:spcBef>
              <a:spcAft>
                <a:spcPct val="0"/>
              </a:spcAft>
              <a:defRPr b="1">
                <a:solidFill>
                  <a:schemeClr val="tx1"/>
                </a:solidFill>
                <a:latin typeface="Verdana" pitchFamily="34" charset="0"/>
              </a:defRPr>
            </a:lvl9pPr>
          </a:lstStyle>
          <a:p>
            <a:pPr eaLnBrk="1" hangingPunct="1">
              <a:defRPr/>
            </a:pPr>
            <a:endParaRPr lang="de-DE" altLang="de-DE"/>
          </a:p>
        </p:txBody>
      </p:sp>
      <p:sp>
        <p:nvSpPr>
          <p:cNvPr id="8" name="Rectangle 19">
            <a:extLst>
              <a:ext uri="{FF2B5EF4-FFF2-40B4-BE49-F238E27FC236}">
                <a16:creationId xmlns:a16="http://schemas.microsoft.com/office/drawing/2014/main" id="{1DA6CA60-5C3F-17D2-513D-D33C726BD1EC}"/>
              </a:ext>
            </a:extLst>
          </p:cNvPr>
          <p:cNvSpPr>
            <a:spLocks noChangeArrowheads="1"/>
          </p:cNvSpPr>
          <p:nvPr/>
        </p:nvSpPr>
        <p:spPr bwMode="auto">
          <a:xfrm>
            <a:off x="334963" y="2239963"/>
            <a:ext cx="11520487" cy="7937"/>
          </a:xfrm>
          <a:prstGeom prst="rect">
            <a:avLst/>
          </a:prstGeom>
          <a:solidFill>
            <a:srgbClr val="000000"/>
          </a:solidFill>
          <a:ln>
            <a:noFill/>
          </a:ln>
        </p:spPr>
        <p:txBody>
          <a:bodyPr wrap="none" anchor="ctr"/>
          <a:lstStyle>
            <a:lvl1pPr eaLnBrk="0" hangingPunct="0">
              <a:defRPr b="1">
                <a:solidFill>
                  <a:schemeClr val="tx1"/>
                </a:solidFill>
                <a:latin typeface="Verdana" pitchFamily="34" charset="0"/>
              </a:defRPr>
            </a:lvl1pPr>
            <a:lvl2pPr marL="742950" indent="-285750" eaLnBrk="0" hangingPunct="0">
              <a:defRPr b="1">
                <a:solidFill>
                  <a:schemeClr val="tx1"/>
                </a:solidFill>
                <a:latin typeface="Verdana" pitchFamily="34" charset="0"/>
              </a:defRPr>
            </a:lvl2pPr>
            <a:lvl3pPr marL="1143000" indent="-228600" eaLnBrk="0" hangingPunct="0">
              <a:defRPr b="1">
                <a:solidFill>
                  <a:schemeClr val="tx1"/>
                </a:solidFill>
                <a:latin typeface="Verdana" pitchFamily="34" charset="0"/>
              </a:defRPr>
            </a:lvl3pPr>
            <a:lvl4pPr marL="1600200" indent="-228600" eaLnBrk="0" hangingPunct="0">
              <a:defRPr b="1">
                <a:solidFill>
                  <a:schemeClr val="tx1"/>
                </a:solidFill>
                <a:latin typeface="Verdana" pitchFamily="34" charset="0"/>
              </a:defRPr>
            </a:lvl4pPr>
            <a:lvl5pPr marL="2057400" indent="-228600" eaLnBrk="0" hangingPunct="0">
              <a:defRPr b="1">
                <a:solidFill>
                  <a:schemeClr val="tx1"/>
                </a:solidFill>
                <a:latin typeface="Verdana" pitchFamily="34" charset="0"/>
              </a:defRPr>
            </a:lvl5pPr>
            <a:lvl6pPr marL="2514600" indent="-228600" eaLnBrk="0" fontAlgn="base" hangingPunct="0">
              <a:spcBef>
                <a:spcPct val="0"/>
              </a:spcBef>
              <a:spcAft>
                <a:spcPct val="0"/>
              </a:spcAft>
              <a:defRPr b="1">
                <a:solidFill>
                  <a:schemeClr val="tx1"/>
                </a:solidFill>
                <a:latin typeface="Verdana" pitchFamily="34" charset="0"/>
              </a:defRPr>
            </a:lvl6pPr>
            <a:lvl7pPr marL="2971800" indent="-228600" eaLnBrk="0" fontAlgn="base" hangingPunct="0">
              <a:spcBef>
                <a:spcPct val="0"/>
              </a:spcBef>
              <a:spcAft>
                <a:spcPct val="0"/>
              </a:spcAft>
              <a:defRPr b="1">
                <a:solidFill>
                  <a:schemeClr val="tx1"/>
                </a:solidFill>
                <a:latin typeface="Verdana" pitchFamily="34" charset="0"/>
              </a:defRPr>
            </a:lvl7pPr>
            <a:lvl8pPr marL="3429000" indent="-228600" eaLnBrk="0" fontAlgn="base" hangingPunct="0">
              <a:spcBef>
                <a:spcPct val="0"/>
              </a:spcBef>
              <a:spcAft>
                <a:spcPct val="0"/>
              </a:spcAft>
              <a:defRPr b="1">
                <a:solidFill>
                  <a:schemeClr val="tx1"/>
                </a:solidFill>
                <a:latin typeface="Verdana" pitchFamily="34" charset="0"/>
              </a:defRPr>
            </a:lvl8pPr>
            <a:lvl9pPr marL="3886200" indent="-228600" eaLnBrk="0" fontAlgn="base" hangingPunct="0">
              <a:spcBef>
                <a:spcPct val="0"/>
              </a:spcBef>
              <a:spcAft>
                <a:spcPct val="0"/>
              </a:spcAft>
              <a:defRPr b="1">
                <a:solidFill>
                  <a:schemeClr val="tx1"/>
                </a:solidFill>
                <a:latin typeface="Verdana" pitchFamily="34" charset="0"/>
              </a:defRPr>
            </a:lvl9pPr>
          </a:lstStyle>
          <a:p>
            <a:pPr eaLnBrk="1" hangingPunct="1">
              <a:defRPr/>
            </a:pPr>
            <a:endParaRPr lang="de-DE" altLang="de-DE"/>
          </a:p>
        </p:txBody>
      </p:sp>
      <p:sp>
        <p:nvSpPr>
          <p:cNvPr id="87043" name="Rectangle 3"/>
          <p:cNvSpPr>
            <a:spLocks noGrp="1" noChangeArrowheads="1"/>
          </p:cNvSpPr>
          <p:nvPr>
            <p:ph type="ctrTitle"/>
          </p:nvPr>
        </p:nvSpPr>
        <p:spPr>
          <a:xfrm>
            <a:off x="478367" y="534967"/>
            <a:ext cx="8978900" cy="577850"/>
          </a:xfrm>
        </p:spPr>
        <p:txBody>
          <a:bodyPr anchor="t"/>
          <a:lstStyle>
            <a:lvl1pPr>
              <a:defRPr sz="2800">
                <a:solidFill>
                  <a:schemeClr val="bg1"/>
                </a:solidFill>
              </a:defRPr>
            </a:lvl1pPr>
          </a:lstStyle>
          <a:p>
            <a:r>
              <a:rPr lang="de-DE" dirty="0"/>
              <a:t>Titelmasterformat durch Klicken bearbeiten</a:t>
            </a:r>
          </a:p>
        </p:txBody>
      </p:sp>
      <p:sp>
        <p:nvSpPr>
          <p:cNvPr id="87044" name="Rectangle 4"/>
          <p:cNvSpPr>
            <a:spLocks noGrp="1" noChangeArrowheads="1"/>
          </p:cNvSpPr>
          <p:nvPr>
            <p:ph type="subTitle" idx="1"/>
          </p:nvPr>
        </p:nvSpPr>
        <p:spPr>
          <a:xfrm>
            <a:off x="478367" y="1292205"/>
            <a:ext cx="8978900" cy="944562"/>
          </a:xfrm>
        </p:spPr>
        <p:txBody>
          <a:bodyPr/>
          <a:lstStyle>
            <a:lvl1pPr marL="0" indent="0">
              <a:spcBef>
                <a:spcPct val="0"/>
              </a:spcBef>
              <a:buFont typeface="Wingdings" pitchFamily="2" charset="2"/>
              <a:buNone/>
              <a:defRPr b="1">
                <a:solidFill>
                  <a:schemeClr val="bg1"/>
                </a:solidFill>
              </a:defRPr>
            </a:lvl1pPr>
          </a:lstStyle>
          <a:p>
            <a:r>
              <a:rPr lang="de-DE" dirty="0"/>
              <a:t>Formatvorlage des Untertitelmasters durch Klicken bearbeiten</a:t>
            </a:r>
          </a:p>
        </p:txBody>
      </p:sp>
    </p:spTree>
    <p:extLst>
      <p:ext uri="{BB962C8B-B14F-4D97-AF65-F5344CB8AC3E}">
        <p14:creationId xmlns:p14="http://schemas.microsoft.com/office/powerpoint/2010/main" val="2531144603"/>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userDrawn="1">
  <p:cSld name="Text &amp; Bild">
    <p:spTree>
      <p:nvGrpSpPr>
        <p:cNvPr id="1" name=""/>
        <p:cNvGrpSpPr/>
        <p:nvPr/>
      </p:nvGrpSpPr>
      <p:grpSpPr>
        <a:xfrm>
          <a:off x="0" y="0"/>
          <a:ext cx="0" cy="0"/>
          <a:chOff x="0" y="0"/>
          <a:chExt cx="0" cy="0"/>
        </a:xfrm>
      </p:grpSpPr>
      <p:sp>
        <p:nvSpPr>
          <p:cNvPr id="2" name="Titel 1"/>
          <p:cNvSpPr>
            <a:spLocks noGrp="1"/>
          </p:cNvSpPr>
          <p:nvPr>
            <p:ph type="title"/>
          </p:nvPr>
        </p:nvSpPr>
        <p:spPr>
          <a:xfrm>
            <a:off x="672004" y="480000"/>
            <a:ext cx="9120000" cy="480000"/>
          </a:xfrm>
        </p:spPr>
        <p:txBody>
          <a:bodyPr/>
          <a:lstStyle>
            <a:lvl1pPr>
              <a:defRPr sz="2800"/>
            </a:lvl1pPr>
          </a:lstStyle>
          <a:p>
            <a:r>
              <a:rPr lang="de-DE" dirty="0"/>
              <a:t>Titelmasterformat durch Klicken bearbeiten</a:t>
            </a:r>
          </a:p>
        </p:txBody>
      </p:sp>
      <p:sp>
        <p:nvSpPr>
          <p:cNvPr id="6" name="Bildplatzhalter 5"/>
          <p:cNvSpPr>
            <a:spLocks noGrp="1"/>
          </p:cNvSpPr>
          <p:nvPr>
            <p:ph type="pic" sz="quarter" idx="11"/>
          </p:nvPr>
        </p:nvSpPr>
        <p:spPr>
          <a:xfrm>
            <a:off x="6336000" y="2112000"/>
            <a:ext cx="5376000" cy="3936000"/>
          </a:xfrm>
        </p:spPr>
        <p:txBody>
          <a:bodyPr>
            <a:normAutofit/>
          </a:bodyPr>
          <a:lstStyle>
            <a:lvl1pPr>
              <a:defRPr sz="1600"/>
            </a:lvl1pPr>
          </a:lstStyle>
          <a:p>
            <a:endParaRPr lang="de-DE" dirty="0"/>
          </a:p>
        </p:txBody>
      </p:sp>
      <p:sp>
        <p:nvSpPr>
          <p:cNvPr id="5" name="Rectangle 4"/>
          <p:cNvSpPr>
            <a:spLocks noGrp="1" noChangeArrowheads="1"/>
          </p:cNvSpPr>
          <p:nvPr>
            <p:ph type="subTitle" idx="13" hasCustomPrompt="1"/>
          </p:nvPr>
        </p:nvSpPr>
        <p:spPr>
          <a:xfrm>
            <a:off x="671076" y="1152001"/>
            <a:ext cx="9120000" cy="789519"/>
          </a:xfrm>
        </p:spPr>
        <p:txBody>
          <a:bodyPr lIns="0" tIns="0" rIns="0" bIns="0"/>
          <a:lstStyle>
            <a:lvl1pPr marL="0" indent="0">
              <a:spcBef>
                <a:spcPct val="0"/>
              </a:spcBef>
              <a:buFont typeface="Wingdings" pitchFamily="2" charset="2"/>
              <a:buNone/>
              <a:defRPr sz="2200" b="0" i="0">
                <a:solidFill>
                  <a:schemeClr val="tx1"/>
                </a:solidFill>
                <a:latin typeface="+mj-lt"/>
                <a:ea typeface="Verdana" charset="0"/>
                <a:cs typeface="Verdana" charset="0"/>
              </a:defRPr>
            </a:lvl1pPr>
          </a:lstStyle>
          <a:p>
            <a:r>
              <a:rPr lang="de-DE" dirty="0"/>
              <a:t>Sub-Titel</a:t>
            </a:r>
          </a:p>
          <a:p>
            <a:r>
              <a:rPr lang="de-DE" dirty="0"/>
              <a:t>Sub-Sub-Titel</a:t>
            </a:r>
          </a:p>
        </p:txBody>
      </p:sp>
      <p:sp>
        <p:nvSpPr>
          <p:cNvPr id="10" name="Inhaltsplatzhalter 2"/>
          <p:cNvSpPr>
            <a:spLocks noGrp="1"/>
          </p:cNvSpPr>
          <p:nvPr>
            <p:ph sz="half" idx="1"/>
          </p:nvPr>
        </p:nvSpPr>
        <p:spPr>
          <a:xfrm>
            <a:off x="672000" y="2112000"/>
            <a:ext cx="5376000" cy="3936000"/>
          </a:xfrm>
        </p:spPr>
        <p:txBody>
          <a:bodyPr/>
          <a:lstStyle>
            <a:lvl1pPr marL="0" indent="0">
              <a:defRPr sz="1600">
                <a:solidFill>
                  <a:schemeClr val="tx1"/>
                </a:solidFill>
              </a:defRPr>
            </a:lvl1pPr>
            <a:lvl2pPr>
              <a:defRPr sz="1600">
                <a:solidFill>
                  <a:schemeClr val="tx1"/>
                </a:solidFill>
              </a:defRPr>
            </a:lvl2pPr>
            <a:lvl3pPr>
              <a:defRPr sz="1600">
                <a:solidFill>
                  <a:schemeClr val="tx1"/>
                </a:solidFill>
              </a:defRPr>
            </a:lvl3pPr>
            <a:lvl4pPr>
              <a:defRPr sz="1600">
                <a:solidFill>
                  <a:schemeClr val="tx1"/>
                </a:solidFill>
              </a:defRPr>
            </a:lvl4pPr>
            <a:lvl5pPr>
              <a:defRPr sz="1600">
                <a:solidFill>
                  <a:schemeClr val="tx1"/>
                </a:solidFill>
              </a:defRPr>
            </a:lvl5pPr>
            <a:lvl6pPr>
              <a:defRPr sz="2160"/>
            </a:lvl6pPr>
            <a:lvl7pPr>
              <a:defRPr sz="2160"/>
            </a:lvl7pPr>
            <a:lvl8pPr>
              <a:defRPr sz="2160"/>
            </a:lvl8pPr>
            <a:lvl9pPr>
              <a:defRPr sz="2160"/>
            </a:lvl9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Tree>
    <p:extLst>
      <p:ext uri="{BB962C8B-B14F-4D97-AF65-F5344CB8AC3E}">
        <p14:creationId xmlns:p14="http://schemas.microsoft.com/office/powerpoint/2010/main" val="519695883"/>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a:xfrm>
            <a:off x="478367" y="559974"/>
            <a:ext cx="9169400" cy="838200"/>
          </a:xfrm>
        </p:spPr>
        <p:txBody>
          <a:bodyPr anchor="t"/>
          <a:lstStyle>
            <a:lvl1pPr>
              <a:defRPr sz="2000"/>
            </a:lvl1pPr>
          </a:lstStyle>
          <a:p>
            <a:r>
              <a:rPr lang="de-DE" dirty="0"/>
              <a:t>Titelmasterformat durch Klicken bearbeiten</a:t>
            </a:r>
          </a:p>
        </p:txBody>
      </p:sp>
      <p:sp>
        <p:nvSpPr>
          <p:cNvPr id="3" name="Inhaltsplatzhalter 2"/>
          <p:cNvSpPr>
            <a:spLocks noGrp="1"/>
          </p:cNvSpPr>
          <p:nvPr>
            <p:ph idx="1"/>
          </p:nvPr>
        </p:nvSpPr>
        <p:spPr/>
        <p:txBody>
          <a:bodyPr/>
          <a:lstStyle/>
          <a:p>
            <a:pPr lvl="0"/>
            <a:r>
              <a:rPr lang="de-DE" dirty="0"/>
              <a:t>Textmasterformate durch Klicken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Rectangle 1041">
            <a:extLst>
              <a:ext uri="{FF2B5EF4-FFF2-40B4-BE49-F238E27FC236}">
                <a16:creationId xmlns:a16="http://schemas.microsoft.com/office/drawing/2014/main" id="{1ABBC9A6-0C81-33B1-E468-A3C9F839498A}"/>
              </a:ext>
            </a:extLst>
          </p:cNvPr>
          <p:cNvSpPr>
            <a:spLocks noGrp="1" noChangeArrowheads="1"/>
          </p:cNvSpPr>
          <p:nvPr>
            <p:ph type="ftr" sz="quarter" idx="10"/>
          </p:nvPr>
        </p:nvSpPr>
        <p:spPr>
          <a:xfrm>
            <a:off x="626534" y="6310313"/>
            <a:ext cx="7008284" cy="215900"/>
          </a:xfrm>
          <a:prstGeom prst="rect">
            <a:avLst/>
          </a:prstGeom>
        </p:spPr>
        <p:txBody>
          <a:bodyPr vert="horz" wrap="square" lIns="91440" tIns="45720" rIns="91440" bIns="45720" numCol="1" anchor="t" anchorCtr="0" compatLnSpc="1">
            <a:prstTxWarp prst="textNoShape">
              <a:avLst/>
            </a:prstTxWarp>
          </a:bodyPr>
          <a:lstStyle>
            <a:lvl1pPr eaLnBrk="1" hangingPunct="1">
              <a:defRPr/>
            </a:lvl1pPr>
          </a:lstStyle>
          <a:p>
            <a:pPr>
              <a:defRPr/>
            </a:pPr>
            <a:r>
              <a:rPr lang="en-GB" altLang="de-DE"/>
              <a:t>Lecture: Interactions in Turbomachinery Rotordynamics - </a:t>
            </a:r>
            <a:fld id="{F11C5482-5771-402F-99F3-55B9698443D3}" type="datetime1">
              <a:rPr lang="en-GB" altLang="de-DE" smtClean="0"/>
              <a:pPr>
                <a:defRPr/>
              </a:pPr>
              <a:t>28/01/2024</a:t>
            </a:fld>
            <a:r>
              <a:rPr lang="en-GB" altLang="de-DE"/>
              <a:t> - P </a:t>
            </a:r>
            <a:fld id="{FF20FF12-4D3F-43FD-82EC-589F9E83F249}" type="slidenum">
              <a:rPr lang="en-GB" altLang="de-DE" smtClean="0"/>
              <a:pPr>
                <a:defRPr/>
              </a:pPr>
              <a:t>‹Nr.›</a:t>
            </a:fld>
            <a:endParaRPr lang="en-GB" altLang="de-DE"/>
          </a:p>
        </p:txBody>
      </p:sp>
    </p:spTree>
    <p:extLst>
      <p:ext uri="{BB962C8B-B14F-4D97-AF65-F5344CB8AC3E}">
        <p14:creationId xmlns:p14="http://schemas.microsoft.com/office/powerpoint/2010/main" val="1881426963"/>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Tree>
    <p:extLst>
      <p:ext uri="{BB962C8B-B14F-4D97-AF65-F5344CB8AC3E}">
        <p14:creationId xmlns:p14="http://schemas.microsoft.com/office/powerpoint/2010/main" val="2991492089"/>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blank" preserve="1">
  <p:cSld name="1_Leer">
    <p:spTree>
      <p:nvGrpSpPr>
        <p:cNvPr id="1" name=""/>
        <p:cNvGrpSpPr/>
        <p:nvPr/>
      </p:nvGrpSpPr>
      <p:grpSpPr>
        <a:xfrm>
          <a:off x="0" y="0"/>
          <a:ext cx="0" cy="0"/>
          <a:chOff x="0" y="0"/>
          <a:chExt cx="0" cy="0"/>
        </a:xfrm>
      </p:grpSpPr>
    </p:spTree>
    <p:extLst>
      <p:ext uri="{BB962C8B-B14F-4D97-AF65-F5344CB8AC3E}">
        <p14:creationId xmlns:p14="http://schemas.microsoft.com/office/powerpoint/2010/main" val="2357371832"/>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userDrawn="1">
  <p:cSld name="Benutzerdefiniertes Layou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4" name="Textplatzhalter 3"/>
          <p:cNvSpPr>
            <a:spLocks noGrp="1"/>
          </p:cNvSpPr>
          <p:nvPr>
            <p:ph type="body" sz="quarter" idx="10"/>
          </p:nvPr>
        </p:nvSpPr>
        <p:spPr>
          <a:xfrm>
            <a:off x="478367" y="1785939"/>
            <a:ext cx="9713384" cy="4071937"/>
          </a:xfrm>
        </p:spPr>
        <p:txBody>
          <a:body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endParaRPr lang="de-DE" dirty="0"/>
          </a:p>
        </p:txBody>
      </p:sp>
    </p:spTree>
    <p:extLst>
      <p:ext uri="{BB962C8B-B14F-4D97-AF65-F5344CB8AC3E}">
        <p14:creationId xmlns:p14="http://schemas.microsoft.com/office/powerpoint/2010/main" val="3549810355"/>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_rels/slideMaster10.xml.rels><?xml version="1.0" encoding="UTF-8" standalone="yes"?>
<Relationships xmlns="http://schemas.openxmlformats.org/package/2006/relationships"><Relationship Id="rId3" Type="http://schemas.openxmlformats.org/officeDocument/2006/relationships/slideLayout" Target="../slideLayouts/slideLayout67.xml"/><Relationship Id="rId2" Type="http://schemas.openxmlformats.org/officeDocument/2006/relationships/slideLayout" Target="../slideLayouts/slideLayout66.xml"/><Relationship Id="rId1" Type="http://schemas.openxmlformats.org/officeDocument/2006/relationships/slideLayout" Target="../slideLayouts/slideLayout65.xml"/><Relationship Id="rId5" Type="http://schemas.openxmlformats.org/officeDocument/2006/relationships/theme" Target="../theme/theme10.xml"/><Relationship Id="rId4" Type="http://schemas.openxmlformats.org/officeDocument/2006/relationships/slideLayout" Target="../slideLayouts/slideLayout68.xml"/></Relationships>
</file>

<file path=ppt/slideMasters/_rels/slideMaster11.xml.rels><?xml version="1.0" encoding="UTF-8" standalone="yes"?>
<Relationships xmlns="http://schemas.openxmlformats.org/package/2006/relationships"><Relationship Id="rId3" Type="http://schemas.openxmlformats.org/officeDocument/2006/relationships/slideLayout" Target="../slideLayouts/slideLayout71.xml"/><Relationship Id="rId2" Type="http://schemas.openxmlformats.org/officeDocument/2006/relationships/slideLayout" Target="../slideLayouts/slideLayout70.xml"/><Relationship Id="rId1" Type="http://schemas.openxmlformats.org/officeDocument/2006/relationships/slideLayout" Target="../slideLayouts/slideLayout69.xml"/><Relationship Id="rId5" Type="http://schemas.openxmlformats.org/officeDocument/2006/relationships/theme" Target="../theme/theme11.xml"/><Relationship Id="rId4" Type="http://schemas.openxmlformats.org/officeDocument/2006/relationships/slideLayout" Target="../slideLayouts/slideLayout72.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80.xml"/><Relationship Id="rId13" Type="http://schemas.openxmlformats.org/officeDocument/2006/relationships/image" Target="../media/image12.wmf"/><Relationship Id="rId3" Type="http://schemas.openxmlformats.org/officeDocument/2006/relationships/slideLayout" Target="../slideLayouts/slideLayout75.xml"/><Relationship Id="rId7" Type="http://schemas.openxmlformats.org/officeDocument/2006/relationships/slideLayout" Target="../slideLayouts/slideLayout79.xml"/><Relationship Id="rId12" Type="http://schemas.openxmlformats.org/officeDocument/2006/relationships/image" Target="../media/image11.emf"/><Relationship Id="rId2" Type="http://schemas.openxmlformats.org/officeDocument/2006/relationships/slideLayout" Target="../slideLayouts/slideLayout74.xml"/><Relationship Id="rId1" Type="http://schemas.openxmlformats.org/officeDocument/2006/relationships/slideLayout" Target="../slideLayouts/slideLayout73.xml"/><Relationship Id="rId6" Type="http://schemas.openxmlformats.org/officeDocument/2006/relationships/slideLayout" Target="../slideLayouts/slideLayout78.xml"/><Relationship Id="rId11" Type="http://schemas.openxmlformats.org/officeDocument/2006/relationships/image" Target="../media/image1.png"/><Relationship Id="rId5" Type="http://schemas.openxmlformats.org/officeDocument/2006/relationships/slideLayout" Target="../slideLayouts/slideLayout77.xml"/><Relationship Id="rId10" Type="http://schemas.openxmlformats.org/officeDocument/2006/relationships/theme" Target="../theme/theme12.xml"/><Relationship Id="rId4" Type="http://schemas.openxmlformats.org/officeDocument/2006/relationships/slideLayout" Target="../slideLayouts/slideLayout76.xml"/><Relationship Id="rId9" Type="http://schemas.openxmlformats.org/officeDocument/2006/relationships/slideLayout" Target="../slideLayouts/slideLayout81.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89.xml"/><Relationship Id="rId13" Type="http://schemas.openxmlformats.org/officeDocument/2006/relationships/image" Target="../media/image12.wmf"/><Relationship Id="rId3" Type="http://schemas.openxmlformats.org/officeDocument/2006/relationships/slideLayout" Target="../slideLayouts/slideLayout84.xml"/><Relationship Id="rId7" Type="http://schemas.openxmlformats.org/officeDocument/2006/relationships/slideLayout" Target="../slideLayouts/slideLayout88.xml"/><Relationship Id="rId12" Type="http://schemas.openxmlformats.org/officeDocument/2006/relationships/image" Target="../media/image11.emf"/><Relationship Id="rId2" Type="http://schemas.openxmlformats.org/officeDocument/2006/relationships/slideLayout" Target="../slideLayouts/slideLayout83.xml"/><Relationship Id="rId1" Type="http://schemas.openxmlformats.org/officeDocument/2006/relationships/slideLayout" Target="../slideLayouts/slideLayout82.xml"/><Relationship Id="rId6" Type="http://schemas.openxmlformats.org/officeDocument/2006/relationships/slideLayout" Target="../slideLayouts/slideLayout87.xml"/><Relationship Id="rId11" Type="http://schemas.openxmlformats.org/officeDocument/2006/relationships/image" Target="../media/image1.png"/><Relationship Id="rId5" Type="http://schemas.openxmlformats.org/officeDocument/2006/relationships/slideLayout" Target="../slideLayouts/slideLayout86.xml"/><Relationship Id="rId10" Type="http://schemas.openxmlformats.org/officeDocument/2006/relationships/theme" Target="../theme/theme13.xml"/><Relationship Id="rId4" Type="http://schemas.openxmlformats.org/officeDocument/2006/relationships/slideLayout" Target="../slideLayouts/slideLayout85.xml"/><Relationship Id="rId9" Type="http://schemas.openxmlformats.org/officeDocument/2006/relationships/slideLayout" Target="../slideLayouts/slideLayout90.xml"/></Relationships>
</file>

<file path=ppt/slideMasters/_rels/slideMaster14.xml.rels><?xml version="1.0" encoding="UTF-8" standalone="yes"?>
<Relationships xmlns="http://schemas.openxmlformats.org/package/2006/relationships"><Relationship Id="rId3" Type="http://schemas.openxmlformats.org/officeDocument/2006/relationships/slideLayout" Target="../slideLayouts/slideLayout93.xml"/><Relationship Id="rId2" Type="http://schemas.openxmlformats.org/officeDocument/2006/relationships/slideLayout" Target="../slideLayouts/slideLayout92.xml"/><Relationship Id="rId1" Type="http://schemas.openxmlformats.org/officeDocument/2006/relationships/slideLayout" Target="../slideLayouts/slideLayout91.xml"/><Relationship Id="rId6" Type="http://schemas.openxmlformats.org/officeDocument/2006/relationships/theme" Target="../theme/theme14.xml"/><Relationship Id="rId5" Type="http://schemas.openxmlformats.org/officeDocument/2006/relationships/slideLayout" Target="../slideLayouts/slideLayout95.xml"/><Relationship Id="rId4" Type="http://schemas.openxmlformats.org/officeDocument/2006/relationships/slideLayout" Target="../slideLayouts/slideLayout94.xml"/></Relationships>
</file>

<file path=ppt/slideMasters/_rels/slideMaster15.xml.rels><?xml version="1.0" encoding="UTF-8" standalone="yes"?>
<Relationships xmlns="http://schemas.openxmlformats.org/package/2006/relationships"><Relationship Id="rId3" Type="http://schemas.openxmlformats.org/officeDocument/2006/relationships/slideLayout" Target="../slideLayouts/slideLayout98.xml"/><Relationship Id="rId2" Type="http://schemas.openxmlformats.org/officeDocument/2006/relationships/slideLayout" Target="../slideLayouts/slideLayout97.xml"/><Relationship Id="rId1" Type="http://schemas.openxmlformats.org/officeDocument/2006/relationships/slideLayout" Target="../slideLayouts/slideLayout96.xml"/><Relationship Id="rId5" Type="http://schemas.openxmlformats.org/officeDocument/2006/relationships/theme" Target="../theme/theme15.xml"/><Relationship Id="rId4" Type="http://schemas.openxmlformats.org/officeDocument/2006/relationships/slideLayout" Target="../slideLayouts/slideLayout99.xml"/></Relationships>
</file>

<file path=ppt/slideMasters/_rels/slideMaster16.xml.rels><?xml version="1.0" encoding="UTF-8" standalone="yes"?>
<Relationships xmlns="http://schemas.openxmlformats.org/package/2006/relationships"><Relationship Id="rId3" Type="http://schemas.openxmlformats.org/officeDocument/2006/relationships/slideLayout" Target="../slideLayouts/slideLayout102.xml"/><Relationship Id="rId2" Type="http://schemas.openxmlformats.org/officeDocument/2006/relationships/slideLayout" Target="../slideLayouts/slideLayout101.xml"/><Relationship Id="rId1" Type="http://schemas.openxmlformats.org/officeDocument/2006/relationships/slideLayout" Target="../slideLayouts/slideLayout100.xml"/><Relationship Id="rId5" Type="http://schemas.openxmlformats.org/officeDocument/2006/relationships/theme" Target="../theme/theme16.xml"/><Relationship Id="rId4" Type="http://schemas.openxmlformats.org/officeDocument/2006/relationships/slideLayout" Target="../slideLayouts/slideLayout103.xml"/></Relationships>
</file>

<file path=ppt/slideMasters/_rels/slideMaster17.xml.rels><?xml version="1.0" encoding="UTF-8" standalone="yes"?>
<Relationships xmlns="http://schemas.openxmlformats.org/package/2006/relationships"><Relationship Id="rId3" Type="http://schemas.openxmlformats.org/officeDocument/2006/relationships/slideLayout" Target="../slideLayouts/slideLayout106.xml"/><Relationship Id="rId2" Type="http://schemas.openxmlformats.org/officeDocument/2006/relationships/slideLayout" Target="../slideLayouts/slideLayout105.xml"/><Relationship Id="rId1" Type="http://schemas.openxmlformats.org/officeDocument/2006/relationships/slideLayout" Target="../slideLayouts/slideLayout104.xml"/><Relationship Id="rId5" Type="http://schemas.openxmlformats.org/officeDocument/2006/relationships/theme" Target="../theme/theme17.xml"/><Relationship Id="rId4" Type="http://schemas.openxmlformats.org/officeDocument/2006/relationships/slideLayout" Target="../slideLayouts/slideLayout107.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115.xml"/><Relationship Id="rId13" Type="http://schemas.openxmlformats.org/officeDocument/2006/relationships/image" Target="../media/image12.wmf"/><Relationship Id="rId3" Type="http://schemas.openxmlformats.org/officeDocument/2006/relationships/slideLayout" Target="../slideLayouts/slideLayout110.xml"/><Relationship Id="rId7" Type="http://schemas.openxmlformats.org/officeDocument/2006/relationships/slideLayout" Target="../slideLayouts/slideLayout114.xml"/><Relationship Id="rId12" Type="http://schemas.openxmlformats.org/officeDocument/2006/relationships/image" Target="../media/image11.emf"/><Relationship Id="rId2" Type="http://schemas.openxmlformats.org/officeDocument/2006/relationships/slideLayout" Target="../slideLayouts/slideLayout109.xml"/><Relationship Id="rId1" Type="http://schemas.openxmlformats.org/officeDocument/2006/relationships/slideLayout" Target="../slideLayouts/slideLayout108.xml"/><Relationship Id="rId6" Type="http://schemas.openxmlformats.org/officeDocument/2006/relationships/slideLayout" Target="../slideLayouts/slideLayout113.xml"/><Relationship Id="rId11" Type="http://schemas.openxmlformats.org/officeDocument/2006/relationships/image" Target="../media/image1.png"/><Relationship Id="rId5" Type="http://schemas.openxmlformats.org/officeDocument/2006/relationships/slideLayout" Target="../slideLayouts/slideLayout112.xml"/><Relationship Id="rId10" Type="http://schemas.openxmlformats.org/officeDocument/2006/relationships/theme" Target="../theme/theme18.xml"/><Relationship Id="rId4" Type="http://schemas.openxmlformats.org/officeDocument/2006/relationships/slideLayout" Target="../slideLayouts/slideLayout111.xml"/><Relationship Id="rId9" Type="http://schemas.openxmlformats.org/officeDocument/2006/relationships/slideLayout" Target="../slideLayouts/slideLayout116.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slideLayout" Target="../slideLayouts/slideLayout6.xml"/><Relationship Id="rId1" Type="http://schemas.openxmlformats.org/officeDocument/2006/relationships/slideLayout" Target="../slideLayouts/slideLayout5.xml"/><Relationship Id="rId5" Type="http://schemas.openxmlformats.org/officeDocument/2006/relationships/theme" Target="../theme/theme2.xml"/><Relationship Id="rId4" Type="http://schemas.openxmlformats.org/officeDocument/2006/relationships/slideLayout" Target="../slideLayouts/slideLayout8.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slideLayout" Target="../slideLayouts/slideLayout10.xml"/><Relationship Id="rId1" Type="http://schemas.openxmlformats.org/officeDocument/2006/relationships/slideLayout" Target="../slideLayouts/slideLayout9.xml"/><Relationship Id="rId5" Type="http://schemas.openxmlformats.org/officeDocument/2006/relationships/theme" Target="../theme/theme3.xml"/><Relationship Id="rId4" Type="http://schemas.openxmlformats.org/officeDocument/2006/relationships/slideLayout" Target="../slideLayouts/slideLayout12.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slideLayout" Target="../slideLayouts/slideLayout14.xml"/><Relationship Id="rId1" Type="http://schemas.openxmlformats.org/officeDocument/2006/relationships/slideLayout" Target="../slideLayouts/slideLayout13.xml"/><Relationship Id="rId5" Type="http://schemas.openxmlformats.org/officeDocument/2006/relationships/theme" Target="../theme/theme4.xml"/><Relationship Id="rId4" Type="http://schemas.openxmlformats.org/officeDocument/2006/relationships/slideLayout" Target="../slideLayouts/slideLayout16.xml"/></Relationships>
</file>

<file path=ppt/slideMasters/_rels/slideMaster5.xml.rels><?xml version="1.0" encoding="UTF-8" standalone="yes"?>
<Relationships xmlns="http://schemas.openxmlformats.org/package/2006/relationships"><Relationship Id="rId3" Type="http://schemas.openxmlformats.org/officeDocument/2006/relationships/slideLayout" Target="../slideLayouts/slideLayout19.xml"/><Relationship Id="rId2" Type="http://schemas.openxmlformats.org/officeDocument/2006/relationships/slideLayout" Target="../slideLayouts/slideLayout18.xml"/><Relationship Id="rId1" Type="http://schemas.openxmlformats.org/officeDocument/2006/relationships/slideLayout" Target="../slideLayouts/slideLayout17.xml"/><Relationship Id="rId5" Type="http://schemas.openxmlformats.org/officeDocument/2006/relationships/theme" Target="../theme/theme5.xml"/><Relationship Id="rId4" Type="http://schemas.openxmlformats.org/officeDocument/2006/relationships/slideLayout" Target="../slideLayouts/slideLayout20.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28.xml"/><Relationship Id="rId3" Type="http://schemas.openxmlformats.org/officeDocument/2006/relationships/slideLayout" Target="../slideLayouts/slideLayout23.xml"/><Relationship Id="rId7" Type="http://schemas.openxmlformats.org/officeDocument/2006/relationships/slideLayout" Target="../slideLayouts/slideLayout27.xml"/><Relationship Id="rId12" Type="http://schemas.openxmlformats.org/officeDocument/2006/relationships/theme" Target="../theme/theme6.xml"/><Relationship Id="rId2" Type="http://schemas.openxmlformats.org/officeDocument/2006/relationships/slideLayout" Target="../slideLayouts/slideLayout22.xml"/><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slideLayout" Target="../slideLayouts/slideLayout31.xml"/><Relationship Id="rId5" Type="http://schemas.openxmlformats.org/officeDocument/2006/relationships/slideLayout" Target="../slideLayouts/slideLayout25.xml"/><Relationship Id="rId10" Type="http://schemas.openxmlformats.org/officeDocument/2006/relationships/slideLayout" Target="../slideLayouts/slideLayout30.xml"/><Relationship Id="rId4" Type="http://schemas.openxmlformats.org/officeDocument/2006/relationships/slideLayout" Target="../slideLayouts/slideLayout24.xml"/><Relationship Id="rId9" Type="http://schemas.openxmlformats.org/officeDocument/2006/relationships/slideLayout" Target="../slideLayouts/slideLayout29.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39.xml"/><Relationship Id="rId3" Type="http://schemas.openxmlformats.org/officeDocument/2006/relationships/slideLayout" Target="../slideLayouts/slideLayout34.xml"/><Relationship Id="rId7" Type="http://schemas.openxmlformats.org/officeDocument/2006/relationships/slideLayout" Target="../slideLayouts/slideLayout38.xml"/><Relationship Id="rId2" Type="http://schemas.openxmlformats.org/officeDocument/2006/relationships/slideLayout" Target="../slideLayouts/slideLayout33.xml"/><Relationship Id="rId1" Type="http://schemas.openxmlformats.org/officeDocument/2006/relationships/slideLayout" Target="../slideLayouts/slideLayout32.xml"/><Relationship Id="rId6" Type="http://schemas.openxmlformats.org/officeDocument/2006/relationships/slideLayout" Target="../slideLayouts/slideLayout37.xml"/><Relationship Id="rId5" Type="http://schemas.openxmlformats.org/officeDocument/2006/relationships/slideLayout" Target="../slideLayouts/slideLayout36.xml"/><Relationship Id="rId10" Type="http://schemas.openxmlformats.org/officeDocument/2006/relationships/theme" Target="../theme/theme7.xml"/><Relationship Id="rId4" Type="http://schemas.openxmlformats.org/officeDocument/2006/relationships/slideLayout" Target="../slideLayouts/slideLayout35.xml"/><Relationship Id="rId9" Type="http://schemas.openxmlformats.org/officeDocument/2006/relationships/slideLayout" Target="../slideLayouts/slideLayout40.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48.xml"/><Relationship Id="rId13" Type="http://schemas.openxmlformats.org/officeDocument/2006/relationships/image" Target="../media/image4.png"/><Relationship Id="rId3" Type="http://schemas.openxmlformats.org/officeDocument/2006/relationships/slideLayout" Target="../slideLayouts/slideLayout43.xml"/><Relationship Id="rId7" Type="http://schemas.openxmlformats.org/officeDocument/2006/relationships/slideLayout" Target="../slideLayouts/slideLayout47.xml"/><Relationship Id="rId12" Type="http://schemas.openxmlformats.org/officeDocument/2006/relationships/image" Target="../media/image3.png"/><Relationship Id="rId2" Type="http://schemas.openxmlformats.org/officeDocument/2006/relationships/slideLayout" Target="../slideLayouts/slideLayout42.xml"/><Relationship Id="rId1" Type="http://schemas.openxmlformats.org/officeDocument/2006/relationships/slideLayout" Target="../slideLayouts/slideLayout41.xml"/><Relationship Id="rId6" Type="http://schemas.openxmlformats.org/officeDocument/2006/relationships/slideLayout" Target="../slideLayouts/slideLayout46.xml"/><Relationship Id="rId11" Type="http://schemas.openxmlformats.org/officeDocument/2006/relationships/theme" Target="../theme/theme8.xml"/><Relationship Id="rId5" Type="http://schemas.openxmlformats.org/officeDocument/2006/relationships/slideLayout" Target="../slideLayouts/slideLayout45.xml"/><Relationship Id="rId10" Type="http://schemas.openxmlformats.org/officeDocument/2006/relationships/slideLayout" Target="../slideLayouts/slideLayout50.xml"/><Relationship Id="rId4" Type="http://schemas.openxmlformats.org/officeDocument/2006/relationships/slideLayout" Target="../slideLayouts/slideLayout44.xml"/><Relationship Id="rId9" Type="http://schemas.openxmlformats.org/officeDocument/2006/relationships/slideLayout" Target="../slideLayouts/slideLayout49.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58.xml"/><Relationship Id="rId13" Type="http://schemas.openxmlformats.org/officeDocument/2006/relationships/slideLayout" Target="../slideLayouts/slideLayout63.xml"/><Relationship Id="rId3" Type="http://schemas.openxmlformats.org/officeDocument/2006/relationships/slideLayout" Target="../slideLayouts/slideLayout53.xml"/><Relationship Id="rId7" Type="http://schemas.openxmlformats.org/officeDocument/2006/relationships/slideLayout" Target="../slideLayouts/slideLayout57.xml"/><Relationship Id="rId12" Type="http://schemas.openxmlformats.org/officeDocument/2006/relationships/slideLayout" Target="../slideLayouts/slideLayout62.xml"/><Relationship Id="rId17" Type="http://schemas.openxmlformats.org/officeDocument/2006/relationships/image" Target="../media/image4.png"/><Relationship Id="rId2" Type="http://schemas.openxmlformats.org/officeDocument/2006/relationships/slideLayout" Target="../slideLayouts/slideLayout52.xml"/><Relationship Id="rId16" Type="http://schemas.openxmlformats.org/officeDocument/2006/relationships/image" Target="../media/image7.png"/><Relationship Id="rId1" Type="http://schemas.openxmlformats.org/officeDocument/2006/relationships/slideLayout" Target="../slideLayouts/slideLayout51.xml"/><Relationship Id="rId6" Type="http://schemas.openxmlformats.org/officeDocument/2006/relationships/slideLayout" Target="../slideLayouts/slideLayout56.xml"/><Relationship Id="rId11" Type="http://schemas.openxmlformats.org/officeDocument/2006/relationships/slideLayout" Target="../slideLayouts/slideLayout61.xml"/><Relationship Id="rId5" Type="http://schemas.openxmlformats.org/officeDocument/2006/relationships/slideLayout" Target="../slideLayouts/slideLayout55.xml"/><Relationship Id="rId15" Type="http://schemas.openxmlformats.org/officeDocument/2006/relationships/theme" Target="../theme/theme9.xml"/><Relationship Id="rId10" Type="http://schemas.openxmlformats.org/officeDocument/2006/relationships/slideLayout" Target="../slideLayouts/slideLayout60.xml"/><Relationship Id="rId4" Type="http://schemas.openxmlformats.org/officeDocument/2006/relationships/slideLayout" Target="../slideLayouts/slideLayout54.xml"/><Relationship Id="rId9" Type="http://schemas.openxmlformats.org/officeDocument/2006/relationships/slideLayout" Target="../slideLayouts/slideLayout59.xml"/><Relationship Id="rId14" Type="http://schemas.openxmlformats.org/officeDocument/2006/relationships/slideLayout" Target="../slideLayouts/slideLayout6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1036">
            <a:extLst>
              <a:ext uri="{FF2B5EF4-FFF2-40B4-BE49-F238E27FC236}">
                <a16:creationId xmlns:a16="http://schemas.microsoft.com/office/drawing/2014/main" id="{BA368AE8-E8BB-48DA-F49E-ED42FF560BFA}"/>
              </a:ext>
            </a:extLst>
          </p:cNvPr>
          <p:cNvSpPr>
            <a:spLocks noGrp="1" noChangeArrowheads="1"/>
          </p:cNvSpPr>
          <p:nvPr>
            <p:ph type="title"/>
          </p:nvPr>
        </p:nvSpPr>
        <p:spPr bwMode="auto">
          <a:xfrm>
            <a:off x="652463" y="34925"/>
            <a:ext cx="8877300" cy="8207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bodyPr>
          <a:lstStyle/>
          <a:p>
            <a:pPr lvl="0"/>
            <a:r>
              <a:rPr lang="en-GB" altLang="de-DE"/>
              <a:t>Click here to change title</a:t>
            </a:r>
          </a:p>
        </p:txBody>
      </p:sp>
      <p:sp>
        <p:nvSpPr>
          <p:cNvPr id="1027" name="Rectangle 1037">
            <a:extLst>
              <a:ext uri="{FF2B5EF4-FFF2-40B4-BE49-F238E27FC236}">
                <a16:creationId xmlns:a16="http://schemas.microsoft.com/office/drawing/2014/main" id="{E7612A9C-6BC6-3CBB-8FF0-1853632981BE}"/>
              </a:ext>
            </a:extLst>
          </p:cNvPr>
          <p:cNvSpPr>
            <a:spLocks noGrp="1" noChangeArrowheads="1"/>
          </p:cNvSpPr>
          <p:nvPr>
            <p:ph type="body" idx="1"/>
          </p:nvPr>
        </p:nvSpPr>
        <p:spPr bwMode="auto">
          <a:xfrm>
            <a:off x="658813" y="1144588"/>
            <a:ext cx="10864850" cy="51419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GB" altLang="de-DE"/>
              <a:t>First level</a:t>
            </a:r>
          </a:p>
          <a:p>
            <a:pPr lvl="1"/>
            <a:r>
              <a:rPr lang="en-GB" altLang="de-DE"/>
              <a:t>Second level</a:t>
            </a:r>
          </a:p>
          <a:p>
            <a:pPr lvl="2"/>
            <a:r>
              <a:rPr lang="en-GB" altLang="de-DE"/>
              <a:t>Third level</a:t>
            </a:r>
          </a:p>
          <a:p>
            <a:pPr lvl="3"/>
            <a:r>
              <a:rPr lang="en-GB" altLang="de-DE"/>
              <a:t>Fourth level</a:t>
            </a:r>
          </a:p>
          <a:p>
            <a:pPr lvl="4"/>
            <a:r>
              <a:rPr lang="en-GB" altLang="de-DE"/>
              <a:t>Fifth level</a:t>
            </a:r>
          </a:p>
        </p:txBody>
      </p:sp>
      <p:sp>
        <p:nvSpPr>
          <p:cNvPr id="1028" name="Line 1038">
            <a:extLst>
              <a:ext uri="{FF2B5EF4-FFF2-40B4-BE49-F238E27FC236}">
                <a16:creationId xmlns:a16="http://schemas.microsoft.com/office/drawing/2014/main" id="{13E2A7F9-C8F2-F8FB-D230-789D24284918}"/>
              </a:ext>
            </a:extLst>
          </p:cNvPr>
          <p:cNvSpPr>
            <a:spLocks noChangeShapeType="1"/>
          </p:cNvSpPr>
          <p:nvPr userDrawn="1"/>
        </p:nvSpPr>
        <p:spPr bwMode="auto">
          <a:xfrm>
            <a:off x="465138" y="950913"/>
            <a:ext cx="11263312" cy="0"/>
          </a:xfrm>
          <a:prstGeom prst="line">
            <a:avLst/>
          </a:prstGeom>
          <a:noFill/>
          <a:ln w="12700">
            <a:solidFill>
              <a:srgbClr val="5F5F5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Tree>
  </p:cSld>
  <p:clrMap bg1="lt1" tx1="dk1" bg2="lt2" tx2="dk2" accent1="accent1" accent2="accent2" accent3="accent3" accent4="accent4" accent5="accent5" accent6="accent6" hlink="hlink" folHlink="folHlink"/>
  <p:sldLayoutIdLst>
    <p:sldLayoutId id="2147486368" r:id="rId1"/>
    <p:sldLayoutId id="2147486369" r:id="rId2"/>
    <p:sldLayoutId id="2147486336" r:id="rId3"/>
    <p:sldLayoutId id="2147486370" r:id="rId4"/>
  </p:sldLayoutIdLst>
  <p:hf sldNum="0" hdr="0" dt="0"/>
  <p:txStyles>
    <p:titleStyle>
      <a:lvl1pPr algn="l" rtl="0" eaLnBrk="0" fontAlgn="base" hangingPunct="0">
        <a:spcBef>
          <a:spcPct val="0"/>
        </a:spcBef>
        <a:spcAft>
          <a:spcPct val="0"/>
        </a:spcAft>
        <a:defRPr sz="2000" b="1">
          <a:solidFill>
            <a:schemeClr val="tx1"/>
          </a:solidFill>
          <a:latin typeface="+mj-lt"/>
          <a:ea typeface="+mj-ea"/>
          <a:cs typeface="+mj-cs"/>
        </a:defRPr>
      </a:lvl1pPr>
      <a:lvl2pPr algn="l" rtl="0" eaLnBrk="0" fontAlgn="base" hangingPunct="0">
        <a:spcBef>
          <a:spcPct val="0"/>
        </a:spcBef>
        <a:spcAft>
          <a:spcPct val="0"/>
        </a:spcAft>
        <a:defRPr sz="2000" b="1">
          <a:solidFill>
            <a:schemeClr val="tx1"/>
          </a:solidFill>
          <a:latin typeface="Arial" charset="0"/>
        </a:defRPr>
      </a:lvl2pPr>
      <a:lvl3pPr algn="l" rtl="0" eaLnBrk="0" fontAlgn="base" hangingPunct="0">
        <a:spcBef>
          <a:spcPct val="0"/>
        </a:spcBef>
        <a:spcAft>
          <a:spcPct val="0"/>
        </a:spcAft>
        <a:defRPr sz="2000" b="1">
          <a:solidFill>
            <a:schemeClr val="tx1"/>
          </a:solidFill>
          <a:latin typeface="Arial" charset="0"/>
        </a:defRPr>
      </a:lvl3pPr>
      <a:lvl4pPr algn="l" rtl="0" eaLnBrk="0" fontAlgn="base" hangingPunct="0">
        <a:spcBef>
          <a:spcPct val="0"/>
        </a:spcBef>
        <a:spcAft>
          <a:spcPct val="0"/>
        </a:spcAft>
        <a:defRPr sz="2000" b="1">
          <a:solidFill>
            <a:schemeClr val="tx1"/>
          </a:solidFill>
          <a:latin typeface="Arial" charset="0"/>
        </a:defRPr>
      </a:lvl4pPr>
      <a:lvl5pPr algn="l" rtl="0" eaLnBrk="0" fontAlgn="base" hangingPunct="0">
        <a:spcBef>
          <a:spcPct val="0"/>
        </a:spcBef>
        <a:spcAft>
          <a:spcPct val="0"/>
        </a:spcAft>
        <a:defRPr sz="2000" b="1">
          <a:solidFill>
            <a:schemeClr val="tx1"/>
          </a:solidFill>
          <a:latin typeface="Arial" charset="0"/>
        </a:defRPr>
      </a:lvl5pPr>
      <a:lvl6pPr marL="457200" algn="l" rtl="0" eaLnBrk="1" fontAlgn="base" hangingPunct="1">
        <a:spcBef>
          <a:spcPct val="0"/>
        </a:spcBef>
        <a:spcAft>
          <a:spcPct val="0"/>
        </a:spcAft>
        <a:defRPr sz="2400" b="1">
          <a:solidFill>
            <a:schemeClr val="tx1"/>
          </a:solidFill>
          <a:latin typeface="Arial" charset="0"/>
        </a:defRPr>
      </a:lvl6pPr>
      <a:lvl7pPr marL="914400" algn="l" rtl="0" eaLnBrk="1" fontAlgn="base" hangingPunct="1">
        <a:spcBef>
          <a:spcPct val="0"/>
        </a:spcBef>
        <a:spcAft>
          <a:spcPct val="0"/>
        </a:spcAft>
        <a:defRPr sz="2400" b="1">
          <a:solidFill>
            <a:schemeClr val="tx1"/>
          </a:solidFill>
          <a:latin typeface="Arial" charset="0"/>
        </a:defRPr>
      </a:lvl7pPr>
      <a:lvl8pPr marL="1371600" algn="l" rtl="0" eaLnBrk="1" fontAlgn="base" hangingPunct="1">
        <a:spcBef>
          <a:spcPct val="0"/>
        </a:spcBef>
        <a:spcAft>
          <a:spcPct val="0"/>
        </a:spcAft>
        <a:defRPr sz="2400" b="1">
          <a:solidFill>
            <a:schemeClr val="tx1"/>
          </a:solidFill>
          <a:latin typeface="Arial" charset="0"/>
        </a:defRPr>
      </a:lvl8pPr>
      <a:lvl9pPr marL="1828800" algn="l" rtl="0" eaLnBrk="1" fontAlgn="base" hangingPunct="1">
        <a:spcBef>
          <a:spcPct val="0"/>
        </a:spcBef>
        <a:spcAft>
          <a:spcPct val="0"/>
        </a:spcAft>
        <a:defRPr sz="2400" b="1">
          <a:solidFill>
            <a:schemeClr val="tx1"/>
          </a:solidFill>
          <a:latin typeface="Arial" charset="0"/>
        </a:defRPr>
      </a:lvl9pPr>
    </p:titleStyle>
    <p:bodyStyle>
      <a:lvl1pPr marL="179388" indent="-179388" algn="l" rtl="0" eaLnBrk="0" fontAlgn="base" hangingPunct="0">
        <a:spcBef>
          <a:spcPct val="20000"/>
        </a:spcBef>
        <a:spcAft>
          <a:spcPct val="0"/>
        </a:spcAft>
        <a:buFont typeface="Wingdings" panose="05000000000000000000" pitchFamily="2" charset="2"/>
        <a:buChar char="§"/>
        <a:defRPr sz="2000">
          <a:solidFill>
            <a:schemeClr val="tx1"/>
          </a:solidFill>
          <a:latin typeface="+mn-lt"/>
          <a:ea typeface="+mn-ea"/>
          <a:cs typeface="+mn-cs"/>
        </a:defRPr>
      </a:lvl1pPr>
      <a:lvl2pPr marL="349250" indent="-168275" algn="l" rtl="0" eaLnBrk="0" fontAlgn="base" hangingPunct="0">
        <a:spcBef>
          <a:spcPct val="20000"/>
        </a:spcBef>
        <a:spcAft>
          <a:spcPct val="0"/>
        </a:spcAft>
        <a:buFont typeface="Wingdings" panose="05000000000000000000" pitchFamily="2" charset="2"/>
        <a:buChar char="§"/>
        <a:defRPr>
          <a:solidFill>
            <a:schemeClr val="tx1"/>
          </a:solidFill>
          <a:latin typeface="+mn-lt"/>
        </a:defRPr>
      </a:lvl2pPr>
      <a:lvl3pPr marL="538163" indent="-187325" algn="l" rtl="0" eaLnBrk="0" fontAlgn="base" hangingPunct="0">
        <a:spcBef>
          <a:spcPct val="20000"/>
        </a:spcBef>
        <a:spcAft>
          <a:spcPct val="0"/>
        </a:spcAft>
        <a:buFont typeface="Wingdings" panose="05000000000000000000" pitchFamily="2" charset="2"/>
        <a:buChar char="§"/>
        <a:defRPr>
          <a:solidFill>
            <a:schemeClr val="tx1"/>
          </a:solidFill>
          <a:latin typeface="+mn-lt"/>
        </a:defRPr>
      </a:lvl3pPr>
      <a:lvl4pPr marL="717550" indent="-173038" algn="l" rtl="0" eaLnBrk="0" fontAlgn="base" hangingPunct="0">
        <a:spcBef>
          <a:spcPct val="20000"/>
        </a:spcBef>
        <a:spcAft>
          <a:spcPct val="0"/>
        </a:spcAft>
        <a:buFont typeface="Wingdings" panose="05000000000000000000" pitchFamily="2" charset="2"/>
        <a:buChar char="§"/>
        <a:defRPr sz="1600">
          <a:solidFill>
            <a:schemeClr val="tx1"/>
          </a:solidFill>
          <a:latin typeface="+mn-lt"/>
        </a:defRPr>
      </a:lvl4pPr>
      <a:lvl5pPr marL="908050" indent="-188913" algn="l" rtl="0" eaLnBrk="0" fontAlgn="base" hangingPunct="0">
        <a:spcBef>
          <a:spcPct val="20000"/>
        </a:spcBef>
        <a:spcAft>
          <a:spcPct val="0"/>
        </a:spcAft>
        <a:buFont typeface="Wingdings" panose="05000000000000000000" pitchFamily="2" charset="2"/>
        <a:buChar char="§"/>
        <a:defRPr sz="1600">
          <a:solidFill>
            <a:schemeClr val="tx1"/>
          </a:solidFill>
          <a:latin typeface="+mn-lt"/>
        </a:defRPr>
      </a:lvl5pPr>
      <a:lvl6pPr marL="1365250" indent="-188913" algn="l" rtl="0" eaLnBrk="1" fontAlgn="base" hangingPunct="1">
        <a:spcBef>
          <a:spcPct val="20000"/>
        </a:spcBef>
        <a:spcAft>
          <a:spcPct val="0"/>
        </a:spcAft>
        <a:buFont typeface="Wingdings" pitchFamily="2" charset="2"/>
        <a:buChar char="§"/>
        <a:defRPr sz="1600">
          <a:solidFill>
            <a:schemeClr val="tx1"/>
          </a:solidFill>
          <a:latin typeface="+mn-lt"/>
        </a:defRPr>
      </a:lvl6pPr>
      <a:lvl7pPr marL="1822450" indent="-188913" algn="l" rtl="0" eaLnBrk="1" fontAlgn="base" hangingPunct="1">
        <a:spcBef>
          <a:spcPct val="20000"/>
        </a:spcBef>
        <a:spcAft>
          <a:spcPct val="0"/>
        </a:spcAft>
        <a:buFont typeface="Wingdings" pitchFamily="2" charset="2"/>
        <a:buChar char="§"/>
        <a:defRPr sz="1600">
          <a:solidFill>
            <a:schemeClr val="tx1"/>
          </a:solidFill>
          <a:latin typeface="+mn-lt"/>
        </a:defRPr>
      </a:lvl7pPr>
      <a:lvl8pPr marL="2279650" indent="-188913" algn="l" rtl="0" eaLnBrk="1" fontAlgn="base" hangingPunct="1">
        <a:spcBef>
          <a:spcPct val="20000"/>
        </a:spcBef>
        <a:spcAft>
          <a:spcPct val="0"/>
        </a:spcAft>
        <a:buFont typeface="Wingdings" pitchFamily="2" charset="2"/>
        <a:buChar char="§"/>
        <a:defRPr sz="1600">
          <a:solidFill>
            <a:schemeClr val="tx1"/>
          </a:solidFill>
          <a:latin typeface="+mn-lt"/>
        </a:defRPr>
      </a:lvl8pPr>
      <a:lvl9pPr marL="2736850" indent="-188913" algn="l" rtl="0" eaLnBrk="1" fontAlgn="base" hangingPunct="1">
        <a:spcBef>
          <a:spcPct val="20000"/>
        </a:spcBef>
        <a:spcAft>
          <a:spcPct val="0"/>
        </a:spcAft>
        <a:buFont typeface="Wingdings" pitchFamily="2" charset="2"/>
        <a:buChar char="§"/>
        <a:defRPr sz="1600">
          <a:solidFill>
            <a:schemeClr val="tx1"/>
          </a:solidFill>
          <a:latin typeface="+mn-lt"/>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5122" name="Rectangle 1036">
            <a:extLst>
              <a:ext uri="{FF2B5EF4-FFF2-40B4-BE49-F238E27FC236}">
                <a16:creationId xmlns:a16="http://schemas.microsoft.com/office/drawing/2014/main" id="{0EFF2477-D240-D868-B933-6D7A4F670959}"/>
              </a:ext>
            </a:extLst>
          </p:cNvPr>
          <p:cNvSpPr>
            <a:spLocks noGrp="1" noChangeArrowheads="1"/>
          </p:cNvSpPr>
          <p:nvPr>
            <p:ph type="title"/>
          </p:nvPr>
        </p:nvSpPr>
        <p:spPr bwMode="auto">
          <a:xfrm>
            <a:off x="652463" y="34925"/>
            <a:ext cx="8877300" cy="8207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bodyPr>
          <a:lstStyle/>
          <a:p>
            <a:pPr lvl="0"/>
            <a:r>
              <a:rPr lang="en-GB" altLang="de-DE"/>
              <a:t>Click here to change title</a:t>
            </a:r>
          </a:p>
        </p:txBody>
      </p:sp>
      <p:sp>
        <p:nvSpPr>
          <p:cNvPr id="5123" name="Rectangle 1037">
            <a:extLst>
              <a:ext uri="{FF2B5EF4-FFF2-40B4-BE49-F238E27FC236}">
                <a16:creationId xmlns:a16="http://schemas.microsoft.com/office/drawing/2014/main" id="{64B689FE-3C14-FB94-047F-8D6EA631DC9E}"/>
              </a:ext>
            </a:extLst>
          </p:cNvPr>
          <p:cNvSpPr>
            <a:spLocks noGrp="1" noChangeArrowheads="1"/>
          </p:cNvSpPr>
          <p:nvPr>
            <p:ph type="body" idx="1"/>
          </p:nvPr>
        </p:nvSpPr>
        <p:spPr bwMode="auto">
          <a:xfrm>
            <a:off x="658813" y="1144588"/>
            <a:ext cx="10864850" cy="51419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GB" altLang="de-DE"/>
              <a:t>First level</a:t>
            </a:r>
          </a:p>
          <a:p>
            <a:pPr lvl="1"/>
            <a:r>
              <a:rPr lang="en-GB" altLang="de-DE"/>
              <a:t>Second level</a:t>
            </a:r>
          </a:p>
          <a:p>
            <a:pPr lvl="2"/>
            <a:r>
              <a:rPr lang="en-GB" altLang="de-DE"/>
              <a:t>Third level</a:t>
            </a:r>
          </a:p>
          <a:p>
            <a:pPr lvl="3"/>
            <a:r>
              <a:rPr lang="en-GB" altLang="de-DE"/>
              <a:t>Fourth level</a:t>
            </a:r>
          </a:p>
          <a:p>
            <a:pPr lvl="4"/>
            <a:r>
              <a:rPr lang="en-GB" altLang="de-DE"/>
              <a:t>Fifth level</a:t>
            </a:r>
          </a:p>
        </p:txBody>
      </p:sp>
      <p:sp>
        <p:nvSpPr>
          <p:cNvPr id="5124" name="Line 1038">
            <a:extLst>
              <a:ext uri="{FF2B5EF4-FFF2-40B4-BE49-F238E27FC236}">
                <a16:creationId xmlns:a16="http://schemas.microsoft.com/office/drawing/2014/main" id="{BEB65797-6A45-47D1-2175-110924A1E8A8}"/>
              </a:ext>
            </a:extLst>
          </p:cNvPr>
          <p:cNvSpPr>
            <a:spLocks noChangeShapeType="1"/>
          </p:cNvSpPr>
          <p:nvPr userDrawn="1"/>
        </p:nvSpPr>
        <p:spPr bwMode="auto">
          <a:xfrm>
            <a:off x="465138" y="950913"/>
            <a:ext cx="11263312" cy="0"/>
          </a:xfrm>
          <a:prstGeom prst="line">
            <a:avLst/>
          </a:prstGeom>
          <a:noFill/>
          <a:ln w="12700">
            <a:solidFill>
              <a:srgbClr val="5F5F5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Tree>
    <p:extLst>
      <p:ext uri="{BB962C8B-B14F-4D97-AF65-F5344CB8AC3E}">
        <p14:creationId xmlns:p14="http://schemas.microsoft.com/office/powerpoint/2010/main" val="3583259826"/>
      </p:ext>
    </p:extLst>
  </p:cSld>
  <p:clrMap bg1="lt1" tx1="dk1" bg2="lt2" tx2="dk2" accent1="accent1" accent2="accent2" accent3="accent3" accent4="accent4" accent5="accent5" accent6="accent6" hlink="hlink" folHlink="folHlink"/>
  <p:sldLayoutIdLst>
    <p:sldLayoutId id="2147486402" r:id="rId1"/>
    <p:sldLayoutId id="2147486403" r:id="rId2"/>
    <p:sldLayoutId id="2147486404" r:id="rId3"/>
    <p:sldLayoutId id="2147486405" r:id="rId4"/>
  </p:sldLayoutIdLst>
  <p:hf sldNum="0" hdr="0" dt="0"/>
  <p:txStyles>
    <p:titleStyle>
      <a:lvl1pPr algn="l" rtl="0" eaLnBrk="0" fontAlgn="base" hangingPunct="0">
        <a:spcBef>
          <a:spcPct val="0"/>
        </a:spcBef>
        <a:spcAft>
          <a:spcPct val="0"/>
        </a:spcAft>
        <a:defRPr sz="2000" b="1">
          <a:solidFill>
            <a:schemeClr val="tx1"/>
          </a:solidFill>
          <a:latin typeface="+mj-lt"/>
          <a:ea typeface="+mj-ea"/>
          <a:cs typeface="+mj-cs"/>
        </a:defRPr>
      </a:lvl1pPr>
      <a:lvl2pPr algn="l" rtl="0" eaLnBrk="0" fontAlgn="base" hangingPunct="0">
        <a:spcBef>
          <a:spcPct val="0"/>
        </a:spcBef>
        <a:spcAft>
          <a:spcPct val="0"/>
        </a:spcAft>
        <a:defRPr sz="2000" b="1">
          <a:solidFill>
            <a:schemeClr val="tx1"/>
          </a:solidFill>
          <a:latin typeface="Arial" charset="0"/>
        </a:defRPr>
      </a:lvl2pPr>
      <a:lvl3pPr algn="l" rtl="0" eaLnBrk="0" fontAlgn="base" hangingPunct="0">
        <a:spcBef>
          <a:spcPct val="0"/>
        </a:spcBef>
        <a:spcAft>
          <a:spcPct val="0"/>
        </a:spcAft>
        <a:defRPr sz="2000" b="1">
          <a:solidFill>
            <a:schemeClr val="tx1"/>
          </a:solidFill>
          <a:latin typeface="Arial" charset="0"/>
        </a:defRPr>
      </a:lvl3pPr>
      <a:lvl4pPr algn="l" rtl="0" eaLnBrk="0" fontAlgn="base" hangingPunct="0">
        <a:spcBef>
          <a:spcPct val="0"/>
        </a:spcBef>
        <a:spcAft>
          <a:spcPct val="0"/>
        </a:spcAft>
        <a:defRPr sz="2000" b="1">
          <a:solidFill>
            <a:schemeClr val="tx1"/>
          </a:solidFill>
          <a:latin typeface="Arial" charset="0"/>
        </a:defRPr>
      </a:lvl4pPr>
      <a:lvl5pPr algn="l" rtl="0" eaLnBrk="0" fontAlgn="base" hangingPunct="0">
        <a:spcBef>
          <a:spcPct val="0"/>
        </a:spcBef>
        <a:spcAft>
          <a:spcPct val="0"/>
        </a:spcAft>
        <a:defRPr sz="2000" b="1">
          <a:solidFill>
            <a:schemeClr val="tx1"/>
          </a:solidFill>
          <a:latin typeface="Arial" charset="0"/>
        </a:defRPr>
      </a:lvl5pPr>
      <a:lvl6pPr marL="457200" algn="l" rtl="0" eaLnBrk="1" fontAlgn="base" hangingPunct="1">
        <a:spcBef>
          <a:spcPct val="0"/>
        </a:spcBef>
        <a:spcAft>
          <a:spcPct val="0"/>
        </a:spcAft>
        <a:defRPr sz="2400" b="1">
          <a:solidFill>
            <a:schemeClr val="tx1"/>
          </a:solidFill>
          <a:latin typeface="Arial" charset="0"/>
        </a:defRPr>
      </a:lvl6pPr>
      <a:lvl7pPr marL="914400" algn="l" rtl="0" eaLnBrk="1" fontAlgn="base" hangingPunct="1">
        <a:spcBef>
          <a:spcPct val="0"/>
        </a:spcBef>
        <a:spcAft>
          <a:spcPct val="0"/>
        </a:spcAft>
        <a:defRPr sz="2400" b="1">
          <a:solidFill>
            <a:schemeClr val="tx1"/>
          </a:solidFill>
          <a:latin typeface="Arial" charset="0"/>
        </a:defRPr>
      </a:lvl7pPr>
      <a:lvl8pPr marL="1371600" algn="l" rtl="0" eaLnBrk="1" fontAlgn="base" hangingPunct="1">
        <a:spcBef>
          <a:spcPct val="0"/>
        </a:spcBef>
        <a:spcAft>
          <a:spcPct val="0"/>
        </a:spcAft>
        <a:defRPr sz="2400" b="1">
          <a:solidFill>
            <a:schemeClr val="tx1"/>
          </a:solidFill>
          <a:latin typeface="Arial" charset="0"/>
        </a:defRPr>
      </a:lvl8pPr>
      <a:lvl9pPr marL="1828800" algn="l" rtl="0" eaLnBrk="1" fontAlgn="base" hangingPunct="1">
        <a:spcBef>
          <a:spcPct val="0"/>
        </a:spcBef>
        <a:spcAft>
          <a:spcPct val="0"/>
        </a:spcAft>
        <a:defRPr sz="2400" b="1">
          <a:solidFill>
            <a:schemeClr val="tx1"/>
          </a:solidFill>
          <a:latin typeface="Arial" charset="0"/>
        </a:defRPr>
      </a:lvl9pPr>
    </p:titleStyle>
    <p:bodyStyle>
      <a:lvl1pPr marL="179388" indent="-179388" algn="l" rtl="0" eaLnBrk="0" fontAlgn="base" hangingPunct="0">
        <a:spcBef>
          <a:spcPct val="20000"/>
        </a:spcBef>
        <a:spcAft>
          <a:spcPct val="0"/>
        </a:spcAft>
        <a:buFont typeface="Wingdings" panose="05000000000000000000" pitchFamily="2" charset="2"/>
        <a:buChar char="§"/>
        <a:defRPr sz="2000">
          <a:solidFill>
            <a:schemeClr val="tx1"/>
          </a:solidFill>
          <a:latin typeface="+mn-lt"/>
          <a:ea typeface="+mn-ea"/>
          <a:cs typeface="+mn-cs"/>
        </a:defRPr>
      </a:lvl1pPr>
      <a:lvl2pPr marL="349250" indent="-168275" algn="l" rtl="0" eaLnBrk="0" fontAlgn="base" hangingPunct="0">
        <a:spcBef>
          <a:spcPct val="20000"/>
        </a:spcBef>
        <a:spcAft>
          <a:spcPct val="0"/>
        </a:spcAft>
        <a:buFont typeface="Wingdings" panose="05000000000000000000" pitchFamily="2" charset="2"/>
        <a:buChar char="§"/>
        <a:defRPr>
          <a:solidFill>
            <a:schemeClr val="tx1"/>
          </a:solidFill>
          <a:latin typeface="+mn-lt"/>
        </a:defRPr>
      </a:lvl2pPr>
      <a:lvl3pPr marL="538163" indent="-187325" algn="l" rtl="0" eaLnBrk="0" fontAlgn="base" hangingPunct="0">
        <a:spcBef>
          <a:spcPct val="20000"/>
        </a:spcBef>
        <a:spcAft>
          <a:spcPct val="0"/>
        </a:spcAft>
        <a:buFont typeface="Wingdings" panose="05000000000000000000" pitchFamily="2" charset="2"/>
        <a:buChar char="§"/>
        <a:defRPr>
          <a:solidFill>
            <a:schemeClr val="tx1"/>
          </a:solidFill>
          <a:latin typeface="+mn-lt"/>
        </a:defRPr>
      </a:lvl3pPr>
      <a:lvl4pPr marL="717550" indent="-173038" algn="l" rtl="0" eaLnBrk="0" fontAlgn="base" hangingPunct="0">
        <a:spcBef>
          <a:spcPct val="20000"/>
        </a:spcBef>
        <a:spcAft>
          <a:spcPct val="0"/>
        </a:spcAft>
        <a:buFont typeface="Wingdings" panose="05000000000000000000" pitchFamily="2" charset="2"/>
        <a:buChar char="§"/>
        <a:defRPr sz="1600">
          <a:solidFill>
            <a:schemeClr val="tx1"/>
          </a:solidFill>
          <a:latin typeface="+mn-lt"/>
        </a:defRPr>
      </a:lvl4pPr>
      <a:lvl5pPr marL="908050" indent="-188913" algn="l" rtl="0" eaLnBrk="0" fontAlgn="base" hangingPunct="0">
        <a:spcBef>
          <a:spcPct val="20000"/>
        </a:spcBef>
        <a:spcAft>
          <a:spcPct val="0"/>
        </a:spcAft>
        <a:buFont typeface="Wingdings" panose="05000000000000000000" pitchFamily="2" charset="2"/>
        <a:buChar char="§"/>
        <a:defRPr sz="1600">
          <a:solidFill>
            <a:schemeClr val="tx1"/>
          </a:solidFill>
          <a:latin typeface="+mn-lt"/>
        </a:defRPr>
      </a:lvl5pPr>
      <a:lvl6pPr marL="1365250" indent="-188913" algn="l" rtl="0" eaLnBrk="1" fontAlgn="base" hangingPunct="1">
        <a:spcBef>
          <a:spcPct val="20000"/>
        </a:spcBef>
        <a:spcAft>
          <a:spcPct val="0"/>
        </a:spcAft>
        <a:buFont typeface="Wingdings" pitchFamily="2" charset="2"/>
        <a:buChar char="§"/>
        <a:defRPr sz="1600">
          <a:solidFill>
            <a:schemeClr val="tx1"/>
          </a:solidFill>
          <a:latin typeface="+mn-lt"/>
        </a:defRPr>
      </a:lvl6pPr>
      <a:lvl7pPr marL="1822450" indent="-188913" algn="l" rtl="0" eaLnBrk="1" fontAlgn="base" hangingPunct="1">
        <a:spcBef>
          <a:spcPct val="20000"/>
        </a:spcBef>
        <a:spcAft>
          <a:spcPct val="0"/>
        </a:spcAft>
        <a:buFont typeface="Wingdings" pitchFamily="2" charset="2"/>
        <a:buChar char="§"/>
        <a:defRPr sz="1600">
          <a:solidFill>
            <a:schemeClr val="tx1"/>
          </a:solidFill>
          <a:latin typeface="+mn-lt"/>
        </a:defRPr>
      </a:lvl7pPr>
      <a:lvl8pPr marL="2279650" indent="-188913" algn="l" rtl="0" eaLnBrk="1" fontAlgn="base" hangingPunct="1">
        <a:spcBef>
          <a:spcPct val="20000"/>
        </a:spcBef>
        <a:spcAft>
          <a:spcPct val="0"/>
        </a:spcAft>
        <a:buFont typeface="Wingdings" pitchFamily="2" charset="2"/>
        <a:buChar char="§"/>
        <a:defRPr sz="1600">
          <a:solidFill>
            <a:schemeClr val="tx1"/>
          </a:solidFill>
          <a:latin typeface="+mn-lt"/>
        </a:defRPr>
      </a:lvl8pPr>
      <a:lvl9pPr marL="2736850" indent="-188913" algn="l" rtl="0" eaLnBrk="1" fontAlgn="base" hangingPunct="1">
        <a:spcBef>
          <a:spcPct val="20000"/>
        </a:spcBef>
        <a:spcAft>
          <a:spcPct val="0"/>
        </a:spcAft>
        <a:buFont typeface="Wingdings" pitchFamily="2" charset="2"/>
        <a:buChar char="§"/>
        <a:defRPr sz="1600">
          <a:solidFill>
            <a:schemeClr val="tx1"/>
          </a:solidFill>
          <a:latin typeface="+mn-lt"/>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8194" name="Rectangle 1036">
            <a:extLst>
              <a:ext uri="{FF2B5EF4-FFF2-40B4-BE49-F238E27FC236}">
                <a16:creationId xmlns:a16="http://schemas.microsoft.com/office/drawing/2014/main" id="{48E8B7D1-99CD-2997-481B-101E1CECB014}"/>
              </a:ext>
            </a:extLst>
          </p:cNvPr>
          <p:cNvSpPr>
            <a:spLocks noGrp="1" noChangeArrowheads="1"/>
          </p:cNvSpPr>
          <p:nvPr>
            <p:ph type="title"/>
          </p:nvPr>
        </p:nvSpPr>
        <p:spPr bwMode="auto">
          <a:xfrm>
            <a:off x="652463" y="34925"/>
            <a:ext cx="8877300" cy="8207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bodyPr>
          <a:lstStyle/>
          <a:p>
            <a:pPr lvl="0"/>
            <a:r>
              <a:rPr lang="en-GB" altLang="de-DE"/>
              <a:t>Click here to change title</a:t>
            </a:r>
          </a:p>
        </p:txBody>
      </p:sp>
      <p:sp>
        <p:nvSpPr>
          <p:cNvPr id="8195" name="Rectangle 1037">
            <a:extLst>
              <a:ext uri="{FF2B5EF4-FFF2-40B4-BE49-F238E27FC236}">
                <a16:creationId xmlns:a16="http://schemas.microsoft.com/office/drawing/2014/main" id="{406169BC-FF41-22CF-C234-AD0B0EF4CAE7}"/>
              </a:ext>
            </a:extLst>
          </p:cNvPr>
          <p:cNvSpPr>
            <a:spLocks noGrp="1" noChangeArrowheads="1"/>
          </p:cNvSpPr>
          <p:nvPr>
            <p:ph type="body" idx="1"/>
          </p:nvPr>
        </p:nvSpPr>
        <p:spPr bwMode="auto">
          <a:xfrm>
            <a:off x="658813" y="1144588"/>
            <a:ext cx="10864850" cy="51419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GB" altLang="de-DE"/>
              <a:t>First level</a:t>
            </a:r>
          </a:p>
          <a:p>
            <a:pPr lvl="1"/>
            <a:r>
              <a:rPr lang="en-GB" altLang="de-DE"/>
              <a:t>Second level</a:t>
            </a:r>
          </a:p>
          <a:p>
            <a:pPr lvl="2"/>
            <a:r>
              <a:rPr lang="en-GB" altLang="de-DE"/>
              <a:t>Third level</a:t>
            </a:r>
          </a:p>
          <a:p>
            <a:pPr lvl="3"/>
            <a:r>
              <a:rPr lang="en-GB" altLang="de-DE"/>
              <a:t>Fourth level</a:t>
            </a:r>
          </a:p>
          <a:p>
            <a:pPr lvl="4"/>
            <a:r>
              <a:rPr lang="en-GB" altLang="de-DE"/>
              <a:t>Fifth level</a:t>
            </a:r>
          </a:p>
        </p:txBody>
      </p:sp>
      <p:sp>
        <p:nvSpPr>
          <p:cNvPr id="8196" name="Line 1038">
            <a:extLst>
              <a:ext uri="{FF2B5EF4-FFF2-40B4-BE49-F238E27FC236}">
                <a16:creationId xmlns:a16="http://schemas.microsoft.com/office/drawing/2014/main" id="{3AFB243B-E0EE-CB19-AA4D-AF5C143F6C29}"/>
              </a:ext>
            </a:extLst>
          </p:cNvPr>
          <p:cNvSpPr>
            <a:spLocks noChangeShapeType="1"/>
          </p:cNvSpPr>
          <p:nvPr userDrawn="1"/>
        </p:nvSpPr>
        <p:spPr bwMode="auto">
          <a:xfrm>
            <a:off x="465138" y="950913"/>
            <a:ext cx="11263312" cy="0"/>
          </a:xfrm>
          <a:prstGeom prst="line">
            <a:avLst/>
          </a:prstGeom>
          <a:noFill/>
          <a:ln w="12700">
            <a:solidFill>
              <a:srgbClr val="5F5F5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Tree>
    <p:extLst>
      <p:ext uri="{BB962C8B-B14F-4D97-AF65-F5344CB8AC3E}">
        <p14:creationId xmlns:p14="http://schemas.microsoft.com/office/powerpoint/2010/main" val="1425310943"/>
      </p:ext>
    </p:extLst>
  </p:cSld>
  <p:clrMap bg1="lt1" tx1="dk1" bg2="lt2" tx2="dk2" accent1="accent1" accent2="accent2" accent3="accent3" accent4="accent4" accent5="accent5" accent6="accent6" hlink="hlink" folHlink="folHlink"/>
  <p:sldLayoutIdLst>
    <p:sldLayoutId id="2147486417" r:id="rId1"/>
    <p:sldLayoutId id="2147486418" r:id="rId2"/>
    <p:sldLayoutId id="2147486419" r:id="rId3"/>
    <p:sldLayoutId id="2147486420" r:id="rId4"/>
  </p:sldLayoutIdLst>
  <p:hf sldNum="0" hdr="0" dt="0"/>
  <p:txStyles>
    <p:titleStyle>
      <a:lvl1pPr algn="l" rtl="0" eaLnBrk="0" fontAlgn="base" hangingPunct="0">
        <a:spcBef>
          <a:spcPct val="0"/>
        </a:spcBef>
        <a:spcAft>
          <a:spcPct val="0"/>
        </a:spcAft>
        <a:defRPr sz="2000" b="1">
          <a:solidFill>
            <a:schemeClr val="tx1"/>
          </a:solidFill>
          <a:latin typeface="+mj-lt"/>
          <a:ea typeface="+mj-ea"/>
          <a:cs typeface="+mj-cs"/>
        </a:defRPr>
      </a:lvl1pPr>
      <a:lvl2pPr algn="l" rtl="0" eaLnBrk="0" fontAlgn="base" hangingPunct="0">
        <a:spcBef>
          <a:spcPct val="0"/>
        </a:spcBef>
        <a:spcAft>
          <a:spcPct val="0"/>
        </a:spcAft>
        <a:defRPr sz="2000" b="1">
          <a:solidFill>
            <a:schemeClr val="tx1"/>
          </a:solidFill>
          <a:latin typeface="Arial" charset="0"/>
        </a:defRPr>
      </a:lvl2pPr>
      <a:lvl3pPr algn="l" rtl="0" eaLnBrk="0" fontAlgn="base" hangingPunct="0">
        <a:spcBef>
          <a:spcPct val="0"/>
        </a:spcBef>
        <a:spcAft>
          <a:spcPct val="0"/>
        </a:spcAft>
        <a:defRPr sz="2000" b="1">
          <a:solidFill>
            <a:schemeClr val="tx1"/>
          </a:solidFill>
          <a:latin typeface="Arial" charset="0"/>
        </a:defRPr>
      </a:lvl3pPr>
      <a:lvl4pPr algn="l" rtl="0" eaLnBrk="0" fontAlgn="base" hangingPunct="0">
        <a:spcBef>
          <a:spcPct val="0"/>
        </a:spcBef>
        <a:spcAft>
          <a:spcPct val="0"/>
        </a:spcAft>
        <a:defRPr sz="2000" b="1">
          <a:solidFill>
            <a:schemeClr val="tx1"/>
          </a:solidFill>
          <a:latin typeface="Arial" charset="0"/>
        </a:defRPr>
      </a:lvl4pPr>
      <a:lvl5pPr algn="l" rtl="0" eaLnBrk="0" fontAlgn="base" hangingPunct="0">
        <a:spcBef>
          <a:spcPct val="0"/>
        </a:spcBef>
        <a:spcAft>
          <a:spcPct val="0"/>
        </a:spcAft>
        <a:defRPr sz="2000" b="1">
          <a:solidFill>
            <a:schemeClr val="tx1"/>
          </a:solidFill>
          <a:latin typeface="Arial" charset="0"/>
        </a:defRPr>
      </a:lvl5pPr>
      <a:lvl6pPr marL="457200" algn="l" rtl="0" eaLnBrk="1" fontAlgn="base" hangingPunct="1">
        <a:spcBef>
          <a:spcPct val="0"/>
        </a:spcBef>
        <a:spcAft>
          <a:spcPct val="0"/>
        </a:spcAft>
        <a:defRPr sz="2400" b="1">
          <a:solidFill>
            <a:schemeClr val="tx1"/>
          </a:solidFill>
          <a:latin typeface="Arial" charset="0"/>
        </a:defRPr>
      </a:lvl6pPr>
      <a:lvl7pPr marL="914400" algn="l" rtl="0" eaLnBrk="1" fontAlgn="base" hangingPunct="1">
        <a:spcBef>
          <a:spcPct val="0"/>
        </a:spcBef>
        <a:spcAft>
          <a:spcPct val="0"/>
        </a:spcAft>
        <a:defRPr sz="2400" b="1">
          <a:solidFill>
            <a:schemeClr val="tx1"/>
          </a:solidFill>
          <a:latin typeface="Arial" charset="0"/>
        </a:defRPr>
      </a:lvl7pPr>
      <a:lvl8pPr marL="1371600" algn="l" rtl="0" eaLnBrk="1" fontAlgn="base" hangingPunct="1">
        <a:spcBef>
          <a:spcPct val="0"/>
        </a:spcBef>
        <a:spcAft>
          <a:spcPct val="0"/>
        </a:spcAft>
        <a:defRPr sz="2400" b="1">
          <a:solidFill>
            <a:schemeClr val="tx1"/>
          </a:solidFill>
          <a:latin typeface="Arial" charset="0"/>
        </a:defRPr>
      </a:lvl8pPr>
      <a:lvl9pPr marL="1828800" algn="l" rtl="0" eaLnBrk="1" fontAlgn="base" hangingPunct="1">
        <a:spcBef>
          <a:spcPct val="0"/>
        </a:spcBef>
        <a:spcAft>
          <a:spcPct val="0"/>
        </a:spcAft>
        <a:defRPr sz="2400" b="1">
          <a:solidFill>
            <a:schemeClr val="tx1"/>
          </a:solidFill>
          <a:latin typeface="Arial" charset="0"/>
        </a:defRPr>
      </a:lvl9pPr>
    </p:titleStyle>
    <p:bodyStyle>
      <a:lvl1pPr marL="179388" indent="-179388" algn="l" rtl="0" eaLnBrk="0" fontAlgn="base" hangingPunct="0">
        <a:spcBef>
          <a:spcPct val="20000"/>
        </a:spcBef>
        <a:spcAft>
          <a:spcPct val="0"/>
        </a:spcAft>
        <a:buFont typeface="Wingdings" panose="05000000000000000000" pitchFamily="2" charset="2"/>
        <a:buChar char="§"/>
        <a:defRPr sz="2000">
          <a:solidFill>
            <a:schemeClr val="tx1"/>
          </a:solidFill>
          <a:latin typeface="+mn-lt"/>
          <a:ea typeface="+mn-ea"/>
          <a:cs typeface="+mn-cs"/>
        </a:defRPr>
      </a:lvl1pPr>
      <a:lvl2pPr marL="349250" indent="-168275" algn="l" rtl="0" eaLnBrk="0" fontAlgn="base" hangingPunct="0">
        <a:spcBef>
          <a:spcPct val="20000"/>
        </a:spcBef>
        <a:spcAft>
          <a:spcPct val="0"/>
        </a:spcAft>
        <a:buFont typeface="Wingdings" panose="05000000000000000000" pitchFamily="2" charset="2"/>
        <a:buChar char="§"/>
        <a:defRPr>
          <a:solidFill>
            <a:schemeClr val="tx1"/>
          </a:solidFill>
          <a:latin typeface="+mn-lt"/>
        </a:defRPr>
      </a:lvl2pPr>
      <a:lvl3pPr marL="538163" indent="-187325" algn="l" rtl="0" eaLnBrk="0" fontAlgn="base" hangingPunct="0">
        <a:spcBef>
          <a:spcPct val="20000"/>
        </a:spcBef>
        <a:spcAft>
          <a:spcPct val="0"/>
        </a:spcAft>
        <a:buFont typeface="Wingdings" panose="05000000000000000000" pitchFamily="2" charset="2"/>
        <a:buChar char="§"/>
        <a:defRPr>
          <a:solidFill>
            <a:schemeClr val="tx1"/>
          </a:solidFill>
          <a:latin typeface="+mn-lt"/>
        </a:defRPr>
      </a:lvl3pPr>
      <a:lvl4pPr marL="717550" indent="-173038" algn="l" rtl="0" eaLnBrk="0" fontAlgn="base" hangingPunct="0">
        <a:spcBef>
          <a:spcPct val="20000"/>
        </a:spcBef>
        <a:spcAft>
          <a:spcPct val="0"/>
        </a:spcAft>
        <a:buFont typeface="Wingdings" panose="05000000000000000000" pitchFamily="2" charset="2"/>
        <a:buChar char="§"/>
        <a:defRPr sz="1600">
          <a:solidFill>
            <a:schemeClr val="tx1"/>
          </a:solidFill>
          <a:latin typeface="+mn-lt"/>
        </a:defRPr>
      </a:lvl4pPr>
      <a:lvl5pPr marL="908050" indent="-188913" algn="l" rtl="0" eaLnBrk="0" fontAlgn="base" hangingPunct="0">
        <a:spcBef>
          <a:spcPct val="20000"/>
        </a:spcBef>
        <a:spcAft>
          <a:spcPct val="0"/>
        </a:spcAft>
        <a:buFont typeface="Wingdings" panose="05000000000000000000" pitchFamily="2" charset="2"/>
        <a:buChar char="§"/>
        <a:defRPr sz="1600">
          <a:solidFill>
            <a:schemeClr val="tx1"/>
          </a:solidFill>
          <a:latin typeface="+mn-lt"/>
        </a:defRPr>
      </a:lvl5pPr>
      <a:lvl6pPr marL="1365250" indent="-188913" algn="l" rtl="0" eaLnBrk="1" fontAlgn="base" hangingPunct="1">
        <a:spcBef>
          <a:spcPct val="20000"/>
        </a:spcBef>
        <a:spcAft>
          <a:spcPct val="0"/>
        </a:spcAft>
        <a:buFont typeface="Wingdings" pitchFamily="2" charset="2"/>
        <a:buChar char="§"/>
        <a:defRPr sz="1600">
          <a:solidFill>
            <a:schemeClr val="tx1"/>
          </a:solidFill>
          <a:latin typeface="+mn-lt"/>
        </a:defRPr>
      </a:lvl6pPr>
      <a:lvl7pPr marL="1822450" indent="-188913" algn="l" rtl="0" eaLnBrk="1" fontAlgn="base" hangingPunct="1">
        <a:spcBef>
          <a:spcPct val="20000"/>
        </a:spcBef>
        <a:spcAft>
          <a:spcPct val="0"/>
        </a:spcAft>
        <a:buFont typeface="Wingdings" pitchFamily="2" charset="2"/>
        <a:buChar char="§"/>
        <a:defRPr sz="1600">
          <a:solidFill>
            <a:schemeClr val="tx1"/>
          </a:solidFill>
          <a:latin typeface="+mn-lt"/>
        </a:defRPr>
      </a:lvl7pPr>
      <a:lvl8pPr marL="2279650" indent="-188913" algn="l" rtl="0" eaLnBrk="1" fontAlgn="base" hangingPunct="1">
        <a:spcBef>
          <a:spcPct val="20000"/>
        </a:spcBef>
        <a:spcAft>
          <a:spcPct val="0"/>
        </a:spcAft>
        <a:buFont typeface="Wingdings" pitchFamily="2" charset="2"/>
        <a:buChar char="§"/>
        <a:defRPr sz="1600">
          <a:solidFill>
            <a:schemeClr val="tx1"/>
          </a:solidFill>
          <a:latin typeface="+mn-lt"/>
        </a:defRPr>
      </a:lvl8pPr>
      <a:lvl9pPr marL="2736850" indent="-188913" algn="l" rtl="0" eaLnBrk="1" fontAlgn="base" hangingPunct="1">
        <a:spcBef>
          <a:spcPct val="20000"/>
        </a:spcBef>
        <a:spcAft>
          <a:spcPct val="0"/>
        </a:spcAft>
        <a:buFont typeface="Wingdings" pitchFamily="2" charset="2"/>
        <a:buChar char="§"/>
        <a:defRPr sz="1600">
          <a:solidFill>
            <a:schemeClr val="tx1"/>
          </a:solidFill>
          <a:latin typeface="+mn-lt"/>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37" name="Rectangle 13"/>
          <p:cNvSpPr>
            <a:spLocks noChangeArrowheads="1"/>
          </p:cNvSpPr>
          <p:nvPr/>
        </p:nvSpPr>
        <p:spPr bwMode="auto">
          <a:xfrm>
            <a:off x="239356" y="753420"/>
            <a:ext cx="11618217" cy="1081088"/>
          </a:xfrm>
          <a:prstGeom prst="rect">
            <a:avLst/>
          </a:prstGeom>
          <a:noFill/>
          <a:ln w="9525">
            <a:noFill/>
            <a:miter lim="800000"/>
            <a:headEnd/>
            <a:tailEnd/>
          </a:ln>
          <a:effectLst/>
        </p:spPr>
        <p:txBody>
          <a:bodyPr wrap="none" anchor="ctr"/>
          <a:lstStyle/>
          <a:p>
            <a:endParaRPr lang="de-DE">
              <a:latin typeface="+mn-lt"/>
              <a:cs typeface="Tahoma" pitchFamily="34" charset="0"/>
            </a:endParaRPr>
          </a:p>
        </p:txBody>
      </p:sp>
      <p:sp>
        <p:nvSpPr>
          <p:cNvPr id="1026" name="Rectangle 2"/>
          <p:cNvSpPr>
            <a:spLocks noGrp="1" noChangeArrowheads="1"/>
          </p:cNvSpPr>
          <p:nvPr>
            <p:ph type="title"/>
          </p:nvPr>
        </p:nvSpPr>
        <p:spPr bwMode="auto">
          <a:xfrm>
            <a:off x="672004" y="480000"/>
            <a:ext cx="9120000" cy="480000"/>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p>
            <a:pPr lvl="0"/>
            <a:r>
              <a:rPr lang="de-DE" dirty="0"/>
              <a:t>TITELMASTERFORMAT DURCH KLICKEN</a:t>
            </a:r>
          </a:p>
        </p:txBody>
      </p:sp>
      <p:sp>
        <p:nvSpPr>
          <p:cNvPr id="1027" name="Rectangle 3"/>
          <p:cNvSpPr>
            <a:spLocks noGrp="1" noChangeArrowheads="1"/>
          </p:cNvSpPr>
          <p:nvPr>
            <p:ph type="body" idx="1"/>
          </p:nvPr>
        </p:nvSpPr>
        <p:spPr bwMode="auto">
          <a:xfrm>
            <a:off x="672001" y="2112000"/>
            <a:ext cx="11040000" cy="3936000"/>
          </a:xfrm>
          <a:prstGeom prst="rect">
            <a:avLst/>
          </a:prstGeom>
          <a:noFill/>
          <a:ln w="9525">
            <a:noFill/>
            <a:miter lim="800000"/>
            <a:headEnd/>
            <a:tailEnd/>
          </a:ln>
          <a:effectLst/>
        </p:spPr>
        <p:txBody>
          <a:bodyPr vert="horz" wrap="square" lIns="0" tIns="45720" rIns="0" bIns="45720" numCol="1" anchor="t" anchorCtr="0" compatLnSpc="1">
            <a:prstTxWarp prst="textNoShape">
              <a:avLst/>
            </a:prstTxWarp>
          </a:bodyPr>
          <a:lstStyle/>
          <a:p>
            <a:pPr lvl="0"/>
            <a:r>
              <a:rPr lang="de-DE" dirty="0"/>
              <a:t>Textmasterformate durch Klicken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1" name="Rectangle 8"/>
          <p:cNvSpPr>
            <a:spLocks noChangeArrowheads="1"/>
          </p:cNvSpPr>
          <p:nvPr/>
        </p:nvSpPr>
        <p:spPr bwMode="auto">
          <a:xfrm>
            <a:off x="651937" y="304801"/>
            <a:ext cx="11184000" cy="54000"/>
          </a:xfrm>
          <a:prstGeom prst="rect">
            <a:avLst/>
          </a:prstGeom>
          <a:solidFill>
            <a:schemeClr val="accent1"/>
          </a:solidFill>
          <a:ln w="3175">
            <a:noFill/>
            <a:miter lim="800000"/>
            <a:headEnd/>
            <a:tailEnd/>
          </a:ln>
        </p:spPr>
        <p:txBody>
          <a:bodyPr/>
          <a:lstStyle/>
          <a:p>
            <a:endParaRPr lang="de-DE">
              <a:latin typeface="+mn-lt"/>
              <a:cs typeface="Tahoma" pitchFamily="34" charset="0"/>
            </a:endParaRPr>
          </a:p>
        </p:txBody>
      </p:sp>
      <p:grpSp>
        <p:nvGrpSpPr>
          <p:cNvPr id="3" name="Gruppierung 2"/>
          <p:cNvGrpSpPr/>
          <p:nvPr/>
        </p:nvGrpSpPr>
        <p:grpSpPr>
          <a:xfrm>
            <a:off x="9887088" y="477223"/>
            <a:ext cx="2304912" cy="870205"/>
            <a:chOff x="7415316" y="357917"/>
            <a:chExt cx="1728684" cy="652654"/>
          </a:xfrm>
          <a:solidFill>
            <a:schemeClr val="bg1"/>
          </a:solidFill>
        </p:grpSpPr>
        <p:sp>
          <p:nvSpPr>
            <p:cNvPr id="15" name="Rechteck 14"/>
            <p:cNvSpPr/>
            <p:nvPr/>
          </p:nvSpPr>
          <p:spPr>
            <a:xfrm>
              <a:off x="7415316" y="357917"/>
              <a:ext cx="1728684" cy="65265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6" name="Picture 9" descr="tud_logo"/>
            <p:cNvPicPr>
              <a:picLocks noChangeAspect="1" noChangeArrowheads="1"/>
            </p:cNvPicPr>
            <p:nvPr/>
          </p:nvPicPr>
          <p:blipFill rotWithShape="1">
            <a:blip r:embed="rId11" cstate="print">
              <a:clrChange>
                <a:clrFrom>
                  <a:srgbClr val="FDFDFD"/>
                </a:clrFrom>
                <a:clrTo>
                  <a:srgbClr val="FDFDFD">
                    <a:alpha val="0"/>
                  </a:srgbClr>
                </a:clrTo>
              </a:clrChange>
              <a:extLst>
                <a:ext uri="{28A0092B-C50C-407E-A947-70E740481C1C}">
                  <a14:useLocalDpi xmlns:a14="http://schemas.microsoft.com/office/drawing/2010/main"/>
                </a:ext>
              </a:extLst>
            </a:blip>
            <a:srcRect l="7733" t="6878" r="5453" b="9546"/>
            <a:stretch/>
          </p:blipFill>
          <p:spPr bwMode="auto">
            <a:xfrm>
              <a:off x="7608875" y="407299"/>
              <a:ext cx="1404584" cy="540631"/>
            </a:xfrm>
            <a:prstGeom prst="rect">
              <a:avLst/>
            </a:prstGeom>
            <a:grpFill/>
            <a:ln w="9525">
              <a:noFill/>
              <a:miter lim="800000"/>
              <a:headEnd/>
              <a:tailEnd/>
            </a:ln>
          </p:spPr>
        </p:pic>
      </p:grpSp>
      <p:pic>
        <p:nvPicPr>
          <p:cNvPr id="13" name="Bild 12"/>
          <p:cNvPicPr>
            <a:picLocks noChangeAspect="1"/>
          </p:cNvPicPr>
          <p:nvPr/>
        </p:nvPicPr>
        <p:blipFill>
          <a:blip r:embed="rId12">
            <a:extLst>
              <a:ext uri="{28A0092B-C50C-407E-A947-70E740481C1C}">
                <a14:useLocalDpi xmlns:a14="http://schemas.microsoft.com/office/drawing/2010/main"/>
              </a:ext>
            </a:extLst>
          </a:blip>
          <a:stretch>
            <a:fillRect/>
          </a:stretch>
        </p:blipFill>
        <p:spPr>
          <a:xfrm>
            <a:off x="678112" y="6210504"/>
            <a:ext cx="11192933" cy="508000"/>
          </a:xfrm>
          <a:prstGeom prst="rect">
            <a:avLst/>
          </a:prstGeom>
        </p:spPr>
      </p:pic>
      <p:pic>
        <p:nvPicPr>
          <p:cNvPr id="14" name="Grafik 13"/>
          <p:cNvPicPr>
            <a:picLocks noChangeAspect="1"/>
          </p:cNvPicPr>
          <p:nvPr userDrawn="1"/>
        </p:nvPicPr>
        <p:blipFill>
          <a:blip r:embed="rId13" cstate="hqprint">
            <a:extLst>
              <a:ext uri="{28A0092B-C50C-407E-A947-70E740481C1C}">
                <a14:useLocalDpi xmlns:a14="http://schemas.microsoft.com/office/drawing/2010/main" val="0"/>
              </a:ext>
            </a:extLst>
          </a:blip>
          <a:stretch>
            <a:fillRect/>
          </a:stretch>
        </p:blipFill>
        <p:spPr>
          <a:xfrm>
            <a:off x="2220397" y="6344851"/>
            <a:ext cx="596832" cy="442844"/>
          </a:xfrm>
          <a:prstGeom prst="rect">
            <a:avLst/>
          </a:prstGeom>
        </p:spPr>
      </p:pic>
      <p:sp>
        <p:nvSpPr>
          <p:cNvPr id="12" name="Textfeld 11"/>
          <p:cNvSpPr txBox="1"/>
          <p:nvPr userDrawn="1"/>
        </p:nvSpPr>
        <p:spPr>
          <a:xfrm>
            <a:off x="4033095" y="6510697"/>
            <a:ext cx="8160000" cy="246221"/>
          </a:xfrm>
          <a:prstGeom prst="rect">
            <a:avLst/>
          </a:prstGeom>
          <a:noFill/>
        </p:spPr>
        <p:txBody>
          <a:bodyPr wrap="square" rtlCol="0">
            <a:spAutoFit/>
          </a:bodyPr>
          <a:lstStyle/>
          <a:p>
            <a:pPr algn="ctr" fontAlgn="base">
              <a:spcBef>
                <a:spcPct val="0"/>
              </a:spcBef>
              <a:spcAft>
                <a:spcPct val="0"/>
              </a:spcAft>
              <a:defRPr/>
            </a:pPr>
            <a:r>
              <a:rPr lang="de-DE" sz="1000" kern="1200" dirty="0">
                <a:solidFill>
                  <a:schemeClr val="accent3">
                    <a:lumMod val="50000"/>
                  </a:schemeClr>
                </a:solidFill>
                <a:latin typeface="+mn-lt"/>
                <a:ea typeface="+mn-ea"/>
                <a:cs typeface="Replica Std"/>
              </a:rPr>
              <a:t>Maschinendynamik - Prof. Dr.-Ing. Tobias Melz</a:t>
            </a:r>
            <a:r>
              <a:rPr lang="de-DE" sz="1000" kern="1200" baseline="0" dirty="0">
                <a:solidFill>
                  <a:schemeClr val="accent3">
                    <a:lumMod val="50000"/>
                  </a:schemeClr>
                </a:solidFill>
                <a:latin typeface="+mn-lt"/>
                <a:ea typeface="+mn-ea"/>
                <a:cs typeface="Replica Std"/>
              </a:rPr>
              <a:t>          WS 21/22     </a:t>
            </a:r>
            <a:fld id="{8E9B2640-8CD7-45FF-9440-54608BC46479}" type="slidenum">
              <a:rPr lang="de-DE" sz="1000" kern="1200" smtClean="0">
                <a:solidFill>
                  <a:schemeClr val="accent3">
                    <a:lumMod val="50000"/>
                  </a:schemeClr>
                </a:solidFill>
                <a:latin typeface="+mn-lt"/>
                <a:ea typeface="+mn-ea"/>
                <a:cs typeface="Replica Std"/>
              </a:rPr>
              <a:pPr algn="ctr" fontAlgn="base">
                <a:spcBef>
                  <a:spcPct val="0"/>
                </a:spcBef>
                <a:spcAft>
                  <a:spcPct val="0"/>
                </a:spcAft>
                <a:defRPr/>
              </a:pPr>
              <a:t>‹Nr.›</a:t>
            </a:fld>
            <a:endParaRPr lang="de-DE" sz="1000" kern="1200" dirty="0">
              <a:solidFill>
                <a:schemeClr val="accent3">
                  <a:lumMod val="50000"/>
                </a:schemeClr>
              </a:solidFill>
              <a:latin typeface="+mn-lt"/>
              <a:ea typeface="+mn-ea"/>
              <a:cs typeface="Replica Std"/>
            </a:endParaRPr>
          </a:p>
        </p:txBody>
      </p:sp>
    </p:spTree>
    <p:extLst>
      <p:ext uri="{BB962C8B-B14F-4D97-AF65-F5344CB8AC3E}">
        <p14:creationId xmlns:p14="http://schemas.microsoft.com/office/powerpoint/2010/main" val="2384579445"/>
      </p:ext>
    </p:extLst>
  </p:cSld>
  <p:clrMap bg1="lt1" tx1="dk1" bg2="lt2" tx2="dk2" accent1="accent1" accent2="accent2" accent3="accent3" accent4="accent4" accent5="accent5" accent6="accent6" hlink="hlink" folHlink="folHlink"/>
  <p:sldLayoutIdLst>
    <p:sldLayoutId id="2147486422" r:id="rId1"/>
    <p:sldLayoutId id="2147486423" r:id="rId2"/>
    <p:sldLayoutId id="2147486424" r:id="rId3"/>
    <p:sldLayoutId id="2147486425" r:id="rId4"/>
    <p:sldLayoutId id="2147486426" r:id="rId5"/>
    <p:sldLayoutId id="2147486427" r:id="rId6"/>
    <p:sldLayoutId id="2147486428" r:id="rId7"/>
    <p:sldLayoutId id="2147486430" r:id="rId8"/>
    <p:sldLayoutId id="2147486431" r:id="rId9"/>
  </p:sldLayoutIdLst>
  <p:hf sldNum="0" hdr="0" ftr="0" dt="0"/>
  <p:txStyles>
    <p:titleStyle>
      <a:lvl1pPr algn="l" rtl="0" eaLnBrk="1" fontAlgn="base" hangingPunct="1">
        <a:spcBef>
          <a:spcPct val="0"/>
        </a:spcBef>
        <a:spcAft>
          <a:spcPct val="0"/>
        </a:spcAft>
        <a:defRPr sz="2800" b="1" i="0">
          <a:solidFill>
            <a:schemeClr val="tx1"/>
          </a:solidFill>
          <a:latin typeface="+mj-lt"/>
          <a:ea typeface="Verdana" charset="0"/>
          <a:cs typeface="Verdana" charset="0"/>
        </a:defRPr>
      </a:lvl1pPr>
      <a:lvl2pPr algn="l" rtl="0" eaLnBrk="1" fontAlgn="base" hangingPunct="1">
        <a:spcBef>
          <a:spcPct val="0"/>
        </a:spcBef>
        <a:spcAft>
          <a:spcPct val="0"/>
        </a:spcAft>
        <a:defRPr sz="2880" b="1">
          <a:solidFill>
            <a:schemeClr val="tx1"/>
          </a:solidFill>
          <a:latin typeface="Arial" charset="0"/>
        </a:defRPr>
      </a:lvl2pPr>
      <a:lvl3pPr algn="l" rtl="0" eaLnBrk="1" fontAlgn="base" hangingPunct="1">
        <a:spcBef>
          <a:spcPct val="0"/>
        </a:spcBef>
        <a:spcAft>
          <a:spcPct val="0"/>
        </a:spcAft>
        <a:defRPr sz="2880" b="1">
          <a:solidFill>
            <a:schemeClr val="tx1"/>
          </a:solidFill>
          <a:latin typeface="Arial" charset="0"/>
        </a:defRPr>
      </a:lvl3pPr>
      <a:lvl4pPr algn="l" rtl="0" eaLnBrk="1" fontAlgn="base" hangingPunct="1">
        <a:spcBef>
          <a:spcPct val="0"/>
        </a:spcBef>
        <a:spcAft>
          <a:spcPct val="0"/>
        </a:spcAft>
        <a:defRPr sz="2880" b="1">
          <a:solidFill>
            <a:schemeClr val="tx1"/>
          </a:solidFill>
          <a:latin typeface="Arial" charset="0"/>
        </a:defRPr>
      </a:lvl4pPr>
      <a:lvl5pPr algn="l" rtl="0" eaLnBrk="1" fontAlgn="base" hangingPunct="1">
        <a:spcBef>
          <a:spcPct val="0"/>
        </a:spcBef>
        <a:spcAft>
          <a:spcPct val="0"/>
        </a:spcAft>
        <a:defRPr sz="2880" b="1">
          <a:solidFill>
            <a:schemeClr val="tx1"/>
          </a:solidFill>
          <a:latin typeface="Arial" charset="0"/>
        </a:defRPr>
      </a:lvl5pPr>
      <a:lvl6pPr marL="548626" algn="l" rtl="0" eaLnBrk="1" fontAlgn="base" hangingPunct="1">
        <a:spcBef>
          <a:spcPct val="0"/>
        </a:spcBef>
        <a:spcAft>
          <a:spcPct val="0"/>
        </a:spcAft>
        <a:defRPr sz="2880" b="1">
          <a:solidFill>
            <a:schemeClr val="tx1"/>
          </a:solidFill>
          <a:latin typeface="Arial" charset="0"/>
        </a:defRPr>
      </a:lvl6pPr>
      <a:lvl7pPr marL="1097253" algn="l" rtl="0" eaLnBrk="1" fontAlgn="base" hangingPunct="1">
        <a:spcBef>
          <a:spcPct val="0"/>
        </a:spcBef>
        <a:spcAft>
          <a:spcPct val="0"/>
        </a:spcAft>
        <a:defRPr sz="2880" b="1">
          <a:solidFill>
            <a:schemeClr val="tx1"/>
          </a:solidFill>
          <a:latin typeface="Arial" charset="0"/>
        </a:defRPr>
      </a:lvl7pPr>
      <a:lvl8pPr marL="1645879" algn="l" rtl="0" eaLnBrk="1" fontAlgn="base" hangingPunct="1">
        <a:spcBef>
          <a:spcPct val="0"/>
        </a:spcBef>
        <a:spcAft>
          <a:spcPct val="0"/>
        </a:spcAft>
        <a:defRPr sz="2880" b="1">
          <a:solidFill>
            <a:schemeClr val="tx1"/>
          </a:solidFill>
          <a:latin typeface="Arial" charset="0"/>
        </a:defRPr>
      </a:lvl8pPr>
      <a:lvl9pPr marL="2194505" algn="l" rtl="0" eaLnBrk="1" fontAlgn="base" hangingPunct="1">
        <a:spcBef>
          <a:spcPct val="0"/>
        </a:spcBef>
        <a:spcAft>
          <a:spcPct val="0"/>
        </a:spcAft>
        <a:defRPr sz="2880" b="1">
          <a:solidFill>
            <a:schemeClr val="tx1"/>
          </a:solidFill>
          <a:latin typeface="Arial" charset="0"/>
        </a:defRPr>
      </a:lvl9pPr>
    </p:titleStyle>
    <p:bodyStyle>
      <a:lvl1pPr marL="215261" indent="-215261" algn="l" rtl="0" eaLnBrk="1" fontAlgn="base" hangingPunct="1">
        <a:lnSpc>
          <a:spcPct val="100000"/>
        </a:lnSpc>
        <a:spcBef>
          <a:spcPts val="240"/>
        </a:spcBef>
        <a:spcAft>
          <a:spcPts val="276"/>
        </a:spcAft>
        <a:buFont typeface="Wingdings" pitchFamily="2" charset="2"/>
        <a:buNone/>
        <a:defRPr sz="2000" b="0" i="0">
          <a:solidFill>
            <a:schemeClr val="tx1"/>
          </a:solidFill>
          <a:latin typeface="+mn-lt"/>
          <a:ea typeface="Verdana" charset="0"/>
          <a:cs typeface="Verdana" charset="0"/>
        </a:defRPr>
      </a:lvl1pPr>
      <a:lvl2pPr marL="215261" indent="-213355" algn="l" rtl="0" eaLnBrk="1" fontAlgn="base" hangingPunct="1">
        <a:lnSpc>
          <a:spcPct val="100000"/>
        </a:lnSpc>
        <a:spcBef>
          <a:spcPts val="240"/>
        </a:spcBef>
        <a:spcAft>
          <a:spcPts val="276"/>
        </a:spcAft>
        <a:buFont typeface="Wingdings" pitchFamily="2" charset="2"/>
        <a:buChar char="§"/>
        <a:defRPr sz="2000" b="0" i="0">
          <a:solidFill>
            <a:schemeClr val="tx1"/>
          </a:solidFill>
          <a:latin typeface="+mn-lt"/>
          <a:ea typeface="Verdana" charset="0"/>
          <a:cs typeface="Verdana" charset="0"/>
        </a:defRPr>
      </a:lvl2pPr>
      <a:lvl3pPr marL="645780" indent="-224785" algn="l" rtl="0" eaLnBrk="1" fontAlgn="base" hangingPunct="1">
        <a:lnSpc>
          <a:spcPct val="100000"/>
        </a:lnSpc>
        <a:spcBef>
          <a:spcPts val="240"/>
        </a:spcBef>
        <a:spcAft>
          <a:spcPts val="276"/>
        </a:spcAft>
        <a:buFont typeface="Wingdings" pitchFamily="2" charset="2"/>
        <a:buChar char="§"/>
        <a:defRPr sz="1867" b="0" i="0">
          <a:solidFill>
            <a:schemeClr val="tx1"/>
          </a:solidFill>
          <a:latin typeface="+mn-lt"/>
          <a:ea typeface="Verdana" charset="0"/>
          <a:cs typeface="Verdana" charset="0"/>
        </a:defRPr>
      </a:lvl3pPr>
      <a:lvl4pPr marL="861038" indent="-207641" algn="l" rtl="0" eaLnBrk="1" fontAlgn="base" hangingPunct="1">
        <a:lnSpc>
          <a:spcPct val="100000"/>
        </a:lnSpc>
        <a:spcBef>
          <a:spcPts val="240"/>
        </a:spcBef>
        <a:spcAft>
          <a:spcPts val="276"/>
        </a:spcAft>
        <a:buFont typeface="Wingdings" pitchFamily="2" charset="2"/>
        <a:buChar char="§"/>
        <a:defRPr sz="1733" b="0" i="0">
          <a:solidFill>
            <a:schemeClr val="tx1"/>
          </a:solidFill>
          <a:latin typeface="+mn-lt"/>
          <a:ea typeface="Verdana" charset="0"/>
          <a:cs typeface="Verdana" charset="0"/>
        </a:defRPr>
      </a:lvl4pPr>
      <a:lvl5pPr marL="1089633" indent="-226690" algn="l" rtl="0" eaLnBrk="1" fontAlgn="base" hangingPunct="1">
        <a:lnSpc>
          <a:spcPct val="100000"/>
        </a:lnSpc>
        <a:spcBef>
          <a:spcPts val="240"/>
        </a:spcBef>
        <a:spcAft>
          <a:spcPts val="276"/>
        </a:spcAft>
        <a:buFont typeface="Wingdings" pitchFamily="2" charset="2"/>
        <a:buChar char="§"/>
        <a:defRPr sz="1600" b="0" i="0">
          <a:solidFill>
            <a:schemeClr val="tx1"/>
          </a:solidFill>
          <a:latin typeface="+mn-lt"/>
          <a:ea typeface="Verdana" charset="0"/>
          <a:cs typeface="Verdana" charset="0"/>
        </a:defRPr>
      </a:lvl5pPr>
      <a:lvl6pPr marL="1638259" indent="-226690" algn="l" rtl="0" eaLnBrk="1" fontAlgn="base" hangingPunct="1">
        <a:spcBef>
          <a:spcPct val="20000"/>
        </a:spcBef>
        <a:spcAft>
          <a:spcPct val="0"/>
        </a:spcAft>
        <a:buFont typeface="Wingdings" pitchFamily="2" charset="2"/>
        <a:buChar char="§"/>
        <a:defRPr sz="1920">
          <a:solidFill>
            <a:schemeClr val="tx1"/>
          </a:solidFill>
          <a:latin typeface="+mn-lt"/>
        </a:defRPr>
      </a:lvl6pPr>
      <a:lvl7pPr marL="2186885" indent="-226690" algn="l" rtl="0" eaLnBrk="1" fontAlgn="base" hangingPunct="1">
        <a:spcBef>
          <a:spcPct val="20000"/>
        </a:spcBef>
        <a:spcAft>
          <a:spcPct val="0"/>
        </a:spcAft>
        <a:buFont typeface="Wingdings" pitchFamily="2" charset="2"/>
        <a:buChar char="§"/>
        <a:defRPr sz="1920">
          <a:solidFill>
            <a:schemeClr val="tx1"/>
          </a:solidFill>
          <a:latin typeface="+mn-lt"/>
        </a:defRPr>
      </a:lvl7pPr>
      <a:lvl8pPr marL="2735512" indent="-226690" algn="l" rtl="0" eaLnBrk="1" fontAlgn="base" hangingPunct="1">
        <a:spcBef>
          <a:spcPct val="20000"/>
        </a:spcBef>
        <a:spcAft>
          <a:spcPct val="0"/>
        </a:spcAft>
        <a:buFont typeface="Wingdings" pitchFamily="2" charset="2"/>
        <a:buChar char="§"/>
        <a:defRPr sz="1920">
          <a:solidFill>
            <a:schemeClr val="tx1"/>
          </a:solidFill>
          <a:latin typeface="+mn-lt"/>
        </a:defRPr>
      </a:lvl8pPr>
      <a:lvl9pPr marL="3284138" indent="-226690" algn="l" rtl="0" eaLnBrk="1" fontAlgn="base" hangingPunct="1">
        <a:spcBef>
          <a:spcPct val="20000"/>
        </a:spcBef>
        <a:spcAft>
          <a:spcPct val="0"/>
        </a:spcAft>
        <a:buFont typeface="Wingdings" pitchFamily="2" charset="2"/>
        <a:buChar char="§"/>
        <a:defRPr sz="1920">
          <a:solidFill>
            <a:schemeClr val="tx1"/>
          </a:solidFill>
          <a:latin typeface="+mn-lt"/>
        </a:defRPr>
      </a:lvl9pPr>
    </p:bodyStyle>
    <p:otherStyle>
      <a:defPPr>
        <a:defRPr lang="de-DE"/>
      </a:defPPr>
      <a:lvl1pPr marL="0" algn="l" defTabSz="1097253" rtl="0" eaLnBrk="1" latinLnBrk="0" hangingPunct="1">
        <a:defRPr sz="2160" kern="1200">
          <a:solidFill>
            <a:schemeClr val="tx1"/>
          </a:solidFill>
          <a:latin typeface="+mn-lt"/>
          <a:ea typeface="+mn-ea"/>
          <a:cs typeface="+mn-cs"/>
        </a:defRPr>
      </a:lvl1pPr>
      <a:lvl2pPr marL="548626" algn="l" defTabSz="1097253" rtl="0" eaLnBrk="1" latinLnBrk="0" hangingPunct="1">
        <a:defRPr sz="2160" kern="1200">
          <a:solidFill>
            <a:schemeClr val="tx1"/>
          </a:solidFill>
          <a:latin typeface="+mn-lt"/>
          <a:ea typeface="+mn-ea"/>
          <a:cs typeface="+mn-cs"/>
        </a:defRPr>
      </a:lvl2pPr>
      <a:lvl3pPr marL="1097253" algn="l" defTabSz="1097253" rtl="0" eaLnBrk="1" latinLnBrk="0" hangingPunct="1">
        <a:defRPr sz="2160" kern="1200">
          <a:solidFill>
            <a:schemeClr val="tx1"/>
          </a:solidFill>
          <a:latin typeface="+mn-lt"/>
          <a:ea typeface="+mn-ea"/>
          <a:cs typeface="+mn-cs"/>
        </a:defRPr>
      </a:lvl3pPr>
      <a:lvl4pPr marL="1645879" algn="l" defTabSz="1097253" rtl="0" eaLnBrk="1" latinLnBrk="0" hangingPunct="1">
        <a:defRPr sz="2160" kern="1200">
          <a:solidFill>
            <a:schemeClr val="tx1"/>
          </a:solidFill>
          <a:latin typeface="+mn-lt"/>
          <a:ea typeface="+mn-ea"/>
          <a:cs typeface="+mn-cs"/>
        </a:defRPr>
      </a:lvl4pPr>
      <a:lvl5pPr marL="2194505" algn="l" defTabSz="1097253" rtl="0" eaLnBrk="1" latinLnBrk="0" hangingPunct="1">
        <a:defRPr sz="2160" kern="1200">
          <a:solidFill>
            <a:schemeClr val="tx1"/>
          </a:solidFill>
          <a:latin typeface="+mn-lt"/>
          <a:ea typeface="+mn-ea"/>
          <a:cs typeface="+mn-cs"/>
        </a:defRPr>
      </a:lvl5pPr>
      <a:lvl6pPr marL="2743131" algn="l" defTabSz="1097253" rtl="0" eaLnBrk="1" latinLnBrk="0" hangingPunct="1">
        <a:defRPr sz="2160" kern="1200">
          <a:solidFill>
            <a:schemeClr val="tx1"/>
          </a:solidFill>
          <a:latin typeface="+mn-lt"/>
          <a:ea typeface="+mn-ea"/>
          <a:cs typeface="+mn-cs"/>
        </a:defRPr>
      </a:lvl6pPr>
      <a:lvl7pPr marL="3291758" algn="l" defTabSz="1097253" rtl="0" eaLnBrk="1" latinLnBrk="0" hangingPunct="1">
        <a:defRPr sz="2160" kern="1200">
          <a:solidFill>
            <a:schemeClr val="tx1"/>
          </a:solidFill>
          <a:latin typeface="+mn-lt"/>
          <a:ea typeface="+mn-ea"/>
          <a:cs typeface="+mn-cs"/>
        </a:defRPr>
      </a:lvl7pPr>
      <a:lvl8pPr marL="3840384" algn="l" defTabSz="1097253" rtl="0" eaLnBrk="1" latinLnBrk="0" hangingPunct="1">
        <a:defRPr sz="2160" kern="1200">
          <a:solidFill>
            <a:schemeClr val="tx1"/>
          </a:solidFill>
          <a:latin typeface="+mn-lt"/>
          <a:ea typeface="+mn-ea"/>
          <a:cs typeface="+mn-cs"/>
        </a:defRPr>
      </a:lvl8pPr>
      <a:lvl9pPr marL="4389010" algn="l" defTabSz="1097253" rtl="0" eaLnBrk="1" latinLnBrk="0" hangingPunct="1">
        <a:defRPr sz="216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867">
          <p15:clr>
            <a:srgbClr val="F26B43"/>
          </p15:clr>
        </p15:guide>
        <p15:guide id="2" orient="horz" pos="758">
          <p15:clr>
            <a:srgbClr val="F26B43"/>
          </p15:clr>
        </p15:guide>
        <p15:guide id="3" orient="horz" pos="667">
          <p15:clr>
            <a:srgbClr val="F26B43"/>
          </p15:clr>
        </p15:guide>
        <p15:guide id="4" orient="horz" pos="237">
          <p15:clr>
            <a:srgbClr val="F26B43"/>
          </p15:clr>
        </p15:guide>
        <p15:guide id="5" pos="317">
          <p15:clr>
            <a:srgbClr val="F26B43"/>
          </p15:clr>
        </p15:guide>
        <p15:guide id="6" pos="5443">
          <p15:clr>
            <a:srgbClr val="F26B43"/>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37" name="Rectangle 13"/>
          <p:cNvSpPr>
            <a:spLocks noChangeArrowheads="1"/>
          </p:cNvSpPr>
          <p:nvPr/>
        </p:nvSpPr>
        <p:spPr bwMode="auto">
          <a:xfrm>
            <a:off x="239356" y="753420"/>
            <a:ext cx="11618217" cy="1081088"/>
          </a:xfrm>
          <a:prstGeom prst="rect">
            <a:avLst/>
          </a:prstGeom>
          <a:noFill/>
          <a:ln w="9525">
            <a:noFill/>
            <a:miter lim="800000"/>
            <a:headEnd/>
            <a:tailEnd/>
          </a:ln>
          <a:effectLst/>
        </p:spPr>
        <p:txBody>
          <a:bodyPr wrap="none" anchor="ctr"/>
          <a:lstStyle/>
          <a:p>
            <a:endParaRPr lang="de-DE">
              <a:latin typeface="+mn-lt"/>
              <a:cs typeface="Tahoma" pitchFamily="34" charset="0"/>
            </a:endParaRPr>
          </a:p>
        </p:txBody>
      </p:sp>
      <p:sp>
        <p:nvSpPr>
          <p:cNvPr id="1026" name="Rectangle 2"/>
          <p:cNvSpPr>
            <a:spLocks noGrp="1" noChangeArrowheads="1"/>
          </p:cNvSpPr>
          <p:nvPr>
            <p:ph type="title"/>
          </p:nvPr>
        </p:nvSpPr>
        <p:spPr bwMode="auto">
          <a:xfrm>
            <a:off x="672004" y="480000"/>
            <a:ext cx="9120000" cy="480000"/>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p>
            <a:pPr lvl="0"/>
            <a:r>
              <a:rPr lang="de-DE" dirty="0"/>
              <a:t>TITELMASTERFORMAT DURCH KLICKEN</a:t>
            </a:r>
          </a:p>
        </p:txBody>
      </p:sp>
      <p:sp>
        <p:nvSpPr>
          <p:cNvPr id="1027" name="Rectangle 3"/>
          <p:cNvSpPr>
            <a:spLocks noGrp="1" noChangeArrowheads="1"/>
          </p:cNvSpPr>
          <p:nvPr>
            <p:ph type="body" idx="1"/>
          </p:nvPr>
        </p:nvSpPr>
        <p:spPr bwMode="auto">
          <a:xfrm>
            <a:off x="672001" y="2112000"/>
            <a:ext cx="11040000" cy="3936000"/>
          </a:xfrm>
          <a:prstGeom prst="rect">
            <a:avLst/>
          </a:prstGeom>
          <a:noFill/>
          <a:ln w="9525">
            <a:noFill/>
            <a:miter lim="800000"/>
            <a:headEnd/>
            <a:tailEnd/>
          </a:ln>
          <a:effectLst/>
        </p:spPr>
        <p:txBody>
          <a:bodyPr vert="horz" wrap="square" lIns="0" tIns="45720" rIns="0" bIns="45720" numCol="1" anchor="t" anchorCtr="0" compatLnSpc="1">
            <a:prstTxWarp prst="textNoShape">
              <a:avLst/>
            </a:prstTxWarp>
          </a:bodyPr>
          <a:lstStyle/>
          <a:p>
            <a:pPr lvl="0"/>
            <a:r>
              <a:rPr lang="de-DE" dirty="0"/>
              <a:t>Textmasterformate durch Klicken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1" name="Rectangle 8"/>
          <p:cNvSpPr>
            <a:spLocks noChangeArrowheads="1"/>
          </p:cNvSpPr>
          <p:nvPr/>
        </p:nvSpPr>
        <p:spPr bwMode="auto">
          <a:xfrm>
            <a:off x="651937" y="304801"/>
            <a:ext cx="11184000" cy="54000"/>
          </a:xfrm>
          <a:prstGeom prst="rect">
            <a:avLst/>
          </a:prstGeom>
          <a:solidFill>
            <a:schemeClr val="accent1"/>
          </a:solidFill>
          <a:ln w="3175">
            <a:noFill/>
            <a:miter lim="800000"/>
            <a:headEnd/>
            <a:tailEnd/>
          </a:ln>
        </p:spPr>
        <p:txBody>
          <a:bodyPr/>
          <a:lstStyle/>
          <a:p>
            <a:endParaRPr lang="de-DE">
              <a:latin typeface="+mn-lt"/>
              <a:cs typeface="Tahoma" pitchFamily="34" charset="0"/>
            </a:endParaRPr>
          </a:p>
        </p:txBody>
      </p:sp>
      <p:grpSp>
        <p:nvGrpSpPr>
          <p:cNvPr id="3" name="Gruppierung 2"/>
          <p:cNvGrpSpPr/>
          <p:nvPr/>
        </p:nvGrpSpPr>
        <p:grpSpPr>
          <a:xfrm>
            <a:off x="9887088" y="477223"/>
            <a:ext cx="2304912" cy="870205"/>
            <a:chOff x="7415316" y="357917"/>
            <a:chExt cx="1728684" cy="652654"/>
          </a:xfrm>
          <a:solidFill>
            <a:schemeClr val="bg1"/>
          </a:solidFill>
        </p:grpSpPr>
        <p:sp>
          <p:nvSpPr>
            <p:cNvPr id="15" name="Rechteck 14"/>
            <p:cNvSpPr/>
            <p:nvPr/>
          </p:nvSpPr>
          <p:spPr>
            <a:xfrm>
              <a:off x="7415316" y="357917"/>
              <a:ext cx="1728684" cy="65265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6" name="Picture 9" descr="tud_logo"/>
            <p:cNvPicPr>
              <a:picLocks noChangeAspect="1" noChangeArrowheads="1"/>
            </p:cNvPicPr>
            <p:nvPr/>
          </p:nvPicPr>
          <p:blipFill rotWithShape="1">
            <a:blip r:embed="rId11" cstate="print">
              <a:clrChange>
                <a:clrFrom>
                  <a:srgbClr val="FDFDFD"/>
                </a:clrFrom>
                <a:clrTo>
                  <a:srgbClr val="FDFDFD">
                    <a:alpha val="0"/>
                  </a:srgbClr>
                </a:clrTo>
              </a:clrChange>
              <a:extLst>
                <a:ext uri="{28A0092B-C50C-407E-A947-70E740481C1C}">
                  <a14:useLocalDpi xmlns:a14="http://schemas.microsoft.com/office/drawing/2010/main" val="0"/>
                </a:ext>
              </a:extLst>
            </a:blip>
            <a:srcRect l="7733" t="6878" r="5453" b="9546"/>
            <a:stretch/>
          </p:blipFill>
          <p:spPr bwMode="auto">
            <a:xfrm>
              <a:off x="7608875" y="407299"/>
              <a:ext cx="1404584" cy="540631"/>
            </a:xfrm>
            <a:prstGeom prst="rect">
              <a:avLst/>
            </a:prstGeom>
            <a:grpFill/>
            <a:ln w="9525">
              <a:noFill/>
              <a:miter lim="800000"/>
              <a:headEnd/>
              <a:tailEnd/>
            </a:ln>
          </p:spPr>
        </p:pic>
      </p:grpSp>
      <p:pic>
        <p:nvPicPr>
          <p:cNvPr id="13" name="Bild 12"/>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678112" y="6210504"/>
            <a:ext cx="11192933" cy="508000"/>
          </a:xfrm>
          <a:prstGeom prst="rect">
            <a:avLst/>
          </a:prstGeom>
        </p:spPr>
      </p:pic>
      <p:pic>
        <p:nvPicPr>
          <p:cNvPr id="14" name="Grafik 13"/>
          <p:cNvPicPr>
            <a:picLocks noChangeAspect="1"/>
          </p:cNvPicPr>
          <p:nvPr userDrawn="1"/>
        </p:nvPicPr>
        <p:blipFill>
          <a:blip r:embed="rId13" cstate="hqprint">
            <a:extLst>
              <a:ext uri="{28A0092B-C50C-407E-A947-70E740481C1C}">
                <a14:useLocalDpi xmlns:a14="http://schemas.microsoft.com/office/drawing/2010/main" val="0"/>
              </a:ext>
            </a:extLst>
          </a:blip>
          <a:stretch>
            <a:fillRect/>
          </a:stretch>
        </p:blipFill>
        <p:spPr>
          <a:xfrm>
            <a:off x="2220397" y="6344851"/>
            <a:ext cx="596832" cy="442844"/>
          </a:xfrm>
          <a:prstGeom prst="rect">
            <a:avLst/>
          </a:prstGeom>
        </p:spPr>
      </p:pic>
      <p:sp>
        <p:nvSpPr>
          <p:cNvPr id="12" name="Textfeld 11"/>
          <p:cNvSpPr txBox="1"/>
          <p:nvPr userDrawn="1"/>
        </p:nvSpPr>
        <p:spPr>
          <a:xfrm>
            <a:off x="4033095" y="6510697"/>
            <a:ext cx="8160000" cy="246221"/>
          </a:xfrm>
          <a:prstGeom prst="rect">
            <a:avLst/>
          </a:prstGeom>
          <a:noFill/>
        </p:spPr>
        <p:txBody>
          <a:bodyPr wrap="square" rtlCol="0">
            <a:spAutoFit/>
          </a:bodyPr>
          <a:lstStyle/>
          <a:p>
            <a:pPr algn="ctr" fontAlgn="base">
              <a:spcBef>
                <a:spcPct val="0"/>
              </a:spcBef>
              <a:spcAft>
                <a:spcPct val="0"/>
              </a:spcAft>
              <a:defRPr/>
            </a:pPr>
            <a:r>
              <a:rPr lang="de-DE" sz="1000" kern="1200" dirty="0">
                <a:solidFill>
                  <a:schemeClr val="accent3">
                    <a:lumMod val="50000"/>
                  </a:schemeClr>
                </a:solidFill>
                <a:latin typeface="+mn-lt"/>
                <a:ea typeface="+mn-ea"/>
                <a:cs typeface="Replica Std"/>
              </a:rPr>
              <a:t>Maschinendynamik - Prof. Dr.-Ing. Tobias Melz</a:t>
            </a:r>
            <a:r>
              <a:rPr lang="de-DE" sz="1000" kern="1200" baseline="0" dirty="0">
                <a:solidFill>
                  <a:schemeClr val="accent3">
                    <a:lumMod val="50000"/>
                  </a:schemeClr>
                </a:solidFill>
                <a:latin typeface="+mn-lt"/>
                <a:ea typeface="+mn-ea"/>
                <a:cs typeface="Replica Std"/>
              </a:rPr>
              <a:t>          	</a:t>
            </a:r>
            <a:fld id="{8E9B2640-8CD7-45FF-9440-54608BC46479}" type="slidenum">
              <a:rPr lang="de-DE" sz="1000" kern="1200" smtClean="0">
                <a:solidFill>
                  <a:schemeClr val="accent3">
                    <a:lumMod val="50000"/>
                  </a:schemeClr>
                </a:solidFill>
                <a:latin typeface="+mn-lt"/>
                <a:ea typeface="+mn-ea"/>
                <a:cs typeface="Replica Std"/>
              </a:rPr>
              <a:pPr algn="ctr" fontAlgn="base">
                <a:spcBef>
                  <a:spcPct val="0"/>
                </a:spcBef>
                <a:spcAft>
                  <a:spcPct val="0"/>
                </a:spcAft>
                <a:defRPr/>
              </a:pPr>
              <a:t>‹Nr.›</a:t>
            </a:fld>
            <a:endParaRPr lang="de-DE" sz="1000" kern="1200" dirty="0">
              <a:solidFill>
                <a:schemeClr val="accent3">
                  <a:lumMod val="50000"/>
                </a:schemeClr>
              </a:solidFill>
              <a:latin typeface="+mn-lt"/>
              <a:ea typeface="+mn-ea"/>
              <a:cs typeface="Replica Std"/>
            </a:endParaRPr>
          </a:p>
        </p:txBody>
      </p:sp>
    </p:spTree>
    <p:extLst>
      <p:ext uri="{BB962C8B-B14F-4D97-AF65-F5344CB8AC3E}">
        <p14:creationId xmlns:p14="http://schemas.microsoft.com/office/powerpoint/2010/main" val="861668628"/>
      </p:ext>
    </p:extLst>
  </p:cSld>
  <p:clrMap bg1="lt1" tx1="dk1" bg2="lt2" tx2="dk2" accent1="accent1" accent2="accent2" accent3="accent3" accent4="accent4" accent5="accent5" accent6="accent6" hlink="hlink" folHlink="folHlink"/>
  <p:sldLayoutIdLst>
    <p:sldLayoutId id="2147486433" r:id="rId1"/>
    <p:sldLayoutId id="2147486434" r:id="rId2"/>
    <p:sldLayoutId id="2147486435" r:id="rId3"/>
    <p:sldLayoutId id="2147486436" r:id="rId4"/>
    <p:sldLayoutId id="2147486437" r:id="rId5"/>
    <p:sldLayoutId id="2147486438" r:id="rId6"/>
    <p:sldLayoutId id="2147486439" r:id="rId7"/>
    <p:sldLayoutId id="2147486441" r:id="rId8"/>
    <p:sldLayoutId id="2147486442" r:id="rId9"/>
  </p:sldLayoutIdLst>
  <p:hf sldNum="0" hdr="0" ftr="0" dt="0"/>
  <p:txStyles>
    <p:titleStyle>
      <a:lvl1pPr algn="l" rtl="0" eaLnBrk="1" fontAlgn="base" hangingPunct="1">
        <a:spcBef>
          <a:spcPct val="0"/>
        </a:spcBef>
        <a:spcAft>
          <a:spcPct val="0"/>
        </a:spcAft>
        <a:defRPr sz="2800" b="1" i="0">
          <a:solidFill>
            <a:schemeClr val="tx1"/>
          </a:solidFill>
          <a:latin typeface="+mj-lt"/>
          <a:ea typeface="Verdana" charset="0"/>
          <a:cs typeface="Verdana" charset="0"/>
        </a:defRPr>
      </a:lvl1pPr>
      <a:lvl2pPr algn="l" rtl="0" eaLnBrk="1" fontAlgn="base" hangingPunct="1">
        <a:spcBef>
          <a:spcPct val="0"/>
        </a:spcBef>
        <a:spcAft>
          <a:spcPct val="0"/>
        </a:spcAft>
        <a:defRPr sz="2880" b="1">
          <a:solidFill>
            <a:schemeClr val="tx1"/>
          </a:solidFill>
          <a:latin typeface="Arial" charset="0"/>
        </a:defRPr>
      </a:lvl2pPr>
      <a:lvl3pPr algn="l" rtl="0" eaLnBrk="1" fontAlgn="base" hangingPunct="1">
        <a:spcBef>
          <a:spcPct val="0"/>
        </a:spcBef>
        <a:spcAft>
          <a:spcPct val="0"/>
        </a:spcAft>
        <a:defRPr sz="2880" b="1">
          <a:solidFill>
            <a:schemeClr val="tx1"/>
          </a:solidFill>
          <a:latin typeface="Arial" charset="0"/>
        </a:defRPr>
      </a:lvl3pPr>
      <a:lvl4pPr algn="l" rtl="0" eaLnBrk="1" fontAlgn="base" hangingPunct="1">
        <a:spcBef>
          <a:spcPct val="0"/>
        </a:spcBef>
        <a:spcAft>
          <a:spcPct val="0"/>
        </a:spcAft>
        <a:defRPr sz="2880" b="1">
          <a:solidFill>
            <a:schemeClr val="tx1"/>
          </a:solidFill>
          <a:latin typeface="Arial" charset="0"/>
        </a:defRPr>
      </a:lvl4pPr>
      <a:lvl5pPr algn="l" rtl="0" eaLnBrk="1" fontAlgn="base" hangingPunct="1">
        <a:spcBef>
          <a:spcPct val="0"/>
        </a:spcBef>
        <a:spcAft>
          <a:spcPct val="0"/>
        </a:spcAft>
        <a:defRPr sz="2880" b="1">
          <a:solidFill>
            <a:schemeClr val="tx1"/>
          </a:solidFill>
          <a:latin typeface="Arial" charset="0"/>
        </a:defRPr>
      </a:lvl5pPr>
      <a:lvl6pPr marL="548626" algn="l" rtl="0" eaLnBrk="1" fontAlgn="base" hangingPunct="1">
        <a:spcBef>
          <a:spcPct val="0"/>
        </a:spcBef>
        <a:spcAft>
          <a:spcPct val="0"/>
        </a:spcAft>
        <a:defRPr sz="2880" b="1">
          <a:solidFill>
            <a:schemeClr val="tx1"/>
          </a:solidFill>
          <a:latin typeface="Arial" charset="0"/>
        </a:defRPr>
      </a:lvl6pPr>
      <a:lvl7pPr marL="1097253" algn="l" rtl="0" eaLnBrk="1" fontAlgn="base" hangingPunct="1">
        <a:spcBef>
          <a:spcPct val="0"/>
        </a:spcBef>
        <a:spcAft>
          <a:spcPct val="0"/>
        </a:spcAft>
        <a:defRPr sz="2880" b="1">
          <a:solidFill>
            <a:schemeClr val="tx1"/>
          </a:solidFill>
          <a:latin typeface="Arial" charset="0"/>
        </a:defRPr>
      </a:lvl7pPr>
      <a:lvl8pPr marL="1645879" algn="l" rtl="0" eaLnBrk="1" fontAlgn="base" hangingPunct="1">
        <a:spcBef>
          <a:spcPct val="0"/>
        </a:spcBef>
        <a:spcAft>
          <a:spcPct val="0"/>
        </a:spcAft>
        <a:defRPr sz="2880" b="1">
          <a:solidFill>
            <a:schemeClr val="tx1"/>
          </a:solidFill>
          <a:latin typeface="Arial" charset="0"/>
        </a:defRPr>
      </a:lvl8pPr>
      <a:lvl9pPr marL="2194505" algn="l" rtl="0" eaLnBrk="1" fontAlgn="base" hangingPunct="1">
        <a:spcBef>
          <a:spcPct val="0"/>
        </a:spcBef>
        <a:spcAft>
          <a:spcPct val="0"/>
        </a:spcAft>
        <a:defRPr sz="2880" b="1">
          <a:solidFill>
            <a:schemeClr val="tx1"/>
          </a:solidFill>
          <a:latin typeface="Arial" charset="0"/>
        </a:defRPr>
      </a:lvl9pPr>
    </p:titleStyle>
    <p:bodyStyle>
      <a:lvl1pPr marL="215261" indent="-215261" algn="l" rtl="0" eaLnBrk="1" fontAlgn="base" hangingPunct="1">
        <a:lnSpc>
          <a:spcPct val="100000"/>
        </a:lnSpc>
        <a:spcBef>
          <a:spcPts val="240"/>
        </a:spcBef>
        <a:spcAft>
          <a:spcPts val="276"/>
        </a:spcAft>
        <a:buFont typeface="Wingdings" pitchFamily="2" charset="2"/>
        <a:buNone/>
        <a:defRPr sz="2000" b="0" i="0">
          <a:solidFill>
            <a:schemeClr val="tx1"/>
          </a:solidFill>
          <a:latin typeface="+mn-lt"/>
          <a:ea typeface="Verdana" charset="0"/>
          <a:cs typeface="Verdana" charset="0"/>
        </a:defRPr>
      </a:lvl1pPr>
      <a:lvl2pPr marL="215261" indent="-213355" algn="l" rtl="0" eaLnBrk="1" fontAlgn="base" hangingPunct="1">
        <a:lnSpc>
          <a:spcPct val="100000"/>
        </a:lnSpc>
        <a:spcBef>
          <a:spcPts val="240"/>
        </a:spcBef>
        <a:spcAft>
          <a:spcPts val="276"/>
        </a:spcAft>
        <a:buFont typeface="Wingdings" pitchFamily="2" charset="2"/>
        <a:buChar char="§"/>
        <a:defRPr sz="2000" b="0" i="0">
          <a:solidFill>
            <a:schemeClr val="tx1"/>
          </a:solidFill>
          <a:latin typeface="+mn-lt"/>
          <a:ea typeface="Verdana" charset="0"/>
          <a:cs typeface="Verdana" charset="0"/>
        </a:defRPr>
      </a:lvl2pPr>
      <a:lvl3pPr marL="645780" indent="-224785" algn="l" rtl="0" eaLnBrk="1" fontAlgn="base" hangingPunct="1">
        <a:lnSpc>
          <a:spcPct val="100000"/>
        </a:lnSpc>
        <a:spcBef>
          <a:spcPts val="240"/>
        </a:spcBef>
        <a:spcAft>
          <a:spcPts val="276"/>
        </a:spcAft>
        <a:buFont typeface="Wingdings" pitchFamily="2" charset="2"/>
        <a:buChar char="§"/>
        <a:defRPr sz="1867" b="0" i="0">
          <a:solidFill>
            <a:schemeClr val="tx1"/>
          </a:solidFill>
          <a:latin typeface="+mn-lt"/>
          <a:ea typeface="Verdana" charset="0"/>
          <a:cs typeface="Verdana" charset="0"/>
        </a:defRPr>
      </a:lvl3pPr>
      <a:lvl4pPr marL="861038" indent="-207641" algn="l" rtl="0" eaLnBrk="1" fontAlgn="base" hangingPunct="1">
        <a:lnSpc>
          <a:spcPct val="100000"/>
        </a:lnSpc>
        <a:spcBef>
          <a:spcPts val="240"/>
        </a:spcBef>
        <a:spcAft>
          <a:spcPts val="276"/>
        </a:spcAft>
        <a:buFont typeface="Wingdings" pitchFamily="2" charset="2"/>
        <a:buChar char="§"/>
        <a:defRPr sz="1733" b="0" i="0">
          <a:solidFill>
            <a:schemeClr val="tx1"/>
          </a:solidFill>
          <a:latin typeface="+mn-lt"/>
          <a:ea typeface="Verdana" charset="0"/>
          <a:cs typeface="Verdana" charset="0"/>
        </a:defRPr>
      </a:lvl4pPr>
      <a:lvl5pPr marL="1089633" indent="-226690" algn="l" rtl="0" eaLnBrk="1" fontAlgn="base" hangingPunct="1">
        <a:lnSpc>
          <a:spcPct val="100000"/>
        </a:lnSpc>
        <a:spcBef>
          <a:spcPts val="240"/>
        </a:spcBef>
        <a:spcAft>
          <a:spcPts val="276"/>
        </a:spcAft>
        <a:buFont typeface="Wingdings" pitchFamily="2" charset="2"/>
        <a:buChar char="§"/>
        <a:defRPr sz="1600" b="0" i="0">
          <a:solidFill>
            <a:schemeClr val="tx1"/>
          </a:solidFill>
          <a:latin typeface="+mn-lt"/>
          <a:ea typeface="Verdana" charset="0"/>
          <a:cs typeface="Verdana" charset="0"/>
        </a:defRPr>
      </a:lvl5pPr>
      <a:lvl6pPr marL="1638259" indent="-226690" algn="l" rtl="0" eaLnBrk="1" fontAlgn="base" hangingPunct="1">
        <a:spcBef>
          <a:spcPct val="20000"/>
        </a:spcBef>
        <a:spcAft>
          <a:spcPct val="0"/>
        </a:spcAft>
        <a:buFont typeface="Wingdings" pitchFamily="2" charset="2"/>
        <a:buChar char="§"/>
        <a:defRPr sz="1920">
          <a:solidFill>
            <a:schemeClr val="tx1"/>
          </a:solidFill>
          <a:latin typeface="+mn-lt"/>
        </a:defRPr>
      </a:lvl6pPr>
      <a:lvl7pPr marL="2186885" indent="-226690" algn="l" rtl="0" eaLnBrk="1" fontAlgn="base" hangingPunct="1">
        <a:spcBef>
          <a:spcPct val="20000"/>
        </a:spcBef>
        <a:spcAft>
          <a:spcPct val="0"/>
        </a:spcAft>
        <a:buFont typeface="Wingdings" pitchFamily="2" charset="2"/>
        <a:buChar char="§"/>
        <a:defRPr sz="1920">
          <a:solidFill>
            <a:schemeClr val="tx1"/>
          </a:solidFill>
          <a:latin typeface="+mn-lt"/>
        </a:defRPr>
      </a:lvl7pPr>
      <a:lvl8pPr marL="2735512" indent="-226690" algn="l" rtl="0" eaLnBrk="1" fontAlgn="base" hangingPunct="1">
        <a:spcBef>
          <a:spcPct val="20000"/>
        </a:spcBef>
        <a:spcAft>
          <a:spcPct val="0"/>
        </a:spcAft>
        <a:buFont typeface="Wingdings" pitchFamily="2" charset="2"/>
        <a:buChar char="§"/>
        <a:defRPr sz="1920">
          <a:solidFill>
            <a:schemeClr val="tx1"/>
          </a:solidFill>
          <a:latin typeface="+mn-lt"/>
        </a:defRPr>
      </a:lvl8pPr>
      <a:lvl9pPr marL="3284138" indent="-226690" algn="l" rtl="0" eaLnBrk="1" fontAlgn="base" hangingPunct="1">
        <a:spcBef>
          <a:spcPct val="20000"/>
        </a:spcBef>
        <a:spcAft>
          <a:spcPct val="0"/>
        </a:spcAft>
        <a:buFont typeface="Wingdings" pitchFamily="2" charset="2"/>
        <a:buChar char="§"/>
        <a:defRPr sz="1920">
          <a:solidFill>
            <a:schemeClr val="tx1"/>
          </a:solidFill>
          <a:latin typeface="+mn-lt"/>
        </a:defRPr>
      </a:lvl9pPr>
    </p:bodyStyle>
    <p:otherStyle>
      <a:defPPr>
        <a:defRPr lang="de-DE"/>
      </a:defPPr>
      <a:lvl1pPr marL="0" algn="l" defTabSz="1097253" rtl="0" eaLnBrk="1" latinLnBrk="0" hangingPunct="1">
        <a:defRPr sz="2160" kern="1200">
          <a:solidFill>
            <a:schemeClr val="tx1"/>
          </a:solidFill>
          <a:latin typeface="+mn-lt"/>
          <a:ea typeface="+mn-ea"/>
          <a:cs typeface="+mn-cs"/>
        </a:defRPr>
      </a:lvl1pPr>
      <a:lvl2pPr marL="548626" algn="l" defTabSz="1097253" rtl="0" eaLnBrk="1" latinLnBrk="0" hangingPunct="1">
        <a:defRPr sz="2160" kern="1200">
          <a:solidFill>
            <a:schemeClr val="tx1"/>
          </a:solidFill>
          <a:latin typeface="+mn-lt"/>
          <a:ea typeface="+mn-ea"/>
          <a:cs typeface="+mn-cs"/>
        </a:defRPr>
      </a:lvl2pPr>
      <a:lvl3pPr marL="1097253" algn="l" defTabSz="1097253" rtl="0" eaLnBrk="1" latinLnBrk="0" hangingPunct="1">
        <a:defRPr sz="2160" kern="1200">
          <a:solidFill>
            <a:schemeClr val="tx1"/>
          </a:solidFill>
          <a:latin typeface="+mn-lt"/>
          <a:ea typeface="+mn-ea"/>
          <a:cs typeface="+mn-cs"/>
        </a:defRPr>
      </a:lvl3pPr>
      <a:lvl4pPr marL="1645879" algn="l" defTabSz="1097253" rtl="0" eaLnBrk="1" latinLnBrk="0" hangingPunct="1">
        <a:defRPr sz="2160" kern="1200">
          <a:solidFill>
            <a:schemeClr val="tx1"/>
          </a:solidFill>
          <a:latin typeface="+mn-lt"/>
          <a:ea typeface="+mn-ea"/>
          <a:cs typeface="+mn-cs"/>
        </a:defRPr>
      </a:lvl4pPr>
      <a:lvl5pPr marL="2194505" algn="l" defTabSz="1097253" rtl="0" eaLnBrk="1" latinLnBrk="0" hangingPunct="1">
        <a:defRPr sz="2160" kern="1200">
          <a:solidFill>
            <a:schemeClr val="tx1"/>
          </a:solidFill>
          <a:latin typeface="+mn-lt"/>
          <a:ea typeface="+mn-ea"/>
          <a:cs typeface="+mn-cs"/>
        </a:defRPr>
      </a:lvl5pPr>
      <a:lvl6pPr marL="2743131" algn="l" defTabSz="1097253" rtl="0" eaLnBrk="1" latinLnBrk="0" hangingPunct="1">
        <a:defRPr sz="2160" kern="1200">
          <a:solidFill>
            <a:schemeClr val="tx1"/>
          </a:solidFill>
          <a:latin typeface="+mn-lt"/>
          <a:ea typeface="+mn-ea"/>
          <a:cs typeface="+mn-cs"/>
        </a:defRPr>
      </a:lvl6pPr>
      <a:lvl7pPr marL="3291758" algn="l" defTabSz="1097253" rtl="0" eaLnBrk="1" latinLnBrk="0" hangingPunct="1">
        <a:defRPr sz="2160" kern="1200">
          <a:solidFill>
            <a:schemeClr val="tx1"/>
          </a:solidFill>
          <a:latin typeface="+mn-lt"/>
          <a:ea typeface="+mn-ea"/>
          <a:cs typeface="+mn-cs"/>
        </a:defRPr>
      </a:lvl7pPr>
      <a:lvl8pPr marL="3840384" algn="l" defTabSz="1097253" rtl="0" eaLnBrk="1" latinLnBrk="0" hangingPunct="1">
        <a:defRPr sz="2160" kern="1200">
          <a:solidFill>
            <a:schemeClr val="tx1"/>
          </a:solidFill>
          <a:latin typeface="+mn-lt"/>
          <a:ea typeface="+mn-ea"/>
          <a:cs typeface="+mn-cs"/>
        </a:defRPr>
      </a:lvl8pPr>
      <a:lvl9pPr marL="4389010" algn="l" defTabSz="1097253" rtl="0" eaLnBrk="1" latinLnBrk="0" hangingPunct="1">
        <a:defRPr sz="216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867">
          <p15:clr>
            <a:srgbClr val="F26B43"/>
          </p15:clr>
        </p15:guide>
        <p15:guide id="2" orient="horz" pos="758">
          <p15:clr>
            <a:srgbClr val="F26B43"/>
          </p15:clr>
        </p15:guide>
        <p15:guide id="3" orient="horz" pos="667">
          <p15:clr>
            <a:srgbClr val="F26B43"/>
          </p15:clr>
        </p15:guide>
        <p15:guide id="4" orient="horz" pos="237">
          <p15:clr>
            <a:srgbClr val="F26B43"/>
          </p15:clr>
        </p15:guide>
        <p15:guide id="5" pos="317">
          <p15:clr>
            <a:srgbClr val="F26B43"/>
          </p15:clr>
        </p15:guide>
        <p15:guide id="6" pos="5443">
          <p15:clr>
            <a:srgbClr val="F26B43"/>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1036">
            <a:extLst>
              <a:ext uri="{FF2B5EF4-FFF2-40B4-BE49-F238E27FC236}">
                <a16:creationId xmlns:a16="http://schemas.microsoft.com/office/drawing/2014/main" id="{BA368AE8-E8BB-48DA-F49E-ED42FF560BFA}"/>
              </a:ext>
            </a:extLst>
          </p:cNvPr>
          <p:cNvSpPr>
            <a:spLocks noGrp="1" noChangeArrowheads="1"/>
          </p:cNvSpPr>
          <p:nvPr>
            <p:ph type="title"/>
          </p:nvPr>
        </p:nvSpPr>
        <p:spPr bwMode="auto">
          <a:xfrm>
            <a:off x="652463" y="34925"/>
            <a:ext cx="8877300" cy="8207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bodyPr>
          <a:lstStyle/>
          <a:p>
            <a:pPr lvl="0"/>
            <a:r>
              <a:rPr lang="en-GB" altLang="de-DE"/>
              <a:t>Click here to change title</a:t>
            </a:r>
          </a:p>
        </p:txBody>
      </p:sp>
      <p:sp>
        <p:nvSpPr>
          <p:cNvPr id="1027" name="Rectangle 1037">
            <a:extLst>
              <a:ext uri="{FF2B5EF4-FFF2-40B4-BE49-F238E27FC236}">
                <a16:creationId xmlns:a16="http://schemas.microsoft.com/office/drawing/2014/main" id="{E7612A9C-6BC6-3CBB-8FF0-1853632981BE}"/>
              </a:ext>
            </a:extLst>
          </p:cNvPr>
          <p:cNvSpPr>
            <a:spLocks noGrp="1" noChangeArrowheads="1"/>
          </p:cNvSpPr>
          <p:nvPr>
            <p:ph type="body" idx="1"/>
          </p:nvPr>
        </p:nvSpPr>
        <p:spPr bwMode="auto">
          <a:xfrm>
            <a:off x="658813" y="1144588"/>
            <a:ext cx="10864850" cy="51419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GB" altLang="de-DE"/>
              <a:t>First level</a:t>
            </a:r>
          </a:p>
          <a:p>
            <a:pPr lvl="1"/>
            <a:r>
              <a:rPr lang="en-GB" altLang="de-DE"/>
              <a:t>Second level</a:t>
            </a:r>
          </a:p>
          <a:p>
            <a:pPr lvl="2"/>
            <a:r>
              <a:rPr lang="en-GB" altLang="de-DE"/>
              <a:t>Third level</a:t>
            </a:r>
          </a:p>
          <a:p>
            <a:pPr lvl="3"/>
            <a:r>
              <a:rPr lang="en-GB" altLang="de-DE"/>
              <a:t>Fourth level</a:t>
            </a:r>
          </a:p>
          <a:p>
            <a:pPr lvl="4"/>
            <a:r>
              <a:rPr lang="en-GB" altLang="de-DE"/>
              <a:t>Fifth level</a:t>
            </a:r>
          </a:p>
        </p:txBody>
      </p:sp>
      <p:sp>
        <p:nvSpPr>
          <p:cNvPr id="1028" name="Line 1038">
            <a:extLst>
              <a:ext uri="{FF2B5EF4-FFF2-40B4-BE49-F238E27FC236}">
                <a16:creationId xmlns:a16="http://schemas.microsoft.com/office/drawing/2014/main" id="{13E2A7F9-C8F2-F8FB-D230-789D24284918}"/>
              </a:ext>
            </a:extLst>
          </p:cNvPr>
          <p:cNvSpPr>
            <a:spLocks noChangeShapeType="1"/>
          </p:cNvSpPr>
          <p:nvPr userDrawn="1"/>
        </p:nvSpPr>
        <p:spPr bwMode="auto">
          <a:xfrm>
            <a:off x="465138" y="950913"/>
            <a:ext cx="11263312" cy="0"/>
          </a:xfrm>
          <a:prstGeom prst="line">
            <a:avLst/>
          </a:prstGeom>
          <a:noFill/>
          <a:ln w="12700">
            <a:solidFill>
              <a:srgbClr val="5F5F5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Tree>
    <p:extLst>
      <p:ext uri="{BB962C8B-B14F-4D97-AF65-F5344CB8AC3E}">
        <p14:creationId xmlns:p14="http://schemas.microsoft.com/office/powerpoint/2010/main" val="128429205"/>
      </p:ext>
    </p:extLst>
  </p:cSld>
  <p:clrMap bg1="lt1" tx1="dk1" bg2="lt2" tx2="dk2" accent1="accent1" accent2="accent2" accent3="accent3" accent4="accent4" accent5="accent5" accent6="accent6" hlink="hlink" folHlink="folHlink"/>
  <p:sldLayoutIdLst>
    <p:sldLayoutId id="2147486444" r:id="rId1"/>
    <p:sldLayoutId id="2147486445" r:id="rId2"/>
    <p:sldLayoutId id="2147486446" r:id="rId3"/>
    <p:sldLayoutId id="2147486447" r:id="rId4"/>
    <p:sldLayoutId id="2147486448" r:id="rId5"/>
  </p:sldLayoutIdLst>
  <p:hf sldNum="0" hdr="0" dt="0"/>
  <p:txStyles>
    <p:titleStyle>
      <a:lvl1pPr algn="l" rtl="0" eaLnBrk="0" fontAlgn="base" hangingPunct="0">
        <a:spcBef>
          <a:spcPct val="0"/>
        </a:spcBef>
        <a:spcAft>
          <a:spcPct val="0"/>
        </a:spcAft>
        <a:defRPr sz="2000" b="1">
          <a:solidFill>
            <a:schemeClr val="tx1"/>
          </a:solidFill>
          <a:latin typeface="+mj-lt"/>
          <a:ea typeface="+mj-ea"/>
          <a:cs typeface="+mj-cs"/>
        </a:defRPr>
      </a:lvl1pPr>
      <a:lvl2pPr algn="l" rtl="0" eaLnBrk="0" fontAlgn="base" hangingPunct="0">
        <a:spcBef>
          <a:spcPct val="0"/>
        </a:spcBef>
        <a:spcAft>
          <a:spcPct val="0"/>
        </a:spcAft>
        <a:defRPr sz="2000" b="1">
          <a:solidFill>
            <a:schemeClr val="tx1"/>
          </a:solidFill>
          <a:latin typeface="Arial" charset="0"/>
        </a:defRPr>
      </a:lvl2pPr>
      <a:lvl3pPr algn="l" rtl="0" eaLnBrk="0" fontAlgn="base" hangingPunct="0">
        <a:spcBef>
          <a:spcPct val="0"/>
        </a:spcBef>
        <a:spcAft>
          <a:spcPct val="0"/>
        </a:spcAft>
        <a:defRPr sz="2000" b="1">
          <a:solidFill>
            <a:schemeClr val="tx1"/>
          </a:solidFill>
          <a:latin typeface="Arial" charset="0"/>
        </a:defRPr>
      </a:lvl3pPr>
      <a:lvl4pPr algn="l" rtl="0" eaLnBrk="0" fontAlgn="base" hangingPunct="0">
        <a:spcBef>
          <a:spcPct val="0"/>
        </a:spcBef>
        <a:spcAft>
          <a:spcPct val="0"/>
        </a:spcAft>
        <a:defRPr sz="2000" b="1">
          <a:solidFill>
            <a:schemeClr val="tx1"/>
          </a:solidFill>
          <a:latin typeface="Arial" charset="0"/>
        </a:defRPr>
      </a:lvl4pPr>
      <a:lvl5pPr algn="l" rtl="0" eaLnBrk="0" fontAlgn="base" hangingPunct="0">
        <a:spcBef>
          <a:spcPct val="0"/>
        </a:spcBef>
        <a:spcAft>
          <a:spcPct val="0"/>
        </a:spcAft>
        <a:defRPr sz="2000" b="1">
          <a:solidFill>
            <a:schemeClr val="tx1"/>
          </a:solidFill>
          <a:latin typeface="Arial" charset="0"/>
        </a:defRPr>
      </a:lvl5pPr>
      <a:lvl6pPr marL="457200" algn="l" rtl="0" eaLnBrk="1" fontAlgn="base" hangingPunct="1">
        <a:spcBef>
          <a:spcPct val="0"/>
        </a:spcBef>
        <a:spcAft>
          <a:spcPct val="0"/>
        </a:spcAft>
        <a:defRPr sz="2400" b="1">
          <a:solidFill>
            <a:schemeClr val="tx1"/>
          </a:solidFill>
          <a:latin typeface="Arial" charset="0"/>
        </a:defRPr>
      </a:lvl6pPr>
      <a:lvl7pPr marL="914400" algn="l" rtl="0" eaLnBrk="1" fontAlgn="base" hangingPunct="1">
        <a:spcBef>
          <a:spcPct val="0"/>
        </a:spcBef>
        <a:spcAft>
          <a:spcPct val="0"/>
        </a:spcAft>
        <a:defRPr sz="2400" b="1">
          <a:solidFill>
            <a:schemeClr val="tx1"/>
          </a:solidFill>
          <a:latin typeface="Arial" charset="0"/>
        </a:defRPr>
      </a:lvl7pPr>
      <a:lvl8pPr marL="1371600" algn="l" rtl="0" eaLnBrk="1" fontAlgn="base" hangingPunct="1">
        <a:spcBef>
          <a:spcPct val="0"/>
        </a:spcBef>
        <a:spcAft>
          <a:spcPct val="0"/>
        </a:spcAft>
        <a:defRPr sz="2400" b="1">
          <a:solidFill>
            <a:schemeClr val="tx1"/>
          </a:solidFill>
          <a:latin typeface="Arial" charset="0"/>
        </a:defRPr>
      </a:lvl8pPr>
      <a:lvl9pPr marL="1828800" algn="l" rtl="0" eaLnBrk="1" fontAlgn="base" hangingPunct="1">
        <a:spcBef>
          <a:spcPct val="0"/>
        </a:spcBef>
        <a:spcAft>
          <a:spcPct val="0"/>
        </a:spcAft>
        <a:defRPr sz="2400" b="1">
          <a:solidFill>
            <a:schemeClr val="tx1"/>
          </a:solidFill>
          <a:latin typeface="Arial" charset="0"/>
        </a:defRPr>
      </a:lvl9pPr>
    </p:titleStyle>
    <p:bodyStyle>
      <a:lvl1pPr marL="179388" indent="-179388" algn="l" rtl="0" eaLnBrk="0" fontAlgn="base" hangingPunct="0">
        <a:spcBef>
          <a:spcPct val="20000"/>
        </a:spcBef>
        <a:spcAft>
          <a:spcPct val="0"/>
        </a:spcAft>
        <a:buFont typeface="Wingdings" panose="05000000000000000000" pitchFamily="2" charset="2"/>
        <a:buChar char="§"/>
        <a:defRPr sz="2000">
          <a:solidFill>
            <a:schemeClr val="tx1"/>
          </a:solidFill>
          <a:latin typeface="+mn-lt"/>
          <a:ea typeface="+mn-ea"/>
          <a:cs typeface="+mn-cs"/>
        </a:defRPr>
      </a:lvl1pPr>
      <a:lvl2pPr marL="349250" indent="-168275" algn="l" rtl="0" eaLnBrk="0" fontAlgn="base" hangingPunct="0">
        <a:spcBef>
          <a:spcPct val="20000"/>
        </a:spcBef>
        <a:spcAft>
          <a:spcPct val="0"/>
        </a:spcAft>
        <a:buFont typeface="Wingdings" panose="05000000000000000000" pitchFamily="2" charset="2"/>
        <a:buChar char="§"/>
        <a:defRPr>
          <a:solidFill>
            <a:schemeClr val="tx1"/>
          </a:solidFill>
          <a:latin typeface="+mn-lt"/>
        </a:defRPr>
      </a:lvl2pPr>
      <a:lvl3pPr marL="538163" indent="-187325" algn="l" rtl="0" eaLnBrk="0" fontAlgn="base" hangingPunct="0">
        <a:spcBef>
          <a:spcPct val="20000"/>
        </a:spcBef>
        <a:spcAft>
          <a:spcPct val="0"/>
        </a:spcAft>
        <a:buFont typeface="Wingdings" panose="05000000000000000000" pitchFamily="2" charset="2"/>
        <a:buChar char="§"/>
        <a:defRPr>
          <a:solidFill>
            <a:schemeClr val="tx1"/>
          </a:solidFill>
          <a:latin typeface="+mn-lt"/>
        </a:defRPr>
      </a:lvl3pPr>
      <a:lvl4pPr marL="717550" indent="-173038" algn="l" rtl="0" eaLnBrk="0" fontAlgn="base" hangingPunct="0">
        <a:spcBef>
          <a:spcPct val="20000"/>
        </a:spcBef>
        <a:spcAft>
          <a:spcPct val="0"/>
        </a:spcAft>
        <a:buFont typeface="Wingdings" panose="05000000000000000000" pitchFamily="2" charset="2"/>
        <a:buChar char="§"/>
        <a:defRPr sz="1600">
          <a:solidFill>
            <a:schemeClr val="tx1"/>
          </a:solidFill>
          <a:latin typeface="+mn-lt"/>
        </a:defRPr>
      </a:lvl4pPr>
      <a:lvl5pPr marL="908050" indent="-188913" algn="l" rtl="0" eaLnBrk="0" fontAlgn="base" hangingPunct="0">
        <a:spcBef>
          <a:spcPct val="20000"/>
        </a:spcBef>
        <a:spcAft>
          <a:spcPct val="0"/>
        </a:spcAft>
        <a:buFont typeface="Wingdings" panose="05000000000000000000" pitchFamily="2" charset="2"/>
        <a:buChar char="§"/>
        <a:defRPr sz="1600">
          <a:solidFill>
            <a:schemeClr val="tx1"/>
          </a:solidFill>
          <a:latin typeface="+mn-lt"/>
        </a:defRPr>
      </a:lvl5pPr>
      <a:lvl6pPr marL="1365250" indent="-188913" algn="l" rtl="0" eaLnBrk="1" fontAlgn="base" hangingPunct="1">
        <a:spcBef>
          <a:spcPct val="20000"/>
        </a:spcBef>
        <a:spcAft>
          <a:spcPct val="0"/>
        </a:spcAft>
        <a:buFont typeface="Wingdings" pitchFamily="2" charset="2"/>
        <a:buChar char="§"/>
        <a:defRPr sz="1600">
          <a:solidFill>
            <a:schemeClr val="tx1"/>
          </a:solidFill>
          <a:latin typeface="+mn-lt"/>
        </a:defRPr>
      </a:lvl6pPr>
      <a:lvl7pPr marL="1822450" indent="-188913" algn="l" rtl="0" eaLnBrk="1" fontAlgn="base" hangingPunct="1">
        <a:spcBef>
          <a:spcPct val="20000"/>
        </a:spcBef>
        <a:spcAft>
          <a:spcPct val="0"/>
        </a:spcAft>
        <a:buFont typeface="Wingdings" pitchFamily="2" charset="2"/>
        <a:buChar char="§"/>
        <a:defRPr sz="1600">
          <a:solidFill>
            <a:schemeClr val="tx1"/>
          </a:solidFill>
          <a:latin typeface="+mn-lt"/>
        </a:defRPr>
      </a:lvl7pPr>
      <a:lvl8pPr marL="2279650" indent="-188913" algn="l" rtl="0" eaLnBrk="1" fontAlgn="base" hangingPunct="1">
        <a:spcBef>
          <a:spcPct val="20000"/>
        </a:spcBef>
        <a:spcAft>
          <a:spcPct val="0"/>
        </a:spcAft>
        <a:buFont typeface="Wingdings" pitchFamily="2" charset="2"/>
        <a:buChar char="§"/>
        <a:defRPr sz="1600">
          <a:solidFill>
            <a:schemeClr val="tx1"/>
          </a:solidFill>
          <a:latin typeface="+mn-lt"/>
        </a:defRPr>
      </a:lvl8pPr>
      <a:lvl9pPr marL="2736850" indent="-188913" algn="l" rtl="0" eaLnBrk="1" fontAlgn="base" hangingPunct="1">
        <a:spcBef>
          <a:spcPct val="20000"/>
        </a:spcBef>
        <a:spcAft>
          <a:spcPct val="0"/>
        </a:spcAft>
        <a:buFont typeface="Wingdings" pitchFamily="2" charset="2"/>
        <a:buChar char="§"/>
        <a:defRPr sz="1600">
          <a:solidFill>
            <a:schemeClr val="tx1"/>
          </a:solidFill>
          <a:latin typeface="+mn-lt"/>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1036">
            <a:extLst>
              <a:ext uri="{FF2B5EF4-FFF2-40B4-BE49-F238E27FC236}">
                <a16:creationId xmlns:a16="http://schemas.microsoft.com/office/drawing/2014/main" id="{5377B19C-A86D-2AE6-7203-9F3E3C39C9C2}"/>
              </a:ext>
            </a:extLst>
          </p:cNvPr>
          <p:cNvSpPr>
            <a:spLocks noGrp="1" noChangeArrowheads="1"/>
          </p:cNvSpPr>
          <p:nvPr>
            <p:ph type="title"/>
          </p:nvPr>
        </p:nvSpPr>
        <p:spPr bwMode="auto">
          <a:xfrm>
            <a:off x="651934" y="34925"/>
            <a:ext cx="8877300" cy="8207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bodyPr>
          <a:lstStyle/>
          <a:p>
            <a:pPr lvl="0"/>
            <a:r>
              <a:rPr lang="en-GB" altLang="de-DE"/>
              <a:t>Click here to change title</a:t>
            </a:r>
          </a:p>
        </p:txBody>
      </p:sp>
      <p:sp>
        <p:nvSpPr>
          <p:cNvPr id="1027" name="Rectangle 1037">
            <a:extLst>
              <a:ext uri="{FF2B5EF4-FFF2-40B4-BE49-F238E27FC236}">
                <a16:creationId xmlns:a16="http://schemas.microsoft.com/office/drawing/2014/main" id="{91588F8D-337C-0F94-0057-11BF168F6C9A}"/>
              </a:ext>
            </a:extLst>
          </p:cNvPr>
          <p:cNvSpPr>
            <a:spLocks noGrp="1" noChangeArrowheads="1"/>
          </p:cNvSpPr>
          <p:nvPr>
            <p:ph type="body" idx="1"/>
          </p:nvPr>
        </p:nvSpPr>
        <p:spPr bwMode="auto">
          <a:xfrm>
            <a:off x="658285" y="1144588"/>
            <a:ext cx="10864849" cy="51419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GB" altLang="de-DE"/>
              <a:t>First level</a:t>
            </a:r>
          </a:p>
          <a:p>
            <a:pPr lvl="1"/>
            <a:r>
              <a:rPr lang="en-GB" altLang="de-DE"/>
              <a:t>Second level</a:t>
            </a:r>
          </a:p>
          <a:p>
            <a:pPr lvl="2"/>
            <a:r>
              <a:rPr lang="en-GB" altLang="de-DE"/>
              <a:t>Third level</a:t>
            </a:r>
          </a:p>
          <a:p>
            <a:pPr lvl="3"/>
            <a:r>
              <a:rPr lang="en-GB" altLang="de-DE"/>
              <a:t>Fourth level</a:t>
            </a:r>
          </a:p>
          <a:p>
            <a:pPr lvl="4"/>
            <a:r>
              <a:rPr lang="en-GB" altLang="de-DE"/>
              <a:t>Fifth level</a:t>
            </a:r>
          </a:p>
        </p:txBody>
      </p:sp>
    </p:spTree>
    <p:extLst>
      <p:ext uri="{BB962C8B-B14F-4D97-AF65-F5344CB8AC3E}">
        <p14:creationId xmlns:p14="http://schemas.microsoft.com/office/powerpoint/2010/main" val="387543173"/>
      </p:ext>
    </p:extLst>
  </p:cSld>
  <p:clrMap bg1="lt1" tx1="dk1" bg2="lt2" tx2="dk2" accent1="accent1" accent2="accent2" accent3="accent3" accent4="accent4" accent5="accent5" accent6="accent6" hlink="hlink" folHlink="folHlink"/>
  <p:sldLayoutIdLst>
    <p:sldLayoutId id="2147486450" r:id="rId1"/>
    <p:sldLayoutId id="2147486451" r:id="rId2"/>
    <p:sldLayoutId id="2147486452" r:id="rId3"/>
    <p:sldLayoutId id="2147486453" r:id="rId4"/>
  </p:sldLayoutIdLst>
  <p:hf sldNum="0" hdr="0" dt="0"/>
  <p:txStyles>
    <p:titleStyle>
      <a:lvl1pPr algn="l" rtl="0" eaLnBrk="0" fontAlgn="base" hangingPunct="0">
        <a:spcBef>
          <a:spcPct val="0"/>
        </a:spcBef>
        <a:spcAft>
          <a:spcPct val="0"/>
        </a:spcAft>
        <a:defRPr sz="2000" b="1">
          <a:solidFill>
            <a:schemeClr val="tx1"/>
          </a:solidFill>
          <a:latin typeface="+mj-lt"/>
          <a:ea typeface="+mj-ea"/>
          <a:cs typeface="+mj-cs"/>
        </a:defRPr>
      </a:lvl1pPr>
      <a:lvl2pPr algn="l" rtl="0" eaLnBrk="0" fontAlgn="base" hangingPunct="0">
        <a:spcBef>
          <a:spcPct val="0"/>
        </a:spcBef>
        <a:spcAft>
          <a:spcPct val="0"/>
        </a:spcAft>
        <a:defRPr sz="2000" b="1">
          <a:solidFill>
            <a:schemeClr val="tx1"/>
          </a:solidFill>
          <a:latin typeface="Arial" charset="0"/>
        </a:defRPr>
      </a:lvl2pPr>
      <a:lvl3pPr algn="l" rtl="0" eaLnBrk="0" fontAlgn="base" hangingPunct="0">
        <a:spcBef>
          <a:spcPct val="0"/>
        </a:spcBef>
        <a:spcAft>
          <a:spcPct val="0"/>
        </a:spcAft>
        <a:defRPr sz="2000" b="1">
          <a:solidFill>
            <a:schemeClr val="tx1"/>
          </a:solidFill>
          <a:latin typeface="Arial" charset="0"/>
        </a:defRPr>
      </a:lvl3pPr>
      <a:lvl4pPr algn="l" rtl="0" eaLnBrk="0" fontAlgn="base" hangingPunct="0">
        <a:spcBef>
          <a:spcPct val="0"/>
        </a:spcBef>
        <a:spcAft>
          <a:spcPct val="0"/>
        </a:spcAft>
        <a:defRPr sz="2000" b="1">
          <a:solidFill>
            <a:schemeClr val="tx1"/>
          </a:solidFill>
          <a:latin typeface="Arial" charset="0"/>
        </a:defRPr>
      </a:lvl4pPr>
      <a:lvl5pPr algn="l" rtl="0" eaLnBrk="0" fontAlgn="base" hangingPunct="0">
        <a:spcBef>
          <a:spcPct val="0"/>
        </a:spcBef>
        <a:spcAft>
          <a:spcPct val="0"/>
        </a:spcAft>
        <a:defRPr sz="2000" b="1">
          <a:solidFill>
            <a:schemeClr val="tx1"/>
          </a:solidFill>
          <a:latin typeface="Arial" charset="0"/>
        </a:defRPr>
      </a:lvl5pPr>
      <a:lvl6pPr marL="457200" algn="l" rtl="0" eaLnBrk="1" fontAlgn="base" hangingPunct="1">
        <a:spcBef>
          <a:spcPct val="0"/>
        </a:spcBef>
        <a:spcAft>
          <a:spcPct val="0"/>
        </a:spcAft>
        <a:defRPr sz="2400" b="1">
          <a:solidFill>
            <a:schemeClr val="tx1"/>
          </a:solidFill>
          <a:latin typeface="Arial" charset="0"/>
        </a:defRPr>
      </a:lvl6pPr>
      <a:lvl7pPr marL="914400" algn="l" rtl="0" eaLnBrk="1" fontAlgn="base" hangingPunct="1">
        <a:spcBef>
          <a:spcPct val="0"/>
        </a:spcBef>
        <a:spcAft>
          <a:spcPct val="0"/>
        </a:spcAft>
        <a:defRPr sz="2400" b="1">
          <a:solidFill>
            <a:schemeClr val="tx1"/>
          </a:solidFill>
          <a:latin typeface="Arial" charset="0"/>
        </a:defRPr>
      </a:lvl7pPr>
      <a:lvl8pPr marL="1371600" algn="l" rtl="0" eaLnBrk="1" fontAlgn="base" hangingPunct="1">
        <a:spcBef>
          <a:spcPct val="0"/>
        </a:spcBef>
        <a:spcAft>
          <a:spcPct val="0"/>
        </a:spcAft>
        <a:defRPr sz="2400" b="1">
          <a:solidFill>
            <a:schemeClr val="tx1"/>
          </a:solidFill>
          <a:latin typeface="Arial" charset="0"/>
        </a:defRPr>
      </a:lvl8pPr>
      <a:lvl9pPr marL="1828800" algn="l" rtl="0" eaLnBrk="1" fontAlgn="base" hangingPunct="1">
        <a:spcBef>
          <a:spcPct val="0"/>
        </a:spcBef>
        <a:spcAft>
          <a:spcPct val="0"/>
        </a:spcAft>
        <a:defRPr sz="2400" b="1">
          <a:solidFill>
            <a:schemeClr val="tx1"/>
          </a:solidFill>
          <a:latin typeface="Arial" charset="0"/>
        </a:defRPr>
      </a:lvl9pPr>
    </p:titleStyle>
    <p:bodyStyle>
      <a:lvl1pPr marL="179388" indent="-179388" algn="l" rtl="0" eaLnBrk="0" fontAlgn="base" hangingPunct="0">
        <a:spcBef>
          <a:spcPct val="20000"/>
        </a:spcBef>
        <a:spcAft>
          <a:spcPct val="0"/>
        </a:spcAft>
        <a:buFont typeface="Wingdings" panose="05000000000000000000" pitchFamily="2" charset="2"/>
        <a:buChar char="§"/>
        <a:defRPr sz="2000">
          <a:solidFill>
            <a:schemeClr val="tx1"/>
          </a:solidFill>
          <a:latin typeface="+mn-lt"/>
          <a:ea typeface="+mn-ea"/>
          <a:cs typeface="+mn-cs"/>
        </a:defRPr>
      </a:lvl1pPr>
      <a:lvl2pPr marL="349250" indent="-168275" algn="l" rtl="0" eaLnBrk="0" fontAlgn="base" hangingPunct="0">
        <a:spcBef>
          <a:spcPct val="20000"/>
        </a:spcBef>
        <a:spcAft>
          <a:spcPct val="0"/>
        </a:spcAft>
        <a:buFont typeface="Wingdings" panose="05000000000000000000" pitchFamily="2" charset="2"/>
        <a:buChar char="§"/>
        <a:defRPr>
          <a:solidFill>
            <a:schemeClr val="tx1"/>
          </a:solidFill>
          <a:latin typeface="+mn-lt"/>
        </a:defRPr>
      </a:lvl2pPr>
      <a:lvl3pPr marL="538163" indent="-187325" algn="l" rtl="0" eaLnBrk="0" fontAlgn="base" hangingPunct="0">
        <a:spcBef>
          <a:spcPct val="20000"/>
        </a:spcBef>
        <a:spcAft>
          <a:spcPct val="0"/>
        </a:spcAft>
        <a:buFont typeface="Wingdings" panose="05000000000000000000" pitchFamily="2" charset="2"/>
        <a:buChar char="§"/>
        <a:defRPr>
          <a:solidFill>
            <a:schemeClr val="tx1"/>
          </a:solidFill>
          <a:latin typeface="+mn-lt"/>
        </a:defRPr>
      </a:lvl3pPr>
      <a:lvl4pPr marL="717550" indent="-173038" algn="l" rtl="0" eaLnBrk="0" fontAlgn="base" hangingPunct="0">
        <a:spcBef>
          <a:spcPct val="20000"/>
        </a:spcBef>
        <a:spcAft>
          <a:spcPct val="0"/>
        </a:spcAft>
        <a:buFont typeface="Wingdings" panose="05000000000000000000" pitchFamily="2" charset="2"/>
        <a:buChar char="§"/>
        <a:defRPr sz="1600">
          <a:solidFill>
            <a:schemeClr val="tx1"/>
          </a:solidFill>
          <a:latin typeface="+mn-lt"/>
        </a:defRPr>
      </a:lvl4pPr>
      <a:lvl5pPr marL="908050" indent="-188913" algn="l" rtl="0" eaLnBrk="0" fontAlgn="base" hangingPunct="0">
        <a:spcBef>
          <a:spcPct val="20000"/>
        </a:spcBef>
        <a:spcAft>
          <a:spcPct val="0"/>
        </a:spcAft>
        <a:buFont typeface="Wingdings" panose="05000000000000000000" pitchFamily="2" charset="2"/>
        <a:buChar char="§"/>
        <a:defRPr sz="1600">
          <a:solidFill>
            <a:schemeClr val="tx1"/>
          </a:solidFill>
          <a:latin typeface="+mn-lt"/>
        </a:defRPr>
      </a:lvl5pPr>
      <a:lvl6pPr marL="1365250" indent="-188913" algn="l" rtl="0" eaLnBrk="1" fontAlgn="base" hangingPunct="1">
        <a:spcBef>
          <a:spcPct val="20000"/>
        </a:spcBef>
        <a:spcAft>
          <a:spcPct val="0"/>
        </a:spcAft>
        <a:buFont typeface="Wingdings" pitchFamily="2" charset="2"/>
        <a:buChar char="§"/>
        <a:defRPr sz="1600">
          <a:solidFill>
            <a:schemeClr val="tx1"/>
          </a:solidFill>
          <a:latin typeface="+mn-lt"/>
        </a:defRPr>
      </a:lvl6pPr>
      <a:lvl7pPr marL="1822450" indent="-188913" algn="l" rtl="0" eaLnBrk="1" fontAlgn="base" hangingPunct="1">
        <a:spcBef>
          <a:spcPct val="20000"/>
        </a:spcBef>
        <a:spcAft>
          <a:spcPct val="0"/>
        </a:spcAft>
        <a:buFont typeface="Wingdings" pitchFamily="2" charset="2"/>
        <a:buChar char="§"/>
        <a:defRPr sz="1600">
          <a:solidFill>
            <a:schemeClr val="tx1"/>
          </a:solidFill>
          <a:latin typeface="+mn-lt"/>
        </a:defRPr>
      </a:lvl7pPr>
      <a:lvl8pPr marL="2279650" indent="-188913" algn="l" rtl="0" eaLnBrk="1" fontAlgn="base" hangingPunct="1">
        <a:spcBef>
          <a:spcPct val="20000"/>
        </a:spcBef>
        <a:spcAft>
          <a:spcPct val="0"/>
        </a:spcAft>
        <a:buFont typeface="Wingdings" pitchFamily="2" charset="2"/>
        <a:buChar char="§"/>
        <a:defRPr sz="1600">
          <a:solidFill>
            <a:schemeClr val="tx1"/>
          </a:solidFill>
          <a:latin typeface="+mn-lt"/>
        </a:defRPr>
      </a:lvl8pPr>
      <a:lvl9pPr marL="2736850" indent="-188913" algn="l" rtl="0" eaLnBrk="1" fontAlgn="base" hangingPunct="1">
        <a:spcBef>
          <a:spcPct val="20000"/>
        </a:spcBef>
        <a:spcAft>
          <a:spcPct val="0"/>
        </a:spcAft>
        <a:buFont typeface="Wingdings" pitchFamily="2" charset="2"/>
        <a:buChar char="§"/>
        <a:defRPr sz="1600">
          <a:solidFill>
            <a:schemeClr val="tx1"/>
          </a:solidFill>
          <a:latin typeface="+mn-lt"/>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1036">
            <a:extLst>
              <a:ext uri="{FF2B5EF4-FFF2-40B4-BE49-F238E27FC236}">
                <a16:creationId xmlns:a16="http://schemas.microsoft.com/office/drawing/2014/main" id="{ADF0E471-DF99-48D8-04FA-0344FCC3A43E}"/>
              </a:ext>
            </a:extLst>
          </p:cNvPr>
          <p:cNvSpPr>
            <a:spLocks noGrp="1" noChangeArrowheads="1"/>
          </p:cNvSpPr>
          <p:nvPr>
            <p:ph type="title"/>
          </p:nvPr>
        </p:nvSpPr>
        <p:spPr bwMode="auto">
          <a:xfrm>
            <a:off x="651934" y="34925"/>
            <a:ext cx="8877300" cy="8207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bodyPr>
          <a:lstStyle/>
          <a:p>
            <a:pPr lvl="0"/>
            <a:r>
              <a:rPr lang="en-GB" altLang="de-DE"/>
              <a:t>Click here to change title</a:t>
            </a:r>
          </a:p>
        </p:txBody>
      </p:sp>
      <p:sp>
        <p:nvSpPr>
          <p:cNvPr id="1027" name="Rectangle 1037">
            <a:extLst>
              <a:ext uri="{FF2B5EF4-FFF2-40B4-BE49-F238E27FC236}">
                <a16:creationId xmlns:a16="http://schemas.microsoft.com/office/drawing/2014/main" id="{D007C790-778F-A7A9-6085-E86286C2E8C3}"/>
              </a:ext>
            </a:extLst>
          </p:cNvPr>
          <p:cNvSpPr>
            <a:spLocks noGrp="1" noChangeArrowheads="1"/>
          </p:cNvSpPr>
          <p:nvPr>
            <p:ph type="body" idx="1"/>
          </p:nvPr>
        </p:nvSpPr>
        <p:spPr bwMode="auto">
          <a:xfrm>
            <a:off x="658285" y="1144588"/>
            <a:ext cx="10864849" cy="51419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GB" altLang="de-DE"/>
              <a:t>First level</a:t>
            </a:r>
          </a:p>
          <a:p>
            <a:pPr lvl="1"/>
            <a:r>
              <a:rPr lang="en-GB" altLang="de-DE"/>
              <a:t>Second level</a:t>
            </a:r>
          </a:p>
          <a:p>
            <a:pPr lvl="2"/>
            <a:r>
              <a:rPr lang="en-GB" altLang="de-DE"/>
              <a:t>Third level</a:t>
            </a:r>
          </a:p>
          <a:p>
            <a:pPr lvl="3"/>
            <a:r>
              <a:rPr lang="en-GB" altLang="de-DE"/>
              <a:t>Fourth level</a:t>
            </a:r>
          </a:p>
          <a:p>
            <a:pPr lvl="4"/>
            <a:r>
              <a:rPr lang="en-GB" altLang="de-DE"/>
              <a:t>Fifth level</a:t>
            </a:r>
          </a:p>
        </p:txBody>
      </p:sp>
    </p:spTree>
    <p:extLst>
      <p:ext uri="{BB962C8B-B14F-4D97-AF65-F5344CB8AC3E}">
        <p14:creationId xmlns:p14="http://schemas.microsoft.com/office/powerpoint/2010/main" val="1451324512"/>
      </p:ext>
    </p:extLst>
  </p:cSld>
  <p:clrMap bg1="lt1" tx1="dk1" bg2="lt2" tx2="dk2" accent1="accent1" accent2="accent2" accent3="accent3" accent4="accent4" accent5="accent5" accent6="accent6" hlink="hlink" folHlink="folHlink"/>
  <p:sldLayoutIdLst>
    <p:sldLayoutId id="2147486456" r:id="rId1"/>
    <p:sldLayoutId id="2147486457" r:id="rId2"/>
    <p:sldLayoutId id="2147486458" r:id="rId3"/>
    <p:sldLayoutId id="2147486459" r:id="rId4"/>
  </p:sldLayoutIdLst>
  <p:hf sldNum="0" hdr="0" dt="0"/>
  <p:txStyles>
    <p:titleStyle>
      <a:lvl1pPr algn="l" rtl="0" eaLnBrk="0" fontAlgn="base" hangingPunct="0">
        <a:spcBef>
          <a:spcPct val="0"/>
        </a:spcBef>
        <a:spcAft>
          <a:spcPct val="0"/>
        </a:spcAft>
        <a:defRPr sz="2000" b="1">
          <a:solidFill>
            <a:schemeClr val="tx1"/>
          </a:solidFill>
          <a:latin typeface="+mj-lt"/>
          <a:ea typeface="+mj-ea"/>
          <a:cs typeface="+mj-cs"/>
        </a:defRPr>
      </a:lvl1pPr>
      <a:lvl2pPr algn="l" rtl="0" eaLnBrk="0" fontAlgn="base" hangingPunct="0">
        <a:spcBef>
          <a:spcPct val="0"/>
        </a:spcBef>
        <a:spcAft>
          <a:spcPct val="0"/>
        </a:spcAft>
        <a:defRPr sz="2000" b="1">
          <a:solidFill>
            <a:schemeClr val="tx1"/>
          </a:solidFill>
          <a:latin typeface="Arial" charset="0"/>
        </a:defRPr>
      </a:lvl2pPr>
      <a:lvl3pPr algn="l" rtl="0" eaLnBrk="0" fontAlgn="base" hangingPunct="0">
        <a:spcBef>
          <a:spcPct val="0"/>
        </a:spcBef>
        <a:spcAft>
          <a:spcPct val="0"/>
        </a:spcAft>
        <a:defRPr sz="2000" b="1">
          <a:solidFill>
            <a:schemeClr val="tx1"/>
          </a:solidFill>
          <a:latin typeface="Arial" charset="0"/>
        </a:defRPr>
      </a:lvl3pPr>
      <a:lvl4pPr algn="l" rtl="0" eaLnBrk="0" fontAlgn="base" hangingPunct="0">
        <a:spcBef>
          <a:spcPct val="0"/>
        </a:spcBef>
        <a:spcAft>
          <a:spcPct val="0"/>
        </a:spcAft>
        <a:defRPr sz="2000" b="1">
          <a:solidFill>
            <a:schemeClr val="tx1"/>
          </a:solidFill>
          <a:latin typeface="Arial" charset="0"/>
        </a:defRPr>
      </a:lvl4pPr>
      <a:lvl5pPr algn="l" rtl="0" eaLnBrk="0" fontAlgn="base" hangingPunct="0">
        <a:spcBef>
          <a:spcPct val="0"/>
        </a:spcBef>
        <a:spcAft>
          <a:spcPct val="0"/>
        </a:spcAft>
        <a:defRPr sz="2000" b="1">
          <a:solidFill>
            <a:schemeClr val="tx1"/>
          </a:solidFill>
          <a:latin typeface="Arial" charset="0"/>
        </a:defRPr>
      </a:lvl5pPr>
      <a:lvl6pPr marL="457200" algn="l" rtl="0" eaLnBrk="1" fontAlgn="base" hangingPunct="1">
        <a:spcBef>
          <a:spcPct val="0"/>
        </a:spcBef>
        <a:spcAft>
          <a:spcPct val="0"/>
        </a:spcAft>
        <a:defRPr sz="2400" b="1">
          <a:solidFill>
            <a:schemeClr val="tx1"/>
          </a:solidFill>
          <a:latin typeface="Arial" charset="0"/>
        </a:defRPr>
      </a:lvl6pPr>
      <a:lvl7pPr marL="914400" algn="l" rtl="0" eaLnBrk="1" fontAlgn="base" hangingPunct="1">
        <a:spcBef>
          <a:spcPct val="0"/>
        </a:spcBef>
        <a:spcAft>
          <a:spcPct val="0"/>
        </a:spcAft>
        <a:defRPr sz="2400" b="1">
          <a:solidFill>
            <a:schemeClr val="tx1"/>
          </a:solidFill>
          <a:latin typeface="Arial" charset="0"/>
        </a:defRPr>
      </a:lvl7pPr>
      <a:lvl8pPr marL="1371600" algn="l" rtl="0" eaLnBrk="1" fontAlgn="base" hangingPunct="1">
        <a:spcBef>
          <a:spcPct val="0"/>
        </a:spcBef>
        <a:spcAft>
          <a:spcPct val="0"/>
        </a:spcAft>
        <a:defRPr sz="2400" b="1">
          <a:solidFill>
            <a:schemeClr val="tx1"/>
          </a:solidFill>
          <a:latin typeface="Arial" charset="0"/>
        </a:defRPr>
      </a:lvl8pPr>
      <a:lvl9pPr marL="1828800" algn="l" rtl="0" eaLnBrk="1" fontAlgn="base" hangingPunct="1">
        <a:spcBef>
          <a:spcPct val="0"/>
        </a:spcBef>
        <a:spcAft>
          <a:spcPct val="0"/>
        </a:spcAft>
        <a:defRPr sz="2400" b="1">
          <a:solidFill>
            <a:schemeClr val="tx1"/>
          </a:solidFill>
          <a:latin typeface="Arial" charset="0"/>
        </a:defRPr>
      </a:lvl9pPr>
    </p:titleStyle>
    <p:bodyStyle>
      <a:lvl1pPr marL="179388" indent="-179388" algn="l" rtl="0" eaLnBrk="0" fontAlgn="base" hangingPunct="0">
        <a:spcBef>
          <a:spcPct val="20000"/>
        </a:spcBef>
        <a:spcAft>
          <a:spcPct val="0"/>
        </a:spcAft>
        <a:buFont typeface="Wingdings" panose="05000000000000000000" pitchFamily="2" charset="2"/>
        <a:buChar char="§"/>
        <a:defRPr sz="2000">
          <a:solidFill>
            <a:schemeClr val="tx1"/>
          </a:solidFill>
          <a:latin typeface="+mn-lt"/>
          <a:ea typeface="+mn-ea"/>
          <a:cs typeface="+mn-cs"/>
        </a:defRPr>
      </a:lvl1pPr>
      <a:lvl2pPr marL="349250" indent="-168275" algn="l" rtl="0" eaLnBrk="0" fontAlgn="base" hangingPunct="0">
        <a:spcBef>
          <a:spcPct val="20000"/>
        </a:spcBef>
        <a:spcAft>
          <a:spcPct val="0"/>
        </a:spcAft>
        <a:buFont typeface="Wingdings" panose="05000000000000000000" pitchFamily="2" charset="2"/>
        <a:buChar char="§"/>
        <a:defRPr>
          <a:solidFill>
            <a:schemeClr val="tx1"/>
          </a:solidFill>
          <a:latin typeface="+mn-lt"/>
        </a:defRPr>
      </a:lvl2pPr>
      <a:lvl3pPr marL="538163" indent="-187325" algn="l" rtl="0" eaLnBrk="0" fontAlgn="base" hangingPunct="0">
        <a:spcBef>
          <a:spcPct val="20000"/>
        </a:spcBef>
        <a:spcAft>
          <a:spcPct val="0"/>
        </a:spcAft>
        <a:buFont typeface="Wingdings" panose="05000000000000000000" pitchFamily="2" charset="2"/>
        <a:buChar char="§"/>
        <a:defRPr>
          <a:solidFill>
            <a:schemeClr val="tx1"/>
          </a:solidFill>
          <a:latin typeface="+mn-lt"/>
        </a:defRPr>
      </a:lvl3pPr>
      <a:lvl4pPr marL="717550" indent="-173038" algn="l" rtl="0" eaLnBrk="0" fontAlgn="base" hangingPunct="0">
        <a:spcBef>
          <a:spcPct val="20000"/>
        </a:spcBef>
        <a:spcAft>
          <a:spcPct val="0"/>
        </a:spcAft>
        <a:buFont typeface="Wingdings" panose="05000000000000000000" pitchFamily="2" charset="2"/>
        <a:buChar char="§"/>
        <a:defRPr sz="1600">
          <a:solidFill>
            <a:schemeClr val="tx1"/>
          </a:solidFill>
          <a:latin typeface="+mn-lt"/>
        </a:defRPr>
      </a:lvl4pPr>
      <a:lvl5pPr marL="908050" indent="-188913" algn="l" rtl="0" eaLnBrk="0" fontAlgn="base" hangingPunct="0">
        <a:spcBef>
          <a:spcPct val="20000"/>
        </a:spcBef>
        <a:spcAft>
          <a:spcPct val="0"/>
        </a:spcAft>
        <a:buFont typeface="Wingdings" panose="05000000000000000000" pitchFamily="2" charset="2"/>
        <a:buChar char="§"/>
        <a:defRPr sz="1600">
          <a:solidFill>
            <a:schemeClr val="tx1"/>
          </a:solidFill>
          <a:latin typeface="+mn-lt"/>
        </a:defRPr>
      </a:lvl5pPr>
      <a:lvl6pPr marL="1365250" indent="-188913" algn="l" rtl="0" eaLnBrk="1" fontAlgn="base" hangingPunct="1">
        <a:spcBef>
          <a:spcPct val="20000"/>
        </a:spcBef>
        <a:spcAft>
          <a:spcPct val="0"/>
        </a:spcAft>
        <a:buFont typeface="Wingdings" pitchFamily="2" charset="2"/>
        <a:buChar char="§"/>
        <a:defRPr sz="1600">
          <a:solidFill>
            <a:schemeClr val="tx1"/>
          </a:solidFill>
          <a:latin typeface="+mn-lt"/>
        </a:defRPr>
      </a:lvl6pPr>
      <a:lvl7pPr marL="1822450" indent="-188913" algn="l" rtl="0" eaLnBrk="1" fontAlgn="base" hangingPunct="1">
        <a:spcBef>
          <a:spcPct val="20000"/>
        </a:spcBef>
        <a:spcAft>
          <a:spcPct val="0"/>
        </a:spcAft>
        <a:buFont typeface="Wingdings" pitchFamily="2" charset="2"/>
        <a:buChar char="§"/>
        <a:defRPr sz="1600">
          <a:solidFill>
            <a:schemeClr val="tx1"/>
          </a:solidFill>
          <a:latin typeface="+mn-lt"/>
        </a:defRPr>
      </a:lvl7pPr>
      <a:lvl8pPr marL="2279650" indent="-188913" algn="l" rtl="0" eaLnBrk="1" fontAlgn="base" hangingPunct="1">
        <a:spcBef>
          <a:spcPct val="20000"/>
        </a:spcBef>
        <a:spcAft>
          <a:spcPct val="0"/>
        </a:spcAft>
        <a:buFont typeface="Wingdings" pitchFamily="2" charset="2"/>
        <a:buChar char="§"/>
        <a:defRPr sz="1600">
          <a:solidFill>
            <a:schemeClr val="tx1"/>
          </a:solidFill>
          <a:latin typeface="+mn-lt"/>
        </a:defRPr>
      </a:lvl8pPr>
      <a:lvl9pPr marL="2736850" indent="-188913" algn="l" rtl="0" eaLnBrk="1" fontAlgn="base" hangingPunct="1">
        <a:spcBef>
          <a:spcPct val="20000"/>
        </a:spcBef>
        <a:spcAft>
          <a:spcPct val="0"/>
        </a:spcAft>
        <a:buFont typeface="Wingdings" pitchFamily="2" charset="2"/>
        <a:buChar char="§"/>
        <a:defRPr sz="1600">
          <a:solidFill>
            <a:schemeClr val="tx1"/>
          </a:solidFill>
          <a:latin typeface="+mn-lt"/>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1036">
            <a:extLst>
              <a:ext uri="{FF2B5EF4-FFF2-40B4-BE49-F238E27FC236}">
                <a16:creationId xmlns:a16="http://schemas.microsoft.com/office/drawing/2014/main" id="{697103E7-132B-08BF-8F4B-35302C4D0EFE}"/>
              </a:ext>
            </a:extLst>
          </p:cNvPr>
          <p:cNvSpPr>
            <a:spLocks noGrp="1" noChangeArrowheads="1"/>
          </p:cNvSpPr>
          <p:nvPr>
            <p:ph type="title"/>
          </p:nvPr>
        </p:nvSpPr>
        <p:spPr bwMode="auto">
          <a:xfrm>
            <a:off x="651934" y="34925"/>
            <a:ext cx="8877300" cy="8207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bodyPr>
          <a:lstStyle/>
          <a:p>
            <a:pPr lvl="0"/>
            <a:r>
              <a:rPr lang="en-GB" altLang="de-DE"/>
              <a:t>Click here to change title</a:t>
            </a:r>
          </a:p>
        </p:txBody>
      </p:sp>
      <p:sp>
        <p:nvSpPr>
          <p:cNvPr id="1027" name="Rectangle 1037">
            <a:extLst>
              <a:ext uri="{FF2B5EF4-FFF2-40B4-BE49-F238E27FC236}">
                <a16:creationId xmlns:a16="http://schemas.microsoft.com/office/drawing/2014/main" id="{D5D76FAE-2806-0CDA-109C-98001D654D84}"/>
              </a:ext>
            </a:extLst>
          </p:cNvPr>
          <p:cNvSpPr>
            <a:spLocks noGrp="1" noChangeArrowheads="1"/>
          </p:cNvSpPr>
          <p:nvPr>
            <p:ph type="body" idx="1"/>
          </p:nvPr>
        </p:nvSpPr>
        <p:spPr bwMode="auto">
          <a:xfrm>
            <a:off x="658285" y="1144588"/>
            <a:ext cx="10864849" cy="51419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GB" altLang="de-DE"/>
              <a:t>First level</a:t>
            </a:r>
          </a:p>
          <a:p>
            <a:pPr lvl="1"/>
            <a:r>
              <a:rPr lang="en-GB" altLang="de-DE"/>
              <a:t>Second level</a:t>
            </a:r>
          </a:p>
          <a:p>
            <a:pPr lvl="2"/>
            <a:r>
              <a:rPr lang="en-GB" altLang="de-DE"/>
              <a:t>Third level</a:t>
            </a:r>
          </a:p>
          <a:p>
            <a:pPr lvl="3"/>
            <a:r>
              <a:rPr lang="en-GB" altLang="de-DE"/>
              <a:t>Fourth level</a:t>
            </a:r>
          </a:p>
          <a:p>
            <a:pPr lvl="4"/>
            <a:r>
              <a:rPr lang="en-GB" altLang="de-DE"/>
              <a:t>Fifth level</a:t>
            </a:r>
          </a:p>
        </p:txBody>
      </p:sp>
    </p:spTree>
    <p:extLst>
      <p:ext uri="{BB962C8B-B14F-4D97-AF65-F5344CB8AC3E}">
        <p14:creationId xmlns:p14="http://schemas.microsoft.com/office/powerpoint/2010/main" val="3347201088"/>
      </p:ext>
    </p:extLst>
  </p:cSld>
  <p:clrMap bg1="lt1" tx1="dk1" bg2="lt2" tx2="dk2" accent1="accent1" accent2="accent2" accent3="accent3" accent4="accent4" accent5="accent5" accent6="accent6" hlink="hlink" folHlink="folHlink"/>
  <p:sldLayoutIdLst>
    <p:sldLayoutId id="2147486524" r:id="rId1"/>
    <p:sldLayoutId id="2147486525" r:id="rId2"/>
    <p:sldLayoutId id="2147486527" r:id="rId3"/>
    <p:sldLayoutId id="2147486528" r:id="rId4"/>
  </p:sldLayoutIdLst>
  <p:hf sldNum="0" hdr="0" dt="0"/>
  <p:txStyles>
    <p:titleStyle>
      <a:lvl1pPr algn="l" rtl="0" eaLnBrk="0" fontAlgn="base" hangingPunct="0">
        <a:spcBef>
          <a:spcPct val="0"/>
        </a:spcBef>
        <a:spcAft>
          <a:spcPct val="0"/>
        </a:spcAft>
        <a:defRPr sz="2000" b="1">
          <a:solidFill>
            <a:schemeClr val="tx1"/>
          </a:solidFill>
          <a:latin typeface="+mj-lt"/>
          <a:ea typeface="+mj-ea"/>
          <a:cs typeface="+mj-cs"/>
        </a:defRPr>
      </a:lvl1pPr>
      <a:lvl2pPr algn="l" rtl="0" eaLnBrk="0" fontAlgn="base" hangingPunct="0">
        <a:spcBef>
          <a:spcPct val="0"/>
        </a:spcBef>
        <a:spcAft>
          <a:spcPct val="0"/>
        </a:spcAft>
        <a:defRPr sz="2000" b="1">
          <a:solidFill>
            <a:schemeClr val="tx1"/>
          </a:solidFill>
          <a:latin typeface="Arial" charset="0"/>
        </a:defRPr>
      </a:lvl2pPr>
      <a:lvl3pPr algn="l" rtl="0" eaLnBrk="0" fontAlgn="base" hangingPunct="0">
        <a:spcBef>
          <a:spcPct val="0"/>
        </a:spcBef>
        <a:spcAft>
          <a:spcPct val="0"/>
        </a:spcAft>
        <a:defRPr sz="2000" b="1">
          <a:solidFill>
            <a:schemeClr val="tx1"/>
          </a:solidFill>
          <a:latin typeface="Arial" charset="0"/>
        </a:defRPr>
      </a:lvl3pPr>
      <a:lvl4pPr algn="l" rtl="0" eaLnBrk="0" fontAlgn="base" hangingPunct="0">
        <a:spcBef>
          <a:spcPct val="0"/>
        </a:spcBef>
        <a:spcAft>
          <a:spcPct val="0"/>
        </a:spcAft>
        <a:defRPr sz="2000" b="1">
          <a:solidFill>
            <a:schemeClr val="tx1"/>
          </a:solidFill>
          <a:latin typeface="Arial" charset="0"/>
        </a:defRPr>
      </a:lvl4pPr>
      <a:lvl5pPr algn="l" rtl="0" eaLnBrk="0" fontAlgn="base" hangingPunct="0">
        <a:spcBef>
          <a:spcPct val="0"/>
        </a:spcBef>
        <a:spcAft>
          <a:spcPct val="0"/>
        </a:spcAft>
        <a:defRPr sz="2000" b="1">
          <a:solidFill>
            <a:schemeClr val="tx1"/>
          </a:solidFill>
          <a:latin typeface="Arial" charset="0"/>
        </a:defRPr>
      </a:lvl5pPr>
      <a:lvl6pPr marL="457200" algn="l" rtl="0" eaLnBrk="1" fontAlgn="base" hangingPunct="1">
        <a:spcBef>
          <a:spcPct val="0"/>
        </a:spcBef>
        <a:spcAft>
          <a:spcPct val="0"/>
        </a:spcAft>
        <a:defRPr sz="2400" b="1">
          <a:solidFill>
            <a:schemeClr val="tx1"/>
          </a:solidFill>
          <a:latin typeface="Arial" charset="0"/>
        </a:defRPr>
      </a:lvl6pPr>
      <a:lvl7pPr marL="914400" algn="l" rtl="0" eaLnBrk="1" fontAlgn="base" hangingPunct="1">
        <a:spcBef>
          <a:spcPct val="0"/>
        </a:spcBef>
        <a:spcAft>
          <a:spcPct val="0"/>
        </a:spcAft>
        <a:defRPr sz="2400" b="1">
          <a:solidFill>
            <a:schemeClr val="tx1"/>
          </a:solidFill>
          <a:latin typeface="Arial" charset="0"/>
        </a:defRPr>
      </a:lvl7pPr>
      <a:lvl8pPr marL="1371600" algn="l" rtl="0" eaLnBrk="1" fontAlgn="base" hangingPunct="1">
        <a:spcBef>
          <a:spcPct val="0"/>
        </a:spcBef>
        <a:spcAft>
          <a:spcPct val="0"/>
        </a:spcAft>
        <a:defRPr sz="2400" b="1">
          <a:solidFill>
            <a:schemeClr val="tx1"/>
          </a:solidFill>
          <a:latin typeface="Arial" charset="0"/>
        </a:defRPr>
      </a:lvl8pPr>
      <a:lvl9pPr marL="1828800" algn="l" rtl="0" eaLnBrk="1" fontAlgn="base" hangingPunct="1">
        <a:spcBef>
          <a:spcPct val="0"/>
        </a:spcBef>
        <a:spcAft>
          <a:spcPct val="0"/>
        </a:spcAft>
        <a:defRPr sz="2400" b="1">
          <a:solidFill>
            <a:schemeClr val="tx1"/>
          </a:solidFill>
          <a:latin typeface="Arial" charset="0"/>
        </a:defRPr>
      </a:lvl9pPr>
    </p:titleStyle>
    <p:bodyStyle>
      <a:lvl1pPr marL="179388" indent="-179388" algn="l" rtl="0" eaLnBrk="0" fontAlgn="base" hangingPunct="0">
        <a:spcBef>
          <a:spcPct val="20000"/>
        </a:spcBef>
        <a:spcAft>
          <a:spcPct val="0"/>
        </a:spcAft>
        <a:buFont typeface="Wingdings" panose="05000000000000000000" pitchFamily="2" charset="2"/>
        <a:buChar char="§"/>
        <a:defRPr sz="2000">
          <a:solidFill>
            <a:schemeClr val="tx1"/>
          </a:solidFill>
          <a:latin typeface="+mn-lt"/>
          <a:ea typeface="+mn-ea"/>
          <a:cs typeface="+mn-cs"/>
        </a:defRPr>
      </a:lvl1pPr>
      <a:lvl2pPr marL="349250" indent="-168275" algn="l" rtl="0" eaLnBrk="0" fontAlgn="base" hangingPunct="0">
        <a:spcBef>
          <a:spcPct val="20000"/>
        </a:spcBef>
        <a:spcAft>
          <a:spcPct val="0"/>
        </a:spcAft>
        <a:buFont typeface="Wingdings" panose="05000000000000000000" pitchFamily="2" charset="2"/>
        <a:buChar char="§"/>
        <a:defRPr>
          <a:solidFill>
            <a:schemeClr val="tx1"/>
          </a:solidFill>
          <a:latin typeface="+mn-lt"/>
        </a:defRPr>
      </a:lvl2pPr>
      <a:lvl3pPr marL="538163" indent="-187325" algn="l" rtl="0" eaLnBrk="0" fontAlgn="base" hangingPunct="0">
        <a:spcBef>
          <a:spcPct val="20000"/>
        </a:spcBef>
        <a:spcAft>
          <a:spcPct val="0"/>
        </a:spcAft>
        <a:buFont typeface="Wingdings" panose="05000000000000000000" pitchFamily="2" charset="2"/>
        <a:buChar char="§"/>
        <a:defRPr>
          <a:solidFill>
            <a:schemeClr val="tx1"/>
          </a:solidFill>
          <a:latin typeface="+mn-lt"/>
        </a:defRPr>
      </a:lvl3pPr>
      <a:lvl4pPr marL="717550" indent="-173038" algn="l" rtl="0" eaLnBrk="0" fontAlgn="base" hangingPunct="0">
        <a:spcBef>
          <a:spcPct val="20000"/>
        </a:spcBef>
        <a:spcAft>
          <a:spcPct val="0"/>
        </a:spcAft>
        <a:buFont typeface="Wingdings" panose="05000000000000000000" pitchFamily="2" charset="2"/>
        <a:buChar char="§"/>
        <a:defRPr sz="1600">
          <a:solidFill>
            <a:schemeClr val="tx1"/>
          </a:solidFill>
          <a:latin typeface="+mn-lt"/>
        </a:defRPr>
      </a:lvl4pPr>
      <a:lvl5pPr marL="908050" indent="-188913" algn="l" rtl="0" eaLnBrk="0" fontAlgn="base" hangingPunct="0">
        <a:spcBef>
          <a:spcPct val="20000"/>
        </a:spcBef>
        <a:spcAft>
          <a:spcPct val="0"/>
        </a:spcAft>
        <a:buFont typeface="Wingdings" panose="05000000000000000000" pitchFamily="2" charset="2"/>
        <a:buChar char="§"/>
        <a:defRPr sz="1600">
          <a:solidFill>
            <a:schemeClr val="tx1"/>
          </a:solidFill>
          <a:latin typeface="+mn-lt"/>
        </a:defRPr>
      </a:lvl5pPr>
      <a:lvl6pPr marL="1365250" indent="-188913" algn="l" rtl="0" eaLnBrk="1" fontAlgn="base" hangingPunct="1">
        <a:spcBef>
          <a:spcPct val="20000"/>
        </a:spcBef>
        <a:spcAft>
          <a:spcPct val="0"/>
        </a:spcAft>
        <a:buFont typeface="Wingdings" pitchFamily="2" charset="2"/>
        <a:buChar char="§"/>
        <a:defRPr sz="1600">
          <a:solidFill>
            <a:schemeClr val="tx1"/>
          </a:solidFill>
          <a:latin typeface="+mn-lt"/>
        </a:defRPr>
      </a:lvl6pPr>
      <a:lvl7pPr marL="1822450" indent="-188913" algn="l" rtl="0" eaLnBrk="1" fontAlgn="base" hangingPunct="1">
        <a:spcBef>
          <a:spcPct val="20000"/>
        </a:spcBef>
        <a:spcAft>
          <a:spcPct val="0"/>
        </a:spcAft>
        <a:buFont typeface="Wingdings" pitchFamily="2" charset="2"/>
        <a:buChar char="§"/>
        <a:defRPr sz="1600">
          <a:solidFill>
            <a:schemeClr val="tx1"/>
          </a:solidFill>
          <a:latin typeface="+mn-lt"/>
        </a:defRPr>
      </a:lvl7pPr>
      <a:lvl8pPr marL="2279650" indent="-188913" algn="l" rtl="0" eaLnBrk="1" fontAlgn="base" hangingPunct="1">
        <a:spcBef>
          <a:spcPct val="20000"/>
        </a:spcBef>
        <a:spcAft>
          <a:spcPct val="0"/>
        </a:spcAft>
        <a:buFont typeface="Wingdings" pitchFamily="2" charset="2"/>
        <a:buChar char="§"/>
        <a:defRPr sz="1600">
          <a:solidFill>
            <a:schemeClr val="tx1"/>
          </a:solidFill>
          <a:latin typeface="+mn-lt"/>
        </a:defRPr>
      </a:lvl8pPr>
      <a:lvl9pPr marL="2736850" indent="-188913" algn="l" rtl="0" eaLnBrk="1" fontAlgn="base" hangingPunct="1">
        <a:spcBef>
          <a:spcPct val="20000"/>
        </a:spcBef>
        <a:spcAft>
          <a:spcPct val="0"/>
        </a:spcAft>
        <a:buFont typeface="Wingdings" pitchFamily="2" charset="2"/>
        <a:buChar char="§"/>
        <a:defRPr sz="1600">
          <a:solidFill>
            <a:schemeClr val="tx1"/>
          </a:solidFill>
          <a:latin typeface="+mn-lt"/>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37" name="Rectangle 13"/>
          <p:cNvSpPr>
            <a:spLocks noChangeArrowheads="1"/>
          </p:cNvSpPr>
          <p:nvPr/>
        </p:nvSpPr>
        <p:spPr bwMode="auto">
          <a:xfrm>
            <a:off x="239356" y="753420"/>
            <a:ext cx="11618217" cy="1081088"/>
          </a:xfrm>
          <a:prstGeom prst="rect">
            <a:avLst/>
          </a:prstGeom>
          <a:noFill/>
          <a:ln w="9525">
            <a:noFill/>
            <a:miter lim="800000"/>
            <a:headEnd/>
            <a:tailEnd/>
          </a:ln>
          <a:effectLst/>
        </p:spPr>
        <p:txBody>
          <a:bodyPr wrap="none" anchor="ctr"/>
          <a:lstStyle/>
          <a:p>
            <a:endParaRPr lang="de-DE">
              <a:latin typeface="+mn-lt"/>
              <a:cs typeface="Tahoma" pitchFamily="34" charset="0"/>
            </a:endParaRPr>
          </a:p>
        </p:txBody>
      </p:sp>
      <p:sp>
        <p:nvSpPr>
          <p:cNvPr id="1026" name="Rectangle 2"/>
          <p:cNvSpPr>
            <a:spLocks noGrp="1" noChangeArrowheads="1"/>
          </p:cNvSpPr>
          <p:nvPr>
            <p:ph type="title"/>
          </p:nvPr>
        </p:nvSpPr>
        <p:spPr bwMode="auto">
          <a:xfrm>
            <a:off x="672004" y="480000"/>
            <a:ext cx="9120000" cy="480000"/>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p>
            <a:pPr lvl="0"/>
            <a:r>
              <a:rPr lang="de-DE" dirty="0"/>
              <a:t>TITELMASTERFORMAT DURCH KLICKEN</a:t>
            </a:r>
          </a:p>
        </p:txBody>
      </p:sp>
      <p:sp>
        <p:nvSpPr>
          <p:cNvPr id="1027" name="Rectangle 3"/>
          <p:cNvSpPr>
            <a:spLocks noGrp="1" noChangeArrowheads="1"/>
          </p:cNvSpPr>
          <p:nvPr>
            <p:ph type="body" idx="1"/>
          </p:nvPr>
        </p:nvSpPr>
        <p:spPr bwMode="auto">
          <a:xfrm>
            <a:off x="672001" y="2112000"/>
            <a:ext cx="11040000" cy="3936000"/>
          </a:xfrm>
          <a:prstGeom prst="rect">
            <a:avLst/>
          </a:prstGeom>
          <a:noFill/>
          <a:ln w="9525">
            <a:noFill/>
            <a:miter lim="800000"/>
            <a:headEnd/>
            <a:tailEnd/>
          </a:ln>
          <a:effectLst/>
        </p:spPr>
        <p:txBody>
          <a:bodyPr vert="horz" wrap="square" lIns="0" tIns="45720" rIns="0" bIns="45720" numCol="1" anchor="t" anchorCtr="0" compatLnSpc="1">
            <a:prstTxWarp prst="textNoShape">
              <a:avLst/>
            </a:prstTxWarp>
          </a:bodyPr>
          <a:lstStyle/>
          <a:p>
            <a:pPr lvl="0"/>
            <a:r>
              <a:rPr lang="de-DE" dirty="0"/>
              <a:t>Textmasterformate durch Klicken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1" name="Rectangle 8"/>
          <p:cNvSpPr>
            <a:spLocks noChangeArrowheads="1"/>
          </p:cNvSpPr>
          <p:nvPr/>
        </p:nvSpPr>
        <p:spPr bwMode="auto">
          <a:xfrm>
            <a:off x="651937" y="304801"/>
            <a:ext cx="11184000" cy="54000"/>
          </a:xfrm>
          <a:prstGeom prst="rect">
            <a:avLst/>
          </a:prstGeom>
          <a:solidFill>
            <a:schemeClr val="accent1"/>
          </a:solidFill>
          <a:ln w="3175">
            <a:noFill/>
            <a:miter lim="800000"/>
            <a:headEnd/>
            <a:tailEnd/>
          </a:ln>
        </p:spPr>
        <p:txBody>
          <a:bodyPr/>
          <a:lstStyle/>
          <a:p>
            <a:endParaRPr lang="de-DE">
              <a:latin typeface="+mn-lt"/>
              <a:cs typeface="Tahoma" pitchFamily="34" charset="0"/>
            </a:endParaRPr>
          </a:p>
        </p:txBody>
      </p:sp>
      <p:grpSp>
        <p:nvGrpSpPr>
          <p:cNvPr id="3" name="Gruppierung 2"/>
          <p:cNvGrpSpPr/>
          <p:nvPr/>
        </p:nvGrpSpPr>
        <p:grpSpPr>
          <a:xfrm>
            <a:off x="9887088" y="477223"/>
            <a:ext cx="2304912" cy="870205"/>
            <a:chOff x="7415316" y="357917"/>
            <a:chExt cx="1728684" cy="652654"/>
          </a:xfrm>
          <a:solidFill>
            <a:schemeClr val="bg1"/>
          </a:solidFill>
        </p:grpSpPr>
        <p:sp>
          <p:nvSpPr>
            <p:cNvPr id="15" name="Rechteck 14"/>
            <p:cNvSpPr/>
            <p:nvPr/>
          </p:nvSpPr>
          <p:spPr>
            <a:xfrm>
              <a:off x="7415316" y="357917"/>
              <a:ext cx="1728684" cy="65265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6" name="Picture 9" descr="tud_logo"/>
            <p:cNvPicPr>
              <a:picLocks noChangeAspect="1" noChangeArrowheads="1"/>
            </p:cNvPicPr>
            <p:nvPr/>
          </p:nvPicPr>
          <p:blipFill rotWithShape="1">
            <a:blip r:embed="rId11" cstate="print">
              <a:clrChange>
                <a:clrFrom>
                  <a:srgbClr val="FDFDFD"/>
                </a:clrFrom>
                <a:clrTo>
                  <a:srgbClr val="FDFDFD">
                    <a:alpha val="0"/>
                  </a:srgbClr>
                </a:clrTo>
              </a:clrChange>
              <a:extLst>
                <a:ext uri="{28A0092B-C50C-407E-A947-70E740481C1C}">
                  <a14:useLocalDpi xmlns:a14="http://schemas.microsoft.com/office/drawing/2010/main"/>
                </a:ext>
              </a:extLst>
            </a:blip>
            <a:srcRect l="7733" t="6878" r="5453" b="9546"/>
            <a:stretch/>
          </p:blipFill>
          <p:spPr bwMode="auto">
            <a:xfrm>
              <a:off x="7608875" y="407299"/>
              <a:ext cx="1404584" cy="540631"/>
            </a:xfrm>
            <a:prstGeom prst="rect">
              <a:avLst/>
            </a:prstGeom>
            <a:grpFill/>
            <a:ln w="9525">
              <a:noFill/>
              <a:miter lim="800000"/>
              <a:headEnd/>
              <a:tailEnd/>
            </a:ln>
          </p:spPr>
        </p:pic>
      </p:grpSp>
      <p:pic>
        <p:nvPicPr>
          <p:cNvPr id="13" name="Bild 12"/>
          <p:cNvPicPr>
            <a:picLocks noChangeAspect="1"/>
          </p:cNvPicPr>
          <p:nvPr/>
        </p:nvPicPr>
        <p:blipFill>
          <a:blip r:embed="rId12">
            <a:extLst>
              <a:ext uri="{28A0092B-C50C-407E-A947-70E740481C1C}">
                <a14:useLocalDpi xmlns:a14="http://schemas.microsoft.com/office/drawing/2010/main"/>
              </a:ext>
            </a:extLst>
          </a:blip>
          <a:stretch>
            <a:fillRect/>
          </a:stretch>
        </p:blipFill>
        <p:spPr>
          <a:xfrm>
            <a:off x="678112" y="6210504"/>
            <a:ext cx="11192933" cy="508000"/>
          </a:xfrm>
          <a:prstGeom prst="rect">
            <a:avLst/>
          </a:prstGeom>
        </p:spPr>
      </p:pic>
      <p:pic>
        <p:nvPicPr>
          <p:cNvPr id="14" name="Grafik 13"/>
          <p:cNvPicPr>
            <a:picLocks noChangeAspect="1"/>
          </p:cNvPicPr>
          <p:nvPr userDrawn="1"/>
        </p:nvPicPr>
        <p:blipFill>
          <a:blip r:embed="rId13" cstate="hqprint">
            <a:extLst>
              <a:ext uri="{28A0092B-C50C-407E-A947-70E740481C1C}">
                <a14:useLocalDpi xmlns:a14="http://schemas.microsoft.com/office/drawing/2010/main" val="0"/>
              </a:ext>
            </a:extLst>
          </a:blip>
          <a:stretch>
            <a:fillRect/>
          </a:stretch>
        </p:blipFill>
        <p:spPr>
          <a:xfrm>
            <a:off x="2220397" y="6344851"/>
            <a:ext cx="596832" cy="442844"/>
          </a:xfrm>
          <a:prstGeom prst="rect">
            <a:avLst/>
          </a:prstGeom>
        </p:spPr>
      </p:pic>
      <p:sp>
        <p:nvSpPr>
          <p:cNvPr id="12" name="Textfeld 11"/>
          <p:cNvSpPr txBox="1"/>
          <p:nvPr userDrawn="1"/>
        </p:nvSpPr>
        <p:spPr>
          <a:xfrm>
            <a:off x="4033095" y="6510697"/>
            <a:ext cx="8160000" cy="246221"/>
          </a:xfrm>
          <a:prstGeom prst="rect">
            <a:avLst/>
          </a:prstGeom>
          <a:noFill/>
        </p:spPr>
        <p:txBody>
          <a:bodyPr wrap="square" rtlCol="0">
            <a:spAutoFit/>
          </a:bodyPr>
          <a:lstStyle/>
          <a:p>
            <a:pPr algn="ctr" fontAlgn="base">
              <a:spcBef>
                <a:spcPct val="0"/>
              </a:spcBef>
              <a:spcAft>
                <a:spcPct val="0"/>
              </a:spcAft>
              <a:defRPr/>
            </a:pPr>
            <a:r>
              <a:rPr lang="de-DE" sz="1000" kern="1200" dirty="0">
                <a:solidFill>
                  <a:schemeClr val="accent3">
                    <a:lumMod val="50000"/>
                  </a:schemeClr>
                </a:solidFill>
                <a:latin typeface="+mn-lt"/>
                <a:ea typeface="+mn-ea"/>
                <a:cs typeface="Replica Std"/>
              </a:rPr>
              <a:t>Maschinendynamik - Prof. Dr.-Ing. Tobias Melz</a:t>
            </a:r>
            <a:r>
              <a:rPr lang="de-DE" sz="1000" kern="1200" baseline="0" dirty="0">
                <a:solidFill>
                  <a:schemeClr val="accent3">
                    <a:lumMod val="50000"/>
                  </a:schemeClr>
                </a:solidFill>
                <a:latin typeface="+mn-lt"/>
                <a:ea typeface="+mn-ea"/>
                <a:cs typeface="Replica Std"/>
              </a:rPr>
              <a:t>          	</a:t>
            </a:r>
            <a:fld id="{8E9B2640-8CD7-45FF-9440-54608BC46479}" type="slidenum">
              <a:rPr lang="de-DE" sz="1000" kern="1200" smtClean="0">
                <a:solidFill>
                  <a:schemeClr val="accent3">
                    <a:lumMod val="50000"/>
                  </a:schemeClr>
                </a:solidFill>
                <a:latin typeface="+mn-lt"/>
                <a:ea typeface="+mn-ea"/>
                <a:cs typeface="Replica Std"/>
              </a:rPr>
              <a:pPr algn="ctr" fontAlgn="base">
                <a:spcBef>
                  <a:spcPct val="0"/>
                </a:spcBef>
                <a:spcAft>
                  <a:spcPct val="0"/>
                </a:spcAft>
                <a:defRPr/>
              </a:pPr>
              <a:t>‹Nr.›</a:t>
            </a:fld>
            <a:endParaRPr lang="de-DE" sz="1000" kern="1200" dirty="0">
              <a:solidFill>
                <a:schemeClr val="accent3">
                  <a:lumMod val="50000"/>
                </a:schemeClr>
              </a:solidFill>
              <a:latin typeface="+mn-lt"/>
              <a:ea typeface="+mn-ea"/>
              <a:cs typeface="Replica Std"/>
            </a:endParaRPr>
          </a:p>
        </p:txBody>
      </p:sp>
    </p:spTree>
    <p:extLst>
      <p:ext uri="{BB962C8B-B14F-4D97-AF65-F5344CB8AC3E}">
        <p14:creationId xmlns:p14="http://schemas.microsoft.com/office/powerpoint/2010/main" val="2955668012"/>
      </p:ext>
    </p:extLst>
  </p:cSld>
  <p:clrMap bg1="lt1" tx1="dk1" bg2="lt2" tx2="dk2" accent1="accent1" accent2="accent2" accent3="accent3" accent4="accent4" accent5="accent5" accent6="accent6" hlink="hlink" folHlink="folHlink"/>
  <p:sldLayoutIdLst>
    <p:sldLayoutId id="2147486560" r:id="rId1"/>
    <p:sldLayoutId id="2147486561" r:id="rId2"/>
    <p:sldLayoutId id="2147486562" r:id="rId3"/>
    <p:sldLayoutId id="2147486563" r:id="rId4"/>
    <p:sldLayoutId id="2147486564" r:id="rId5"/>
    <p:sldLayoutId id="2147486565" r:id="rId6"/>
    <p:sldLayoutId id="2147486566" r:id="rId7"/>
    <p:sldLayoutId id="2147486568" r:id="rId8"/>
    <p:sldLayoutId id="2147486569" r:id="rId9"/>
  </p:sldLayoutIdLst>
  <p:hf sldNum="0" hdr="0" ftr="0" dt="0"/>
  <p:txStyles>
    <p:titleStyle>
      <a:lvl1pPr algn="l" rtl="0" eaLnBrk="1" fontAlgn="base" hangingPunct="1">
        <a:spcBef>
          <a:spcPct val="0"/>
        </a:spcBef>
        <a:spcAft>
          <a:spcPct val="0"/>
        </a:spcAft>
        <a:defRPr sz="2800" b="1" i="0">
          <a:solidFill>
            <a:schemeClr val="tx1"/>
          </a:solidFill>
          <a:latin typeface="+mj-lt"/>
          <a:ea typeface="Verdana" charset="0"/>
          <a:cs typeface="Verdana" charset="0"/>
        </a:defRPr>
      </a:lvl1pPr>
      <a:lvl2pPr algn="l" rtl="0" eaLnBrk="1" fontAlgn="base" hangingPunct="1">
        <a:spcBef>
          <a:spcPct val="0"/>
        </a:spcBef>
        <a:spcAft>
          <a:spcPct val="0"/>
        </a:spcAft>
        <a:defRPr sz="2880" b="1">
          <a:solidFill>
            <a:schemeClr val="tx1"/>
          </a:solidFill>
          <a:latin typeface="Arial" charset="0"/>
        </a:defRPr>
      </a:lvl2pPr>
      <a:lvl3pPr algn="l" rtl="0" eaLnBrk="1" fontAlgn="base" hangingPunct="1">
        <a:spcBef>
          <a:spcPct val="0"/>
        </a:spcBef>
        <a:spcAft>
          <a:spcPct val="0"/>
        </a:spcAft>
        <a:defRPr sz="2880" b="1">
          <a:solidFill>
            <a:schemeClr val="tx1"/>
          </a:solidFill>
          <a:latin typeface="Arial" charset="0"/>
        </a:defRPr>
      </a:lvl3pPr>
      <a:lvl4pPr algn="l" rtl="0" eaLnBrk="1" fontAlgn="base" hangingPunct="1">
        <a:spcBef>
          <a:spcPct val="0"/>
        </a:spcBef>
        <a:spcAft>
          <a:spcPct val="0"/>
        </a:spcAft>
        <a:defRPr sz="2880" b="1">
          <a:solidFill>
            <a:schemeClr val="tx1"/>
          </a:solidFill>
          <a:latin typeface="Arial" charset="0"/>
        </a:defRPr>
      </a:lvl4pPr>
      <a:lvl5pPr algn="l" rtl="0" eaLnBrk="1" fontAlgn="base" hangingPunct="1">
        <a:spcBef>
          <a:spcPct val="0"/>
        </a:spcBef>
        <a:spcAft>
          <a:spcPct val="0"/>
        </a:spcAft>
        <a:defRPr sz="2880" b="1">
          <a:solidFill>
            <a:schemeClr val="tx1"/>
          </a:solidFill>
          <a:latin typeface="Arial" charset="0"/>
        </a:defRPr>
      </a:lvl5pPr>
      <a:lvl6pPr marL="548626" algn="l" rtl="0" eaLnBrk="1" fontAlgn="base" hangingPunct="1">
        <a:spcBef>
          <a:spcPct val="0"/>
        </a:spcBef>
        <a:spcAft>
          <a:spcPct val="0"/>
        </a:spcAft>
        <a:defRPr sz="2880" b="1">
          <a:solidFill>
            <a:schemeClr val="tx1"/>
          </a:solidFill>
          <a:latin typeface="Arial" charset="0"/>
        </a:defRPr>
      </a:lvl6pPr>
      <a:lvl7pPr marL="1097253" algn="l" rtl="0" eaLnBrk="1" fontAlgn="base" hangingPunct="1">
        <a:spcBef>
          <a:spcPct val="0"/>
        </a:spcBef>
        <a:spcAft>
          <a:spcPct val="0"/>
        </a:spcAft>
        <a:defRPr sz="2880" b="1">
          <a:solidFill>
            <a:schemeClr val="tx1"/>
          </a:solidFill>
          <a:latin typeface="Arial" charset="0"/>
        </a:defRPr>
      </a:lvl7pPr>
      <a:lvl8pPr marL="1645879" algn="l" rtl="0" eaLnBrk="1" fontAlgn="base" hangingPunct="1">
        <a:spcBef>
          <a:spcPct val="0"/>
        </a:spcBef>
        <a:spcAft>
          <a:spcPct val="0"/>
        </a:spcAft>
        <a:defRPr sz="2880" b="1">
          <a:solidFill>
            <a:schemeClr val="tx1"/>
          </a:solidFill>
          <a:latin typeface="Arial" charset="0"/>
        </a:defRPr>
      </a:lvl8pPr>
      <a:lvl9pPr marL="2194505" algn="l" rtl="0" eaLnBrk="1" fontAlgn="base" hangingPunct="1">
        <a:spcBef>
          <a:spcPct val="0"/>
        </a:spcBef>
        <a:spcAft>
          <a:spcPct val="0"/>
        </a:spcAft>
        <a:defRPr sz="2880" b="1">
          <a:solidFill>
            <a:schemeClr val="tx1"/>
          </a:solidFill>
          <a:latin typeface="Arial" charset="0"/>
        </a:defRPr>
      </a:lvl9pPr>
    </p:titleStyle>
    <p:bodyStyle>
      <a:lvl1pPr marL="215261" indent="-215261" algn="l" rtl="0" eaLnBrk="1" fontAlgn="base" hangingPunct="1">
        <a:lnSpc>
          <a:spcPct val="100000"/>
        </a:lnSpc>
        <a:spcBef>
          <a:spcPts val="240"/>
        </a:spcBef>
        <a:spcAft>
          <a:spcPts val="276"/>
        </a:spcAft>
        <a:buFont typeface="Wingdings" pitchFamily="2" charset="2"/>
        <a:buNone/>
        <a:defRPr sz="2000" b="0" i="0">
          <a:solidFill>
            <a:schemeClr val="tx1"/>
          </a:solidFill>
          <a:latin typeface="+mn-lt"/>
          <a:ea typeface="Verdana" charset="0"/>
          <a:cs typeface="Verdana" charset="0"/>
        </a:defRPr>
      </a:lvl1pPr>
      <a:lvl2pPr marL="215261" indent="-213355" algn="l" rtl="0" eaLnBrk="1" fontAlgn="base" hangingPunct="1">
        <a:lnSpc>
          <a:spcPct val="100000"/>
        </a:lnSpc>
        <a:spcBef>
          <a:spcPts val="240"/>
        </a:spcBef>
        <a:spcAft>
          <a:spcPts val="276"/>
        </a:spcAft>
        <a:buFont typeface="Wingdings" pitchFamily="2" charset="2"/>
        <a:buChar char="§"/>
        <a:defRPr sz="2000" b="0" i="0">
          <a:solidFill>
            <a:schemeClr val="tx1"/>
          </a:solidFill>
          <a:latin typeface="+mn-lt"/>
          <a:ea typeface="Verdana" charset="0"/>
          <a:cs typeface="Verdana" charset="0"/>
        </a:defRPr>
      </a:lvl2pPr>
      <a:lvl3pPr marL="645780" indent="-224785" algn="l" rtl="0" eaLnBrk="1" fontAlgn="base" hangingPunct="1">
        <a:lnSpc>
          <a:spcPct val="100000"/>
        </a:lnSpc>
        <a:spcBef>
          <a:spcPts val="240"/>
        </a:spcBef>
        <a:spcAft>
          <a:spcPts val="276"/>
        </a:spcAft>
        <a:buFont typeface="Wingdings" pitchFamily="2" charset="2"/>
        <a:buChar char="§"/>
        <a:defRPr sz="1867" b="0" i="0">
          <a:solidFill>
            <a:schemeClr val="tx1"/>
          </a:solidFill>
          <a:latin typeface="+mn-lt"/>
          <a:ea typeface="Verdana" charset="0"/>
          <a:cs typeface="Verdana" charset="0"/>
        </a:defRPr>
      </a:lvl3pPr>
      <a:lvl4pPr marL="861038" indent="-207641" algn="l" rtl="0" eaLnBrk="1" fontAlgn="base" hangingPunct="1">
        <a:lnSpc>
          <a:spcPct val="100000"/>
        </a:lnSpc>
        <a:spcBef>
          <a:spcPts val="240"/>
        </a:spcBef>
        <a:spcAft>
          <a:spcPts val="276"/>
        </a:spcAft>
        <a:buFont typeface="Wingdings" pitchFamily="2" charset="2"/>
        <a:buChar char="§"/>
        <a:defRPr sz="1733" b="0" i="0">
          <a:solidFill>
            <a:schemeClr val="tx1"/>
          </a:solidFill>
          <a:latin typeface="+mn-lt"/>
          <a:ea typeface="Verdana" charset="0"/>
          <a:cs typeface="Verdana" charset="0"/>
        </a:defRPr>
      </a:lvl4pPr>
      <a:lvl5pPr marL="1089633" indent="-226690" algn="l" rtl="0" eaLnBrk="1" fontAlgn="base" hangingPunct="1">
        <a:lnSpc>
          <a:spcPct val="100000"/>
        </a:lnSpc>
        <a:spcBef>
          <a:spcPts val="240"/>
        </a:spcBef>
        <a:spcAft>
          <a:spcPts val="276"/>
        </a:spcAft>
        <a:buFont typeface="Wingdings" pitchFamily="2" charset="2"/>
        <a:buChar char="§"/>
        <a:defRPr sz="1600" b="0" i="0">
          <a:solidFill>
            <a:schemeClr val="tx1"/>
          </a:solidFill>
          <a:latin typeface="+mn-lt"/>
          <a:ea typeface="Verdana" charset="0"/>
          <a:cs typeface="Verdana" charset="0"/>
        </a:defRPr>
      </a:lvl5pPr>
      <a:lvl6pPr marL="1638259" indent="-226690" algn="l" rtl="0" eaLnBrk="1" fontAlgn="base" hangingPunct="1">
        <a:spcBef>
          <a:spcPct val="20000"/>
        </a:spcBef>
        <a:spcAft>
          <a:spcPct val="0"/>
        </a:spcAft>
        <a:buFont typeface="Wingdings" pitchFamily="2" charset="2"/>
        <a:buChar char="§"/>
        <a:defRPr sz="1920">
          <a:solidFill>
            <a:schemeClr val="tx1"/>
          </a:solidFill>
          <a:latin typeface="+mn-lt"/>
        </a:defRPr>
      </a:lvl6pPr>
      <a:lvl7pPr marL="2186885" indent="-226690" algn="l" rtl="0" eaLnBrk="1" fontAlgn="base" hangingPunct="1">
        <a:spcBef>
          <a:spcPct val="20000"/>
        </a:spcBef>
        <a:spcAft>
          <a:spcPct val="0"/>
        </a:spcAft>
        <a:buFont typeface="Wingdings" pitchFamily="2" charset="2"/>
        <a:buChar char="§"/>
        <a:defRPr sz="1920">
          <a:solidFill>
            <a:schemeClr val="tx1"/>
          </a:solidFill>
          <a:latin typeface="+mn-lt"/>
        </a:defRPr>
      </a:lvl7pPr>
      <a:lvl8pPr marL="2735512" indent="-226690" algn="l" rtl="0" eaLnBrk="1" fontAlgn="base" hangingPunct="1">
        <a:spcBef>
          <a:spcPct val="20000"/>
        </a:spcBef>
        <a:spcAft>
          <a:spcPct val="0"/>
        </a:spcAft>
        <a:buFont typeface="Wingdings" pitchFamily="2" charset="2"/>
        <a:buChar char="§"/>
        <a:defRPr sz="1920">
          <a:solidFill>
            <a:schemeClr val="tx1"/>
          </a:solidFill>
          <a:latin typeface="+mn-lt"/>
        </a:defRPr>
      </a:lvl8pPr>
      <a:lvl9pPr marL="3284138" indent="-226690" algn="l" rtl="0" eaLnBrk="1" fontAlgn="base" hangingPunct="1">
        <a:spcBef>
          <a:spcPct val="20000"/>
        </a:spcBef>
        <a:spcAft>
          <a:spcPct val="0"/>
        </a:spcAft>
        <a:buFont typeface="Wingdings" pitchFamily="2" charset="2"/>
        <a:buChar char="§"/>
        <a:defRPr sz="1920">
          <a:solidFill>
            <a:schemeClr val="tx1"/>
          </a:solidFill>
          <a:latin typeface="+mn-lt"/>
        </a:defRPr>
      </a:lvl9pPr>
    </p:bodyStyle>
    <p:otherStyle>
      <a:defPPr>
        <a:defRPr lang="de-DE"/>
      </a:defPPr>
      <a:lvl1pPr marL="0" algn="l" defTabSz="1097253" rtl="0" eaLnBrk="1" latinLnBrk="0" hangingPunct="1">
        <a:defRPr sz="2160" kern="1200">
          <a:solidFill>
            <a:schemeClr val="tx1"/>
          </a:solidFill>
          <a:latin typeface="+mn-lt"/>
          <a:ea typeface="+mn-ea"/>
          <a:cs typeface="+mn-cs"/>
        </a:defRPr>
      </a:lvl1pPr>
      <a:lvl2pPr marL="548626" algn="l" defTabSz="1097253" rtl="0" eaLnBrk="1" latinLnBrk="0" hangingPunct="1">
        <a:defRPr sz="2160" kern="1200">
          <a:solidFill>
            <a:schemeClr val="tx1"/>
          </a:solidFill>
          <a:latin typeface="+mn-lt"/>
          <a:ea typeface="+mn-ea"/>
          <a:cs typeface="+mn-cs"/>
        </a:defRPr>
      </a:lvl2pPr>
      <a:lvl3pPr marL="1097253" algn="l" defTabSz="1097253" rtl="0" eaLnBrk="1" latinLnBrk="0" hangingPunct="1">
        <a:defRPr sz="2160" kern="1200">
          <a:solidFill>
            <a:schemeClr val="tx1"/>
          </a:solidFill>
          <a:latin typeface="+mn-lt"/>
          <a:ea typeface="+mn-ea"/>
          <a:cs typeface="+mn-cs"/>
        </a:defRPr>
      </a:lvl3pPr>
      <a:lvl4pPr marL="1645879" algn="l" defTabSz="1097253" rtl="0" eaLnBrk="1" latinLnBrk="0" hangingPunct="1">
        <a:defRPr sz="2160" kern="1200">
          <a:solidFill>
            <a:schemeClr val="tx1"/>
          </a:solidFill>
          <a:latin typeface="+mn-lt"/>
          <a:ea typeface="+mn-ea"/>
          <a:cs typeface="+mn-cs"/>
        </a:defRPr>
      </a:lvl4pPr>
      <a:lvl5pPr marL="2194505" algn="l" defTabSz="1097253" rtl="0" eaLnBrk="1" latinLnBrk="0" hangingPunct="1">
        <a:defRPr sz="2160" kern="1200">
          <a:solidFill>
            <a:schemeClr val="tx1"/>
          </a:solidFill>
          <a:latin typeface="+mn-lt"/>
          <a:ea typeface="+mn-ea"/>
          <a:cs typeface="+mn-cs"/>
        </a:defRPr>
      </a:lvl5pPr>
      <a:lvl6pPr marL="2743131" algn="l" defTabSz="1097253" rtl="0" eaLnBrk="1" latinLnBrk="0" hangingPunct="1">
        <a:defRPr sz="2160" kern="1200">
          <a:solidFill>
            <a:schemeClr val="tx1"/>
          </a:solidFill>
          <a:latin typeface="+mn-lt"/>
          <a:ea typeface="+mn-ea"/>
          <a:cs typeface="+mn-cs"/>
        </a:defRPr>
      </a:lvl6pPr>
      <a:lvl7pPr marL="3291758" algn="l" defTabSz="1097253" rtl="0" eaLnBrk="1" latinLnBrk="0" hangingPunct="1">
        <a:defRPr sz="2160" kern="1200">
          <a:solidFill>
            <a:schemeClr val="tx1"/>
          </a:solidFill>
          <a:latin typeface="+mn-lt"/>
          <a:ea typeface="+mn-ea"/>
          <a:cs typeface="+mn-cs"/>
        </a:defRPr>
      </a:lvl7pPr>
      <a:lvl8pPr marL="3840384" algn="l" defTabSz="1097253" rtl="0" eaLnBrk="1" latinLnBrk="0" hangingPunct="1">
        <a:defRPr sz="2160" kern="1200">
          <a:solidFill>
            <a:schemeClr val="tx1"/>
          </a:solidFill>
          <a:latin typeface="+mn-lt"/>
          <a:ea typeface="+mn-ea"/>
          <a:cs typeface="+mn-cs"/>
        </a:defRPr>
      </a:lvl8pPr>
      <a:lvl9pPr marL="4389010" algn="l" defTabSz="1097253" rtl="0" eaLnBrk="1" latinLnBrk="0" hangingPunct="1">
        <a:defRPr sz="216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867">
          <p15:clr>
            <a:srgbClr val="F26B43"/>
          </p15:clr>
        </p15:guide>
        <p15:guide id="2" orient="horz" pos="758">
          <p15:clr>
            <a:srgbClr val="F26B43"/>
          </p15:clr>
        </p15:guide>
        <p15:guide id="3" orient="horz" pos="667">
          <p15:clr>
            <a:srgbClr val="F26B43"/>
          </p15:clr>
        </p15:guide>
        <p15:guide id="4" orient="horz" pos="237">
          <p15:clr>
            <a:srgbClr val="F26B43"/>
          </p15:clr>
        </p15:guide>
        <p15:guide id="5" pos="317">
          <p15:clr>
            <a:srgbClr val="F26B43"/>
          </p15:clr>
        </p15:guide>
        <p15:guide id="6" pos="5443">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050" name="Rectangle 1036">
            <a:extLst>
              <a:ext uri="{FF2B5EF4-FFF2-40B4-BE49-F238E27FC236}">
                <a16:creationId xmlns:a16="http://schemas.microsoft.com/office/drawing/2014/main" id="{996BAE3F-A47C-7FAB-E9CD-E2D4BADF6637}"/>
              </a:ext>
            </a:extLst>
          </p:cNvPr>
          <p:cNvSpPr>
            <a:spLocks noGrp="1" noChangeArrowheads="1"/>
          </p:cNvSpPr>
          <p:nvPr>
            <p:ph type="title"/>
          </p:nvPr>
        </p:nvSpPr>
        <p:spPr bwMode="auto">
          <a:xfrm>
            <a:off x="652463" y="34925"/>
            <a:ext cx="8877300" cy="8207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bodyPr>
          <a:lstStyle/>
          <a:p>
            <a:pPr lvl="0"/>
            <a:r>
              <a:rPr lang="en-GB" altLang="de-DE"/>
              <a:t>Click here to change title</a:t>
            </a:r>
          </a:p>
        </p:txBody>
      </p:sp>
      <p:sp>
        <p:nvSpPr>
          <p:cNvPr id="2051" name="Rectangle 1037">
            <a:extLst>
              <a:ext uri="{FF2B5EF4-FFF2-40B4-BE49-F238E27FC236}">
                <a16:creationId xmlns:a16="http://schemas.microsoft.com/office/drawing/2014/main" id="{DD408169-084A-C8E5-AC8B-67793B8A937D}"/>
              </a:ext>
            </a:extLst>
          </p:cNvPr>
          <p:cNvSpPr>
            <a:spLocks noGrp="1" noChangeArrowheads="1"/>
          </p:cNvSpPr>
          <p:nvPr>
            <p:ph type="body" idx="1"/>
          </p:nvPr>
        </p:nvSpPr>
        <p:spPr bwMode="auto">
          <a:xfrm>
            <a:off x="658813" y="1144588"/>
            <a:ext cx="10864850" cy="51419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GB" altLang="de-DE"/>
              <a:t>First level</a:t>
            </a:r>
          </a:p>
          <a:p>
            <a:pPr lvl="1"/>
            <a:r>
              <a:rPr lang="en-GB" altLang="de-DE"/>
              <a:t>Second level</a:t>
            </a:r>
          </a:p>
          <a:p>
            <a:pPr lvl="2"/>
            <a:r>
              <a:rPr lang="en-GB" altLang="de-DE"/>
              <a:t>Third level</a:t>
            </a:r>
          </a:p>
          <a:p>
            <a:pPr lvl="3"/>
            <a:r>
              <a:rPr lang="en-GB" altLang="de-DE"/>
              <a:t>Fourth level</a:t>
            </a:r>
          </a:p>
          <a:p>
            <a:pPr lvl="4"/>
            <a:r>
              <a:rPr lang="en-GB" altLang="de-DE"/>
              <a:t>Fifth level</a:t>
            </a:r>
          </a:p>
        </p:txBody>
      </p:sp>
      <p:sp>
        <p:nvSpPr>
          <p:cNvPr id="2052" name="Line 1038">
            <a:extLst>
              <a:ext uri="{FF2B5EF4-FFF2-40B4-BE49-F238E27FC236}">
                <a16:creationId xmlns:a16="http://schemas.microsoft.com/office/drawing/2014/main" id="{AA895C80-1D8C-539C-DAC4-1129FA296528}"/>
              </a:ext>
            </a:extLst>
          </p:cNvPr>
          <p:cNvSpPr>
            <a:spLocks noChangeShapeType="1"/>
          </p:cNvSpPr>
          <p:nvPr userDrawn="1"/>
        </p:nvSpPr>
        <p:spPr bwMode="auto">
          <a:xfrm>
            <a:off x="465138" y="950913"/>
            <a:ext cx="11263312" cy="0"/>
          </a:xfrm>
          <a:prstGeom prst="line">
            <a:avLst/>
          </a:prstGeom>
          <a:noFill/>
          <a:ln w="12700">
            <a:solidFill>
              <a:srgbClr val="5F5F5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Tree>
  </p:cSld>
  <p:clrMap bg1="lt1" tx1="dk1" bg2="lt2" tx2="dk2" accent1="accent1" accent2="accent2" accent3="accent3" accent4="accent4" accent5="accent5" accent6="accent6" hlink="hlink" folHlink="folHlink"/>
  <p:sldLayoutIdLst>
    <p:sldLayoutId id="2147486371" r:id="rId1"/>
    <p:sldLayoutId id="2147486372" r:id="rId2"/>
    <p:sldLayoutId id="2147486337" r:id="rId3"/>
    <p:sldLayoutId id="2147486373" r:id="rId4"/>
  </p:sldLayoutIdLst>
  <p:hf sldNum="0" hdr="0" dt="0"/>
  <p:txStyles>
    <p:titleStyle>
      <a:lvl1pPr algn="l" rtl="0" eaLnBrk="0" fontAlgn="base" hangingPunct="0">
        <a:spcBef>
          <a:spcPct val="0"/>
        </a:spcBef>
        <a:spcAft>
          <a:spcPct val="0"/>
        </a:spcAft>
        <a:defRPr sz="2000" b="1">
          <a:solidFill>
            <a:schemeClr val="tx1"/>
          </a:solidFill>
          <a:latin typeface="+mj-lt"/>
          <a:ea typeface="+mj-ea"/>
          <a:cs typeface="+mj-cs"/>
        </a:defRPr>
      </a:lvl1pPr>
      <a:lvl2pPr algn="l" rtl="0" eaLnBrk="0" fontAlgn="base" hangingPunct="0">
        <a:spcBef>
          <a:spcPct val="0"/>
        </a:spcBef>
        <a:spcAft>
          <a:spcPct val="0"/>
        </a:spcAft>
        <a:defRPr sz="2000" b="1">
          <a:solidFill>
            <a:schemeClr val="tx1"/>
          </a:solidFill>
          <a:latin typeface="Arial" charset="0"/>
        </a:defRPr>
      </a:lvl2pPr>
      <a:lvl3pPr algn="l" rtl="0" eaLnBrk="0" fontAlgn="base" hangingPunct="0">
        <a:spcBef>
          <a:spcPct val="0"/>
        </a:spcBef>
        <a:spcAft>
          <a:spcPct val="0"/>
        </a:spcAft>
        <a:defRPr sz="2000" b="1">
          <a:solidFill>
            <a:schemeClr val="tx1"/>
          </a:solidFill>
          <a:latin typeface="Arial" charset="0"/>
        </a:defRPr>
      </a:lvl3pPr>
      <a:lvl4pPr algn="l" rtl="0" eaLnBrk="0" fontAlgn="base" hangingPunct="0">
        <a:spcBef>
          <a:spcPct val="0"/>
        </a:spcBef>
        <a:spcAft>
          <a:spcPct val="0"/>
        </a:spcAft>
        <a:defRPr sz="2000" b="1">
          <a:solidFill>
            <a:schemeClr val="tx1"/>
          </a:solidFill>
          <a:latin typeface="Arial" charset="0"/>
        </a:defRPr>
      </a:lvl4pPr>
      <a:lvl5pPr algn="l" rtl="0" eaLnBrk="0" fontAlgn="base" hangingPunct="0">
        <a:spcBef>
          <a:spcPct val="0"/>
        </a:spcBef>
        <a:spcAft>
          <a:spcPct val="0"/>
        </a:spcAft>
        <a:defRPr sz="2000" b="1">
          <a:solidFill>
            <a:schemeClr val="tx1"/>
          </a:solidFill>
          <a:latin typeface="Arial" charset="0"/>
        </a:defRPr>
      </a:lvl5pPr>
      <a:lvl6pPr marL="457200" algn="l" rtl="0" eaLnBrk="1" fontAlgn="base" hangingPunct="1">
        <a:spcBef>
          <a:spcPct val="0"/>
        </a:spcBef>
        <a:spcAft>
          <a:spcPct val="0"/>
        </a:spcAft>
        <a:defRPr sz="2400" b="1">
          <a:solidFill>
            <a:schemeClr val="tx1"/>
          </a:solidFill>
          <a:latin typeface="Arial" charset="0"/>
        </a:defRPr>
      </a:lvl6pPr>
      <a:lvl7pPr marL="914400" algn="l" rtl="0" eaLnBrk="1" fontAlgn="base" hangingPunct="1">
        <a:spcBef>
          <a:spcPct val="0"/>
        </a:spcBef>
        <a:spcAft>
          <a:spcPct val="0"/>
        </a:spcAft>
        <a:defRPr sz="2400" b="1">
          <a:solidFill>
            <a:schemeClr val="tx1"/>
          </a:solidFill>
          <a:latin typeface="Arial" charset="0"/>
        </a:defRPr>
      </a:lvl7pPr>
      <a:lvl8pPr marL="1371600" algn="l" rtl="0" eaLnBrk="1" fontAlgn="base" hangingPunct="1">
        <a:spcBef>
          <a:spcPct val="0"/>
        </a:spcBef>
        <a:spcAft>
          <a:spcPct val="0"/>
        </a:spcAft>
        <a:defRPr sz="2400" b="1">
          <a:solidFill>
            <a:schemeClr val="tx1"/>
          </a:solidFill>
          <a:latin typeface="Arial" charset="0"/>
        </a:defRPr>
      </a:lvl8pPr>
      <a:lvl9pPr marL="1828800" algn="l" rtl="0" eaLnBrk="1" fontAlgn="base" hangingPunct="1">
        <a:spcBef>
          <a:spcPct val="0"/>
        </a:spcBef>
        <a:spcAft>
          <a:spcPct val="0"/>
        </a:spcAft>
        <a:defRPr sz="2400" b="1">
          <a:solidFill>
            <a:schemeClr val="tx1"/>
          </a:solidFill>
          <a:latin typeface="Arial" charset="0"/>
        </a:defRPr>
      </a:lvl9pPr>
    </p:titleStyle>
    <p:bodyStyle>
      <a:lvl1pPr marL="179388" indent="-179388" algn="l" rtl="0" eaLnBrk="0" fontAlgn="base" hangingPunct="0">
        <a:spcBef>
          <a:spcPct val="20000"/>
        </a:spcBef>
        <a:spcAft>
          <a:spcPct val="0"/>
        </a:spcAft>
        <a:buFont typeface="Wingdings" panose="05000000000000000000" pitchFamily="2" charset="2"/>
        <a:buChar char="§"/>
        <a:defRPr sz="2000">
          <a:solidFill>
            <a:schemeClr val="tx1"/>
          </a:solidFill>
          <a:latin typeface="+mn-lt"/>
          <a:ea typeface="+mn-ea"/>
          <a:cs typeface="+mn-cs"/>
        </a:defRPr>
      </a:lvl1pPr>
      <a:lvl2pPr marL="349250" indent="-168275" algn="l" rtl="0" eaLnBrk="0" fontAlgn="base" hangingPunct="0">
        <a:spcBef>
          <a:spcPct val="20000"/>
        </a:spcBef>
        <a:spcAft>
          <a:spcPct val="0"/>
        </a:spcAft>
        <a:buFont typeface="Wingdings" panose="05000000000000000000" pitchFamily="2" charset="2"/>
        <a:buChar char="§"/>
        <a:defRPr>
          <a:solidFill>
            <a:schemeClr val="tx1"/>
          </a:solidFill>
          <a:latin typeface="+mn-lt"/>
        </a:defRPr>
      </a:lvl2pPr>
      <a:lvl3pPr marL="538163" indent="-187325" algn="l" rtl="0" eaLnBrk="0" fontAlgn="base" hangingPunct="0">
        <a:spcBef>
          <a:spcPct val="20000"/>
        </a:spcBef>
        <a:spcAft>
          <a:spcPct val="0"/>
        </a:spcAft>
        <a:buFont typeface="Wingdings" panose="05000000000000000000" pitchFamily="2" charset="2"/>
        <a:buChar char="§"/>
        <a:defRPr>
          <a:solidFill>
            <a:schemeClr val="tx1"/>
          </a:solidFill>
          <a:latin typeface="+mn-lt"/>
        </a:defRPr>
      </a:lvl3pPr>
      <a:lvl4pPr marL="717550" indent="-173038" algn="l" rtl="0" eaLnBrk="0" fontAlgn="base" hangingPunct="0">
        <a:spcBef>
          <a:spcPct val="20000"/>
        </a:spcBef>
        <a:spcAft>
          <a:spcPct val="0"/>
        </a:spcAft>
        <a:buFont typeface="Wingdings" panose="05000000000000000000" pitchFamily="2" charset="2"/>
        <a:buChar char="§"/>
        <a:defRPr sz="1600">
          <a:solidFill>
            <a:schemeClr val="tx1"/>
          </a:solidFill>
          <a:latin typeface="+mn-lt"/>
        </a:defRPr>
      </a:lvl4pPr>
      <a:lvl5pPr marL="908050" indent="-188913" algn="l" rtl="0" eaLnBrk="0" fontAlgn="base" hangingPunct="0">
        <a:spcBef>
          <a:spcPct val="20000"/>
        </a:spcBef>
        <a:spcAft>
          <a:spcPct val="0"/>
        </a:spcAft>
        <a:buFont typeface="Wingdings" panose="05000000000000000000" pitchFamily="2" charset="2"/>
        <a:buChar char="§"/>
        <a:defRPr sz="1600">
          <a:solidFill>
            <a:schemeClr val="tx1"/>
          </a:solidFill>
          <a:latin typeface="+mn-lt"/>
        </a:defRPr>
      </a:lvl5pPr>
      <a:lvl6pPr marL="1365250" indent="-188913" algn="l" rtl="0" eaLnBrk="1" fontAlgn="base" hangingPunct="1">
        <a:spcBef>
          <a:spcPct val="20000"/>
        </a:spcBef>
        <a:spcAft>
          <a:spcPct val="0"/>
        </a:spcAft>
        <a:buFont typeface="Wingdings" pitchFamily="2" charset="2"/>
        <a:buChar char="§"/>
        <a:defRPr sz="1600">
          <a:solidFill>
            <a:schemeClr val="tx1"/>
          </a:solidFill>
          <a:latin typeface="+mn-lt"/>
        </a:defRPr>
      </a:lvl6pPr>
      <a:lvl7pPr marL="1822450" indent="-188913" algn="l" rtl="0" eaLnBrk="1" fontAlgn="base" hangingPunct="1">
        <a:spcBef>
          <a:spcPct val="20000"/>
        </a:spcBef>
        <a:spcAft>
          <a:spcPct val="0"/>
        </a:spcAft>
        <a:buFont typeface="Wingdings" pitchFamily="2" charset="2"/>
        <a:buChar char="§"/>
        <a:defRPr sz="1600">
          <a:solidFill>
            <a:schemeClr val="tx1"/>
          </a:solidFill>
          <a:latin typeface="+mn-lt"/>
        </a:defRPr>
      </a:lvl7pPr>
      <a:lvl8pPr marL="2279650" indent="-188913" algn="l" rtl="0" eaLnBrk="1" fontAlgn="base" hangingPunct="1">
        <a:spcBef>
          <a:spcPct val="20000"/>
        </a:spcBef>
        <a:spcAft>
          <a:spcPct val="0"/>
        </a:spcAft>
        <a:buFont typeface="Wingdings" pitchFamily="2" charset="2"/>
        <a:buChar char="§"/>
        <a:defRPr sz="1600">
          <a:solidFill>
            <a:schemeClr val="tx1"/>
          </a:solidFill>
          <a:latin typeface="+mn-lt"/>
        </a:defRPr>
      </a:lvl8pPr>
      <a:lvl9pPr marL="2736850" indent="-188913" algn="l" rtl="0" eaLnBrk="1" fontAlgn="base" hangingPunct="1">
        <a:spcBef>
          <a:spcPct val="20000"/>
        </a:spcBef>
        <a:spcAft>
          <a:spcPct val="0"/>
        </a:spcAft>
        <a:buFont typeface="Wingdings" pitchFamily="2" charset="2"/>
        <a:buChar char="§"/>
        <a:defRPr sz="1600">
          <a:solidFill>
            <a:schemeClr val="tx1"/>
          </a:solidFill>
          <a:latin typeface="+mn-lt"/>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074" name="Rectangle 1036">
            <a:extLst>
              <a:ext uri="{FF2B5EF4-FFF2-40B4-BE49-F238E27FC236}">
                <a16:creationId xmlns:a16="http://schemas.microsoft.com/office/drawing/2014/main" id="{F80D4223-1091-E78B-92F0-E4E99DDA401E}"/>
              </a:ext>
            </a:extLst>
          </p:cNvPr>
          <p:cNvSpPr>
            <a:spLocks noGrp="1" noChangeArrowheads="1"/>
          </p:cNvSpPr>
          <p:nvPr>
            <p:ph type="title"/>
          </p:nvPr>
        </p:nvSpPr>
        <p:spPr bwMode="auto">
          <a:xfrm>
            <a:off x="652463" y="34925"/>
            <a:ext cx="8877300" cy="8207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bodyPr>
          <a:lstStyle/>
          <a:p>
            <a:pPr lvl="0"/>
            <a:r>
              <a:rPr lang="en-GB" altLang="de-DE"/>
              <a:t>Click here to change title</a:t>
            </a:r>
          </a:p>
        </p:txBody>
      </p:sp>
      <p:sp>
        <p:nvSpPr>
          <p:cNvPr id="3075" name="Rectangle 1037">
            <a:extLst>
              <a:ext uri="{FF2B5EF4-FFF2-40B4-BE49-F238E27FC236}">
                <a16:creationId xmlns:a16="http://schemas.microsoft.com/office/drawing/2014/main" id="{7550FCE9-0090-961E-1652-79AE58F2CAFD}"/>
              </a:ext>
            </a:extLst>
          </p:cNvPr>
          <p:cNvSpPr>
            <a:spLocks noGrp="1" noChangeArrowheads="1"/>
          </p:cNvSpPr>
          <p:nvPr>
            <p:ph type="body" idx="1"/>
          </p:nvPr>
        </p:nvSpPr>
        <p:spPr bwMode="auto">
          <a:xfrm>
            <a:off x="658813" y="1144588"/>
            <a:ext cx="10864850" cy="51419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GB" altLang="de-DE"/>
              <a:t>First level</a:t>
            </a:r>
          </a:p>
          <a:p>
            <a:pPr lvl="1"/>
            <a:r>
              <a:rPr lang="en-GB" altLang="de-DE"/>
              <a:t>Second level</a:t>
            </a:r>
          </a:p>
          <a:p>
            <a:pPr lvl="2"/>
            <a:r>
              <a:rPr lang="en-GB" altLang="de-DE"/>
              <a:t>Third level</a:t>
            </a:r>
          </a:p>
          <a:p>
            <a:pPr lvl="3"/>
            <a:r>
              <a:rPr lang="en-GB" altLang="de-DE"/>
              <a:t>Fourth level</a:t>
            </a:r>
          </a:p>
          <a:p>
            <a:pPr lvl="4"/>
            <a:r>
              <a:rPr lang="en-GB" altLang="de-DE"/>
              <a:t>Fifth level</a:t>
            </a:r>
          </a:p>
        </p:txBody>
      </p:sp>
      <p:sp>
        <p:nvSpPr>
          <p:cNvPr id="3076" name="Line 1038">
            <a:extLst>
              <a:ext uri="{FF2B5EF4-FFF2-40B4-BE49-F238E27FC236}">
                <a16:creationId xmlns:a16="http://schemas.microsoft.com/office/drawing/2014/main" id="{9C6DECE8-D40E-8169-B353-8A2EEE271FAA}"/>
              </a:ext>
            </a:extLst>
          </p:cNvPr>
          <p:cNvSpPr>
            <a:spLocks noChangeShapeType="1"/>
          </p:cNvSpPr>
          <p:nvPr userDrawn="1"/>
        </p:nvSpPr>
        <p:spPr bwMode="auto">
          <a:xfrm>
            <a:off x="465138" y="950913"/>
            <a:ext cx="11263312" cy="0"/>
          </a:xfrm>
          <a:prstGeom prst="line">
            <a:avLst/>
          </a:prstGeom>
          <a:noFill/>
          <a:ln w="12700">
            <a:solidFill>
              <a:srgbClr val="5F5F5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Tree>
  </p:cSld>
  <p:clrMap bg1="lt1" tx1="dk1" bg2="lt2" tx2="dk2" accent1="accent1" accent2="accent2" accent3="accent3" accent4="accent4" accent5="accent5" accent6="accent6" hlink="hlink" folHlink="folHlink"/>
  <p:sldLayoutIdLst>
    <p:sldLayoutId id="2147486374" r:id="rId1"/>
    <p:sldLayoutId id="2147486375" r:id="rId2"/>
    <p:sldLayoutId id="2147486338" r:id="rId3"/>
    <p:sldLayoutId id="2147486376" r:id="rId4"/>
  </p:sldLayoutIdLst>
  <p:hf sldNum="0" hdr="0" dt="0"/>
  <p:txStyles>
    <p:titleStyle>
      <a:lvl1pPr algn="l" rtl="0" eaLnBrk="0" fontAlgn="base" hangingPunct="0">
        <a:spcBef>
          <a:spcPct val="0"/>
        </a:spcBef>
        <a:spcAft>
          <a:spcPct val="0"/>
        </a:spcAft>
        <a:defRPr sz="2000" b="1">
          <a:solidFill>
            <a:schemeClr val="tx1"/>
          </a:solidFill>
          <a:latin typeface="+mj-lt"/>
          <a:ea typeface="+mj-ea"/>
          <a:cs typeface="+mj-cs"/>
        </a:defRPr>
      </a:lvl1pPr>
      <a:lvl2pPr algn="l" rtl="0" eaLnBrk="0" fontAlgn="base" hangingPunct="0">
        <a:spcBef>
          <a:spcPct val="0"/>
        </a:spcBef>
        <a:spcAft>
          <a:spcPct val="0"/>
        </a:spcAft>
        <a:defRPr sz="2000" b="1">
          <a:solidFill>
            <a:schemeClr val="tx1"/>
          </a:solidFill>
          <a:latin typeface="Arial" charset="0"/>
        </a:defRPr>
      </a:lvl2pPr>
      <a:lvl3pPr algn="l" rtl="0" eaLnBrk="0" fontAlgn="base" hangingPunct="0">
        <a:spcBef>
          <a:spcPct val="0"/>
        </a:spcBef>
        <a:spcAft>
          <a:spcPct val="0"/>
        </a:spcAft>
        <a:defRPr sz="2000" b="1">
          <a:solidFill>
            <a:schemeClr val="tx1"/>
          </a:solidFill>
          <a:latin typeface="Arial" charset="0"/>
        </a:defRPr>
      </a:lvl3pPr>
      <a:lvl4pPr algn="l" rtl="0" eaLnBrk="0" fontAlgn="base" hangingPunct="0">
        <a:spcBef>
          <a:spcPct val="0"/>
        </a:spcBef>
        <a:spcAft>
          <a:spcPct val="0"/>
        </a:spcAft>
        <a:defRPr sz="2000" b="1">
          <a:solidFill>
            <a:schemeClr val="tx1"/>
          </a:solidFill>
          <a:latin typeface="Arial" charset="0"/>
        </a:defRPr>
      </a:lvl4pPr>
      <a:lvl5pPr algn="l" rtl="0" eaLnBrk="0" fontAlgn="base" hangingPunct="0">
        <a:spcBef>
          <a:spcPct val="0"/>
        </a:spcBef>
        <a:spcAft>
          <a:spcPct val="0"/>
        </a:spcAft>
        <a:defRPr sz="2000" b="1">
          <a:solidFill>
            <a:schemeClr val="tx1"/>
          </a:solidFill>
          <a:latin typeface="Arial" charset="0"/>
        </a:defRPr>
      </a:lvl5pPr>
      <a:lvl6pPr marL="457200" algn="l" rtl="0" eaLnBrk="1" fontAlgn="base" hangingPunct="1">
        <a:spcBef>
          <a:spcPct val="0"/>
        </a:spcBef>
        <a:spcAft>
          <a:spcPct val="0"/>
        </a:spcAft>
        <a:defRPr sz="2400" b="1">
          <a:solidFill>
            <a:schemeClr val="tx1"/>
          </a:solidFill>
          <a:latin typeface="Arial" charset="0"/>
        </a:defRPr>
      </a:lvl6pPr>
      <a:lvl7pPr marL="914400" algn="l" rtl="0" eaLnBrk="1" fontAlgn="base" hangingPunct="1">
        <a:spcBef>
          <a:spcPct val="0"/>
        </a:spcBef>
        <a:spcAft>
          <a:spcPct val="0"/>
        </a:spcAft>
        <a:defRPr sz="2400" b="1">
          <a:solidFill>
            <a:schemeClr val="tx1"/>
          </a:solidFill>
          <a:latin typeface="Arial" charset="0"/>
        </a:defRPr>
      </a:lvl7pPr>
      <a:lvl8pPr marL="1371600" algn="l" rtl="0" eaLnBrk="1" fontAlgn="base" hangingPunct="1">
        <a:spcBef>
          <a:spcPct val="0"/>
        </a:spcBef>
        <a:spcAft>
          <a:spcPct val="0"/>
        </a:spcAft>
        <a:defRPr sz="2400" b="1">
          <a:solidFill>
            <a:schemeClr val="tx1"/>
          </a:solidFill>
          <a:latin typeface="Arial" charset="0"/>
        </a:defRPr>
      </a:lvl8pPr>
      <a:lvl9pPr marL="1828800" algn="l" rtl="0" eaLnBrk="1" fontAlgn="base" hangingPunct="1">
        <a:spcBef>
          <a:spcPct val="0"/>
        </a:spcBef>
        <a:spcAft>
          <a:spcPct val="0"/>
        </a:spcAft>
        <a:defRPr sz="2400" b="1">
          <a:solidFill>
            <a:schemeClr val="tx1"/>
          </a:solidFill>
          <a:latin typeface="Arial" charset="0"/>
        </a:defRPr>
      </a:lvl9pPr>
    </p:titleStyle>
    <p:bodyStyle>
      <a:lvl1pPr marL="179388" indent="-179388" algn="l" rtl="0" eaLnBrk="0" fontAlgn="base" hangingPunct="0">
        <a:spcBef>
          <a:spcPct val="20000"/>
        </a:spcBef>
        <a:spcAft>
          <a:spcPct val="0"/>
        </a:spcAft>
        <a:buFont typeface="Wingdings" panose="05000000000000000000" pitchFamily="2" charset="2"/>
        <a:buChar char="§"/>
        <a:defRPr sz="2000">
          <a:solidFill>
            <a:schemeClr val="tx1"/>
          </a:solidFill>
          <a:latin typeface="+mn-lt"/>
          <a:ea typeface="+mn-ea"/>
          <a:cs typeface="+mn-cs"/>
        </a:defRPr>
      </a:lvl1pPr>
      <a:lvl2pPr marL="349250" indent="-168275" algn="l" rtl="0" eaLnBrk="0" fontAlgn="base" hangingPunct="0">
        <a:spcBef>
          <a:spcPct val="20000"/>
        </a:spcBef>
        <a:spcAft>
          <a:spcPct val="0"/>
        </a:spcAft>
        <a:buFont typeface="Wingdings" panose="05000000000000000000" pitchFamily="2" charset="2"/>
        <a:buChar char="§"/>
        <a:defRPr>
          <a:solidFill>
            <a:schemeClr val="tx1"/>
          </a:solidFill>
          <a:latin typeface="+mn-lt"/>
        </a:defRPr>
      </a:lvl2pPr>
      <a:lvl3pPr marL="538163" indent="-187325" algn="l" rtl="0" eaLnBrk="0" fontAlgn="base" hangingPunct="0">
        <a:spcBef>
          <a:spcPct val="20000"/>
        </a:spcBef>
        <a:spcAft>
          <a:spcPct val="0"/>
        </a:spcAft>
        <a:buFont typeface="Wingdings" panose="05000000000000000000" pitchFamily="2" charset="2"/>
        <a:buChar char="§"/>
        <a:defRPr>
          <a:solidFill>
            <a:schemeClr val="tx1"/>
          </a:solidFill>
          <a:latin typeface="+mn-lt"/>
        </a:defRPr>
      </a:lvl3pPr>
      <a:lvl4pPr marL="717550" indent="-173038" algn="l" rtl="0" eaLnBrk="0" fontAlgn="base" hangingPunct="0">
        <a:spcBef>
          <a:spcPct val="20000"/>
        </a:spcBef>
        <a:spcAft>
          <a:spcPct val="0"/>
        </a:spcAft>
        <a:buFont typeface="Wingdings" panose="05000000000000000000" pitchFamily="2" charset="2"/>
        <a:buChar char="§"/>
        <a:defRPr sz="1600">
          <a:solidFill>
            <a:schemeClr val="tx1"/>
          </a:solidFill>
          <a:latin typeface="+mn-lt"/>
        </a:defRPr>
      </a:lvl4pPr>
      <a:lvl5pPr marL="908050" indent="-188913" algn="l" rtl="0" eaLnBrk="0" fontAlgn="base" hangingPunct="0">
        <a:spcBef>
          <a:spcPct val="20000"/>
        </a:spcBef>
        <a:spcAft>
          <a:spcPct val="0"/>
        </a:spcAft>
        <a:buFont typeface="Wingdings" panose="05000000000000000000" pitchFamily="2" charset="2"/>
        <a:buChar char="§"/>
        <a:defRPr sz="1600">
          <a:solidFill>
            <a:schemeClr val="tx1"/>
          </a:solidFill>
          <a:latin typeface="+mn-lt"/>
        </a:defRPr>
      </a:lvl5pPr>
      <a:lvl6pPr marL="1365250" indent="-188913" algn="l" rtl="0" eaLnBrk="1" fontAlgn="base" hangingPunct="1">
        <a:spcBef>
          <a:spcPct val="20000"/>
        </a:spcBef>
        <a:spcAft>
          <a:spcPct val="0"/>
        </a:spcAft>
        <a:buFont typeface="Wingdings" pitchFamily="2" charset="2"/>
        <a:buChar char="§"/>
        <a:defRPr sz="1600">
          <a:solidFill>
            <a:schemeClr val="tx1"/>
          </a:solidFill>
          <a:latin typeface="+mn-lt"/>
        </a:defRPr>
      </a:lvl6pPr>
      <a:lvl7pPr marL="1822450" indent="-188913" algn="l" rtl="0" eaLnBrk="1" fontAlgn="base" hangingPunct="1">
        <a:spcBef>
          <a:spcPct val="20000"/>
        </a:spcBef>
        <a:spcAft>
          <a:spcPct val="0"/>
        </a:spcAft>
        <a:buFont typeface="Wingdings" pitchFamily="2" charset="2"/>
        <a:buChar char="§"/>
        <a:defRPr sz="1600">
          <a:solidFill>
            <a:schemeClr val="tx1"/>
          </a:solidFill>
          <a:latin typeface="+mn-lt"/>
        </a:defRPr>
      </a:lvl7pPr>
      <a:lvl8pPr marL="2279650" indent="-188913" algn="l" rtl="0" eaLnBrk="1" fontAlgn="base" hangingPunct="1">
        <a:spcBef>
          <a:spcPct val="20000"/>
        </a:spcBef>
        <a:spcAft>
          <a:spcPct val="0"/>
        </a:spcAft>
        <a:buFont typeface="Wingdings" pitchFamily="2" charset="2"/>
        <a:buChar char="§"/>
        <a:defRPr sz="1600">
          <a:solidFill>
            <a:schemeClr val="tx1"/>
          </a:solidFill>
          <a:latin typeface="+mn-lt"/>
        </a:defRPr>
      </a:lvl8pPr>
      <a:lvl9pPr marL="2736850" indent="-188913" algn="l" rtl="0" eaLnBrk="1" fontAlgn="base" hangingPunct="1">
        <a:spcBef>
          <a:spcPct val="20000"/>
        </a:spcBef>
        <a:spcAft>
          <a:spcPct val="0"/>
        </a:spcAft>
        <a:buFont typeface="Wingdings" pitchFamily="2" charset="2"/>
        <a:buChar char="§"/>
        <a:defRPr sz="1600">
          <a:solidFill>
            <a:schemeClr val="tx1"/>
          </a:solidFill>
          <a:latin typeface="+mn-lt"/>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098" name="Rectangle 1036">
            <a:extLst>
              <a:ext uri="{FF2B5EF4-FFF2-40B4-BE49-F238E27FC236}">
                <a16:creationId xmlns:a16="http://schemas.microsoft.com/office/drawing/2014/main" id="{8DC9C6A5-B86D-C44B-4000-E38A01512694}"/>
              </a:ext>
            </a:extLst>
          </p:cNvPr>
          <p:cNvSpPr>
            <a:spLocks noGrp="1" noChangeArrowheads="1"/>
          </p:cNvSpPr>
          <p:nvPr>
            <p:ph type="title"/>
          </p:nvPr>
        </p:nvSpPr>
        <p:spPr bwMode="auto">
          <a:xfrm>
            <a:off x="652463" y="34925"/>
            <a:ext cx="8877300" cy="8207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bodyPr>
          <a:lstStyle/>
          <a:p>
            <a:pPr lvl="0"/>
            <a:r>
              <a:rPr lang="en-GB" altLang="de-DE"/>
              <a:t>Click here to change title</a:t>
            </a:r>
          </a:p>
        </p:txBody>
      </p:sp>
      <p:sp>
        <p:nvSpPr>
          <p:cNvPr id="4099" name="Rectangle 1037">
            <a:extLst>
              <a:ext uri="{FF2B5EF4-FFF2-40B4-BE49-F238E27FC236}">
                <a16:creationId xmlns:a16="http://schemas.microsoft.com/office/drawing/2014/main" id="{AE596AD6-1501-4A40-87C4-07FBE0F54EA9}"/>
              </a:ext>
            </a:extLst>
          </p:cNvPr>
          <p:cNvSpPr>
            <a:spLocks noGrp="1" noChangeArrowheads="1"/>
          </p:cNvSpPr>
          <p:nvPr>
            <p:ph type="body" idx="1"/>
          </p:nvPr>
        </p:nvSpPr>
        <p:spPr bwMode="auto">
          <a:xfrm>
            <a:off x="658813" y="1144588"/>
            <a:ext cx="10864850" cy="51419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GB" altLang="de-DE"/>
              <a:t>First level</a:t>
            </a:r>
          </a:p>
          <a:p>
            <a:pPr lvl="1"/>
            <a:r>
              <a:rPr lang="en-GB" altLang="de-DE"/>
              <a:t>Second level</a:t>
            </a:r>
          </a:p>
          <a:p>
            <a:pPr lvl="2"/>
            <a:r>
              <a:rPr lang="en-GB" altLang="de-DE"/>
              <a:t>Third level</a:t>
            </a:r>
          </a:p>
          <a:p>
            <a:pPr lvl="3"/>
            <a:r>
              <a:rPr lang="en-GB" altLang="de-DE"/>
              <a:t>Fourth level</a:t>
            </a:r>
          </a:p>
          <a:p>
            <a:pPr lvl="4"/>
            <a:r>
              <a:rPr lang="en-GB" altLang="de-DE"/>
              <a:t>Fifth level</a:t>
            </a:r>
          </a:p>
        </p:txBody>
      </p:sp>
      <p:sp>
        <p:nvSpPr>
          <p:cNvPr id="4100" name="Line 1038">
            <a:extLst>
              <a:ext uri="{FF2B5EF4-FFF2-40B4-BE49-F238E27FC236}">
                <a16:creationId xmlns:a16="http://schemas.microsoft.com/office/drawing/2014/main" id="{AE09B031-AB1C-D164-A195-779DF64FEF00}"/>
              </a:ext>
            </a:extLst>
          </p:cNvPr>
          <p:cNvSpPr>
            <a:spLocks noChangeShapeType="1"/>
          </p:cNvSpPr>
          <p:nvPr userDrawn="1"/>
        </p:nvSpPr>
        <p:spPr bwMode="auto">
          <a:xfrm>
            <a:off x="465138" y="950913"/>
            <a:ext cx="11263312" cy="0"/>
          </a:xfrm>
          <a:prstGeom prst="line">
            <a:avLst/>
          </a:prstGeom>
          <a:noFill/>
          <a:ln w="12700">
            <a:solidFill>
              <a:srgbClr val="5F5F5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Tree>
  </p:cSld>
  <p:clrMap bg1="lt1" tx1="dk1" bg2="lt2" tx2="dk2" accent1="accent1" accent2="accent2" accent3="accent3" accent4="accent4" accent5="accent5" accent6="accent6" hlink="hlink" folHlink="folHlink"/>
  <p:sldLayoutIdLst>
    <p:sldLayoutId id="2147486377" r:id="rId1"/>
    <p:sldLayoutId id="2147486378" r:id="rId2"/>
    <p:sldLayoutId id="2147486339" r:id="rId3"/>
    <p:sldLayoutId id="2147486379" r:id="rId4"/>
  </p:sldLayoutIdLst>
  <p:hf sldNum="0" hdr="0" dt="0"/>
  <p:txStyles>
    <p:titleStyle>
      <a:lvl1pPr algn="l" rtl="0" eaLnBrk="0" fontAlgn="base" hangingPunct="0">
        <a:spcBef>
          <a:spcPct val="0"/>
        </a:spcBef>
        <a:spcAft>
          <a:spcPct val="0"/>
        </a:spcAft>
        <a:defRPr sz="2000" b="1">
          <a:solidFill>
            <a:schemeClr val="tx1"/>
          </a:solidFill>
          <a:latin typeface="+mj-lt"/>
          <a:ea typeface="+mj-ea"/>
          <a:cs typeface="+mj-cs"/>
        </a:defRPr>
      </a:lvl1pPr>
      <a:lvl2pPr algn="l" rtl="0" eaLnBrk="0" fontAlgn="base" hangingPunct="0">
        <a:spcBef>
          <a:spcPct val="0"/>
        </a:spcBef>
        <a:spcAft>
          <a:spcPct val="0"/>
        </a:spcAft>
        <a:defRPr sz="2000" b="1">
          <a:solidFill>
            <a:schemeClr val="tx1"/>
          </a:solidFill>
          <a:latin typeface="Arial" charset="0"/>
        </a:defRPr>
      </a:lvl2pPr>
      <a:lvl3pPr algn="l" rtl="0" eaLnBrk="0" fontAlgn="base" hangingPunct="0">
        <a:spcBef>
          <a:spcPct val="0"/>
        </a:spcBef>
        <a:spcAft>
          <a:spcPct val="0"/>
        </a:spcAft>
        <a:defRPr sz="2000" b="1">
          <a:solidFill>
            <a:schemeClr val="tx1"/>
          </a:solidFill>
          <a:latin typeface="Arial" charset="0"/>
        </a:defRPr>
      </a:lvl3pPr>
      <a:lvl4pPr algn="l" rtl="0" eaLnBrk="0" fontAlgn="base" hangingPunct="0">
        <a:spcBef>
          <a:spcPct val="0"/>
        </a:spcBef>
        <a:spcAft>
          <a:spcPct val="0"/>
        </a:spcAft>
        <a:defRPr sz="2000" b="1">
          <a:solidFill>
            <a:schemeClr val="tx1"/>
          </a:solidFill>
          <a:latin typeface="Arial" charset="0"/>
        </a:defRPr>
      </a:lvl4pPr>
      <a:lvl5pPr algn="l" rtl="0" eaLnBrk="0" fontAlgn="base" hangingPunct="0">
        <a:spcBef>
          <a:spcPct val="0"/>
        </a:spcBef>
        <a:spcAft>
          <a:spcPct val="0"/>
        </a:spcAft>
        <a:defRPr sz="2000" b="1">
          <a:solidFill>
            <a:schemeClr val="tx1"/>
          </a:solidFill>
          <a:latin typeface="Arial" charset="0"/>
        </a:defRPr>
      </a:lvl5pPr>
      <a:lvl6pPr marL="457200" algn="l" rtl="0" eaLnBrk="1" fontAlgn="base" hangingPunct="1">
        <a:spcBef>
          <a:spcPct val="0"/>
        </a:spcBef>
        <a:spcAft>
          <a:spcPct val="0"/>
        </a:spcAft>
        <a:defRPr sz="2400" b="1">
          <a:solidFill>
            <a:schemeClr val="tx1"/>
          </a:solidFill>
          <a:latin typeface="Arial" charset="0"/>
        </a:defRPr>
      </a:lvl6pPr>
      <a:lvl7pPr marL="914400" algn="l" rtl="0" eaLnBrk="1" fontAlgn="base" hangingPunct="1">
        <a:spcBef>
          <a:spcPct val="0"/>
        </a:spcBef>
        <a:spcAft>
          <a:spcPct val="0"/>
        </a:spcAft>
        <a:defRPr sz="2400" b="1">
          <a:solidFill>
            <a:schemeClr val="tx1"/>
          </a:solidFill>
          <a:latin typeface="Arial" charset="0"/>
        </a:defRPr>
      </a:lvl7pPr>
      <a:lvl8pPr marL="1371600" algn="l" rtl="0" eaLnBrk="1" fontAlgn="base" hangingPunct="1">
        <a:spcBef>
          <a:spcPct val="0"/>
        </a:spcBef>
        <a:spcAft>
          <a:spcPct val="0"/>
        </a:spcAft>
        <a:defRPr sz="2400" b="1">
          <a:solidFill>
            <a:schemeClr val="tx1"/>
          </a:solidFill>
          <a:latin typeface="Arial" charset="0"/>
        </a:defRPr>
      </a:lvl8pPr>
      <a:lvl9pPr marL="1828800" algn="l" rtl="0" eaLnBrk="1" fontAlgn="base" hangingPunct="1">
        <a:spcBef>
          <a:spcPct val="0"/>
        </a:spcBef>
        <a:spcAft>
          <a:spcPct val="0"/>
        </a:spcAft>
        <a:defRPr sz="2400" b="1">
          <a:solidFill>
            <a:schemeClr val="tx1"/>
          </a:solidFill>
          <a:latin typeface="Arial" charset="0"/>
        </a:defRPr>
      </a:lvl9pPr>
    </p:titleStyle>
    <p:bodyStyle>
      <a:lvl1pPr marL="179388" indent="-179388" algn="l" rtl="0" eaLnBrk="0" fontAlgn="base" hangingPunct="0">
        <a:spcBef>
          <a:spcPct val="20000"/>
        </a:spcBef>
        <a:spcAft>
          <a:spcPct val="0"/>
        </a:spcAft>
        <a:buFont typeface="Wingdings" panose="05000000000000000000" pitchFamily="2" charset="2"/>
        <a:buChar char="§"/>
        <a:defRPr sz="2000">
          <a:solidFill>
            <a:schemeClr val="tx1"/>
          </a:solidFill>
          <a:latin typeface="+mn-lt"/>
          <a:ea typeface="+mn-ea"/>
          <a:cs typeface="+mn-cs"/>
        </a:defRPr>
      </a:lvl1pPr>
      <a:lvl2pPr marL="349250" indent="-168275" algn="l" rtl="0" eaLnBrk="0" fontAlgn="base" hangingPunct="0">
        <a:spcBef>
          <a:spcPct val="20000"/>
        </a:spcBef>
        <a:spcAft>
          <a:spcPct val="0"/>
        </a:spcAft>
        <a:buFont typeface="Wingdings" panose="05000000000000000000" pitchFamily="2" charset="2"/>
        <a:buChar char="§"/>
        <a:defRPr>
          <a:solidFill>
            <a:schemeClr val="tx1"/>
          </a:solidFill>
          <a:latin typeface="+mn-lt"/>
        </a:defRPr>
      </a:lvl2pPr>
      <a:lvl3pPr marL="538163" indent="-187325" algn="l" rtl="0" eaLnBrk="0" fontAlgn="base" hangingPunct="0">
        <a:spcBef>
          <a:spcPct val="20000"/>
        </a:spcBef>
        <a:spcAft>
          <a:spcPct val="0"/>
        </a:spcAft>
        <a:buFont typeface="Wingdings" panose="05000000000000000000" pitchFamily="2" charset="2"/>
        <a:buChar char="§"/>
        <a:defRPr>
          <a:solidFill>
            <a:schemeClr val="tx1"/>
          </a:solidFill>
          <a:latin typeface="+mn-lt"/>
        </a:defRPr>
      </a:lvl3pPr>
      <a:lvl4pPr marL="717550" indent="-173038" algn="l" rtl="0" eaLnBrk="0" fontAlgn="base" hangingPunct="0">
        <a:spcBef>
          <a:spcPct val="20000"/>
        </a:spcBef>
        <a:spcAft>
          <a:spcPct val="0"/>
        </a:spcAft>
        <a:buFont typeface="Wingdings" panose="05000000000000000000" pitchFamily="2" charset="2"/>
        <a:buChar char="§"/>
        <a:defRPr sz="1600">
          <a:solidFill>
            <a:schemeClr val="tx1"/>
          </a:solidFill>
          <a:latin typeface="+mn-lt"/>
        </a:defRPr>
      </a:lvl4pPr>
      <a:lvl5pPr marL="908050" indent="-188913" algn="l" rtl="0" eaLnBrk="0" fontAlgn="base" hangingPunct="0">
        <a:spcBef>
          <a:spcPct val="20000"/>
        </a:spcBef>
        <a:spcAft>
          <a:spcPct val="0"/>
        </a:spcAft>
        <a:buFont typeface="Wingdings" panose="05000000000000000000" pitchFamily="2" charset="2"/>
        <a:buChar char="§"/>
        <a:defRPr sz="1600">
          <a:solidFill>
            <a:schemeClr val="tx1"/>
          </a:solidFill>
          <a:latin typeface="+mn-lt"/>
        </a:defRPr>
      </a:lvl5pPr>
      <a:lvl6pPr marL="1365250" indent="-188913" algn="l" rtl="0" eaLnBrk="1" fontAlgn="base" hangingPunct="1">
        <a:spcBef>
          <a:spcPct val="20000"/>
        </a:spcBef>
        <a:spcAft>
          <a:spcPct val="0"/>
        </a:spcAft>
        <a:buFont typeface="Wingdings" pitchFamily="2" charset="2"/>
        <a:buChar char="§"/>
        <a:defRPr sz="1600">
          <a:solidFill>
            <a:schemeClr val="tx1"/>
          </a:solidFill>
          <a:latin typeface="+mn-lt"/>
        </a:defRPr>
      </a:lvl6pPr>
      <a:lvl7pPr marL="1822450" indent="-188913" algn="l" rtl="0" eaLnBrk="1" fontAlgn="base" hangingPunct="1">
        <a:spcBef>
          <a:spcPct val="20000"/>
        </a:spcBef>
        <a:spcAft>
          <a:spcPct val="0"/>
        </a:spcAft>
        <a:buFont typeface="Wingdings" pitchFamily="2" charset="2"/>
        <a:buChar char="§"/>
        <a:defRPr sz="1600">
          <a:solidFill>
            <a:schemeClr val="tx1"/>
          </a:solidFill>
          <a:latin typeface="+mn-lt"/>
        </a:defRPr>
      </a:lvl7pPr>
      <a:lvl8pPr marL="2279650" indent="-188913" algn="l" rtl="0" eaLnBrk="1" fontAlgn="base" hangingPunct="1">
        <a:spcBef>
          <a:spcPct val="20000"/>
        </a:spcBef>
        <a:spcAft>
          <a:spcPct val="0"/>
        </a:spcAft>
        <a:buFont typeface="Wingdings" pitchFamily="2" charset="2"/>
        <a:buChar char="§"/>
        <a:defRPr sz="1600">
          <a:solidFill>
            <a:schemeClr val="tx1"/>
          </a:solidFill>
          <a:latin typeface="+mn-lt"/>
        </a:defRPr>
      </a:lvl8pPr>
      <a:lvl9pPr marL="2736850" indent="-188913" algn="l" rtl="0" eaLnBrk="1" fontAlgn="base" hangingPunct="1">
        <a:spcBef>
          <a:spcPct val="20000"/>
        </a:spcBef>
        <a:spcAft>
          <a:spcPct val="0"/>
        </a:spcAft>
        <a:buFont typeface="Wingdings" pitchFamily="2" charset="2"/>
        <a:buChar char="§"/>
        <a:defRPr sz="1600">
          <a:solidFill>
            <a:schemeClr val="tx1"/>
          </a:solidFill>
          <a:latin typeface="+mn-lt"/>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5122" name="Rectangle 1036">
            <a:extLst>
              <a:ext uri="{FF2B5EF4-FFF2-40B4-BE49-F238E27FC236}">
                <a16:creationId xmlns:a16="http://schemas.microsoft.com/office/drawing/2014/main" id="{A53D22C5-7943-3D75-FBD1-8DE8B4ABD427}"/>
              </a:ext>
            </a:extLst>
          </p:cNvPr>
          <p:cNvSpPr>
            <a:spLocks noGrp="1" noChangeArrowheads="1"/>
          </p:cNvSpPr>
          <p:nvPr>
            <p:ph type="title"/>
          </p:nvPr>
        </p:nvSpPr>
        <p:spPr bwMode="auto">
          <a:xfrm>
            <a:off x="652463" y="34925"/>
            <a:ext cx="8877300" cy="8207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bodyPr>
          <a:lstStyle/>
          <a:p>
            <a:pPr lvl="0"/>
            <a:r>
              <a:rPr lang="en-GB" altLang="de-DE"/>
              <a:t>Click here to change title</a:t>
            </a:r>
          </a:p>
        </p:txBody>
      </p:sp>
      <p:sp>
        <p:nvSpPr>
          <p:cNvPr id="5123" name="Rectangle 1037">
            <a:extLst>
              <a:ext uri="{FF2B5EF4-FFF2-40B4-BE49-F238E27FC236}">
                <a16:creationId xmlns:a16="http://schemas.microsoft.com/office/drawing/2014/main" id="{949A1BBE-C60A-10D2-7A51-9B7C460BB3F4}"/>
              </a:ext>
            </a:extLst>
          </p:cNvPr>
          <p:cNvSpPr>
            <a:spLocks noGrp="1" noChangeArrowheads="1"/>
          </p:cNvSpPr>
          <p:nvPr>
            <p:ph type="body" idx="1"/>
          </p:nvPr>
        </p:nvSpPr>
        <p:spPr bwMode="auto">
          <a:xfrm>
            <a:off x="658813" y="1144588"/>
            <a:ext cx="10864850" cy="51419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GB" altLang="de-DE"/>
              <a:t>First level</a:t>
            </a:r>
          </a:p>
          <a:p>
            <a:pPr lvl="1"/>
            <a:r>
              <a:rPr lang="en-GB" altLang="de-DE"/>
              <a:t>Second level</a:t>
            </a:r>
          </a:p>
          <a:p>
            <a:pPr lvl="2"/>
            <a:r>
              <a:rPr lang="en-GB" altLang="de-DE"/>
              <a:t>Third level</a:t>
            </a:r>
          </a:p>
          <a:p>
            <a:pPr lvl="3"/>
            <a:r>
              <a:rPr lang="en-GB" altLang="de-DE"/>
              <a:t>Fourth level</a:t>
            </a:r>
          </a:p>
          <a:p>
            <a:pPr lvl="4"/>
            <a:r>
              <a:rPr lang="en-GB" altLang="de-DE"/>
              <a:t>Fifth level</a:t>
            </a:r>
          </a:p>
        </p:txBody>
      </p:sp>
      <p:sp>
        <p:nvSpPr>
          <p:cNvPr id="5124" name="Line 1038">
            <a:extLst>
              <a:ext uri="{FF2B5EF4-FFF2-40B4-BE49-F238E27FC236}">
                <a16:creationId xmlns:a16="http://schemas.microsoft.com/office/drawing/2014/main" id="{1FF4B63E-EE22-661A-F73E-DC004E2CACC8}"/>
              </a:ext>
            </a:extLst>
          </p:cNvPr>
          <p:cNvSpPr>
            <a:spLocks noChangeShapeType="1"/>
          </p:cNvSpPr>
          <p:nvPr userDrawn="1"/>
        </p:nvSpPr>
        <p:spPr bwMode="auto">
          <a:xfrm>
            <a:off x="465138" y="950913"/>
            <a:ext cx="11263312" cy="0"/>
          </a:xfrm>
          <a:prstGeom prst="line">
            <a:avLst/>
          </a:prstGeom>
          <a:noFill/>
          <a:ln w="12700">
            <a:solidFill>
              <a:srgbClr val="5F5F5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Tree>
  </p:cSld>
  <p:clrMap bg1="lt1" tx1="dk1" bg2="lt2" tx2="dk2" accent1="accent1" accent2="accent2" accent3="accent3" accent4="accent4" accent5="accent5" accent6="accent6" hlink="hlink" folHlink="folHlink"/>
  <p:sldLayoutIdLst>
    <p:sldLayoutId id="2147486380" r:id="rId1"/>
    <p:sldLayoutId id="2147486381" r:id="rId2"/>
    <p:sldLayoutId id="2147486340" r:id="rId3"/>
    <p:sldLayoutId id="2147486382" r:id="rId4"/>
  </p:sldLayoutIdLst>
  <p:hf sldNum="0" hdr="0" dt="0"/>
  <p:txStyles>
    <p:titleStyle>
      <a:lvl1pPr algn="l" rtl="0" eaLnBrk="0" fontAlgn="base" hangingPunct="0">
        <a:spcBef>
          <a:spcPct val="0"/>
        </a:spcBef>
        <a:spcAft>
          <a:spcPct val="0"/>
        </a:spcAft>
        <a:defRPr sz="2000" b="1">
          <a:solidFill>
            <a:schemeClr val="tx1"/>
          </a:solidFill>
          <a:latin typeface="+mj-lt"/>
          <a:ea typeface="+mj-ea"/>
          <a:cs typeface="+mj-cs"/>
        </a:defRPr>
      </a:lvl1pPr>
      <a:lvl2pPr algn="l" rtl="0" eaLnBrk="0" fontAlgn="base" hangingPunct="0">
        <a:spcBef>
          <a:spcPct val="0"/>
        </a:spcBef>
        <a:spcAft>
          <a:spcPct val="0"/>
        </a:spcAft>
        <a:defRPr sz="2000" b="1">
          <a:solidFill>
            <a:schemeClr val="tx1"/>
          </a:solidFill>
          <a:latin typeface="Arial" charset="0"/>
        </a:defRPr>
      </a:lvl2pPr>
      <a:lvl3pPr algn="l" rtl="0" eaLnBrk="0" fontAlgn="base" hangingPunct="0">
        <a:spcBef>
          <a:spcPct val="0"/>
        </a:spcBef>
        <a:spcAft>
          <a:spcPct val="0"/>
        </a:spcAft>
        <a:defRPr sz="2000" b="1">
          <a:solidFill>
            <a:schemeClr val="tx1"/>
          </a:solidFill>
          <a:latin typeface="Arial" charset="0"/>
        </a:defRPr>
      </a:lvl3pPr>
      <a:lvl4pPr algn="l" rtl="0" eaLnBrk="0" fontAlgn="base" hangingPunct="0">
        <a:spcBef>
          <a:spcPct val="0"/>
        </a:spcBef>
        <a:spcAft>
          <a:spcPct val="0"/>
        </a:spcAft>
        <a:defRPr sz="2000" b="1">
          <a:solidFill>
            <a:schemeClr val="tx1"/>
          </a:solidFill>
          <a:latin typeface="Arial" charset="0"/>
        </a:defRPr>
      </a:lvl4pPr>
      <a:lvl5pPr algn="l" rtl="0" eaLnBrk="0" fontAlgn="base" hangingPunct="0">
        <a:spcBef>
          <a:spcPct val="0"/>
        </a:spcBef>
        <a:spcAft>
          <a:spcPct val="0"/>
        </a:spcAft>
        <a:defRPr sz="2000" b="1">
          <a:solidFill>
            <a:schemeClr val="tx1"/>
          </a:solidFill>
          <a:latin typeface="Arial" charset="0"/>
        </a:defRPr>
      </a:lvl5pPr>
      <a:lvl6pPr marL="457200" algn="l" rtl="0" eaLnBrk="1" fontAlgn="base" hangingPunct="1">
        <a:spcBef>
          <a:spcPct val="0"/>
        </a:spcBef>
        <a:spcAft>
          <a:spcPct val="0"/>
        </a:spcAft>
        <a:defRPr sz="2400" b="1">
          <a:solidFill>
            <a:schemeClr val="tx1"/>
          </a:solidFill>
          <a:latin typeface="Arial" charset="0"/>
        </a:defRPr>
      </a:lvl6pPr>
      <a:lvl7pPr marL="914400" algn="l" rtl="0" eaLnBrk="1" fontAlgn="base" hangingPunct="1">
        <a:spcBef>
          <a:spcPct val="0"/>
        </a:spcBef>
        <a:spcAft>
          <a:spcPct val="0"/>
        </a:spcAft>
        <a:defRPr sz="2400" b="1">
          <a:solidFill>
            <a:schemeClr val="tx1"/>
          </a:solidFill>
          <a:latin typeface="Arial" charset="0"/>
        </a:defRPr>
      </a:lvl7pPr>
      <a:lvl8pPr marL="1371600" algn="l" rtl="0" eaLnBrk="1" fontAlgn="base" hangingPunct="1">
        <a:spcBef>
          <a:spcPct val="0"/>
        </a:spcBef>
        <a:spcAft>
          <a:spcPct val="0"/>
        </a:spcAft>
        <a:defRPr sz="2400" b="1">
          <a:solidFill>
            <a:schemeClr val="tx1"/>
          </a:solidFill>
          <a:latin typeface="Arial" charset="0"/>
        </a:defRPr>
      </a:lvl8pPr>
      <a:lvl9pPr marL="1828800" algn="l" rtl="0" eaLnBrk="1" fontAlgn="base" hangingPunct="1">
        <a:spcBef>
          <a:spcPct val="0"/>
        </a:spcBef>
        <a:spcAft>
          <a:spcPct val="0"/>
        </a:spcAft>
        <a:defRPr sz="2400" b="1">
          <a:solidFill>
            <a:schemeClr val="tx1"/>
          </a:solidFill>
          <a:latin typeface="Arial" charset="0"/>
        </a:defRPr>
      </a:lvl9pPr>
    </p:titleStyle>
    <p:bodyStyle>
      <a:lvl1pPr marL="179388" indent="-179388" algn="l" rtl="0" eaLnBrk="0" fontAlgn="base" hangingPunct="0">
        <a:spcBef>
          <a:spcPct val="20000"/>
        </a:spcBef>
        <a:spcAft>
          <a:spcPct val="0"/>
        </a:spcAft>
        <a:buFont typeface="Wingdings" panose="05000000000000000000" pitchFamily="2" charset="2"/>
        <a:buChar char="§"/>
        <a:defRPr sz="2000">
          <a:solidFill>
            <a:schemeClr val="tx1"/>
          </a:solidFill>
          <a:latin typeface="+mn-lt"/>
          <a:ea typeface="+mn-ea"/>
          <a:cs typeface="+mn-cs"/>
        </a:defRPr>
      </a:lvl1pPr>
      <a:lvl2pPr marL="349250" indent="-168275" algn="l" rtl="0" eaLnBrk="0" fontAlgn="base" hangingPunct="0">
        <a:spcBef>
          <a:spcPct val="20000"/>
        </a:spcBef>
        <a:spcAft>
          <a:spcPct val="0"/>
        </a:spcAft>
        <a:buFont typeface="Wingdings" panose="05000000000000000000" pitchFamily="2" charset="2"/>
        <a:buChar char="§"/>
        <a:defRPr>
          <a:solidFill>
            <a:schemeClr val="tx1"/>
          </a:solidFill>
          <a:latin typeface="+mn-lt"/>
        </a:defRPr>
      </a:lvl2pPr>
      <a:lvl3pPr marL="538163" indent="-187325" algn="l" rtl="0" eaLnBrk="0" fontAlgn="base" hangingPunct="0">
        <a:spcBef>
          <a:spcPct val="20000"/>
        </a:spcBef>
        <a:spcAft>
          <a:spcPct val="0"/>
        </a:spcAft>
        <a:buFont typeface="Wingdings" panose="05000000000000000000" pitchFamily="2" charset="2"/>
        <a:buChar char="§"/>
        <a:defRPr>
          <a:solidFill>
            <a:schemeClr val="tx1"/>
          </a:solidFill>
          <a:latin typeface="+mn-lt"/>
        </a:defRPr>
      </a:lvl3pPr>
      <a:lvl4pPr marL="717550" indent="-173038" algn="l" rtl="0" eaLnBrk="0" fontAlgn="base" hangingPunct="0">
        <a:spcBef>
          <a:spcPct val="20000"/>
        </a:spcBef>
        <a:spcAft>
          <a:spcPct val="0"/>
        </a:spcAft>
        <a:buFont typeface="Wingdings" panose="05000000000000000000" pitchFamily="2" charset="2"/>
        <a:buChar char="§"/>
        <a:defRPr sz="1600">
          <a:solidFill>
            <a:schemeClr val="tx1"/>
          </a:solidFill>
          <a:latin typeface="+mn-lt"/>
        </a:defRPr>
      </a:lvl4pPr>
      <a:lvl5pPr marL="908050" indent="-188913" algn="l" rtl="0" eaLnBrk="0" fontAlgn="base" hangingPunct="0">
        <a:spcBef>
          <a:spcPct val="20000"/>
        </a:spcBef>
        <a:spcAft>
          <a:spcPct val="0"/>
        </a:spcAft>
        <a:buFont typeface="Wingdings" panose="05000000000000000000" pitchFamily="2" charset="2"/>
        <a:buChar char="§"/>
        <a:defRPr sz="1600">
          <a:solidFill>
            <a:schemeClr val="tx1"/>
          </a:solidFill>
          <a:latin typeface="+mn-lt"/>
        </a:defRPr>
      </a:lvl5pPr>
      <a:lvl6pPr marL="1365250" indent="-188913" algn="l" rtl="0" eaLnBrk="1" fontAlgn="base" hangingPunct="1">
        <a:spcBef>
          <a:spcPct val="20000"/>
        </a:spcBef>
        <a:spcAft>
          <a:spcPct val="0"/>
        </a:spcAft>
        <a:buFont typeface="Wingdings" pitchFamily="2" charset="2"/>
        <a:buChar char="§"/>
        <a:defRPr sz="1600">
          <a:solidFill>
            <a:schemeClr val="tx1"/>
          </a:solidFill>
          <a:latin typeface="+mn-lt"/>
        </a:defRPr>
      </a:lvl6pPr>
      <a:lvl7pPr marL="1822450" indent="-188913" algn="l" rtl="0" eaLnBrk="1" fontAlgn="base" hangingPunct="1">
        <a:spcBef>
          <a:spcPct val="20000"/>
        </a:spcBef>
        <a:spcAft>
          <a:spcPct val="0"/>
        </a:spcAft>
        <a:buFont typeface="Wingdings" pitchFamily="2" charset="2"/>
        <a:buChar char="§"/>
        <a:defRPr sz="1600">
          <a:solidFill>
            <a:schemeClr val="tx1"/>
          </a:solidFill>
          <a:latin typeface="+mn-lt"/>
        </a:defRPr>
      </a:lvl7pPr>
      <a:lvl8pPr marL="2279650" indent="-188913" algn="l" rtl="0" eaLnBrk="1" fontAlgn="base" hangingPunct="1">
        <a:spcBef>
          <a:spcPct val="20000"/>
        </a:spcBef>
        <a:spcAft>
          <a:spcPct val="0"/>
        </a:spcAft>
        <a:buFont typeface="Wingdings" pitchFamily="2" charset="2"/>
        <a:buChar char="§"/>
        <a:defRPr sz="1600">
          <a:solidFill>
            <a:schemeClr val="tx1"/>
          </a:solidFill>
          <a:latin typeface="+mn-lt"/>
        </a:defRPr>
      </a:lvl8pPr>
      <a:lvl9pPr marL="2736850" indent="-188913" algn="l" rtl="0" eaLnBrk="1" fontAlgn="base" hangingPunct="1">
        <a:spcBef>
          <a:spcPct val="20000"/>
        </a:spcBef>
        <a:spcAft>
          <a:spcPct val="0"/>
        </a:spcAft>
        <a:buFont typeface="Wingdings" pitchFamily="2" charset="2"/>
        <a:buChar char="§"/>
        <a:defRPr sz="1600">
          <a:solidFill>
            <a:schemeClr val="tx1"/>
          </a:solidFill>
          <a:latin typeface="+mn-lt"/>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rgbClr val="EAEAEA"/>
        </a:solidFill>
        <a:effectLst/>
      </p:bgPr>
    </p:bg>
    <p:spTree>
      <p:nvGrpSpPr>
        <p:cNvPr id="1" name=""/>
        <p:cNvGrpSpPr/>
        <p:nvPr/>
      </p:nvGrpSpPr>
      <p:grpSpPr>
        <a:xfrm>
          <a:off x="0" y="0"/>
          <a:ext cx="0" cy="0"/>
          <a:chOff x="0" y="0"/>
          <a:chExt cx="0" cy="0"/>
        </a:xfrm>
      </p:grpSpPr>
      <p:sp>
        <p:nvSpPr>
          <p:cNvPr id="1026" name="Oval 7">
            <a:extLst>
              <a:ext uri="{FF2B5EF4-FFF2-40B4-BE49-F238E27FC236}">
                <a16:creationId xmlns:a16="http://schemas.microsoft.com/office/drawing/2014/main" id="{05A7BB34-C468-AE86-A9D5-2DFD866A638F}"/>
              </a:ext>
            </a:extLst>
          </p:cNvPr>
          <p:cNvSpPr>
            <a:spLocks noChangeArrowheads="1"/>
          </p:cNvSpPr>
          <p:nvPr userDrawn="1"/>
        </p:nvSpPr>
        <p:spPr bwMode="auto">
          <a:xfrm>
            <a:off x="-2255838" y="-26988"/>
            <a:ext cx="3502026" cy="2627313"/>
          </a:xfrm>
          <a:prstGeom prst="ellipse">
            <a:avLst/>
          </a:prstGeom>
          <a:gradFill rotWithShape="1">
            <a:gsLst>
              <a:gs pos="0">
                <a:srgbClr val="DDDDDD"/>
              </a:gs>
              <a:gs pos="100000">
                <a:schemeClr val="folHlink"/>
              </a:gs>
            </a:gsLst>
            <a:lin ang="0" scaled="1"/>
          </a:gradFill>
          <a:ln>
            <a:noFill/>
          </a:ln>
          <a:effectLst/>
        </p:spPr>
        <p:txBody>
          <a:bodyPr wrap="none" anchor="ct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defRPr/>
            </a:pPr>
            <a:endParaRPr lang="de-DE" altLang="de-DE"/>
          </a:p>
        </p:txBody>
      </p:sp>
      <p:sp>
        <p:nvSpPr>
          <p:cNvPr id="1027" name="Text Box 6">
            <a:extLst>
              <a:ext uri="{FF2B5EF4-FFF2-40B4-BE49-F238E27FC236}">
                <a16:creationId xmlns:a16="http://schemas.microsoft.com/office/drawing/2014/main" id="{64FE46DE-7F51-358D-F7B2-C69E6B989F22}"/>
              </a:ext>
            </a:extLst>
          </p:cNvPr>
          <p:cNvSpPr txBox="1">
            <a:spLocks noChangeArrowheads="1"/>
          </p:cNvSpPr>
          <p:nvPr userDrawn="1"/>
        </p:nvSpPr>
        <p:spPr bwMode="auto">
          <a:xfrm>
            <a:off x="38100" y="6596063"/>
            <a:ext cx="449263" cy="246062"/>
          </a:xfrm>
          <a:prstGeom prst="rect">
            <a:avLst/>
          </a:prstGeom>
          <a:noFill/>
          <a:ln>
            <a:noFill/>
          </a:ln>
          <a:effectLst/>
        </p:spPr>
        <p:txBody>
          <a:bodyPr wrap="none">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defRPr/>
            </a:pPr>
            <a:fld id="{64B13532-D839-49FA-9DD2-C87B28B4E861}" type="slidenum">
              <a:rPr lang="de-DE" altLang="de-DE" sz="1000" smtClean="0">
                <a:solidFill>
                  <a:srgbClr val="3366CC"/>
                </a:solidFill>
              </a:rPr>
              <a:pPr eaLnBrk="1" hangingPunct="1">
                <a:defRPr/>
              </a:pPr>
              <a:t>‹Nr.›</a:t>
            </a:fld>
            <a:endParaRPr lang="de-DE" altLang="de-DE" sz="1000">
              <a:solidFill>
                <a:srgbClr val="3366CC"/>
              </a:solidFill>
            </a:endParaRPr>
          </a:p>
        </p:txBody>
      </p:sp>
      <p:sp>
        <p:nvSpPr>
          <p:cNvPr id="1028" name="Oval 8">
            <a:extLst>
              <a:ext uri="{FF2B5EF4-FFF2-40B4-BE49-F238E27FC236}">
                <a16:creationId xmlns:a16="http://schemas.microsoft.com/office/drawing/2014/main" id="{A7E8CAC3-3BCC-AAAD-E430-D4749811DC01}"/>
              </a:ext>
            </a:extLst>
          </p:cNvPr>
          <p:cNvSpPr>
            <a:spLocks noChangeArrowheads="1"/>
          </p:cNvSpPr>
          <p:nvPr userDrawn="1"/>
        </p:nvSpPr>
        <p:spPr bwMode="auto">
          <a:xfrm>
            <a:off x="-2233613" y="1017588"/>
            <a:ext cx="3503613" cy="2627312"/>
          </a:xfrm>
          <a:prstGeom prst="ellipse">
            <a:avLst/>
          </a:prstGeom>
          <a:gradFill rotWithShape="1">
            <a:gsLst>
              <a:gs pos="0">
                <a:schemeClr val="folHlink"/>
              </a:gs>
              <a:gs pos="100000">
                <a:srgbClr val="DDDDDD"/>
              </a:gs>
            </a:gsLst>
            <a:lin ang="0" scaled="1"/>
          </a:gradFill>
          <a:ln>
            <a:noFill/>
          </a:ln>
          <a:effectLst/>
        </p:spPr>
        <p:txBody>
          <a:bodyPr wrap="none" anchor="ct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defRPr/>
            </a:pPr>
            <a:endParaRPr lang="de-DE" altLang="de-DE"/>
          </a:p>
        </p:txBody>
      </p:sp>
      <p:sp>
        <p:nvSpPr>
          <p:cNvPr id="1029" name="Text Box 9">
            <a:extLst>
              <a:ext uri="{FF2B5EF4-FFF2-40B4-BE49-F238E27FC236}">
                <a16:creationId xmlns:a16="http://schemas.microsoft.com/office/drawing/2014/main" id="{6E65DCE4-1B2D-3CEF-1111-CA58C2C7F3CC}"/>
              </a:ext>
            </a:extLst>
          </p:cNvPr>
          <p:cNvSpPr txBox="1">
            <a:spLocks noChangeArrowheads="1"/>
          </p:cNvSpPr>
          <p:nvPr userDrawn="1"/>
        </p:nvSpPr>
        <p:spPr bwMode="auto">
          <a:xfrm>
            <a:off x="-33338" y="608013"/>
            <a:ext cx="846138" cy="523875"/>
          </a:xfrm>
          <a:prstGeom prst="rect">
            <a:avLst/>
          </a:prstGeom>
          <a:noFill/>
          <a:ln>
            <a:noFill/>
          </a:ln>
          <a:effec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defRPr/>
            </a:pPr>
            <a:r>
              <a:rPr lang="de-DE" sz="1400">
                <a:solidFill>
                  <a:srgbClr val="DDDDDD"/>
                </a:solidFill>
              </a:rPr>
              <a:t>IFToMM</a:t>
            </a:r>
          </a:p>
          <a:p>
            <a:pPr eaLnBrk="1" hangingPunct="1">
              <a:defRPr/>
            </a:pPr>
            <a:r>
              <a:rPr lang="de-DE" sz="1400">
                <a:solidFill>
                  <a:srgbClr val="DDDDDD"/>
                </a:solidFill>
              </a:rPr>
              <a:t>2006</a:t>
            </a:r>
          </a:p>
        </p:txBody>
      </p:sp>
    </p:spTree>
  </p:cSld>
  <p:clrMap bg1="lt1" tx1="dk1" bg2="lt2" tx2="dk2" accent1="accent1" accent2="accent2" accent3="accent3" accent4="accent4" accent5="accent5" accent6="accent6" hlink="hlink" folHlink="folHlink"/>
  <p:sldLayoutIdLst>
    <p:sldLayoutId id="2147486341" r:id="rId1"/>
    <p:sldLayoutId id="2147486342" r:id="rId2"/>
    <p:sldLayoutId id="2147486343" r:id="rId3"/>
    <p:sldLayoutId id="2147486344" r:id="rId4"/>
    <p:sldLayoutId id="2147486345" r:id="rId5"/>
    <p:sldLayoutId id="2147486346" r:id="rId6"/>
    <p:sldLayoutId id="2147486347" r:id="rId7"/>
    <p:sldLayoutId id="2147486348" r:id="rId8"/>
    <p:sldLayoutId id="2147486349" r:id="rId9"/>
    <p:sldLayoutId id="2147486350" r:id="rId10"/>
    <p:sldLayoutId id="2147486351" r:id="rId11"/>
  </p:sldLayoutIdLst>
  <p:txStyles>
    <p:title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Times New Roman" pitchFamily="18" charset="0"/>
        </a:defRPr>
      </a:lvl2pPr>
      <a:lvl3pPr algn="ctr" rtl="0" eaLnBrk="0" fontAlgn="base" hangingPunct="0">
        <a:spcBef>
          <a:spcPct val="0"/>
        </a:spcBef>
        <a:spcAft>
          <a:spcPct val="0"/>
        </a:spcAft>
        <a:defRPr sz="4400">
          <a:solidFill>
            <a:schemeClr val="tx2"/>
          </a:solidFill>
          <a:latin typeface="Times New Roman" pitchFamily="18" charset="0"/>
        </a:defRPr>
      </a:lvl3pPr>
      <a:lvl4pPr algn="ctr" rtl="0" eaLnBrk="0" fontAlgn="base" hangingPunct="0">
        <a:spcBef>
          <a:spcPct val="0"/>
        </a:spcBef>
        <a:spcAft>
          <a:spcPct val="0"/>
        </a:spcAft>
        <a:defRPr sz="4400">
          <a:solidFill>
            <a:schemeClr val="tx2"/>
          </a:solidFill>
          <a:latin typeface="Times New Roman" pitchFamily="18" charset="0"/>
        </a:defRPr>
      </a:lvl4pPr>
      <a:lvl5pPr algn="ctr" rtl="0" eaLnBrk="0" fontAlgn="base" hangingPunct="0">
        <a:spcBef>
          <a:spcPct val="0"/>
        </a:spcBef>
        <a:spcAft>
          <a:spcPct val="0"/>
        </a:spcAft>
        <a:defRPr sz="4400">
          <a:solidFill>
            <a:schemeClr val="tx2"/>
          </a:solidFill>
          <a:latin typeface="Times New Roman" pitchFamily="18" charset="0"/>
        </a:defRPr>
      </a:lvl5pPr>
      <a:lvl6pPr marL="457200" algn="ctr" rtl="0" fontAlgn="base">
        <a:spcBef>
          <a:spcPct val="0"/>
        </a:spcBef>
        <a:spcAft>
          <a:spcPct val="0"/>
        </a:spcAft>
        <a:defRPr sz="4400">
          <a:solidFill>
            <a:schemeClr val="tx2"/>
          </a:solidFill>
          <a:latin typeface="Times New Roman" pitchFamily="18" charset="0"/>
        </a:defRPr>
      </a:lvl6pPr>
      <a:lvl7pPr marL="914400" algn="ctr" rtl="0" fontAlgn="base">
        <a:spcBef>
          <a:spcPct val="0"/>
        </a:spcBef>
        <a:spcAft>
          <a:spcPct val="0"/>
        </a:spcAft>
        <a:defRPr sz="4400">
          <a:solidFill>
            <a:schemeClr val="tx2"/>
          </a:solidFill>
          <a:latin typeface="Times New Roman" pitchFamily="18" charset="0"/>
        </a:defRPr>
      </a:lvl7pPr>
      <a:lvl8pPr marL="1371600" algn="ctr" rtl="0" fontAlgn="base">
        <a:spcBef>
          <a:spcPct val="0"/>
        </a:spcBef>
        <a:spcAft>
          <a:spcPct val="0"/>
        </a:spcAft>
        <a:defRPr sz="4400">
          <a:solidFill>
            <a:schemeClr val="tx2"/>
          </a:solidFill>
          <a:latin typeface="Times New Roman" pitchFamily="18" charset="0"/>
        </a:defRPr>
      </a:lvl8pPr>
      <a:lvl9pPr marL="1828800" algn="ctr" rtl="0" fontAlgn="base">
        <a:spcBef>
          <a:spcPct val="0"/>
        </a:spcBef>
        <a:spcAft>
          <a:spcPct val="0"/>
        </a:spcAft>
        <a:defRPr sz="4400">
          <a:solidFill>
            <a:schemeClr val="tx2"/>
          </a:solidFill>
          <a:latin typeface="Times New Roman" pitchFamily="18" charset="0"/>
        </a:defRPr>
      </a:lvl9pPr>
    </p:titleStyle>
    <p:body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defRPr>
      </a:lvl2pPr>
      <a:lvl3pPr marL="1143000" indent="-228600" algn="l" rtl="0" eaLnBrk="0" fontAlgn="base" hangingPunct="0">
        <a:spcBef>
          <a:spcPct val="20000"/>
        </a:spcBef>
        <a:spcAft>
          <a:spcPct val="0"/>
        </a:spcAft>
        <a:buChar char="•"/>
        <a:defRPr sz="2400">
          <a:solidFill>
            <a:schemeClr val="tx1"/>
          </a:solidFill>
          <a:latin typeface="+mn-lt"/>
        </a:defRPr>
      </a:lvl3pPr>
      <a:lvl4pPr marL="1600200" indent="-228600" algn="l" rtl="0" eaLnBrk="0" fontAlgn="base" hangingPunct="0">
        <a:spcBef>
          <a:spcPct val="20000"/>
        </a:spcBef>
        <a:spcAft>
          <a:spcPct val="0"/>
        </a:spcAft>
        <a:buChar char="–"/>
        <a:defRPr sz="2000">
          <a:solidFill>
            <a:schemeClr val="tx1"/>
          </a:solidFill>
          <a:latin typeface="+mn-lt"/>
        </a:defRPr>
      </a:lvl4pPr>
      <a:lvl5pPr marL="2057400" indent="-228600" algn="l" rtl="0" eaLnBrk="0" fontAlgn="base" hangingPunct="0">
        <a:spcBef>
          <a:spcPct val="20000"/>
        </a:spcBef>
        <a:spcAft>
          <a:spcPct val="0"/>
        </a:spcAft>
        <a:buChar char="»"/>
        <a:defRPr sz="2000">
          <a:solidFill>
            <a:schemeClr val="tx1"/>
          </a:solidFill>
          <a:latin typeface="+mn-lt"/>
        </a:defRPr>
      </a:lvl5pPr>
      <a:lvl6pPr marL="2514600" indent="-228600" algn="l" rtl="0" fontAlgn="base">
        <a:spcBef>
          <a:spcPct val="20000"/>
        </a:spcBef>
        <a:spcAft>
          <a:spcPct val="0"/>
        </a:spcAft>
        <a:buChar char="»"/>
        <a:defRPr sz="2000">
          <a:solidFill>
            <a:schemeClr val="tx1"/>
          </a:solidFill>
          <a:latin typeface="+mn-lt"/>
        </a:defRPr>
      </a:lvl6pPr>
      <a:lvl7pPr marL="2971800" indent="-228600" algn="l" rtl="0" fontAlgn="base">
        <a:spcBef>
          <a:spcPct val="20000"/>
        </a:spcBef>
        <a:spcAft>
          <a:spcPct val="0"/>
        </a:spcAft>
        <a:buChar char="»"/>
        <a:defRPr sz="2000">
          <a:solidFill>
            <a:schemeClr val="tx1"/>
          </a:solidFill>
          <a:latin typeface="+mn-lt"/>
        </a:defRPr>
      </a:lvl7pPr>
      <a:lvl8pPr marL="3429000" indent="-228600" algn="l" rtl="0" fontAlgn="base">
        <a:spcBef>
          <a:spcPct val="20000"/>
        </a:spcBef>
        <a:spcAft>
          <a:spcPct val="0"/>
        </a:spcAft>
        <a:buChar char="»"/>
        <a:defRPr sz="2000">
          <a:solidFill>
            <a:schemeClr val="tx1"/>
          </a:solidFill>
          <a:latin typeface="+mn-lt"/>
        </a:defRPr>
      </a:lvl8pPr>
      <a:lvl9pPr marL="3886200" indent="-228600" algn="l" rtl="0" fontAlgn="base">
        <a:spcBef>
          <a:spcPct val="20000"/>
        </a:spcBef>
        <a:spcAft>
          <a:spcPct val="0"/>
        </a:spcAft>
        <a:buChar char="»"/>
        <a:defRPr sz="2000">
          <a:solidFill>
            <a:schemeClr val="tx1"/>
          </a:solidFill>
          <a:latin typeface="+mn-lt"/>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170" name="Title Placeholder 1">
            <a:extLst>
              <a:ext uri="{FF2B5EF4-FFF2-40B4-BE49-F238E27FC236}">
                <a16:creationId xmlns:a16="http://schemas.microsoft.com/office/drawing/2014/main" id="{5BB6F27C-BEDF-ED1F-5C78-91B7EBA6F880}"/>
              </a:ext>
            </a:extLst>
          </p:cNvPr>
          <p:cNvSpPr>
            <a:spLocks noGrp="1" noChangeArrowheads="1"/>
          </p:cNvSpPr>
          <p:nvPr userDrawn="1">
            <p:ph type="title"/>
          </p:nvPr>
        </p:nvSpPr>
        <p:spPr bwMode="auto">
          <a:xfrm>
            <a:off x="960438" y="782638"/>
            <a:ext cx="9263062" cy="990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GB" altLang="de-DE"/>
              <a:t>Click to edit Master title style</a:t>
            </a:r>
          </a:p>
        </p:txBody>
      </p:sp>
      <p:sp>
        <p:nvSpPr>
          <p:cNvPr id="3" name="Text Placeholder 2">
            <a:extLst>
              <a:ext uri="{FF2B5EF4-FFF2-40B4-BE49-F238E27FC236}">
                <a16:creationId xmlns:a16="http://schemas.microsoft.com/office/drawing/2014/main" id="{59B31CD5-E85C-A9CD-BBBA-EFDE0B6F1703}"/>
              </a:ext>
            </a:extLst>
          </p:cNvPr>
          <p:cNvSpPr>
            <a:spLocks noGrp="1"/>
          </p:cNvSpPr>
          <p:nvPr userDrawn="1">
            <p:ph type="body" idx="1"/>
          </p:nvPr>
        </p:nvSpPr>
        <p:spPr>
          <a:xfrm>
            <a:off x="960438" y="2098675"/>
            <a:ext cx="9263062" cy="4044950"/>
          </a:xfrm>
          <a:prstGeom prst="rect">
            <a:avLst/>
          </a:prstGeom>
        </p:spPr>
        <p:txBody>
          <a:bodyPr vert="horz" lIns="0" tIns="0" rIns="0" bIns="0" rtlCol="0">
            <a:noAutofit/>
          </a:bodyPr>
          <a:lstStyle/>
          <a:p>
            <a:pPr lvl="0"/>
            <a:r>
              <a:rPr lang="en-GB" noProof="0" dirty="0"/>
              <a:t>First level bullet</a:t>
            </a:r>
          </a:p>
          <a:p>
            <a:pPr lvl="1"/>
            <a:r>
              <a:rPr lang="en-GB" noProof="0" dirty="0"/>
              <a:t>Second level bullet</a:t>
            </a:r>
          </a:p>
          <a:p>
            <a:pPr lvl="2"/>
            <a:r>
              <a:rPr lang="en-GB" noProof="0" dirty="0"/>
              <a:t>Third level bullet</a:t>
            </a:r>
          </a:p>
          <a:p>
            <a:pPr lvl="3"/>
            <a:r>
              <a:rPr lang="en-GB" noProof="0" dirty="0"/>
              <a:t>Fourth level bullet</a:t>
            </a:r>
          </a:p>
          <a:p>
            <a:pPr lvl="4"/>
            <a:r>
              <a:rPr lang="en-GB" noProof="0" dirty="0"/>
              <a:t>Subheading (Fifth level)</a:t>
            </a:r>
          </a:p>
          <a:p>
            <a:pPr lvl="5"/>
            <a:r>
              <a:rPr lang="en-GB" noProof="0" dirty="0"/>
              <a:t>Text only (Sixth level)</a:t>
            </a:r>
          </a:p>
          <a:p>
            <a:pPr lvl="5"/>
            <a:endParaRPr lang="en-GB" noProof="0" dirty="0"/>
          </a:p>
        </p:txBody>
      </p:sp>
      <p:sp>
        <p:nvSpPr>
          <p:cNvPr id="13" name="Date Placeholder 3">
            <a:extLst>
              <a:ext uri="{FF2B5EF4-FFF2-40B4-BE49-F238E27FC236}">
                <a16:creationId xmlns:a16="http://schemas.microsoft.com/office/drawing/2014/main" id="{6E77F338-064A-5BFB-AFFF-827141540CC7}"/>
              </a:ext>
            </a:extLst>
          </p:cNvPr>
          <p:cNvSpPr>
            <a:spLocks noGrp="1"/>
          </p:cNvSpPr>
          <p:nvPr userDrawn="1">
            <p:ph type="dt" sz="half" idx="2"/>
          </p:nvPr>
        </p:nvSpPr>
        <p:spPr>
          <a:xfrm>
            <a:off x="960438" y="6470650"/>
            <a:ext cx="958850" cy="384175"/>
          </a:xfrm>
          <a:prstGeom prst="rect">
            <a:avLst/>
          </a:prstGeom>
        </p:spPr>
        <p:txBody>
          <a:bodyPr lIns="0" tIns="0" rIns="0" bIns="0"/>
          <a:lstStyle>
            <a:lvl1pPr>
              <a:defRPr sz="1133" b="1" i="0" spc="0">
                <a:solidFill>
                  <a:srgbClr val="AFAFAF"/>
                </a:solidFill>
                <a:latin typeface="Arial" charset="0"/>
                <a:ea typeface="Arial" charset="0"/>
                <a:cs typeface="Arial" charset="0"/>
              </a:defRPr>
            </a:lvl1pPr>
          </a:lstStyle>
          <a:p>
            <a:pPr>
              <a:defRPr/>
            </a:pPr>
            <a:fld id="{30C37E33-912F-46B0-9F7C-6FB80EEB5CD3}" type="datetime1">
              <a:rPr lang="en-GB"/>
              <a:pPr>
                <a:defRPr/>
              </a:pPr>
              <a:t>28/01/2024</a:t>
            </a:fld>
            <a:endParaRPr lang="en-GB" dirty="0"/>
          </a:p>
        </p:txBody>
      </p:sp>
      <p:sp>
        <p:nvSpPr>
          <p:cNvPr id="14" name="Footer Placeholder 4">
            <a:extLst>
              <a:ext uri="{FF2B5EF4-FFF2-40B4-BE49-F238E27FC236}">
                <a16:creationId xmlns:a16="http://schemas.microsoft.com/office/drawing/2014/main" id="{04F5043E-55B7-D721-B6DC-225C8D965CA0}"/>
              </a:ext>
            </a:extLst>
          </p:cNvPr>
          <p:cNvSpPr>
            <a:spLocks noGrp="1"/>
          </p:cNvSpPr>
          <p:nvPr userDrawn="1">
            <p:ph type="ftr" sz="quarter" idx="3"/>
          </p:nvPr>
        </p:nvSpPr>
        <p:spPr>
          <a:xfrm>
            <a:off x="1919288" y="6470650"/>
            <a:ext cx="8975725" cy="384175"/>
          </a:xfrm>
          <a:prstGeom prst="rect">
            <a:avLst/>
          </a:prstGeom>
        </p:spPr>
        <p:txBody>
          <a:bodyPr lIns="0" tIns="0" rIns="0" bIns="0" anchor="t" anchorCtr="0"/>
          <a:lstStyle>
            <a:lvl1pPr algn="l">
              <a:defRPr sz="1133" b="1" i="0" spc="0">
                <a:solidFill>
                  <a:srgbClr val="AFAFAF"/>
                </a:solidFill>
                <a:latin typeface="Arial" charset="0"/>
                <a:ea typeface="Arial" charset="0"/>
                <a:cs typeface="Arial" charset="0"/>
              </a:defRPr>
            </a:lvl1pPr>
          </a:lstStyle>
          <a:p>
            <a:pPr>
              <a:defRPr/>
            </a:pPr>
            <a:r>
              <a:rPr lang="en-GB"/>
              <a:t>VTT – beyond the obvious</a:t>
            </a:r>
            <a:endParaRPr lang="en-GB" dirty="0"/>
          </a:p>
        </p:txBody>
      </p:sp>
      <p:sp>
        <p:nvSpPr>
          <p:cNvPr id="15" name="Slide Number Placeholder 5">
            <a:extLst>
              <a:ext uri="{FF2B5EF4-FFF2-40B4-BE49-F238E27FC236}">
                <a16:creationId xmlns:a16="http://schemas.microsoft.com/office/drawing/2014/main" id="{B3EF39E1-7966-B69A-5A10-005EDD4AAE90}"/>
              </a:ext>
            </a:extLst>
          </p:cNvPr>
          <p:cNvSpPr>
            <a:spLocks noGrp="1"/>
          </p:cNvSpPr>
          <p:nvPr userDrawn="1">
            <p:ph type="sldNum" sz="quarter" idx="4"/>
          </p:nvPr>
        </p:nvSpPr>
        <p:spPr>
          <a:xfrm>
            <a:off x="10901363" y="6470650"/>
            <a:ext cx="1290637" cy="384175"/>
          </a:xfrm>
          <a:prstGeom prst="rect">
            <a:avLst/>
          </a:prstGeom>
        </p:spPr>
        <p:txBody>
          <a:bodyPr lIns="0" tIns="0" rIns="0" bIns="0" anchor="t" anchorCtr="0"/>
          <a:lstStyle>
            <a:lvl1pPr algn="ctr">
              <a:defRPr sz="1133" b="1" i="0" spc="0">
                <a:solidFill>
                  <a:srgbClr val="AFAFAF"/>
                </a:solidFill>
                <a:latin typeface="Arial" charset="0"/>
                <a:ea typeface="Arial" charset="0"/>
                <a:cs typeface="Arial" charset="0"/>
              </a:defRPr>
            </a:lvl1pPr>
          </a:lstStyle>
          <a:p>
            <a:pPr>
              <a:defRPr/>
            </a:pPr>
            <a:fld id="{A77C6A0D-4B64-4565-BBF0-406B43E2F2F9}" type="slidenum">
              <a:rPr lang="en-GB"/>
              <a:pPr>
                <a:defRPr/>
              </a:pPr>
              <a:t>‹Nr.›</a:t>
            </a:fld>
            <a:endParaRPr lang="en-GB" dirty="0"/>
          </a:p>
        </p:txBody>
      </p:sp>
    </p:spTree>
  </p:cSld>
  <p:clrMap bg1="lt1" tx1="dk1" bg2="lt2" tx2="dk2" accent1="accent1" accent2="accent2" accent3="accent3" accent4="accent4" accent5="accent5" accent6="accent6" hlink="hlink" folHlink="folHlink"/>
  <p:sldLayoutIdLst>
    <p:sldLayoutId id="2147486384" r:id="rId1"/>
    <p:sldLayoutId id="2147486385" r:id="rId2"/>
    <p:sldLayoutId id="2147486386" r:id="rId3"/>
    <p:sldLayoutId id="2147486387" r:id="rId4"/>
    <p:sldLayoutId id="2147486388" r:id="rId5"/>
    <p:sldLayoutId id="2147486389" r:id="rId6"/>
    <p:sldLayoutId id="2147486390" r:id="rId7"/>
    <p:sldLayoutId id="2147486391" r:id="rId8"/>
    <p:sldLayoutId id="2147486392" r:id="rId9"/>
  </p:sldLayoutIdLst>
  <p:transition spd="med">
    <p:fade/>
  </p:transition>
  <p:hf sldNum="0" hdr="0"/>
  <p:txStyles>
    <p:titleStyle>
      <a:lvl1pPr algn="l" defTabSz="608013" rtl="0" eaLnBrk="0" fontAlgn="base" hangingPunct="0">
        <a:lnSpc>
          <a:spcPct val="90000"/>
        </a:lnSpc>
        <a:spcBef>
          <a:spcPct val="0"/>
        </a:spcBef>
        <a:spcAft>
          <a:spcPct val="0"/>
        </a:spcAft>
        <a:defRPr sz="3400" b="1" kern="1200">
          <a:solidFill>
            <a:srgbClr val="F06E00"/>
          </a:solidFill>
          <a:latin typeface="Arial" charset="0"/>
          <a:ea typeface="Arial" charset="0"/>
          <a:cs typeface="Arial" charset="0"/>
        </a:defRPr>
      </a:lvl1pPr>
      <a:lvl2pPr algn="l" defTabSz="608013" rtl="0" eaLnBrk="0" fontAlgn="base" hangingPunct="0">
        <a:lnSpc>
          <a:spcPct val="90000"/>
        </a:lnSpc>
        <a:spcBef>
          <a:spcPct val="0"/>
        </a:spcBef>
        <a:spcAft>
          <a:spcPct val="0"/>
        </a:spcAft>
        <a:defRPr sz="3400" b="1">
          <a:solidFill>
            <a:srgbClr val="F06E00"/>
          </a:solidFill>
          <a:latin typeface="Arial" panose="020B0604020202020204" pitchFamily="34" charset="0"/>
          <a:cs typeface="Arial" panose="020B0604020202020204" pitchFamily="34" charset="0"/>
        </a:defRPr>
      </a:lvl2pPr>
      <a:lvl3pPr algn="l" defTabSz="608013" rtl="0" eaLnBrk="0" fontAlgn="base" hangingPunct="0">
        <a:lnSpc>
          <a:spcPct val="90000"/>
        </a:lnSpc>
        <a:spcBef>
          <a:spcPct val="0"/>
        </a:spcBef>
        <a:spcAft>
          <a:spcPct val="0"/>
        </a:spcAft>
        <a:defRPr sz="3400" b="1">
          <a:solidFill>
            <a:srgbClr val="F06E00"/>
          </a:solidFill>
          <a:latin typeface="Arial" panose="020B0604020202020204" pitchFamily="34" charset="0"/>
          <a:cs typeface="Arial" panose="020B0604020202020204" pitchFamily="34" charset="0"/>
        </a:defRPr>
      </a:lvl3pPr>
      <a:lvl4pPr algn="l" defTabSz="608013" rtl="0" eaLnBrk="0" fontAlgn="base" hangingPunct="0">
        <a:lnSpc>
          <a:spcPct val="90000"/>
        </a:lnSpc>
        <a:spcBef>
          <a:spcPct val="0"/>
        </a:spcBef>
        <a:spcAft>
          <a:spcPct val="0"/>
        </a:spcAft>
        <a:defRPr sz="3400" b="1">
          <a:solidFill>
            <a:srgbClr val="F06E00"/>
          </a:solidFill>
          <a:latin typeface="Arial" panose="020B0604020202020204" pitchFamily="34" charset="0"/>
          <a:cs typeface="Arial" panose="020B0604020202020204" pitchFamily="34" charset="0"/>
        </a:defRPr>
      </a:lvl4pPr>
      <a:lvl5pPr algn="l" defTabSz="608013" rtl="0" eaLnBrk="0" fontAlgn="base" hangingPunct="0">
        <a:lnSpc>
          <a:spcPct val="90000"/>
        </a:lnSpc>
        <a:spcBef>
          <a:spcPct val="0"/>
        </a:spcBef>
        <a:spcAft>
          <a:spcPct val="0"/>
        </a:spcAft>
        <a:defRPr sz="3400" b="1">
          <a:solidFill>
            <a:srgbClr val="F06E00"/>
          </a:solidFill>
          <a:latin typeface="Arial" panose="020B0604020202020204" pitchFamily="34" charset="0"/>
          <a:cs typeface="Arial" panose="020B0604020202020204" pitchFamily="34" charset="0"/>
        </a:defRPr>
      </a:lvl5pPr>
      <a:lvl6pPr marL="457200" algn="l" defTabSz="608013" rtl="0" fontAlgn="base">
        <a:lnSpc>
          <a:spcPct val="90000"/>
        </a:lnSpc>
        <a:spcBef>
          <a:spcPct val="0"/>
        </a:spcBef>
        <a:spcAft>
          <a:spcPct val="0"/>
        </a:spcAft>
        <a:defRPr sz="3400" b="1">
          <a:solidFill>
            <a:srgbClr val="F06E00"/>
          </a:solidFill>
          <a:latin typeface="Arial" panose="020B0604020202020204" pitchFamily="34" charset="0"/>
          <a:cs typeface="Arial" panose="020B0604020202020204" pitchFamily="34" charset="0"/>
        </a:defRPr>
      </a:lvl6pPr>
      <a:lvl7pPr marL="914400" algn="l" defTabSz="608013" rtl="0" fontAlgn="base">
        <a:lnSpc>
          <a:spcPct val="90000"/>
        </a:lnSpc>
        <a:spcBef>
          <a:spcPct val="0"/>
        </a:spcBef>
        <a:spcAft>
          <a:spcPct val="0"/>
        </a:spcAft>
        <a:defRPr sz="3400" b="1">
          <a:solidFill>
            <a:srgbClr val="F06E00"/>
          </a:solidFill>
          <a:latin typeface="Arial" panose="020B0604020202020204" pitchFamily="34" charset="0"/>
          <a:cs typeface="Arial" panose="020B0604020202020204" pitchFamily="34" charset="0"/>
        </a:defRPr>
      </a:lvl7pPr>
      <a:lvl8pPr marL="1371600" algn="l" defTabSz="608013" rtl="0" fontAlgn="base">
        <a:lnSpc>
          <a:spcPct val="90000"/>
        </a:lnSpc>
        <a:spcBef>
          <a:spcPct val="0"/>
        </a:spcBef>
        <a:spcAft>
          <a:spcPct val="0"/>
        </a:spcAft>
        <a:defRPr sz="3400" b="1">
          <a:solidFill>
            <a:srgbClr val="F06E00"/>
          </a:solidFill>
          <a:latin typeface="Arial" panose="020B0604020202020204" pitchFamily="34" charset="0"/>
          <a:cs typeface="Arial" panose="020B0604020202020204" pitchFamily="34" charset="0"/>
        </a:defRPr>
      </a:lvl8pPr>
      <a:lvl9pPr marL="1828800" algn="l" defTabSz="608013" rtl="0" fontAlgn="base">
        <a:lnSpc>
          <a:spcPct val="90000"/>
        </a:lnSpc>
        <a:spcBef>
          <a:spcPct val="0"/>
        </a:spcBef>
        <a:spcAft>
          <a:spcPct val="0"/>
        </a:spcAft>
        <a:defRPr sz="3400" b="1">
          <a:solidFill>
            <a:srgbClr val="F06E00"/>
          </a:solidFill>
          <a:latin typeface="Arial" panose="020B0604020202020204" pitchFamily="34" charset="0"/>
          <a:cs typeface="Arial" panose="020B0604020202020204" pitchFamily="34" charset="0"/>
        </a:defRPr>
      </a:lvl9pPr>
    </p:titleStyle>
    <p:bodyStyle>
      <a:lvl1pPr marL="287338" indent="-287338" algn="l" defTabSz="608013" rtl="0" eaLnBrk="0" fontAlgn="base" hangingPunct="0">
        <a:spcBef>
          <a:spcPts val="400"/>
        </a:spcBef>
        <a:spcAft>
          <a:spcPct val="0"/>
        </a:spcAft>
        <a:buClr>
          <a:srgbClr val="F06E00"/>
        </a:buClr>
        <a:buSzPct val="100000"/>
        <a:buFont typeface="Wingdings 2" panose="05020102010507070707" pitchFamily="18" charset="2"/>
        <a:buChar char="¡"/>
        <a:defRPr lang="en-GB" sz="2400" kern="1200" dirty="0">
          <a:solidFill>
            <a:srgbClr val="000000"/>
          </a:solidFill>
          <a:latin typeface="Arial" charset="0"/>
          <a:ea typeface="Arial" charset="0"/>
          <a:cs typeface="Arial" charset="0"/>
        </a:defRPr>
      </a:lvl1pPr>
      <a:lvl2pPr marL="527050" indent="-239713" algn="l" defTabSz="608013" rtl="0" eaLnBrk="0" fontAlgn="base" hangingPunct="0">
        <a:spcBef>
          <a:spcPct val="0"/>
        </a:spcBef>
        <a:spcAft>
          <a:spcPct val="0"/>
        </a:spcAft>
        <a:buClr>
          <a:srgbClr val="F06E00"/>
        </a:buClr>
        <a:buFont typeface="Arial" panose="020B0604020202020204" pitchFamily="34" charset="0"/>
        <a:buChar char="•"/>
        <a:defRPr lang="en-GB" sz="2100" kern="1200" dirty="0">
          <a:solidFill>
            <a:srgbClr val="000000"/>
          </a:solidFill>
          <a:latin typeface="Arial" charset="0"/>
          <a:ea typeface="Arial" charset="0"/>
          <a:cs typeface="Arial" charset="0"/>
        </a:defRPr>
      </a:lvl2pPr>
      <a:lvl3pPr marL="766763" indent="-239713" algn="l" defTabSz="608013" rtl="0" eaLnBrk="0" fontAlgn="base" hangingPunct="0">
        <a:spcBef>
          <a:spcPct val="0"/>
        </a:spcBef>
        <a:spcAft>
          <a:spcPct val="0"/>
        </a:spcAft>
        <a:buClr>
          <a:srgbClr val="F06E00"/>
        </a:buClr>
        <a:buSzPct val="100000"/>
        <a:buFont typeface="Arial" panose="020B0604020202020204" pitchFamily="34" charset="0"/>
        <a:buChar char="•"/>
        <a:defRPr sz="2100" kern="1200">
          <a:solidFill>
            <a:srgbClr val="000000"/>
          </a:solidFill>
          <a:latin typeface="Arial" charset="0"/>
          <a:ea typeface="Arial" charset="0"/>
          <a:cs typeface="Arial" charset="0"/>
        </a:defRPr>
      </a:lvl3pPr>
      <a:lvl4pPr marL="1006475" indent="-238125" algn="l" defTabSz="608013" rtl="0" eaLnBrk="0" fontAlgn="base" hangingPunct="0">
        <a:spcBef>
          <a:spcPct val="0"/>
        </a:spcBef>
        <a:spcAft>
          <a:spcPct val="0"/>
        </a:spcAft>
        <a:buClr>
          <a:srgbClr val="F06E00"/>
        </a:buClr>
        <a:buSzPct val="100000"/>
        <a:buFont typeface="Arial" panose="020B0604020202020204" pitchFamily="34" charset="0"/>
        <a:buChar char="•"/>
        <a:defRPr sz="2100" kern="1200">
          <a:solidFill>
            <a:srgbClr val="000000"/>
          </a:solidFill>
          <a:latin typeface="Arial" charset="0"/>
          <a:ea typeface="Arial" charset="0"/>
          <a:cs typeface="Arial" charset="0"/>
        </a:defRPr>
      </a:lvl4pPr>
      <a:lvl5pPr algn="l" defTabSz="608013" rtl="0" eaLnBrk="0" fontAlgn="base" hangingPunct="0">
        <a:lnSpc>
          <a:spcPct val="90000"/>
        </a:lnSpc>
        <a:spcBef>
          <a:spcPct val="0"/>
        </a:spcBef>
        <a:spcAft>
          <a:spcPts val="400"/>
        </a:spcAft>
        <a:buClr>
          <a:schemeClr val="tx1"/>
        </a:buClr>
        <a:buSzPct val="110000"/>
        <a:buFont typeface="Arial" panose="020B0604020202020204" pitchFamily="34" charset="0"/>
        <a:defRPr sz="2400" b="1" kern="1200">
          <a:solidFill>
            <a:srgbClr val="000000"/>
          </a:solidFill>
          <a:latin typeface="Arial" charset="0"/>
          <a:ea typeface="Arial" charset="0"/>
          <a:cs typeface="Arial" charset="0"/>
        </a:defRPr>
      </a:lvl5pPr>
      <a:lvl6pPr marL="0" indent="0" algn="l" defTabSz="609597" rtl="0" eaLnBrk="1" latinLnBrk="0" hangingPunct="1">
        <a:lnSpc>
          <a:spcPct val="90000"/>
        </a:lnSpc>
        <a:spcBef>
          <a:spcPts val="0"/>
        </a:spcBef>
        <a:buClr>
          <a:schemeClr val="tx1"/>
        </a:buClr>
        <a:buSzPct val="110000"/>
        <a:buFont typeface="Arial"/>
        <a:buNone/>
        <a:defRPr lang="en-GB" sz="2400" b="0" i="0" kern="1200" spc="0" noProof="0" dirty="0">
          <a:solidFill>
            <a:srgbClr val="000000"/>
          </a:solidFill>
          <a:latin typeface="Arial" charset="0"/>
          <a:ea typeface="+mn-ea"/>
          <a:cs typeface="Arial" charset="0"/>
        </a:defRPr>
      </a:lvl6pPr>
      <a:lvl7pPr marL="3962374" indent="-304798" algn="l" defTabSz="609597" rtl="0" eaLnBrk="1" latinLnBrk="0" hangingPunct="1">
        <a:spcBef>
          <a:spcPct val="20000"/>
        </a:spcBef>
        <a:buFont typeface="Arial"/>
        <a:buChar char="•"/>
        <a:defRPr sz="2667" kern="1200">
          <a:solidFill>
            <a:schemeClr val="tx1"/>
          </a:solidFill>
          <a:latin typeface="+mn-lt"/>
          <a:ea typeface="+mn-ea"/>
          <a:cs typeface="+mn-cs"/>
        </a:defRPr>
      </a:lvl7pPr>
      <a:lvl8pPr marL="4571971" indent="-304798" algn="l" defTabSz="609597" rtl="0" eaLnBrk="1" latinLnBrk="0" hangingPunct="1">
        <a:spcBef>
          <a:spcPct val="20000"/>
        </a:spcBef>
        <a:buFont typeface="Arial"/>
        <a:buChar char="•"/>
        <a:defRPr sz="2667" kern="1200">
          <a:solidFill>
            <a:schemeClr val="tx1"/>
          </a:solidFill>
          <a:latin typeface="+mn-lt"/>
          <a:ea typeface="+mn-ea"/>
          <a:cs typeface="+mn-cs"/>
        </a:defRPr>
      </a:lvl8pPr>
      <a:lvl9pPr marL="5181568" indent="-304798" algn="l" defTabSz="609597"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97" rtl="0" eaLnBrk="1" latinLnBrk="0" hangingPunct="1">
        <a:defRPr sz="2400" kern="1200">
          <a:solidFill>
            <a:schemeClr val="tx1"/>
          </a:solidFill>
          <a:latin typeface="+mn-lt"/>
          <a:ea typeface="+mn-ea"/>
          <a:cs typeface="+mn-cs"/>
        </a:defRPr>
      </a:lvl1pPr>
      <a:lvl2pPr marL="609597" algn="l" defTabSz="609597" rtl="0" eaLnBrk="1" latinLnBrk="0" hangingPunct="1">
        <a:defRPr sz="2400" kern="1200">
          <a:solidFill>
            <a:schemeClr val="tx1"/>
          </a:solidFill>
          <a:latin typeface="+mn-lt"/>
          <a:ea typeface="+mn-ea"/>
          <a:cs typeface="+mn-cs"/>
        </a:defRPr>
      </a:lvl2pPr>
      <a:lvl3pPr marL="1219192" algn="l" defTabSz="609597" rtl="0" eaLnBrk="1" latinLnBrk="0" hangingPunct="1">
        <a:defRPr sz="2400" kern="1200">
          <a:solidFill>
            <a:schemeClr val="tx1"/>
          </a:solidFill>
          <a:latin typeface="+mn-lt"/>
          <a:ea typeface="+mn-ea"/>
          <a:cs typeface="+mn-cs"/>
        </a:defRPr>
      </a:lvl3pPr>
      <a:lvl4pPr marL="1828789" algn="l" defTabSz="609597" rtl="0" eaLnBrk="1" latinLnBrk="0" hangingPunct="1">
        <a:defRPr sz="2400" kern="1200">
          <a:solidFill>
            <a:schemeClr val="tx1"/>
          </a:solidFill>
          <a:latin typeface="+mn-lt"/>
          <a:ea typeface="+mn-ea"/>
          <a:cs typeface="+mn-cs"/>
        </a:defRPr>
      </a:lvl4pPr>
      <a:lvl5pPr marL="2438384" algn="l" defTabSz="609597" rtl="0" eaLnBrk="1" latinLnBrk="0" hangingPunct="1">
        <a:defRPr sz="2400" kern="1200">
          <a:solidFill>
            <a:schemeClr val="tx1"/>
          </a:solidFill>
          <a:latin typeface="+mn-lt"/>
          <a:ea typeface="+mn-ea"/>
          <a:cs typeface="+mn-cs"/>
        </a:defRPr>
      </a:lvl5pPr>
      <a:lvl6pPr marL="3047980" algn="l" defTabSz="609597" rtl="0" eaLnBrk="1" latinLnBrk="0" hangingPunct="1">
        <a:defRPr sz="2400" kern="1200">
          <a:solidFill>
            <a:schemeClr val="tx1"/>
          </a:solidFill>
          <a:latin typeface="+mn-lt"/>
          <a:ea typeface="+mn-ea"/>
          <a:cs typeface="+mn-cs"/>
        </a:defRPr>
      </a:lvl6pPr>
      <a:lvl7pPr marL="3657577" algn="l" defTabSz="609597" rtl="0" eaLnBrk="1" latinLnBrk="0" hangingPunct="1">
        <a:defRPr sz="2400" kern="1200">
          <a:solidFill>
            <a:schemeClr val="tx1"/>
          </a:solidFill>
          <a:latin typeface="+mn-lt"/>
          <a:ea typeface="+mn-ea"/>
          <a:cs typeface="+mn-cs"/>
        </a:defRPr>
      </a:lvl7pPr>
      <a:lvl8pPr marL="4267173" algn="l" defTabSz="609597" rtl="0" eaLnBrk="1" latinLnBrk="0" hangingPunct="1">
        <a:defRPr sz="2400" kern="1200">
          <a:solidFill>
            <a:schemeClr val="tx1"/>
          </a:solidFill>
          <a:latin typeface="+mn-lt"/>
          <a:ea typeface="+mn-ea"/>
          <a:cs typeface="+mn-cs"/>
        </a:defRPr>
      </a:lvl8pPr>
      <a:lvl9pPr marL="4876769" algn="l" defTabSz="609597" rtl="0" eaLnBrk="1" latinLnBrk="0" hangingPunct="1">
        <a:defRPr sz="24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8194" name="Picture 13" descr="tetiere">
            <a:extLst>
              <a:ext uri="{FF2B5EF4-FFF2-40B4-BE49-F238E27FC236}">
                <a16:creationId xmlns:a16="http://schemas.microsoft.com/office/drawing/2014/main" id="{DB89A867-B298-4BE5-2EF0-00A81F4EA50F}"/>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195" name="Rectangle 2">
            <a:extLst>
              <a:ext uri="{FF2B5EF4-FFF2-40B4-BE49-F238E27FC236}">
                <a16:creationId xmlns:a16="http://schemas.microsoft.com/office/drawing/2014/main" id="{422BC816-8218-4EBA-2022-B2EABF3D99BE}"/>
              </a:ext>
            </a:extLst>
          </p:cNvPr>
          <p:cNvSpPr>
            <a:spLocks noGrp="1" noChangeArrowheads="1"/>
          </p:cNvSpPr>
          <p:nvPr>
            <p:ph type="title"/>
          </p:nvPr>
        </p:nvSpPr>
        <p:spPr bwMode="auto">
          <a:xfrm>
            <a:off x="814388" y="25400"/>
            <a:ext cx="10658475" cy="1125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p>
            <a:pPr lvl="0"/>
            <a:r>
              <a:rPr lang="en-GB" altLang="de-DE"/>
              <a:t>Click to add title</a:t>
            </a:r>
          </a:p>
        </p:txBody>
      </p:sp>
      <p:sp>
        <p:nvSpPr>
          <p:cNvPr id="8196" name="Rectangle 3">
            <a:extLst>
              <a:ext uri="{FF2B5EF4-FFF2-40B4-BE49-F238E27FC236}">
                <a16:creationId xmlns:a16="http://schemas.microsoft.com/office/drawing/2014/main" id="{A4356952-36CC-147F-1AB6-9F52C38FFB78}"/>
              </a:ext>
            </a:extLst>
          </p:cNvPr>
          <p:cNvSpPr>
            <a:spLocks noGrp="1" noChangeArrowheads="1"/>
          </p:cNvSpPr>
          <p:nvPr>
            <p:ph type="body" idx="1"/>
          </p:nvPr>
        </p:nvSpPr>
        <p:spPr bwMode="auto">
          <a:xfrm>
            <a:off x="814388" y="1916113"/>
            <a:ext cx="10685462" cy="4321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de-DE"/>
              <a:t>Click to edit master text styles </a:t>
            </a:r>
          </a:p>
          <a:p>
            <a:pPr lvl="1"/>
            <a:r>
              <a:rPr lang="en-GB" altLang="de-DE"/>
              <a:t>Second level</a:t>
            </a:r>
          </a:p>
          <a:p>
            <a:pPr lvl="2"/>
            <a:r>
              <a:rPr lang="en-GB" altLang="de-DE"/>
              <a:t>Third level</a:t>
            </a:r>
          </a:p>
          <a:p>
            <a:pPr lvl="3"/>
            <a:r>
              <a:rPr lang="en-GB" altLang="de-DE"/>
              <a:t>Fourth level</a:t>
            </a:r>
          </a:p>
          <a:p>
            <a:pPr lvl="4"/>
            <a:r>
              <a:rPr lang="en-GB" altLang="de-DE"/>
              <a:t>Fifth level</a:t>
            </a:r>
          </a:p>
          <a:p>
            <a:pPr lvl="4"/>
            <a:endParaRPr lang="en-GB" altLang="de-DE"/>
          </a:p>
        </p:txBody>
      </p:sp>
      <p:pic>
        <p:nvPicPr>
          <p:cNvPr id="8197" name="Picture 21" descr="logint">
            <a:extLst>
              <a:ext uri="{FF2B5EF4-FFF2-40B4-BE49-F238E27FC236}">
                <a16:creationId xmlns:a16="http://schemas.microsoft.com/office/drawing/2014/main" id="{FBE2EE90-CAF9-3A6F-6E81-10B553E98AEE}"/>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9359900" y="6411913"/>
            <a:ext cx="2132013" cy="32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30" name="Rectangle 23">
            <a:extLst>
              <a:ext uri="{FF2B5EF4-FFF2-40B4-BE49-F238E27FC236}">
                <a16:creationId xmlns:a16="http://schemas.microsoft.com/office/drawing/2014/main" id="{F40C699D-289D-D153-9333-053C1DAC31CC}"/>
              </a:ext>
            </a:extLst>
          </p:cNvPr>
          <p:cNvSpPr>
            <a:spLocks noChangeArrowheads="1"/>
          </p:cNvSpPr>
          <p:nvPr/>
        </p:nvSpPr>
        <p:spPr bwMode="auto">
          <a:xfrm>
            <a:off x="531813" y="6564313"/>
            <a:ext cx="5889625" cy="222250"/>
          </a:xfrm>
          <a:prstGeom prst="rect">
            <a:avLst/>
          </a:prstGeom>
          <a:noFill/>
          <a:ln>
            <a:noFill/>
          </a:ln>
        </p:spPr>
        <p:txBody>
          <a:bodyPr lIns="0" tIns="0" rIns="0" bIns="0" anchor="ctr">
            <a:spAutoFit/>
          </a:bodyPr>
          <a:lstStyle>
            <a:lvl1pPr eaLnBrk="0" hangingPunct="0">
              <a:defRPr sz="1400">
                <a:solidFill>
                  <a:schemeClr val="tx1"/>
                </a:solidFill>
                <a:latin typeface="Alstom" pitchFamily="2" charset="0"/>
              </a:defRPr>
            </a:lvl1pPr>
            <a:lvl2pPr marL="742950" indent="-285750" eaLnBrk="0" hangingPunct="0">
              <a:defRPr sz="1400">
                <a:solidFill>
                  <a:schemeClr val="tx1"/>
                </a:solidFill>
                <a:latin typeface="Alstom" pitchFamily="2" charset="0"/>
              </a:defRPr>
            </a:lvl2pPr>
            <a:lvl3pPr marL="1143000" indent="-228600" eaLnBrk="0" hangingPunct="0">
              <a:defRPr sz="1400">
                <a:solidFill>
                  <a:schemeClr val="tx1"/>
                </a:solidFill>
                <a:latin typeface="Alstom" pitchFamily="2" charset="0"/>
              </a:defRPr>
            </a:lvl3pPr>
            <a:lvl4pPr marL="1600200" indent="-228600" eaLnBrk="0" hangingPunct="0">
              <a:defRPr sz="1400">
                <a:solidFill>
                  <a:schemeClr val="tx1"/>
                </a:solidFill>
                <a:latin typeface="Alstom" pitchFamily="2" charset="0"/>
              </a:defRPr>
            </a:lvl4pPr>
            <a:lvl5pPr marL="2057400" indent="-228600" eaLnBrk="0" hangingPunct="0">
              <a:defRPr sz="1400">
                <a:solidFill>
                  <a:schemeClr val="tx1"/>
                </a:solidFill>
                <a:latin typeface="Alstom" pitchFamily="2" charset="0"/>
              </a:defRPr>
            </a:lvl5pPr>
            <a:lvl6pPr marL="2514600" indent="-228600" eaLnBrk="0" fontAlgn="base" hangingPunct="0">
              <a:spcBef>
                <a:spcPct val="0"/>
              </a:spcBef>
              <a:spcAft>
                <a:spcPct val="0"/>
              </a:spcAft>
              <a:defRPr sz="1400">
                <a:solidFill>
                  <a:schemeClr val="tx1"/>
                </a:solidFill>
                <a:latin typeface="Alstom" pitchFamily="2" charset="0"/>
              </a:defRPr>
            </a:lvl6pPr>
            <a:lvl7pPr marL="2971800" indent="-228600" eaLnBrk="0" fontAlgn="base" hangingPunct="0">
              <a:spcBef>
                <a:spcPct val="0"/>
              </a:spcBef>
              <a:spcAft>
                <a:spcPct val="0"/>
              </a:spcAft>
              <a:defRPr sz="1400">
                <a:solidFill>
                  <a:schemeClr val="tx1"/>
                </a:solidFill>
                <a:latin typeface="Alstom" pitchFamily="2" charset="0"/>
              </a:defRPr>
            </a:lvl7pPr>
            <a:lvl8pPr marL="3429000" indent="-228600" eaLnBrk="0" fontAlgn="base" hangingPunct="0">
              <a:spcBef>
                <a:spcPct val="0"/>
              </a:spcBef>
              <a:spcAft>
                <a:spcPct val="0"/>
              </a:spcAft>
              <a:defRPr sz="1400">
                <a:solidFill>
                  <a:schemeClr val="tx1"/>
                </a:solidFill>
                <a:latin typeface="Alstom" pitchFamily="2" charset="0"/>
              </a:defRPr>
            </a:lvl8pPr>
            <a:lvl9pPr marL="3886200" indent="-228600" eaLnBrk="0" fontAlgn="base" hangingPunct="0">
              <a:spcBef>
                <a:spcPct val="0"/>
              </a:spcBef>
              <a:spcAft>
                <a:spcPct val="0"/>
              </a:spcAft>
              <a:defRPr sz="1400">
                <a:solidFill>
                  <a:schemeClr val="tx1"/>
                </a:solidFill>
                <a:latin typeface="Alstom" pitchFamily="2" charset="0"/>
              </a:defRPr>
            </a:lvl9pPr>
          </a:lstStyle>
          <a:p>
            <a:pPr eaLnBrk="1" hangingPunct="1">
              <a:lnSpc>
                <a:spcPct val="80000"/>
              </a:lnSpc>
              <a:defRPr/>
            </a:pPr>
            <a:r>
              <a:rPr lang="de-DE" altLang="de-DE" sz="600" noProof="1">
                <a:solidFill>
                  <a:srgbClr val="8C8C8C"/>
                </a:solidFill>
              </a:rPr>
              <a:t>© ALSTOM 2012. All rights reserved. Information contained in this document is indicative only. No representation or warranty is given or should be relied on that it is complete or correct or will apply to any particular project. This will depend on the technical and commercial circumstances. It is provided without liability and is subject to change without notice. Reproduction, use or disclosure to third parties, without express written authority, is strictly prohibited. </a:t>
            </a:r>
          </a:p>
        </p:txBody>
      </p:sp>
      <p:sp>
        <p:nvSpPr>
          <p:cNvPr id="1031" name="TextBox 7">
            <a:extLst>
              <a:ext uri="{FF2B5EF4-FFF2-40B4-BE49-F238E27FC236}">
                <a16:creationId xmlns:a16="http://schemas.microsoft.com/office/drawing/2014/main" id="{CB8E060A-F2C4-2D48-C20C-F0DE9B2F9EC1}"/>
              </a:ext>
            </a:extLst>
          </p:cNvPr>
          <p:cNvSpPr txBox="1">
            <a:spLocks noChangeArrowheads="1"/>
          </p:cNvSpPr>
          <p:nvPr/>
        </p:nvSpPr>
        <p:spPr bwMode="auto">
          <a:xfrm>
            <a:off x="400050" y="6318250"/>
            <a:ext cx="4032250" cy="246063"/>
          </a:xfrm>
          <a:prstGeom prst="rect">
            <a:avLst/>
          </a:prstGeom>
          <a:noFill/>
          <a:ln>
            <a:noFill/>
          </a:ln>
        </p:spPr>
        <p:txBody>
          <a:bodyPr>
            <a:spAutoFit/>
          </a:bodyPr>
          <a:lstStyle>
            <a:lvl1pPr eaLnBrk="0" hangingPunct="0">
              <a:defRPr sz="1400">
                <a:solidFill>
                  <a:schemeClr val="tx1"/>
                </a:solidFill>
                <a:latin typeface="Alstom" pitchFamily="2" charset="0"/>
              </a:defRPr>
            </a:lvl1pPr>
            <a:lvl2pPr marL="742950" indent="-285750" eaLnBrk="0" hangingPunct="0">
              <a:defRPr sz="1400">
                <a:solidFill>
                  <a:schemeClr val="tx1"/>
                </a:solidFill>
                <a:latin typeface="Alstom" pitchFamily="2" charset="0"/>
              </a:defRPr>
            </a:lvl2pPr>
            <a:lvl3pPr marL="1143000" indent="-228600" eaLnBrk="0" hangingPunct="0">
              <a:defRPr sz="1400">
                <a:solidFill>
                  <a:schemeClr val="tx1"/>
                </a:solidFill>
                <a:latin typeface="Alstom" pitchFamily="2" charset="0"/>
              </a:defRPr>
            </a:lvl3pPr>
            <a:lvl4pPr marL="1600200" indent="-228600" eaLnBrk="0" hangingPunct="0">
              <a:defRPr sz="1400">
                <a:solidFill>
                  <a:schemeClr val="tx1"/>
                </a:solidFill>
                <a:latin typeface="Alstom" pitchFamily="2" charset="0"/>
              </a:defRPr>
            </a:lvl4pPr>
            <a:lvl5pPr marL="2057400" indent="-228600" eaLnBrk="0" hangingPunct="0">
              <a:defRPr sz="1400">
                <a:solidFill>
                  <a:schemeClr val="tx1"/>
                </a:solidFill>
                <a:latin typeface="Alstom" pitchFamily="2" charset="0"/>
              </a:defRPr>
            </a:lvl5pPr>
            <a:lvl6pPr marL="2514600" indent="-228600" eaLnBrk="0" fontAlgn="base" hangingPunct="0">
              <a:spcBef>
                <a:spcPct val="0"/>
              </a:spcBef>
              <a:spcAft>
                <a:spcPct val="0"/>
              </a:spcAft>
              <a:defRPr sz="1400">
                <a:solidFill>
                  <a:schemeClr val="tx1"/>
                </a:solidFill>
                <a:latin typeface="Alstom" pitchFamily="2" charset="0"/>
              </a:defRPr>
            </a:lvl6pPr>
            <a:lvl7pPr marL="2971800" indent="-228600" eaLnBrk="0" fontAlgn="base" hangingPunct="0">
              <a:spcBef>
                <a:spcPct val="0"/>
              </a:spcBef>
              <a:spcAft>
                <a:spcPct val="0"/>
              </a:spcAft>
              <a:defRPr sz="1400">
                <a:solidFill>
                  <a:schemeClr val="tx1"/>
                </a:solidFill>
                <a:latin typeface="Alstom" pitchFamily="2" charset="0"/>
              </a:defRPr>
            </a:lvl7pPr>
            <a:lvl8pPr marL="3429000" indent="-228600" eaLnBrk="0" fontAlgn="base" hangingPunct="0">
              <a:spcBef>
                <a:spcPct val="0"/>
              </a:spcBef>
              <a:spcAft>
                <a:spcPct val="0"/>
              </a:spcAft>
              <a:defRPr sz="1400">
                <a:solidFill>
                  <a:schemeClr val="tx1"/>
                </a:solidFill>
                <a:latin typeface="Alstom" pitchFamily="2" charset="0"/>
              </a:defRPr>
            </a:lvl8pPr>
            <a:lvl9pPr marL="3886200" indent="-228600" eaLnBrk="0" fontAlgn="base" hangingPunct="0">
              <a:spcBef>
                <a:spcPct val="0"/>
              </a:spcBef>
              <a:spcAft>
                <a:spcPct val="0"/>
              </a:spcAft>
              <a:defRPr sz="1400">
                <a:solidFill>
                  <a:schemeClr val="tx1"/>
                </a:solidFill>
                <a:latin typeface="Alstom" pitchFamily="2" charset="0"/>
              </a:defRPr>
            </a:lvl9pPr>
          </a:lstStyle>
          <a:p>
            <a:pPr eaLnBrk="1" hangingPunct="1">
              <a:defRPr/>
            </a:pPr>
            <a:r>
              <a:rPr lang="en-US" altLang="cs-CZ" sz="1000">
                <a:solidFill>
                  <a:srgbClr val="909090"/>
                </a:solidFill>
              </a:rPr>
              <a:t>Thermal Power Presentation – September 2012 </a:t>
            </a:r>
            <a:r>
              <a:rPr lang="en-GB" altLang="cs-CZ" sz="1000">
                <a:solidFill>
                  <a:srgbClr val="909090"/>
                </a:solidFill>
              </a:rPr>
              <a:t>- P </a:t>
            </a:r>
            <a:fld id="{1CCCA451-0B2C-4617-BCC9-02E527815BA1}" type="slidenum">
              <a:rPr lang="en-GB" altLang="cs-CZ" sz="1000">
                <a:solidFill>
                  <a:srgbClr val="909090"/>
                </a:solidFill>
              </a:rPr>
              <a:pPr eaLnBrk="1" hangingPunct="1">
                <a:defRPr/>
              </a:pPr>
              <a:t>‹Nr.›</a:t>
            </a:fld>
            <a:endParaRPr lang="en-GB" altLang="cs-CZ" sz="1000">
              <a:solidFill>
                <a:srgbClr val="909090"/>
              </a:solidFill>
            </a:endParaRPr>
          </a:p>
        </p:txBody>
      </p:sp>
    </p:spTree>
  </p:cSld>
  <p:clrMap bg1="lt1" tx1="dk1" bg2="lt2" tx2="dk2" accent1="accent1" accent2="accent2" accent3="accent3" accent4="accent4" accent5="accent5" accent6="accent6" hlink="hlink" folHlink="folHlink"/>
  <p:sldLayoutIdLst>
    <p:sldLayoutId id="2147486393" r:id="rId1"/>
    <p:sldLayoutId id="2147486352" r:id="rId2"/>
    <p:sldLayoutId id="2147486353" r:id="rId3"/>
    <p:sldLayoutId id="2147486354" r:id="rId4"/>
    <p:sldLayoutId id="2147486394" r:id="rId5"/>
    <p:sldLayoutId id="2147486355" r:id="rId6"/>
    <p:sldLayoutId id="2147486395" r:id="rId7"/>
    <p:sldLayoutId id="2147486356" r:id="rId8"/>
    <p:sldLayoutId id="2147486396" r:id="rId9"/>
    <p:sldLayoutId id="2147486397" r:id="rId10"/>
  </p:sldLayoutIdLst>
  <p:hf sldNum="0" hdr="0" dt="0"/>
  <p:txStyles>
    <p:titleStyle>
      <a:lvl1pPr algn="l" rtl="0" eaLnBrk="0" fontAlgn="base" hangingPunct="0">
        <a:lnSpc>
          <a:spcPct val="90000"/>
        </a:lnSpc>
        <a:spcBef>
          <a:spcPct val="0"/>
        </a:spcBef>
        <a:spcAft>
          <a:spcPct val="0"/>
        </a:spcAft>
        <a:defRPr sz="2800">
          <a:solidFill>
            <a:schemeClr val="tx2"/>
          </a:solidFill>
          <a:latin typeface="+mj-lt"/>
          <a:ea typeface="+mj-ea"/>
          <a:cs typeface="+mj-cs"/>
        </a:defRPr>
      </a:lvl1pPr>
      <a:lvl2pPr algn="l" rtl="0" eaLnBrk="0" fontAlgn="base" hangingPunct="0">
        <a:lnSpc>
          <a:spcPct val="90000"/>
        </a:lnSpc>
        <a:spcBef>
          <a:spcPct val="0"/>
        </a:spcBef>
        <a:spcAft>
          <a:spcPct val="0"/>
        </a:spcAft>
        <a:defRPr sz="2800">
          <a:solidFill>
            <a:schemeClr val="tx2"/>
          </a:solidFill>
          <a:latin typeface="Alstom" pitchFamily="2" charset="0"/>
        </a:defRPr>
      </a:lvl2pPr>
      <a:lvl3pPr algn="l" rtl="0" eaLnBrk="0" fontAlgn="base" hangingPunct="0">
        <a:lnSpc>
          <a:spcPct val="90000"/>
        </a:lnSpc>
        <a:spcBef>
          <a:spcPct val="0"/>
        </a:spcBef>
        <a:spcAft>
          <a:spcPct val="0"/>
        </a:spcAft>
        <a:defRPr sz="2800">
          <a:solidFill>
            <a:schemeClr val="tx2"/>
          </a:solidFill>
          <a:latin typeface="Alstom" pitchFamily="2" charset="0"/>
        </a:defRPr>
      </a:lvl3pPr>
      <a:lvl4pPr algn="l" rtl="0" eaLnBrk="0" fontAlgn="base" hangingPunct="0">
        <a:lnSpc>
          <a:spcPct val="90000"/>
        </a:lnSpc>
        <a:spcBef>
          <a:spcPct val="0"/>
        </a:spcBef>
        <a:spcAft>
          <a:spcPct val="0"/>
        </a:spcAft>
        <a:defRPr sz="2800">
          <a:solidFill>
            <a:schemeClr val="tx2"/>
          </a:solidFill>
          <a:latin typeface="Alstom" pitchFamily="2" charset="0"/>
        </a:defRPr>
      </a:lvl4pPr>
      <a:lvl5pPr algn="l" rtl="0" eaLnBrk="0" fontAlgn="base" hangingPunct="0">
        <a:lnSpc>
          <a:spcPct val="90000"/>
        </a:lnSpc>
        <a:spcBef>
          <a:spcPct val="0"/>
        </a:spcBef>
        <a:spcAft>
          <a:spcPct val="0"/>
        </a:spcAft>
        <a:defRPr sz="2800">
          <a:solidFill>
            <a:schemeClr val="tx2"/>
          </a:solidFill>
          <a:latin typeface="Alstom" pitchFamily="2" charset="0"/>
        </a:defRPr>
      </a:lvl5pPr>
      <a:lvl6pPr marL="457200" algn="l" rtl="0" fontAlgn="base">
        <a:lnSpc>
          <a:spcPct val="90000"/>
        </a:lnSpc>
        <a:spcBef>
          <a:spcPct val="0"/>
        </a:spcBef>
        <a:spcAft>
          <a:spcPct val="0"/>
        </a:spcAft>
        <a:defRPr sz="2800">
          <a:solidFill>
            <a:schemeClr val="tx2"/>
          </a:solidFill>
          <a:latin typeface="Alstom" pitchFamily="2" charset="0"/>
        </a:defRPr>
      </a:lvl6pPr>
      <a:lvl7pPr marL="914400" algn="l" rtl="0" fontAlgn="base">
        <a:lnSpc>
          <a:spcPct val="90000"/>
        </a:lnSpc>
        <a:spcBef>
          <a:spcPct val="0"/>
        </a:spcBef>
        <a:spcAft>
          <a:spcPct val="0"/>
        </a:spcAft>
        <a:defRPr sz="2800">
          <a:solidFill>
            <a:schemeClr val="tx2"/>
          </a:solidFill>
          <a:latin typeface="Alstom" pitchFamily="2" charset="0"/>
        </a:defRPr>
      </a:lvl7pPr>
      <a:lvl8pPr marL="1371600" algn="l" rtl="0" fontAlgn="base">
        <a:lnSpc>
          <a:spcPct val="90000"/>
        </a:lnSpc>
        <a:spcBef>
          <a:spcPct val="0"/>
        </a:spcBef>
        <a:spcAft>
          <a:spcPct val="0"/>
        </a:spcAft>
        <a:defRPr sz="2800">
          <a:solidFill>
            <a:schemeClr val="tx2"/>
          </a:solidFill>
          <a:latin typeface="Alstom" pitchFamily="2" charset="0"/>
        </a:defRPr>
      </a:lvl8pPr>
      <a:lvl9pPr marL="1828800" algn="l" rtl="0" fontAlgn="base">
        <a:lnSpc>
          <a:spcPct val="90000"/>
        </a:lnSpc>
        <a:spcBef>
          <a:spcPct val="0"/>
        </a:spcBef>
        <a:spcAft>
          <a:spcPct val="0"/>
        </a:spcAft>
        <a:defRPr sz="2800">
          <a:solidFill>
            <a:schemeClr val="tx2"/>
          </a:solidFill>
          <a:latin typeface="Alstom" pitchFamily="2" charset="0"/>
        </a:defRPr>
      </a:lvl9pPr>
    </p:titleStyle>
    <p:bodyStyle>
      <a:lvl1pPr marL="180975" indent="-180975" algn="l" rtl="0" eaLnBrk="0" fontAlgn="base" hangingPunct="0">
        <a:lnSpc>
          <a:spcPct val="90000"/>
        </a:lnSpc>
        <a:spcBef>
          <a:spcPts val="1000"/>
        </a:spcBef>
        <a:spcAft>
          <a:spcPts val="600"/>
        </a:spcAft>
        <a:buClr>
          <a:srgbClr val="1B5CA5"/>
        </a:buClr>
        <a:buFont typeface="Arial" panose="020B0604020202020204" pitchFamily="34" charset="0"/>
        <a:buChar char="•"/>
        <a:defRPr sz="2400">
          <a:solidFill>
            <a:srgbClr val="5F5F5F"/>
          </a:solidFill>
          <a:latin typeface="+mn-lt"/>
          <a:ea typeface="+mn-ea"/>
          <a:cs typeface="+mn-cs"/>
        </a:defRPr>
      </a:lvl1pPr>
      <a:lvl2pPr marL="628650" indent="-171450" algn="l" rtl="0" eaLnBrk="0" fontAlgn="base" hangingPunct="0">
        <a:lnSpc>
          <a:spcPct val="90000"/>
        </a:lnSpc>
        <a:spcBef>
          <a:spcPct val="0"/>
        </a:spcBef>
        <a:spcAft>
          <a:spcPct val="0"/>
        </a:spcAft>
        <a:buClr>
          <a:srgbClr val="1B5CA5"/>
        </a:buClr>
        <a:buFont typeface="Alstom" pitchFamily="2" charset="0"/>
        <a:buChar char="−"/>
        <a:defRPr sz="2200">
          <a:solidFill>
            <a:srgbClr val="5F5F5F"/>
          </a:solidFill>
          <a:latin typeface="+mn-lt"/>
        </a:defRPr>
      </a:lvl2pPr>
      <a:lvl3pPr marL="1076325" indent="-161925" algn="l" rtl="0" eaLnBrk="0" fontAlgn="base" hangingPunct="0">
        <a:spcBef>
          <a:spcPct val="20000"/>
        </a:spcBef>
        <a:spcAft>
          <a:spcPct val="0"/>
        </a:spcAft>
        <a:buClr>
          <a:srgbClr val="1B5CA5"/>
        </a:buClr>
        <a:buFont typeface="Arial" panose="020B0604020202020204" pitchFamily="34" charset="0"/>
        <a:buChar char="•"/>
        <a:defRPr sz="2000">
          <a:solidFill>
            <a:srgbClr val="5F5F5F"/>
          </a:solidFill>
          <a:latin typeface="+mn-lt"/>
        </a:defRPr>
      </a:lvl3pPr>
      <a:lvl4pPr marL="1524000" indent="-152400" algn="l" rtl="0" eaLnBrk="0" fontAlgn="base" hangingPunct="0">
        <a:spcBef>
          <a:spcPct val="20000"/>
        </a:spcBef>
        <a:spcAft>
          <a:spcPct val="0"/>
        </a:spcAft>
        <a:buClr>
          <a:srgbClr val="1B5CA5"/>
        </a:buClr>
        <a:buFont typeface="Alstom" pitchFamily="2" charset="0"/>
        <a:buChar char="−"/>
        <a:defRPr>
          <a:solidFill>
            <a:srgbClr val="5F5F5F"/>
          </a:solidFill>
          <a:latin typeface="+mn-lt"/>
        </a:defRPr>
      </a:lvl4pPr>
      <a:lvl5pPr marL="1971675" indent="-142875" algn="l" rtl="0" eaLnBrk="0" fontAlgn="base" hangingPunct="0">
        <a:spcBef>
          <a:spcPct val="20000"/>
        </a:spcBef>
        <a:spcAft>
          <a:spcPct val="0"/>
        </a:spcAft>
        <a:buClr>
          <a:srgbClr val="1B5CA5"/>
        </a:buClr>
        <a:buFont typeface="Arial" panose="020B0604020202020204" pitchFamily="34" charset="0"/>
        <a:buChar char="•"/>
        <a:defRPr>
          <a:solidFill>
            <a:srgbClr val="5F5F5F"/>
          </a:solidFill>
          <a:latin typeface="+mn-lt"/>
        </a:defRPr>
      </a:lvl5pPr>
      <a:lvl6pPr marL="2514600" indent="-228600" algn="l" rtl="0" fontAlgn="base">
        <a:spcBef>
          <a:spcPct val="20000"/>
        </a:spcBef>
        <a:spcAft>
          <a:spcPct val="0"/>
        </a:spcAft>
        <a:buClr>
          <a:srgbClr val="1B5CA5"/>
        </a:buClr>
        <a:buFont typeface="Arial" pitchFamily="34" charset="0"/>
        <a:buChar char="•"/>
        <a:defRPr>
          <a:solidFill>
            <a:srgbClr val="5F5F5F"/>
          </a:solidFill>
          <a:latin typeface="+mn-lt"/>
        </a:defRPr>
      </a:lvl6pPr>
      <a:lvl7pPr marL="2971800" indent="-228600" algn="l" rtl="0" fontAlgn="base">
        <a:spcBef>
          <a:spcPct val="20000"/>
        </a:spcBef>
        <a:spcAft>
          <a:spcPct val="0"/>
        </a:spcAft>
        <a:buClr>
          <a:srgbClr val="1B5CA5"/>
        </a:buClr>
        <a:buFont typeface="Arial" pitchFamily="34" charset="0"/>
        <a:buChar char="•"/>
        <a:defRPr>
          <a:solidFill>
            <a:srgbClr val="5F5F5F"/>
          </a:solidFill>
          <a:latin typeface="+mn-lt"/>
        </a:defRPr>
      </a:lvl7pPr>
      <a:lvl8pPr marL="3429000" indent="-228600" algn="l" rtl="0" fontAlgn="base">
        <a:spcBef>
          <a:spcPct val="20000"/>
        </a:spcBef>
        <a:spcAft>
          <a:spcPct val="0"/>
        </a:spcAft>
        <a:buClr>
          <a:srgbClr val="1B5CA5"/>
        </a:buClr>
        <a:buFont typeface="Arial" pitchFamily="34" charset="0"/>
        <a:buChar char="•"/>
        <a:defRPr>
          <a:solidFill>
            <a:srgbClr val="5F5F5F"/>
          </a:solidFill>
          <a:latin typeface="+mn-lt"/>
        </a:defRPr>
      </a:lvl8pPr>
      <a:lvl9pPr marL="3886200" indent="-228600" algn="l" rtl="0" fontAlgn="base">
        <a:spcBef>
          <a:spcPct val="20000"/>
        </a:spcBef>
        <a:spcAft>
          <a:spcPct val="0"/>
        </a:spcAft>
        <a:buClr>
          <a:srgbClr val="1B5CA5"/>
        </a:buClr>
        <a:buFont typeface="Arial" pitchFamily="34" charset="0"/>
        <a:buChar char="•"/>
        <a:defRPr>
          <a:solidFill>
            <a:srgbClr val="5F5F5F"/>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9218" name="Picture 32" descr="bandeau_2">
            <a:extLst>
              <a:ext uri="{FF2B5EF4-FFF2-40B4-BE49-F238E27FC236}">
                <a16:creationId xmlns:a16="http://schemas.microsoft.com/office/drawing/2014/main" id="{DB9C9A37-6F36-F602-2C99-2F7E55F06952}"/>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588" y="569913"/>
            <a:ext cx="12192001" cy="571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219" name="Rectangle 2">
            <a:extLst>
              <a:ext uri="{FF2B5EF4-FFF2-40B4-BE49-F238E27FC236}">
                <a16:creationId xmlns:a16="http://schemas.microsoft.com/office/drawing/2014/main" id="{91901D05-2483-4262-472F-35CF6AE8A819}"/>
              </a:ext>
            </a:extLst>
          </p:cNvPr>
          <p:cNvSpPr>
            <a:spLocks noGrp="1" noChangeArrowheads="1"/>
          </p:cNvSpPr>
          <p:nvPr>
            <p:ph type="title"/>
          </p:nvPr>
        </p:nvSpPr>
        <p:spPr bwMode="auto">
          <a:xfrm>
            <a:off x="633413" y="25400"/>
            <a:ext cx="10947400" cy="889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p>
            <a:pPr lvl="0"/>
            <a:r>
              <a:rPr lang="en-US" altLang="en-US"/>
              <a:t>Click to add title</a:t>
            </a:r>
          </a:p>
        </p:txBody>
      </p:sp>
      <p:pic>
        <p:nvPicPr>
          <p:cNvPr id="9220" name="Picture 21" descr="logint">
            <a:extLst>
              <a:ext uri="{FF2B5EF4-FFF2-40B4-BE49-F238E27FC236}">
                <a16:creationId xmlns:a16="http://schemas.microsoft.com/office/drawing/2014/main" id="{0A57C8AF-E34A-C515-6322-96005AC972FD}"/>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9734550" y="6454775"/>
            <a:ext cx="1854200" cy="282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9" name="Rectangle 23">
            <a:extLst>
              <a:ext uri="{FF2B5EF4-FFF2-40B4-BE49-F238E27FC236}">
                <a16:creationId xmlns:a16="http://schemas.microsoft.com/office/drawing/2014/main" id="{9725922A-D2F9-06E9-C5DC-4D73F02CEB53}"/>
              </a:ext>
            </a:extLst>
          </p:cNvPr>
          <p:cNvSpPr>
            <a:spLocks noChangeArrowheads="1"/>
          </p:cNvSpPr>
          <p:nvPr/>
        </p:nvSpPr>
        <p:spPr bwMode="auto">
          <a:xfrm>
            <a:off x="628650" y="6537325"/>
            <a:ext cx="5891213" cy="184150"/>
          </a:xfrm>
          <a:prstGeom prst="rect">
            <a:avLst/>
          </a:prstGeom>
          <a:noFill/>
          <a:ln>
            <a:noFill/>
          </a:ln>
        </p:spPr>
        <p:txBody>
          <a:bodyPr lIns="0" tIns="0" rIns="0" bIns="0" anchor="ctr">
            <a:spAutoFit/>
          </a:bodyPr>
          <a:lstStyle>
            <a:lvl1pPr eaLnBrk="0" hangingPunct="0">
              <a:defRPr sz="1400">
                <a:solidFill>
                  <a:schemeClr val="tx1"/>
                </a:solidFill>
                <a:latin typeface="Alstom" pitchFamily="2" charset="0"/>
              </a:defRPr>
            </a:lvl1pPr>
            <a:lvl2pPr marL="742950" indent="-285750" eaLnBrk="0" hangingPunct="0">
              <a:defRPr sz="1400">
                <a:solidFill>
                  <a:schemeClr val="tx1"/>
                </a:solidFill>
                <a:latin typeface="Alstom" pitchFamily="2" charset="0"/>
              </a:defRPr>
            </a:lvl2pPr>
            <a:lvl3pPr marL="1143000" indent="-228600" eaLnBrk="0" hangingPunct="0">
              <a:defRPr sz="1400">
                <a:solidFill>
                  <a:schemeClr val="tx1"/>
                </a:solidFill>
                <a:latin typeface="Alstom" pitchFamily="2" charset="0"/>
              </a:defRPr>
            </a:lvl3pPr>
            <a:lvl4pPr marL="1600200" indent="-228600" eaLnBrk="0" hangingPunct="0">
              <a:defRPr sz="1400">
                <a:solidFill>
                  <a:schemeClr val="tx1"/>
                </a:solidFill>
                <a:latin typeface="Alstom" pitchFamily="2" charset="0"/>
              </a:defRPr>
            </a:lvl4pPr>
            <a:lvl5pPr marL="2057400" indent="-228600" eaLnBrk="0" hangingPunct="0">
              <a:defRPr sz="1400">
                <a:solidFill>
                  <a:schemeClr val="tx1"/>
                </a:solidFill>
                <a:latin typeface="Alstom" pitchFamily="2" charset="0"/>
              </a:defRPr>
            </a:lvl5pPr>
            <a:lvl6pPr marL="2514600" indent="-228600" eaLnBrk="0" fontAlgn="base" hangingPunct="0">
              <a:spcBef>
                <a:spcPct val="0"/>
              </a:spcBef>
              <a:spcAft>
                <a:spcPct val="0"/>
              </a:spcAft>
              <a:defRPr sz="1400">
                <a:solidFill>
                  <a:schemeClr val="tx1"/>
                </a:solidFill>
                <a:latin typeface="Alstom" pitchFamily="2" charset="0"/>
              </a:defRPr>
            </a:lvl6pPr>
            <a:lvl7pPr marL="2971800" indent="-228600" eaLnBrk="0" fontAlgn="base" hangingPunct="0">
              <a:spcBef>
                <a:spcPct val="0"/>
              </a:spcBef>
              <a:spcAft>
                <a:spcPct val="0"/>
              </a:spcAft>
              <a:defRPr sz="1400">
                <a:solidFill>
                  <a:schemeClr val="tx1"/>
                </a:solidFill>
                <a:latin typeface="Alstom" pitchFamily="2" charset="0"/>
              </a:defRPr>
            </a:lvl7pPr>
            <a:lvl8pPr marL="3429000" indent="-228600" eaLnBrk="0" fontAlgn="base" hangingPunct="0">
              <a:spcBef>
                <a:spcPct val="0"/>
              </a:spcBef>
              <a:spcAft>
                <a:spcPct val="0"/>
              </a:spcAft>
              <a:defRPr sz="1400">
                <a:solidFill>
                  <a:schemeClr val="tx1"/>
                </a:solidFill>
                <a:latin typeface="Alstom" pitchFamily="2" charset="0"/>
              </a:defRPr>
            </a:lvl8pPr>
            <a:lvl9pPr marL="3886200" indent="-228600" eaLnBrk="0" fontAlgn="base" hangingPunct="0">
              <a:spcBef>
                <a:spcPct val="0"/>
              </a:spcBef>
              <a:spcAft>
                <a:spcPct val="0"/>
              </a:spcAft>
              <a:defRPr sz="1400">
                <a:solidFill>
                  <a:schemeClr val="tx1"/>
                </a:solidFill>
                <a:latin typeface="Alstom" pitchFamily="2" charset="0"/>
              </a:defRPr>
            </a:lvl9pPr>
          </a:lstStyle>
          <a:p>
            <a:pPr eaLnBrk="1" hangingPunct="1">
              <a:lnSpc>
                <a:spcPct val="80000"/>
              </a:lnSpc>
              <a:defRPr/>
            </a:pPr>
            <a:r>
              <a:rPr lang="en-US" altLang="en-US" sz="500" noProof="1">
                <a:solidFill>
                  <a:srgbClr val="8C8C8C"/>
                </a:solidFill>
                <a:latin typeface="Arial" pitchFamily="34" charset="0"/>
              </a:rPr>
              <a:t>© ALSTOM 2015. All rights reserved. Information contained in this document is indicative only. No representation or warranty is given or should be relied on that it is complete or correct or will apply to any particular project. This will depend on the technical and commercial circumstances. It is provided without liability and is subject to change without notice. Reproduction, use or disclosure to third parties, without express written authority, is strictly prohibited. </a:t>
            </a:r>
          </a:p>
        </p:txBody>
      </p:sp>
      <p:sp>
        <p:nvSpPr>
          <p:cNvPr id="1030" name="TextBox 7">
            <a:extLst>
              <a:ext uri="{FF2B5EF4-FFF2-40B4-BE49-F238E27FC236}">
                <a16:creationId xmlns:a16="http://schemas.microsoft.com/office/drawing/2014/main" id="{00F9AB21-781F-E74A-BBCE-3CD888DB1740}"/>
              </a:ext>
            </a:extLst>
          </p:cNvPr>
          <p:cNvSpPr txBox="1">
            <a:spLocks noChangeArrowheads="1"/>
          </p:cNvSpPr>
          <p:nvPr/>
        </p:nvSpPr>
        <p:spPr bwMode="auto">
          <a:xfrm>
            <a:off x="495300" y="6332538"/>
            <a:ext cx="10990263" cy="215900"/>
          </a:xfrm>
          <a:prstGeom prst="rect">
            <a:avLst/>
          </a:prstGeom>
          <a:noFill/>
          <a:ln>
            <a:noFill/>
          </a:ln>
        </p:spPr>
        <p:txBody>
          <a:bodyPr>
            <a:spAutoFit/>
          </a:bodyPr>
          <a:lstStyle>
            <a:lvl1pPr>
              <a:defRPr sz="1400">
                <a:solidFill>
                  <a:schemeClr val="tx1"/>
                </a:solidFill>
                <a:latin typeface="Alstom" pitchFamily="2" charset="0"/>
                <a:cs typeface="Arial" panose="020B0604020202020204" pitchFamily="34" charset="0"/>
              </a:defRPr>
            </a:lvl1pPr>
            <a:lvl2pPr marL="742950" indent="-285750">
              <a:defRPr sz="1400">
                <a:solidFill>
                  <a:schemeClr val="tx1"/>
                </a:solidFill>
                <a:latin typeface="Alstom" pitchFamily="2" charset="0"/>
                <a:cs typeface="Arial" panose="020B0604020202020204" pitchFamily="34" charset="0"/>
              </a:defRPr>
            </a:lvl2pPr>
            <a:lvl3pPr marL="1143000" indent="-228600">
              <a:defRPr sz="1400">
                <a:solidFill>
                  <a:schemeClr val="tx1"/>
                </a:solidFill>
                <a:latin typeface="Alstom" pitchFamily="2" charset="0"/>
                <a:cs typeface="Arial" panose="020B0604020202020204" pitchFamily="34" charset="0"/>
              </a:defRPr>
            </a:lvl3pPr>
            <a:lvl4pPr marL="1600200" indent="-228600">
              <a:defRPr sz="1400">
                <a:solidFill>
                  <a:schemeClr val="tx1"/>
                </a:solidFill>
                <a:latin typeface="Alstom" pitchFamily="2" charset="0"/>
                <a:cs typeface="Arial" panose="020B0604020202020204" pitchFamily="34" charset="0"/>
              </a:defRPr>
            </a:lvl4pPr>
            <a:lvl5pPr marL="2057400" indent="-228600">
              <a:defRPr sz="1400">
                <a:solidFill>
                  <a:schemeClr val="tx1"/>
                </a:solidFill>
                <a:latin typeface="Alstom" pitchFamily="2"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lstom" pitchFamily="2"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lstom" pitchFamily="2"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lstom" pitchFamily="2"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lstom" pitchFamily="2" charset="0"/>
                <a:cs typeface="Arial" panose="020B0604020202020204" pitchFamily="34" charset="0"/>
              </a:defRPr>
            </a:lvl9pPr>
          </a:lstStyle>
          <a:p>
            <a:pPr eaLnBrk="1" hangingPunct="1">
              <a:defRPr/>
            </a:pPr>
            <a:r>
              <a:rPr lang="en-GB" altLang="en-US" sz="800">
                <a:solidFill>
                  <a:srgbClr val="BFBFBF"/>
                </a:solidFill>
                <a:latin typeface="Arial" panose="020B0604020202020204" pitchFamily="34" charset="0"/>
              </a:rPr>
              <a:t>   © ALSTOm Technology 2015 		SIRM2015- </a:t>
            </a:r>
            <a:fld id="{41D4283F-630D-4A68-BCA9-E1F52FE5BA25}" type="datetime1">
              <a:rPr lang="en-GB" altLang="en-US" sz="800">
                <a:solidFill>
                  <a:srgbClr val="BFBFBF"/>
                </a:solidFill>
                <a:latin typeface="Arial" panose="020B0604020202020204" pitchFamily="34" charset="0"/>
              </a:rPr>
              <a:pPr eaLnBrk="1" hangingPunct="1">
                <a:defRPr/>
              </a:pPr>
              <a:t>28/01/2024</a:t>
            </a:fld>
            <a:r>
              <a:rPr lang="en-GB" altLang="en-US" sz="800">
                <a:solidFill>
                  <a:srgbClr val="BFBFBF"/>
                </a:solidFill>
                <a:latin typeface="Arial" panose="020B0604020202020204" pitchFamily="34" charset="0"/>
              </a:rPr>
              <a:t> 			 P </a:t>
            </a:r>
            <a:fld id="{2949A763-5221-4DEA-8221-04349A33005A}" type="slidenum">
              <a:rPr lang="en-GB" altLang="en-US" sz="800">
                <a:solidFill>
                  <a:srgbClr val="BFBFBF"/>
                </a:solidFill>
                <a:latin typeface="Arial" panose="020B0604020202020204" pitchFamily="34" charset="0"/>
              </a:rPr>
              <a:pPr eaLnBrk="1" hangingPunct="1">
                <a:defRPr/>
              </a:pPr>
              <a:t>‹Nr.›</a:t>
            </a:fld>
            <a:endParaRPr lang="en-GB" altLang="en-US" sz="800">
              <a:solidFill>
                <a:srgbClr val="BFBFBF"/>
              </a:solidFill>
              <a:latin typeface="Arial" panose="020B0604020202020204" pitchFamily="34" charset="0"/>
            </a:endParaRPr>
          </a:p>
        </p:txBody>
      </p:sp>
      <p:sp>
        <p:nvSpPr>
          <p:cNvPr id="9223" name="Text Placeholder 10">
            <a:extLst>
              <a:ext uri="{FF2B5EF4-FFF2-40B4-BE49-F238E27FC236}">
                <a16:creationId xmlns:a16="http://schemas.microsoft.com/office/drawing/2014/main" id="{0233EEA2-FE4B-AB08-83E3-16D3D125DA37}"/>
              </a:ext>
            </a:extLst>
          </p:cNvPr>
          <p:cNvSpPr>
            <a:spLocks noGrp="1"/>
          </p:cNvSpPr>
          <p:nvPr>
            <p:ph type="body" idx="1"/>
          </p:nvPr>
        </p:nvSpPr>
        <p:spPr bwMode="auto">
          <a:xfrm>
            <a:off x="609600" y="1924050"/>
            <a:ext cx="10972800" cy="4202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add text</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Tree>
  </p:cSld>
  <p:clrMap bg1="lt1" tx1="dk1" bg2="lt2" tx2="dk2" accent1="accent1" accent2="accent2" accent3="accent3" accent4="accent4" accent5="accent5" accent6="accent6" hlink="hlink" folHlink="folHlink"/>
  <p:sldLayoutIdLst>
    <p:sldLayoutId id="2147486398" r:id="rId1"/>
    <p:sldLayoutId id="2147486357" r:id="rId2"/>
    <p:sldLayoutId id="2147486358" r:id="rId3"/>
    <p:sldLayoutId id="2147486359" r:id="rId4"/>
    <p:sldLayoutId id="2147486360" r:id="rId5"/>
    <p:sldLayoutId id="2147486361" r:id="rId6"/>
    <p:sldLayoutId id="2147486362" r:id="rId7"/>
    <p:sldLayoutId id="2147486363" r:id="rId8"/>
    <p:sldLayoutId id="2147486364" r:id="rId9"/>
    <p:sldLayoutId id="2147486365" r:id="rId10"/>
    <p:sldLayoutId id="2147486366" r:id="rId11"/>
    <p:sldLayoutId id="2147486399" r:id="rId12"/>
    <p:sldLayoutId id="2147486367" r:id="rId13"/>
    <p:sldLayoutId id="2147486400" r:id="rId14"/>
  </p:sldLayoutIdLst>
  <p:hf sldNum="0" hdr="0" dt="0"/>
  <p:txStyles>
    <p:titleStyle>
      <a:lvl1pPr algn="l" rtl="0" eaLnBrk="0" fontAlgn="base" hangingPunct="0">
        <a:lnSpc>
          <a:spcPct val="90000"/>
        </a:lnSpc>
        <a:spcBef>
          <a:spcPct val="0"/>
        </a:spcBef>
        <a:spcAft>
          <a:spcPct val="0"/>
        </a:spcAft>
        <a:defRPr sz="2600">
          <a:solidFill>
            <a:schemeClr val="accent1"/>
          </a:solidFill>
          <a:latin typeface="+mj-lt"/>
          <a:ea typeface="+mj-ea"/>
          <a:cs typeface="Arial" pitchFamily="34" charset="0"/>
        </a:defRPr>
      </a:lvl1pPr>
      <a:lvl2pPr algn="l" rtl="0" eaLnBrk="0" fontAlgn="base" hangingPunct="0">
        <a:lnSpc>
          <a:spcPct val="90000"/>
        </a:lnSpc>
        <a:spcBef>
          <a:spcPct val="0"/>
        </a:spcBef>
        <a:spcAft>
          <a:spcPct val="0"/>
        </a:spcAft>
        <a:defRPr sz="2600">
          <a:solidFill>
            <a:schemeClr val="accent1"/>
          </a:solidFill>
          <a:latin typeface="Arial" pitchFamily="34" charset="0"/>
          <a:cs typeface="Arial" pitchFamily="34" charset="0"/>
        </a:defRPr>
      </a:lvl2pPr>
      <a:lvl3pPr algn="l" rtl="0" eaLnBrk="0" fontAlgn="base" hangingPunct="0">
        <a:lnSpc>
          <a:spcPct val="90000"/>
        </a:lnSpc>
        <a:spcBef>
          <a:spcPct val="0"/>
        </a:spcBef>
        <a:spcAft>
          <a:spcPct val="0"/>
        </a:spcAft>
        <a:defRPr sz="2600">
          <a:solidFill>
            <a:schemeClr val="accent1"/>
          </a:solidFill>
          <a:latin typeface="Arial" pitchFamily="34" charset="0"/>
          <a:cs typeface="Arial" pitchFamily="34" charset="0"/>
        </a:defRPr>
      </a:lvl3pPr>
      <a:lvl4pPr algn="l" rtl="0" eaLnBrk="0" fontAlgn="base" hangingPunct="0">
        <a:lnSpc>
          <a:spcPct val="90000"/>
        </a:lnSpc>
        <a:spcBef>
          <a:spcPct val="0"/>
        </a:spcBef>
        <a:spcAft>
          <a:spcPct val="0"/>
        </a:spcAft>
        <a:defRPr sz="2600">
          <a:solidFill>
            <a:schemeClr val="accent1"/>
          </a:solidFill>
          <a:latin typeface="Arial" pitchFamily="34" charset="0"/>
          <a:cs typeface="Arial" pitchFamily="34" charset="0"/>
        </a:defRPr>
      </a:lvl4pPr>
      <a:lvl5pPr algn="l" rtl="0" eaLnBrk="0" fontAlgn="base" hangingPunct="0">
        <a:lnSpc>
          <a:spcPct val="90000"/>
        </a:lnSpc>
        <a:spcBef>
          <a:spcPct val="0"/>
        </a:spcBef>
        <a:spcAft>
          <a:spcPct val="0"/>
        </a:spcAft>
        <a:defRPr sz="2600">
          <a:solidFill>
            <a:schemeClr val="accent1"/>
          </a:solidFill>
          <a:latin typeface="Arial" pitchFamily="34" charset="0"/>
          <a:cs typeface="Arial" pitchFamily="34" charset="0"/>
        </a:defRPr>
      </a:lvl5pPr>
      <a:lvl6pPr marL="457200" algn="l" rtl="0" eaLnBrk="1" fontAlgn="base" hangingPunct="1">
        <a:lnSpc>
          <a:spcPct val="90000"/>
        </a:lnSpc>
        <a:spcBef>
          <a:spcPct val="0"/>
        </a:spcBef>
        <a:spcAft>
          <a:spcPct val="0"/>
        </a:spcAft>
        <a:defRPr sz="2800">
          <a:solidFill>
            <a:schemeClr val="tx2"/>
          </a:solidFill>
          <a:latin typeface="Alstom" pitchFamily="2" charset="0"/>
        </a:defRPr>
      </a:lvl6pPr>
      <a:lvl7pPr marL="914400" algn="l" rtl="0" eaLnBrk="1" fontAlgn="base" hangingPunct="1">
        <a:lnSpc>
          <a:spcPct val="90000"/>
        </a:lnSpc>
        <a:spcBef>
          <a:spcPct val="0"/>
        </a:spcBef>
        <a:spcAft>
          <a:spcPct val="0"/>
        </a:spcAft>
        <a:defRPr sz="2800">
          <a:solidFill>
            <a:schemeClr val="tx2"/>
          </a:solidFill>
          <a:latin typeface="Alstom" pitchFamily="2" charset="0"/>
        </a:defRPr>
      </a:lvl7pPr>
      <a:lvl8pPr marL="1371600" algn="l" rtl="0" eaLnBrk="1" fontAlgn="base" hangingPunct="1">
        <a:lnSpc>
          <a:spcPct val="90000"/>
        </a:lnSpc>
        <a:spcBef>
          <a:spcPct val="0"/>
        </a:spcBef>
        <a:spcAft>
          <a:spcPct val="0"/>
        </a:spcAft>
        <a:defRPr sz="2800">
          <a:solidFill>
            <a:schemeClr val="tx2"/>
          </a:solidFill>
          <a:latin typeface="Alstom" pitchFamily="2" charset="0"/>
        </a:defRPr>
      </a:lvl8pPr>
      <a:lvl9pPr marL="1828800" algn="l" rtl="0" eaLnBrk="1" fontAlgn="base" hangingPunct="1">
        <a:lnSpc>
          <a:spcPct val="90000"/>
        </a:lnSpc>
        <a:spcBef>
          <a:spcPct val="0"/>
        </a:spcBef>
        <a:spcAft>
          <a:spcPct val="0"/>
        </a:spcAft>
        <a:defRPr sz="2800">
          <a:solidFill>
            <a:schemeClr val="tx2"/>
          </a:solidFill>
          <a:latin typeface="Alstom" pitchFamily="2" charset="0"/>
        </a:defRPr>
      </a:lvl9pPr>
    </p:titleStyle>
    <p:bodyStyle>
      <a:lvl1pPr marL="180975" indent="-180975" algn="l" rtl="0" eaLnBrk="0" fontAlgn="base" hangingPunct="0">
        <a:lnSpc>
          <a:spcPct val="90000"/>
        </a:lnSpc>
        <a:spcBef>
          <a:spcPts val="1000"/>
        </a:spcBef>
        <a:spcAft>
          <a:spcPts val="600"/>
        </a:spcAft>
        <a:buClr>
          <a:schemeClr val="accent1"/>
        </a:buClr>
        <a:buFont typeface="Arial" panose="020B0604020202020204" pitchFamily="34" charset="0"/>
        <a:buChar char="•"/>
        <a:defRPr sz="2400">
          <a:solidFill>
            <a:srgbClr val="5F5F5F"/>
          </a:solidFill>
          <a:latin typeface="+mn-lt"/>
          <a:ea typeface="+mn-ea"/>
          <a:cs typeface="Arial" pitchFamily="34" charset="0"/>
        </a:defRPr>
      </a:lvl1pPr>
      <a:lvl2pPr marL="628650" indent="-171450" algn="l" rtl="0" eaLnBrk="0" fontAlgn="base" hangingPunct="0">
        <a:lnSpc>
          <a:spcPct val="90000"/>
        </a:lnSpc>
        <a:spcBef>
          <a:spcPct val="0"/>
        </a:spcBef>
        <a:spcAft>
          <a:spcPct val="0"/>
        </a:spcAft>
        <a:buClr>
          <a:schemeClr val="accent1"/>
        </a:buClr>
        <a:buFont typeface="Alstom" pitchFamily="2" charset="0"/>
        <a:buChar char="−"/>
        <a:defRPr sz="2200">
          <a:solidFill>
            <a:srgbClr val="5F5F5F"/>
          </a:solidFill>
          <a:latin typeface="+mn-lt"/>
          <a:cs typeface="Arial" pitchFamily="34" charset="0"/>
        </a:defRPr>
      </a:lvl2pPr>
      <a:lvl3pPr marL="1076325" indent="-161925" algn="l" rtl="0" eaLnBrk="0" fontAlgn="base" hangingPunct="0">
        <a:spcBef>
          <a:spcPct val="20000"/>
        </a:spcBef>
        <a:spcAft>
          <a:spcPct val="0"/>
        </a:spcAft>
        <a:buClr>
          <a:schemeClr val="accent1"/>
        </a:buClr>
        <a:buFont typeface="Arial" panose="020B0604020202020204" pitchFamily="34" charset="0"/>
        <a:buChar char="•"/>
        <a:defRPr sz="2000">
          <a:solidFill>
            <a:srgbClr val="5F5F5F"/>
          </a:solidFill>
          <a:latin typeface="+mn-lt"/>
          <a:cs typeface="Arial" pitchFamily="34" charset="0"/>
        </a:defRPr>
      </a:lvl3pPr>
      <a:lvl4pPr marL="1524000" indent="-152400" algn="l" rtl="0" eaLnBrk="0" fontAlgn="base" hangingPunct="0">
        <a:spcBef>
          <a:spcPct val="20000"/>
        </a:spcBef>
        <a:spcAft>
          <a:spcPct val="0"/>
        </a:spcAft>
        <a:buClr>
          <a:schemeClr val="accent1"/>
        </a:buClr>
        <a:buFont typeface="Alstom" pitchFamily="2" charset="0"/>
        <a:buChar char="−"/>
        <a:defRPr>
          <a:solidFill>
            <a:srgbClr val="5F5F5F"/>
          </a:solidFill>
          <a:latin typeface="+mn-lt"/>
          <a:cs typeface="Arial" pitchFamily="34" charset="0"/>
        </a:defRPr>
      </a:lvl4pPr>
      <a:lvl5pPr marL="1971675" indent="-142875" algn="l" rtl="0" eaLnBrk="0" fontAlgn="base" hangingPunct="0">
        <a:spcBef>
          <a:spcPct val="20000"/>
        </a:spcBef>
        <a:spcAft>
          <a:spcPct val="0"/>
        </a:spcAft>
        <a:buClr>
          <a:schemeClr val="accent1"/>
        </a:buClr>
        <a:buFont typeface="Arial" panose="020B0604020202020204" pitchFamily="34" charset="0"/>
        <a:buChar char="•"/>
        <a:defRPr>
          <a:solidFill>
            <a:srgbClr val="5F5F5F"/>
          </a:solidFill>
          <a:latin typeface="+mn-lt"/>
          <a:cs typeface="Arial" pitchFamily="34" charset="0"/>
        </a:defRPr>
      </a:lvl5pPr>
      <a:lvl6pPr marL="2514600" indent="-228600" algn="l" rtl="0" eaLnBrk="1" fontAlgn="base" hangingPunct="1">
        <a:spcBef>
          <a:spcPct val="20000"/>
        </a:spcBef>
        <a:spcAft>
          <a:spcPct val="0"/>
        </a:spcAft>
        <a:buClr>
          <a:srgbClr val="1B5CA5"/>
        </a:buClr>
        <a:buFont typeface="Arial" pitchFamily="34" charset="0"/>
        <a:buChar char="•"/>
        <a:defRPr>
          <a:solidFill>
            <a:srgbClr val="5F5F5F"/>
          </a:solidFill>
          <a:latin typeface="+mn-lt"/>
        </a:defRPr>
      </a:lvl6pPr>
      <a:lvl7pPr marL="2971800" indent="-228600" algn="l" rtl="0" eaLnBrk="1" fontAlgn="base" hangingPunct="1">
        <a:spcBef>
          <a:spcPct val="20000"/>
        </a:spcBef>
        <a:spcAft>
          <a:spcPct val="0"/>
        </a:spcAft>
        <a:buClr>
          <a:srgbClr val="1B5CA5"/>
        </a:buClr>
        <a:buFont typeface="Arial" pitchFamily="34" charset="0"/>
        <a:buChar char="•"/>
        <a:defRPr>
          <a:solidFill>
            <a:srgbClr val="5F5F5F"/>
          </a:solidFill>
          <a:latin typeface="+mn-lt"/>
        </a:defRPr>
      </a:lvl7pPr>
      <a:lvl8pPr marL="3429000" indent="-228600" algn="l" rtl="0" eaLnBrk="1" fontAlgn="base" hangingPunct="1">
        <a:spcBef>
          <a:spcPct val="20000"/>
        </a:spcBef>
        <a:spcAft>
          <a:spcPct val="0"/>
        </a:spcAft>
        <a:buClr>
          <a:srgbClr val="1B5CA5"/>
        </a:buClr>
        <a:buFont typeface="Arial" pitchFamily="34" charset="0"/>
        <a:buChar char="•"/>
        <a:defRPr>
          <a:solidFill>
            <a:srgbClr val="5F5F5F"/>
          </a:solidFill>
          <a:latin typeface="+mn-lt"/>
        </a:defRPr>
      </a:lvl8pPr>
      <a:lvl9pPr marL="3886200" indent="-228600" algn="l" rtl="0" eaLnBrk="1" fontAlgn="base" hangingPunct="1">
        <a:spcBef>
          <a:spcPct val="20000"/>
        </a:spcBef>
        <a:spcAft>
          <a:spcPct val="0"/>
        </a:spcAft>
        <a:buClr>
          <a:srgbClr val="1B5CA5"/>
        </a:buClr>
        <a:buFont typeface="Arial" pitchFamily="34" charset="0"/>
        <a:buChar char="•"/>
        <a:defRPr>
          <a:solidFill>
            <a:srgbClr val="5F5F5F"/>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4.xml"/></Relationships>
</file>

<file path=ppt/slides/_rels/slide10.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0.xml"/><Relationship Id="rId1" Type="http://schemas.openxmlformats.org/officeDocument/2006/relationships/slideLayout" Target="../slideLayouts/slideLayout97.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96.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96.xml"/></Relationships>
</file>

<file path=ppt/slides/_rels/slide13.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3.xml"/><Relationship Id="rId1" Type="http://schemas.openxmlformats.org/officeDocument/2006/relationships/slideLayout" Target="../slideLayouts/slideLayout97.xml"/></Relationships>
</file>

<file path=ppt/slides/_rels/slide14.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4.xml"/><Relationship Id="rId1" Type="http://schemas.openxmlformats.org/officeDocument/2006/relationships/slideLayout" Target="../slideLayouts/slideLayout97.xml"/><Relationship Id="rId4" Type="http://schemas.openxmlformats.org/officeDocument/2006/relationships/image" Target="../media/image28.png"/></Relationships>
</file>

<file path=ppt/slides/_rels/slide15.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5.xml"/><Relationship Id="rId1" Type="http://schemas.openxmlformats.org/officeDocument/2006/relationships/slideLayout" Target="../slideLayouts/slideLayout98.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0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96.xml"/></Relationships>
</file>

<file path=ppt/slides/_rels/slide18.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8.xml"/><Relationship Id="rId1" Type="http://schemas.openxmlformats.org/officeDocument/2006/relationships/slideLayout" Target="../slideLayouts/slideLayout97.xml"/><Relationship Id="rId5" Type="http://schemas.openxmlformats.org/officeDocument/2006/relationships/image" Target="../media/image33.png"/><Relationship Id="rId4" Type="http://schemas.openxmlformats.org/officeDocument/2006/relationships/image" Target="../media/image30.png"/></Relationships>
</file>

<file path=ppt/slides/_rels/slide19.xml.rels><?xml version="1.0" encoding="UTF-8" standalone="yes"?>
<Relationships xmlns="http://schemas.openxmlformats.org/package/2006/relationships"><Relationship Id="rId3" Type="http://schemas.openxmlformats.org/officeDocument/2006/relationships/image" Target="../media/image31.png"/><Relationship Id="rId7" Type="http://schemas.openxmlformats.org/officeDocument/2006/relationships/image" Target="../media/image38.png"/><Relationship Id="rId2" Type="http://schemas.openxmlformats.org/officeDocument/2006/relationships/notesSlide" Target="../notesSlides/notesSlide19.xml"/><Relationship Id="rId1" Type="http://schemas.openxmlformats.org/officeDocument/2006/relationships/slideLayout" Target="../slideLayouts/slideLayout2.xml"/><Relationship Id="rId6" Type="http://schemas.openxmlformats.org/officeDocument/2006/relationships/image" Target="../media/image37.png"/><Relationship Id="rId5" Type="http://schemas.openxmlformats.org/officeDocument/2006/relationships/image" Target="../media/image36.png"/><Relationship Id="rId4" Type="http://schemas.openxmlformats.org/officeDocument/2006/relationships/image" Target="../media/image34.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20.xml"/><Relationship Id="rId1" Type="http://schemas.openxmlformats.org/officeDocument/2006/relationships/slideLayout" Target="../slideLayouts/slideLayout2.xml"/><Relationship Id="rId4" Type="http://schemas.openxmlformats.org/officeDocument/2006/relationships/image" Target="../media/image39.png"/></Relationships>
</file>

<file path=ppt/slides/_rels/slide2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21.xml"/><Relationship Id="rId1" Type="http://schemas.openxmlformats.org/officeDocument/2006/relationships/slideLayout" Target="../slideLayouts/slideLayout2.xml"/><Relationship Id="rId5" Type="http://schemas.openxmlformats.org/officeDocument/2006/relationships/image" Target="../media/image36.emf"/><Relationship Id="rId4" Type="http://schemas.openxmlformats.org/officeDocument/2006/relationships/image" Target="../media/image35.png"/></Relationships>
</file>

<file path=ppt/slides/_rels/slide22.xml.rels><?xml version="1.0" encoding="UTF-8" standalone="yes"?>
<Relationships xmlns="http://schemas.openxmlformats.org/package/2006/relationships"><Relationship Id="rId3" Type="http://schemas.openxmlformats.org/officeDocument/2006/relationships/image" Target="../media/image36.emf"/><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24.xml"/><Relationship Id="rId1" Type="http://schemas.openxmlformats.org/officeDocument/2006/relationships/slideLayout" Target="../slideLayouts/slideLayout96.xml"/><Relationship Id="rId4" Type="http://schemas.openxmlformats.org/officeDocument/2006/relationships/image" Target="../media/image41.png"/></Relationships>
</file>

<file path=ppt/slides/_rels/slide27.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3.xml"/><Relationship Id="rId1" Type="http://schemas.openxmlformats.org/officeDocument/2006/relationships/slideLayout" Target="../slideLayouts/slideLayout2.xml"/><Relationship Id="rId6" Type="http://schemas.openxmlformats.org/officeDocument/2006/relationships/image" Target="../media/image27.png"/><Relationship Id="rId5" Type="http://schemas.openxmlformats.org/officeDocument/2006/relationships/image" Target="../media/image26.png"/><Relationship Id="rId4" Type="http://schemas.openxmlformats.org/officeDocument/2006/relationships/image" Target="../media/image25.png"/></Relationships>
</file>

<file path=ppt/slides/_rels/slide30.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image" Target="../media/image43.emf"/><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image" Target="../media/image44.emf"/><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xml"/></Relationships>
</file>

<file path=ppt/slides/_rels/slide36.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xml"/></Relationships>
</file>

<file path=ppt/slides/_rels/slide40.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3" Type="http://schemas.openxmlformats.org/officeDocument/2006/relationships/image" Target="../media/image52.emf"/><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3.png"/><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7.xml"/><Relationship Id="rId1" Type="http://schemas.openxmlformats.org/officeDocument/2006/relationships/slideLayout" Target="../slideLayouts/slideLayout10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9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78" name="Text Box 4">
            <a:extLst>
              <a:ext uri="{FF2B5EF4-FFF2-40B4-BE49-F238E27FC236}">
                <a16:creationId xmlns:a16="http://schemas.microsoft.com/office/drawing/2014/main" id="{D224346C-01DF-9E9F-0B1B-41768588750B}"/>
              </a:ext>
            </a:extLst>
          </p:cNvPr>
          <p:cNvSpPr txBox="1">
            <a:spLocks noChangeArrowheads="1"/>
          </p:cNvSpPr>
          <p:nvPr/>
        </p:nvSpPr>
        <p:spPr bwMode="auto">
          <a:xfrm>
            <a:off x="2254250" y="393700"/>
            <a:ext cx="6056313"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Font typeface="Wingdings" panose="05000000000000000000" pitchFamily="2" charset="2"/>
              <a:buChar char="§"/>
              <a:defRPr sz="2000">
                <a:solidFill>
                  <a:schemeClr val="tx1"/>
                </a:solidFill>
                <a:latin typeface="Arial" panose="020B0604020202020204" pitchFamily="34" charset="0"/>
              </a:defRPr>
            </a:lvl1pPr>
            <a:lvl2pPr marL="742950" indent="-285750">
              <a:spcBef>
                <a:spcPct val="20000"/>
              </a:spcBef>
              <a:buFont typeface="Wingdings" panose="05000000000000000000" pitchFamily="2" charset="2"/>
              <a:buChar char="§"/>
              <a:defRPr>
                <a:solidFill>
                  <a:schemeClr val="tx1"/>
                </a:solidFill>
                <a:latin typeface="Arial" panose="020B0604020202020204" pitchFamily="34" charset="0"/>
              </a:defRPr>
            </a:lvl2pPr>
            <a:lvl3pPr marL="1143000" indent="-228600">
              <a:spcBef>
                <a:spcPct val="20000"/>
              </a:spcBef>
              <a:buFont typeface="Wingdings" panose="05000000000000000000" pitchFamily="2" charset="2"/>
              <a:buChar char="§"/>
              <a:defRPr>
                <a:solidFill>
                  <a:schemeClr val="tx1"/>
                </a:solidFill>
                <a:latin typeface="Arial" panose="020B0604020202020204" pitchFamily="34" charset="0"/>
              </a:defRPr>
            </a:lvl3pPr>
            <a:lvl4pPr marL="1600200" indent="-228600">
              <a:spcBef>
                <a:spcPct val="20000"/>
              </a:spcBef>
              <a:buFont typeface="Wingdings" panose="05000000000000000000" pitchFamily="2" charset="2"/>
              <a:buChar char="§"/>
              <a:defRPr sz="1600">
                <a:solidFill>
                  <a:schemeClr val="tx1"/>
                </a:solidFill>
                <a:latin typeface="Arial" panose="020B0604020202020204" pitchFamily="34" charset="0"/>
              </a:defRPr>
            </a:lvl4pPr>
            <a:lvl5pPr marL="2057400" indent="-228600">
              <a:spcBef>
                <a:spcPct val="20000"/>
              </a:spcBef>
              <a:buFont typeface="Wingdings" panose="05000000000000000000" pitchFamily="2" charset="2"/>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16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de-DE" altLang="de-DE" sz="1800" b="1" i="0" u="none" strike="noStrike" kern="1200" cap="none" spc="0" normalizeH="0" baseline="0" noProof="0">
                <a:ln>
                  <a:noFill/>
                </a:ln>
                <a:solidFill>
                  <a:srgbClr val="003366"/>
                </a:solidFill>
                <a:effectLst/>
                <a:uLnTx/>
                <a:uFillTx/>
                <a:latin typeface="Verdana" panose="020B0604030504040204" pitchFamily="34" charset="0"/>
                <a:ea typeface="+mn-ea"/>
                <a:cs typeface="+mn-cs"/>
              </a:rPr>
              <a:t>Vorlesungen Mechatronik im Wintersemester</a:t>
            </a:r>
          </a:p>
        </p:txBody>
      </p:sp>
      <p:sp>
        <p:nvSpPr>
          <p:cNvPr id="75779" name="Titel 3">
            <a:extLst>
              <a:ext uri="{FF2B5EF4-FFF2-40B4-BE49-F238E27FC236}">
                <a16:creationId xmlns:a16="http://schemas.microsoft.com/office/drawing/2014/main" id="{6B7CB3D1-8792-524C-FF6F-C01F2E84B38A}"/>
              </a:ext>
            </a:extLst>
          </p:cNvPr>
          <p:cNvSpPr>
            <a:spLocks noGrp="1" noChangeArrowheads="1"/>
          </p:cNvSpPr>
          <p:nvPr>
            <p:ph type="ctrTitle"/>
          </p:nvPr>
        </p:nvSpPr>
        <p:spPr>
          <a:xfrm>
            <a:off x="722313" y="763588"/>
            <a:ext cx="9586912" cy="577850"/>
          </a:xfrm>
        </p:spPr>
        <p:txBody>
          <a:bodyPr/>
          <a:lstStyle/>
          <a:p>
            <a:r>
              <a:rPr lang="de-DE" altLang="de-DE" dirty="0" err="1"/>
              <a:t>Energiforsk</a:t>
            </a:r>
            <a:r>
              <a:rPr lang="de-DE" altLang="de-DE" dirty="0"/>
              <a:t> Project: Lectures in </a:t>
            </a:r>
            <a:r>
              <a:rPr lang="de-DE" altLang="de-DE" dirty="0" err="1"/>
              <a:t>the</a:t>
            </a:r>
            <a:r>
              <a:rPr lang="de-DE" altLang="de-DE" dirty="0"/>
              <a:t> Power Plants</a:t>
            </a:r>
            <a:br>
              <a:rPr lang="de-DE" altLang="de-DE" dirty="0"/>
            </a:br>
            <a:r>
              <a:rPr lang="de-DE" altLang="de-DE" dirty="0" err="1"/>
              <a:t>Fortum</a:t>
            </a:r>
            <a:r>
              <a:rPr lang="de-DE" altLang="de-DE" dirty="0"/>
              <a:t> (Helsinki), TVO (</a:t>
            </a:r>
            <a:r>
              <a:rPr lang="de-DE" altLang="de-DE" dirty="0" err="1"/>
              <a:t>Olkiluoto</a:t>
            </a:r>
            <a:r>
              <a:rPr lang="de-DE" altLang="de-DE" dirty="0"/>
              <a:t>), Jan./Febr. 2024</a:t>
            </a:r>
            <a:br>
              <a:rPr lang="de-DE" altLang="de-DE" dirty="0"/>
            </a:br>
            <a:br>
              <a:rPr lang="de-DE" altLang="de-DE" dirty="0"/>
            </a:br>
            <a:br>
              <a:rPr lang="de-DE" altLang="de-DE" dirty="0"/>
            </a:br>
            <a:r>
              <a:rPr lang="de-DE" altLang="de-DE" dirty="0"/>
              <a:t> </a:t>
            </a:r>
            <a:br>
              <a:rPr lang="de-DE" altLang="de-DE" dirty="0"/>
            </a:br>
            <a:r>
              <a:rPr lang="de-DE" altLang="de-DE" dirty="0"/>
              <a:t>                    </a:t>
            </a:r>
            <a:br>
              <a:rPr lang="de-DE" altLang="de-DE" dirty="0"/>
            </a:br>
            <a:r>
              <a:rPr lang="de-DE" altLang="de-DE" dirty="0"/>
              <a:t>                  </a:t>
            </a:r>
            <a:br>
              <a:rPr lang="de-DE" altLang="de-DE" dirty="0"/>
            </a:br>
            <a:r>
              <a:rPr lang="de-DE" altLang="de-DE" b="0" dirty="0"/>
              <a:t>Annual </a:t>
            </a:r>
            <a:r>
              <a:rPr lang="de-DE" altLang="de-DE" b="0" dirty="0" err="1"/>
              <a:t>Energiforsk</a:t>
            </a:r>
            <a:r>
              <a:rPr lang="de-DE" altLang="de-DE" b="0" dirty="0"/>
              <a:t> Seminar (10.11.21)</a:t>
            </a:r>
          </a:p>
        </p:txBody>
      </p:sp>
      <p:sp>
        <p:nvSpPr>
          <p:cNvPr id="7172" name="Textfeld 6">
            <a:extLst>
              <a:ext uri="{FF2B5EF4-FFF2-40B4-BE49-F238E27FC236}">
                <a16:creationId xmlns:a16="http://schemas.microsoft.com/office/drawing/2014/main" id="{F2DDC62D-9223-B99F-6D7C-C952A71135DF}"/>
              </a:ext>
            </a:extLst>
          </p:cNvPr>
          <p:cNvSpPr txBox="1">
            <a:spLocks noChangeArrowheads="1"/>
          </p:cNvSpPr>
          <p:nvPr/>
        </p:nvSpPr>
        <p:spPr bwMode="auto">
          <a:xfrm>
            <a:off x="722313" y="2928938"/>
            <a:ext cx="11155362" cy="2608262"/>
          </a:xfrm>
          <a:prstGeom prst="rect">
            <a:avLst/>
          </a:prstGeom>
          <a:noFill/>
          <a:ln>
            <a:noFill/>
          </a:ln>
        </p:spPr>
        <p:txBody>
          <a:bodyPr>
            <a:spAutoFit/>
          </a:bodyPr>
          <a:lstStyle>
            <a:lvl1pPr>
              <a:spcBef>
                <a:spcPct val="20000"/>
              </a:spcBef>
              <a:buFont typeface="Wingdings" panose="05000000000000000000" pitchFamily="2" charset="2"/>
              <a:buChar char="§"/>
              <a:defRPr sz="2000">
                <a:solidFill>
                  <a:schemeClr val="tx1"/>
                </a:solidFill>
                <a:latin typeface="Arial" panose="020B0604020202020204" pitchFamily="34" charset="0"/>
              </a:defRPr>
            </a:lvl1pPr>
            <a:lvl2pPr marL="742950" indent="-285750">
              <a:spcBef>
                <a:spcPct val="20000"/>
              </a:spcBef>
              <a:buFont typeface="Wingdings" panose="05000000000000000000" pitchFamily="2" charset="2"/>
              <a:buChar char="§"/>
              <a:defRPr>
                <a:solidFill>
                  <a:schemeClr val="tx1"/>
                </a:solidFill>
                <a:latin typeface="Arial" panose="020B0604020202020204" pitchFamily="34" charset="0"/>
              </a:defRPr>
            </a:lvl2pPr>
            <a:lvl3pPr marL="1143000" indent="-228600">
              <a:spcBef>
                <a:spcPct val="20000"/>
              </a:spcBef>
              <a:buFont typeface="Wingdings" panose="05000000000000000000" pitchFamily="2" charset="2"/>
              <a:buChar char="§"/>
              <a:defRPr>
                <a:solidFill>
                  <a:schemeClr val="tx1"/>
                </a:solidFill>
                <a:latin typeface="Arial" panose="020B0604020202020204" pitchFamily="34" charset="0"/>
              </a:defRPr>
            </a:lvl3pPr>
            <a:lvl4pPr marL="1600200" indent="-228600">
              <a:spcBef>
                <a:spcPct val="20000"/>
              </a:spcBef>
              <a:buFont typeface="Wingdings" panose="05000000000000000000" pitchFamily="2" charset="2"/>
              <a:buChar char="§"/>
              <a:defRPr sz="1600">
                <a:solidFill>
                  <a:schemeClr val="tx1"/>
                </a:solidFill>
                <a:latin typeface="Arial" panose="020B0604020202020204" pitchFamily="34" charset="0"/>
              </a:defRPr>
            </a:lvl4pPr>
            <a:lvl5pPr marL="2057400" indent="-228600">
              <a:spcBef>
                <a:spcPct val="20000"/>
              </a:spcBef>
              <a:buFont typeface="Wingdings" panose="05000000000000000000" pitchFamily="2" charset="2"/>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1600">
                <a:solidFill>
                  <a:schemeClr val="tx1"/>
                </a:solidFill>
                <a:latin typeface="Arial" panose="020B0604020202020204" pitchFamily="34" charset="0"/>
              </a:defRPr>
            </a:lvl9pPr>
          </a:lstStyle>
          <a:p>
            <a:pPr marL="0" marR="0" lvl="0" indent="0" algn="l" defTabSz="914400" rtl="0" eaLnBrk="0" fontAlgn="base" latinLnBrk="0" hangingPunct="0">
              <a:lnSpc>
                <a:spcPct val="107000"/>
              </a:lnSpc>
              <a:spcBef>
                <a:spcPct val="20000"/>
              </a:spcBef>
              <a:spcAft>
                <a:spcPts val="800"/>
              </a:spcAft>
              <a:buClrTx/>
              <a:buSzTx/>
              <a:buFont typeface="Wingdings" panose="05000000000000000000" pitchFamily="2" charset="2"/>
              <a:buNone/>
              <a:tabLst/>
              <a:defRPr/>
            </a:pPr>
            <a:r>
              <a:rPr kumimoji="0" lang="de-DE" altLang="de-DE" sz="2400" b="1" i="0" u="none" strike="noStrike" kern="1200" cap="none" spc="0" normalizeH="0" baseline="0" noProof="0" dirty="0" err="1">
                <a:ln>
                  <a:noFill/>
                </a:ln>
                <a:solidFill>
                  <a:srgbClr val="000000"/>
                </a:solidFill>
                <a:effectLst/>
                <a:uLnTx/>
                <a:uFillTx/>
                <a:latin typeface="Arial"/>
                <a:ea typeface="+mn-ea"/>
                <a:cs typeface="+mn-cs"/>
              </a:rPr>
              <a:t>Vibrations</a:t>
            </a:r>
            <a:r>
              <a:rPr kumimoji="0" lang="de-DE" altLang="de-DE" sz="2400" b="1" i="0" u="none" strike="noStrike" kern="1200" cap="none" spc="0" normalizeH="0" baseline="0" noProof="0" dirty="0">
                <a:ln>
                  <a:noFill/>
                </a:ln>
                <a:solidFill>
                  <a:srgbClr val="000000"/>
                </a:solidFill>
                <a:effectLst/>
                <a:uLnTx/>
                <a:uFillTx/>
                <a:latin typeface="Arial"/>
                <a:ea typeface="+mn-ea"/>
                <a:cs typeface="+mn-cs"/>
              </a:rPr>
              <a:t> </a:t>
            </a:r>
            <a:r>
              <a:rPr kumimoji="0" lang="de-DE" altLang="de-DE" sz="2400" b="1" i="0" u="none" strike="noStrike" kern="1200" cap="none" spc="0" normalizeH="0" baseline="0" noProof="0" dirty="0" err="1">
                <a:ln>
                  <a:noFill/>
                </a:ln>
                <a:solidFill>
                  <a:srgbClr val="000000"/>
                </a:solidFill>
                <a:effectLst/>
                <a:uLnTx/>
                <a:uFillTx/>
                <a:latin typeface="Arial"/>
                <a:ea typeface="+mn-ea"/>
                <a:cs typeface="+mn-cs"/>
              </a:rPr>
              <a:t>of</a:t>
            </a:r>
            <a:r>
              <a:rPr kumimoji="0" lang="de-DE" altLang="de-DE" sz="2400" b="1" i="0" u="none" strike="noStrike" kern="1200" cap="none" spc="0" normalizeH="0" baseline="0" noProof="0" dirty="0">
                <a:ln>
                  <a:noFill/>
                </a:ln>
                <a:solidFill>
                  <a:srgbClr val="000000"/>
                </a:solidFill>
                <a:effectLst/>
                <a:uLnTx/>
                <a:uFillTx/>
                <a:latin typeface="Arial"/>
                <a:ea typeface="+mn-ea"/>
                <a:cs typeface="+mn-cs"/>
              </a:rPr>
              <a:t> Pumps in </a:t>
            </a:r>
            <a:r>
              <a:rPr kumimoji="0" lang="de-DE" altLang="de-DE" sz="2400" b="1" i="0" u="none" strike="noStrike" kern="1200" cap="none" spc="0" normalizeH="0" baseline="0" noProof="0" dirty="0" err="1">
                <a:ln>
                  <a:noFill/>
                </a:ln>
                <a:solidFill>
                  <a:srgbClr val="000000"/>
                </a:solidFill>
                <a:effectLst/>
                <a:uLnTx/>
                <a:uFillTx/>
                <a:latin typeface="Arial"/>
                <a:ea typeface="+mn-ea"/>
                <a:cs typeface="+mn-cs"/>
              </a:rPr>
              <a:t>Nuclear</a:t>
            </a:r>
            <a:r>
              <a:rPr kumimoji="0" lang="de-DE" altLang="de-DE" sz="2400" b="1" i="0" u="none" strike="noStrike" kern="1200" cap="none" spc="0" normalizeH="0" baseline="0" noProof="0" dirty="0">
                <a:ln>
                  <a:noFill/>
                </a:ln>
                <a:solidFill>
                  <a:srgbClr val="000000"/>
                </a:solidFill>
                <a:effectLst/>
                <a:uLnTx/>
                <a:uFillTx/>
                <a:latin typeface="Arial"/>
                <a:ea typeface="+mn-ea"/>
                <a:cs typeface="+mn-cs"/>
              </a:rPr>
              <a:t> Power Plants</a:t>
            </a:r>
          </a:p>
          <a:p>
            <a:pPr marL="0" marR="0" lvl="0" indent="0" algn="l" defTabSz="914400" rtl="0" eaLnBrk="0" fontAlgn="base" latinLnBrk="0" hangingPunct="0">
              <a:lnSpc>
                <a:spcPct val="107000"/>
              </a:lnSpc>
              <a:spcBef>
                <a:spcPct val="20000"/>
              </a:spcBef>
              <a:spcAft>
                <a:spcPts val="800"/>
              </a:spcAft>
              <a:buClrTx/>
              <a:buSzTx/>
              <a:buFont typeface="Wingdings" panose="05000000000000000000" pitchFamily="2" charset="2"/>
              <a:buNone/>
              <a:tabLst/>
              <a:defRPr/>
            </a:pPr>
            <a:r>
              <a:rPr kumimoji="0" lang="de-DE" altLang="de-DE" sz="2400" b="1" i="0" u="none" strike="noStrike" kern="1200" cap="none" spc="0" normalizeH="0" baseline="0" noProof="0" dirty="0" err="1">
                <a:ln>
                  <a:noFill/>
                </a:ln>
                <a:solidFill>
                  <a:srgbClr val="000000"/>
                </a:solidFill>
                <a:effectLst/>
                <a:uLnTx/>
                <a:uFillTx/>
                <a:latin typeface="Arial"/>
                <a:ea typeface="Calibri" panose="020F0502020204030204" pitchFamily="34" charset="0"/>
                <a:cs typeface="Times New Roman" panose="02020603050405020304" pitchFamily="18" charset="0"/>
              </a:rPr>
              <a:t>Lecture</a:t>
            </a:r>
            <a:r>
              <a:rPr kumimoji="0" lang="de-DE" altLang="de-DE" sz="2400" b="1" i="0" u="none" strike="noStrike" kern="1200" cap="none" spc="0" normalizeH="0" baseline="0" noProof="0" dirty="0">
                <a:ln>
                  <a:noFill/>
                </a:ln>
                <a:solidFill>
                  <a:srgbClr val="000000"/>
                </a:solidFill>
                <a:effectLst/>
                <a:uLnTx/>
                <a:uFillTx/>
                <a:latin typeface="Arial"/>
                <a:ea typeface="Calibri" panose="020F0502020204030204" pitchFamily="34" charset="0"/>
                <a:cs typeface="Times New Roman" panose="02020603050405020304" pitchFamily="18" charset="0"/>
              </a:rPr>
              <a:t> </a:t>
            </a:r>
            <a:r>
              <a:rPr lang="de-DE" altLang="de-DE" sz="2400" dirty="0">
                <a:solidFill>
                  <a:srgbClr val="000000"/>
                </a:solidFill>
                <a:latin typeface="Arial"/>
                <a:ea typeface="Calibri" panose="020F0502020204030204" pitchFamily="34" charset="0"/>
                <a:cs typeface="Times New Roman" panose="02020603050405020304" pitchFamily="18" charset="0"/>
              </a:rPr>
              <a:t>IV</a:t>
            </a:r>
            <a:r>
              <a:rPr kumimoji="0" lang="de-DE" altLang="de-DE" sz="2400" b="1" i="0" u="none" strike="noStrike" kern="1200" cap="none" spc="0" normalizeH="0" baseline="0" noProof="0" dirty="0">
                <a:ln>
                  <a:noFill/>
                </a:ln>
                <a:solidFill>
                  <a:srgbClr val="000000"/>
                </a:solidFill>
                <a:effectLst/>
                <a:uLnTx/>
                <a:uFillTx/>
                <a:latin typeface="Arial"/>
                <a:ea typeface="Calibri" panose="020F0502020204030204" pitchFamily="34" charset="0"/>
                <a:cs typeface="Times New Roman" panose="02020603050405020304" pitchFamily="18" charset="0"/>
              </a:rPr>
              <a:t>  </a:t>
            </a:r>
            <a:r>
              <a:rPr kumimoji="0" lang="de-DE" altLang="de-DE" sz="2400" b="1" i="0" u="none" strike="noStrike" kern="1200" cap="none" spc="0" normalizeH="0" baseline="0" noProof="0" dirty="0" err="1">
                <a:ln>
                  <a:noFill/>
                </a:ln>
                <a:solidFill>
                  <a:srgbClr val="0000FF"/>
                </a:solidFill>
                <a:effectLst/>
                <a:uLnTx/>
                <a:uFillTx/>
                <a:latin typeface="Arial"/>
                <a:ea typeface="Calibri" panose="020F0502020204030204" pitchFamily="34" charset="0"/>
                <a:cs typeface="Times New Roman" panose="02020603050405020304" pitchFamily="18" charset="0"/>
              </a:rPr>
              <a:t>Vibrations</a:t>
            </a:r>
            <a:r>
              <a:rPr kumimoji="0" lang="de-DE" altLang="de-DE" sz="2400" b="1" i="0" u="none" strike="noStrike" kern="1200" cap="none" spc="0" normalizeH="0" baseline="0" noProof="0" dirty="0">
                <a:ln>
                  <a:noFill/>
                </a:ln>
                <a:solidFill>
                  <a:srgbClr val="0000FF"/>
                </a:solidFill>
                <a:effectLst/>
                <a:uLnTx/>
                <a:uFillTx/>
                <a:latin typeface="Arial"/>
                <a:ea typeface="Calibri" panose="020F0502020204030204" pitchFamily="34" charset="0"/>
                <a:cs typeface="Times New Roman" panose="02020603050405020304" pitchFamily="18" charset="0"/>
              </a:rPr>
              <a:t> </a:t>
            </a:r>
            <a:r>
              <a:rPr kumimoji="0" lang="de-DE" altLang="de-DE" sz="2400" b="1" i="0" u="none" strike="noStrike" kern="1200" cap="none" spc="0" normalizeH="0" baseline="0" noProof="0" dirty="0" err="1">
                <a:ln>
                  <a:noFill/>
                </a:ln>
                <a:solidFill>
                  <a:srgbClr val="0000FF"/>
                </a:solidFill>
                <a:effectLst/>
                <a:uLnTx/>
                <a:uFillTx/>
                <a:latin typeface="Arial"/>
                <a:ea typeface="Calibri" panose="020F0502020204030204" pitchFamily="34" charset="0"/>
                <a:cs typeface="Times New Roman" panose="02020603050405020304" pitchFamily="18" charset="0"/>
              </a:rPr>
              <a:t>of</a:t>
            </a:r>
            <a:r>
              <a:rPr kumimoji="0" lang="de-DE" altLang="de-DE" sz="2400" b="1" i="0" u="none" strike="noStrike" kern="1200" cap="none" spc="0" normalizeH="0" baseline="0" noProof="0" dirty="0">
                <a:ln>
                  <a:noFill/>
                </a:ln>
                <a:solidFill>
                  <a:srgbClr val="0000FF"/>
                </a:solidFill>
                <a:effectLst/>
                <a:uLnTx/>
                <a:uFillTx/>
                <a:latin typeface="Arial"/>
                <a:ea typeface="Calibri" panose="020F0502020204030204" pitchFamily="34" charset="0"/>
                <a:cs typeface="Times New Roman" panose="02020603050405020304" pitchFamily="18" charset="0"/>
              </a:rPr>
              <a:t> </a:t>
            </a:r>
            <a:r>
              <a:rPr kumimoji="0" lang="de-DE" altLang="de-DE" sz="2400" b="1" i="0" u="none" strike="noStrike" kern="1200" cap="none" spc="0" normalizeH="0" baseline="0" noProof="0" dirty="0" err="1">
                <a:ln>
                  <a:noFill/>
                </a:ln>
                <a:solidFill>
                  <a:srgbClr val="0000FF"/>
                </a:solidFill>
                <a:effectLst/>
                <a:uLnTx/>
                <a:uFillTx/>
                <a:latin typeface="Arial"/>
                <a:ea typeface="Calibri" panose="020F0502020204030204" pitchFamily="34" charset="0"/>
                <a:cs typeface="Times New Roman" panose="02020603050405020304" pitchFamily="18" charset="0"/>
              </a:rPr>
              <a:t>Feedwater</a:t>
            </a:r>
            <a:r>
              <a:rPr kumimoji="0" lang="de-DE" altLang="de-DE" sz="2400" b="1" i="0" u="none" strike="noStrike" kern="1200" cap="none" spc="0" normalizeH="0" baseline="0" noProof="0" dirty="0">
                <a:ln>
                  <a:noFill/>
                </a:ln>
                <a:solidFill>
                  <a:srgbClr val="0000FF"/>
                </a:solidFill>
                <a:effectLst/>
                <a:uLnTx/>
                <a:uFillTx/>
                <a:latin typeface="Arial"/>
                <a:ea typeface="Calibri" panose="020F0502020204030204" pitchFamily="34" charset="0"/>
                <a:cs typeface="Times New Roman" panose="02020603050405020304" pitchFamily="18" charset="0"/>
              </a:rPr>
              <a:t> Pumps in </a:t>
            </a:r>
            <a:r>
              <a:rPr kumimoji="0" lang="de-DE" altLang="de-DE" sz="2400" b="1" i="0" u="none" strike="noStrike" kern="1200" cap="none" spc="0" normalizeH="0" baseline="0" noProof="0" dirty="0" err="1">
                <a:ln>
                  <a:noFill/>
                </a:ln>
                <a:solidFill>
                  <a:srgbClr val="0000FF"/>
                </a:solidFill>
                <a:effectLst/>
                <a:uLnTx/>
                <a:uFillTx/>
                <a:latin typeface="Arial"/>
                <a:ea typeface="Calibri" panose="020F0502020204030204" pitchFamily="34" charset="0"/>
                <a:cs typeface="Times New Roman" panose="02020603050405020304" pitchFamily="18" charset="0"/>
              </a:rPr>
              <a:t>Nuclear</a:t>
            </a:r>
            <a:r>
              <a:rPr kumimoji="0" lang="de-DE" altLang="de-DE" sz="2400" b="1" i="0" u="none" strike="noStrike" kern="1200" cap="none" spc="0" normalizeH="0" baseline="0" noProof="0" dirty="0">
                <a:ln>
                  <a:noFill/>
                </a:ln>
                <a:solidFill>
                  <a:srgbClr val="0000FF"/>
                </a:solidFill>
                <a:effectLst/>
                <a:uLnTx/>
                <a:uFillTx/>
                <a:latin typeface="Arial"/>
                <a:ea typeface="Calibri" panose="020F0502020204030204" pitchFamily="34" charset="0"/>
                <a:cs typeface="Times New Roman" panose="02020603050405020304" pitchFamily="18" charset="0"/>
              </a:rPr>
              <a:t> Power Plants</a:t>
            </a: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de-DE" altLang="de-DE" sz="2400" b="1" i="0" u="none" strike="noStrike" kern="1200" cap="none" spc="0" normalizeH="0" baseline="0" noProof="0" dirty="0">
              <a:ln>
                <a:noFill/>
              </a:ln>
              <a:solidFill>
                <a:srgbClr val="000000"/>
              </a:solidFill>
              <a:effectLst/>
              <a:uLnTx/>
              <a:uFillTx/>
              <a:latin typeface="Verdana" panose="020B0604030504040204" pitchFamily="34" charset="0"/>
              <a:ea typeface="+mn-ea"/>
              <a:cs typeface="+mn-cs"/>
            </a:endParaRP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de-DE" altLang="de-DE" sz="2400" b="1" i="0" u="none" strike="noStrike" kern="1200" cap="none" spc="0" normalizeH="0" baseline="0" noProof="0" dirty="0">
              <a:ln>
                <a:noFill/>
              </a:ln>
              <a:solidFill>
                <a:srgbClr val="000000"/>
              </a:solidFill>
              <a:effectLst/>
              <a:uLnTx/>
              <a:uFillTx/>
              <a:latin typeface="Verdana" panose="020B0604030504040204" pitchFamily="34" charset="0"/>
              <a:ea typeface="+mn-ea"/>
              <a:cs typeface="+mn-cs"/>
            </a:endParaRPr>
          </a:p>
          <a:p>
            <a:pPr marL="0" marR="0" lvl="0" indent="0" algn="l" defTabSz="914400" rtl="0" eaLnBrk="1" fontAlgn="base" latinLnBrk="0" hangingPunct="1">
              <a:lnSpc>
                <a:spcPct val="100000"/>
              </a:lnSpc>
              <a:spcBef>
                <a:spcPts val="600"/>
              </a:spcBef>
              <a:spcAft>
                <a:spcPct val="0"/>
              </a:spcAft>
              <a:buClrTx/>
              <a:buSzTx/>
              <a:buFont typeface="Wingdings" panose="05000000000000000000" pitchFamily="2" charset="2"/>
              <a:buNone/>
              <a:tabLst/>
              <a:defRPr/>
            </a:pPr>
            <a:r>
              <a:rPr kumimoji="0" lang="de-DE" altLang="de-DE" sz="1800" b="1" i="0" u="none" strike="noStrike" kern="1200" cap="none" spc="0" normalizeH="0" baseline="0" noProof="0" dirty="0">
                <a:ln>
                  <a:noFill/>
                </a:ln>
                <a:solidFill>
                  <a:srgbClr val="000000"/>
                </a:solidFill>
                <a:effectLst/>
                <a:uLnTx/>
                <a:uFillTx/>
                <a:latin typeface="Verdana" panose="020B0604030504040204" pitchFamily="34" charset="0"/>
                <a:ea typeface="+mn-ea"/>
                <a:cs typeface="+mn-cs"/>
              </a:rPr>
              <a:t>Rainer Nordmann</a:t>
            </a:r>
          </a:p>
          <a:p>
            <a:pPr marL="0" marR="0" lvl="0" indent="0" algn="l" defTabSz="914400" rtl="0" eaLnBrk="1" fontAlgn="base" latinLnBrk="0" hangingPunct="1">
              <a:lnSpc>
                <a:spcPct val="100000"/>
              </a:lnSpc>
              <a:spcBef>
                <a:spcPts val="600"/>
              </a:spcBef>
              <a:spcAft>
                <a:spcPct val="0"/>
              </a:spcAft>
              <a:buClrTx/>
              <a:buSzTx/>
              <a:buFont typeface="Wingdings" panose="05000000000000000000" pitchFamily="2" charset="2"/>
              <a:buNone/>
              <a:tabLst/>
              <a:defRPr/>
            </a:pPr>
            <a:r>
              <a:rPr kumimoji="0" lang="de-DE" altLang="de-DE" sz="1800" b="1" i="0" u="none" strike="noStrike" kern="1200" cap="none" spc="0" normalizeH="0" baseline="0" noProof="0" dirty="0">
                <a:ln>
                  <a:noFill/>
                </a:ln>
                <a:solidFill>
                  <a:srgbClr val="000000"/>
                </a:solidFill>
                <a:effectLst/>
                <a:uLnTx/>
                <a:uFillTx/>
                <a:latin typeface="Verdana" panose="020B0604030504040204" pitchFamily="34" charset="0"/>
                <a:ea typeface="+mn-ea"/>
                <a:cs typeface="+mn-cs"/>
              </a:rPr>
              <a:t>Technische Universität Darmstadt</a:t>
            </a: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Textfeld 4">
            <a:extLst>
              <a:ext uri="{FF2B5EF4-FFF2-40B4-BE49-F238E27FC236}">
                <a16:creationId xmlns:a16="http://schemas.microsoft.com/office/drawing/2014/main" id="{AA30C86F-2E30-725A-C5D5-DE8A69CB0D85}"/>
              </a:ext>
            </a:extLst>
          </p:cNvPr>
          <p:cNvSpPr txBox="1">
            <a:spLocks noChangeArrowheads="1"/>
          </p:cNvSpPr>
          <p:nvPr/>
        </p:nvSpPr>
        <p:spPr bwMode="auto">
          <a:xfrm>
            <a:off x="2642326" y="1473657"/>
            <a:ext cx="9065623" cy="4985980"/>
          </a:xfrm>
          <a:prstGeom prst="rect">
            <a:avLst/>
          </a:prstGeom>
          <a:noFill/>
          <a:ln>
            <a:noFill/>
          </a:ln>
        </p:spPr>
        <p:txBody>
          <a:bodyPr wrap="square">
            <a:spAutoFit/>
          </a:bodyPr>
          <a:lstStyle>
            <a:lvl1pPr>
              <a:spcBef>
                <a:spcPct val="20000"/>
              </a:spcBef>
              <a:buFont typeface="Wingdings" panose="05000000000000000000" pitchFamily="2" charset="2"/>
              <a:buChar char="§"/>
              <a:defRPr sz="2000">
                <a:solidFill>
                  <a:schemeClr val="tx1"/>
                </a:solidFill>
                <a:latin typeface="Arial" panose="020B0604020202020204" pitchFamily="34" charset="0"/>
              </a:defRPr>
            </a:lvl1pPr>
            <a:lvl2pPr marL="742950" indent="-285750">
              <a:spcBef>
                <a:spcPct val="20000"/>
              </a:spcBef>
              <a:buFont typeface="Wingdings" panose="05000000000000000000" pitchFamily="2" charset="2"/>
              <a:buChar char="§"/>
              <a:defRPr>
                <a:solidFill>
                  <a:schemeClr val="tx1"/>
                </a:solidFill>
                <a:latin typeface="Arial" panose="020B0604020202020204" pitchFamily="34" charset="0"/>
              </a:defRPr>
            </a:lvl2pPr>
            <a:lvl3pPr marL="1143000" indent="-228600">
              <a:spcBef>
                <a:spcPct val="20000"/>
              </a:spcBef>
              <a:buFont typeface="Wingdings" panose="05000000000000000000" pitchFamily="2" charset="2"/>
              <a:buChar char="§"/>
              <a:defRPr>
                <a:solidFill>
                  <a:schemeClr val="tx1"/>
                </a:solidFill>
                <a:latin typeface="Arial" panose="020B0604020202020204" pitchFamily="34" charset="0"/>
              </a:defRPr>
            </a:lvl3pPr>
            <a:lvl4pPr marL="1600200" indent="-228600">
              <a:spcBef>
                <a:spcPct val="20000"/>
              </a:spcBef>
              <a:buFont typeface="Wingdings" panose="05000000000000000000" pitchFamily="2" charset="2"/>
              <a:buChar char="§"/>
              <a:defRPr sz="1600">
                <a:solidFill>
                  <a:schemeClr val="tx1"/>
                </a:solidFill>
                <a:latin typeface="Arial" panose="020B0604020202020204" pitchFamily="34" charset="0"/>
              </a:defRPr>
            </a:lvl4pPr>
            <a:lvl5pPr marL="2057400" indent="-228600">
              <a:spcBef>
                <a:spcPct val="20000"/>
              </a:spcBef>
              <a:buFont typeface="Wingdings" panose="05000000000000000000" pitchFamily="2" charset="2"/>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1600">
                <a:solidFill>
                  <a:schemeClr val="tx1"/>
                </a:solidFill>
                <a:latin typeface="Arial" panose="020B0604020202020204" pitchFamily="34" charset="0"/>
              </a:defRPr>
            </a:lvl9pPr>
          </a:lstStyle>
          <a:p>
            <a:pPr eaLnBrk="1" hangingPunct="1">
              <a:spcBef>
                <a:spcPct val="0"/>
              </a:spcBef>
              <a:buNone/>
              <a:defRPr/>
            </a:pPr>
            <a:endParaRPr lang="de-DE" altLang="de-DE" dirty="0">
              <a:latin typeface="Arial"/>
            </a:endParaRPr>
          </a:p>
          <a:p>
            <a:pPr eaLnBrk="1" hangingPunct="1">
              <a:spcBef>
                <a:spcPct val="0"/>
              </a:spcBef>
              <a:buNone/>
              <a:defRPr/>
            </a:pPr>
            <a:r>
              <a:rPr lang="de-DE" altLang="de-DE" dirty="0">
                <a:latin typeface="Arial"/>
                <a:ea typeface="Verdana" panose="020B0604030504040204" pitchFamily="34" charset="0"/>
                <a:cs typeface="Verdana" panose="020B0604030504040204" pitchFamily="34" charset="0"/>
              </a:rPr>
              <a:t>                                 </a:t>
            </a:r>
            <a:r>
              <a:rPr lang="de-DE" altLang="de-DE" dirty="0">
                <a:solidFill>
                  <a:srgbClr val="0000FF"/>
                </a:solidFill>
                <a:latin typeface="Arial"/>
                <a:ea typeface="Verdana" panose="020B0604030504040204" pitchFamily="34" charset="0"/>
                <a:cs typeface="Verdana" panose="020B0604030504040204" pitchFamily="34" charset="0"/>
              </a:rPr>
              <a:t>Lateral </a:t>
            </a:r>
            <a:r>
              <a:rPr lang="de-DE" altLang="de-DE" dirty="0" err="1">
                <a:solidFill>
                  <a:srgbClr val="0000FF"/>
                </a:solidFill>
                <a:latin typeface="Arial"/>
                <a:ea typeface="Verdana" panose="020B0604030504040204" pitchFamily="34" charset="0"/>
                <a:cs typeface="Verdana" panose="020B0604030504040204" pitchFamily="34" charset="0"/>
              </a:rPr>
              <a:t>Vibrations</a:t>
            </a:r>
            <a:r>
              <a:rPr lang="de-DE" altLang="de-DE" dirty="0">
                <a:solidFill>
                  <a:srgbClr val="0000FF"/>
                </a:solidFill>
                <a:latin typeface="Arial"/>
                <a:ea typeface="Verdana" panose="020B0604030504040204" pitchFamily="34" charset="0"/>
                <a:cs typeface="Verdana" panose="020B0604030504040204" pitchFamily="34" charset="0"/>
              </a:rPr>
              <a:t>:  </a:t>
            </a:r>
            <a:r>
              <a:rPr lang="de-DE" altLang="de-DE" b="0" dirty="0" err="1">
                <a:solidFill>
                  <a:srgbClr val="000000"/>
                </a:solidFill>
                <a:latin typeface="Arial"/>
                <a:ea typeface="Verdana" panose="020B0604030504040204" pitchFamily="34" charset="0"/>
                <a:cs typeface="Verdana" panose="020B0604030504040204" pitchFamily="34" charset="0"/>
              </a:rPr>
              <a:t>perpendicular</a:t>
            </a:r>
            <a:r>
              <a:rPr lang="de-DE" altLang="de-DE" b="0" dirty="0">
                <a:solidFill>
                  <a:srgbClr val="000000"/>
                </a:solidFill>
                <a:latin typeface="Arial"/>
                <a:ea typeface="Verdana" panose="020B0604030504040204" pitchFamily="34" charset="0"/>
                <a:cs typeface="Verdana" panose="020B0604030504040204" pitchFamily="34" charset="0"/>
              </a:rPr>
              <a:t> </a:t>
            </a:r>
            <a:r>
              <a:rPr lang="de-DE" altLang="de-DE" b="0" dirty="0" err="1">
                <a:solidFill>
                  <a:srgbClr val="000000"/>
                </a:solidFill>
                <a:latin typeface="Arial"/>
                <a:ea typeface="Verdana" panose="020B0604030504040204" pitchFamily="34" charset="0"/>
                <a:cs typeface="Verdana" panose="020B0604030504040204" pitchFamily="34" charset="0"/>
              </a:rPr>
              <a:t>to</a:t>
            </a:r>
            <a:r>
              <a:rPr lang="de-DE" altLang="de-DE" b="0" dirty="0">
                <a:solidFill>
                  <a:srgbClr val="000000"/>
                </a:solidFill>
                <a:latin typeface="Arial"/>
                <a:ea typeface="Verdana" panose="020B0604030504040204" pitchFamily="34" charset="0"/>
                <a:cs typeface="Verdana" panose="020B0604030504040204" pitchFamily="34" charset="0"/>
              </a:rPr>
              <a:t> </a:t>
            </a:r>
            <a:r>
              <a:rPr lang="de-DE" altLang="de-DE" b="0" dirty="0" err="1">
                <a:solidFill>
                  <a:srgbClr val="000000"/>
                </a:solidFill>
                <a:latin typeface="Arial"/>
                <a:ea typeface="Verdana" panose="020B0604030504040204" pitchFamily="34" charset="0"/>
                <a:cs typeface="Verdana" panose="020B0604030504040204" pitchFamily="34" charset="0"/>
              </a:rPr>
              <a:t>the</a:t>
            </a:r>
            <a:endParaRPr lang="de-DE" altLang="de-DE" b="0" dirty="0">
              <a:solidFill>
                <a:srgbClr val="000000"/>
              </a:solidFill>
              <a:latin typeface="Arial"/>
              <a:ea typeface="Verdana" panose="020B0604030504040204" pitchFamily="34" charset="0"/>
              <a:cs typeface="Verdana" panose="020B0604030504040204" pitchFamily="34" charset="0"/>
            </a:endParaRPr>
          </a:p>
          <a:p>
            <a:pPr eaLnBrk="1" hangingPunct="1">
              <a:spcBef>
                <a:spcPct val="0"/>
              </a:spcBef>
              <a:buNone/>
              <a:defRPr/>
            </a:pPr>
            <a:r>
              <a:rPr lang="de-DE" altLang="de-DE" dirty="0">
                <a:solidFill>
                  <a:srgbClr val="000000"/>
                </a:solidFill>
                <a:latin typeface="Arial"/>
              </a:rPr>
              <a:t>                                 </a:t>
            </a:r>
            <a:r>
              <a:rPr lang="de-DE" altLang="de-DE" b="0" dirty="0" err="1">
                <a:solidFill>
                  <a:srgbClr val="000000"/>
                </a:solidFill>
                <a:latin typeface="Arial"/>
                <a:ea typeface="Verdana" panose="020B0604030504040204" pitchFamily="34" charset="0"/>
                <a:cs typeface="Verdana" panose="020B0604030504040204" pitchFamily="34" charset="0"/>
              </a:rPr>
              <a:t>shaft</a:t>
            </a:r>
            <a:r>
              <a:rPr lang="de-DE" altLang="de-DE" b="0" dirty="0">
                <a:solidFill>
                  <a:srgbClr val="000000"/>
                </a:solidFill>
                <a:latin typeface="Arial"/>
                <a:ea typeface="Verdana" panose="020B0604030504040204" pitchFamily="34" charset="0"/>
                <a:cs typeface="Verdana" panose="020B0604030504040204" pitchFamily="34" charset="0"/>
              </a:rPr>
              <a:t> </a:t>
            </a:r>
            <a:r>
              <a:rPr lang="de-DE" altLang="de-DE" b="0" dirty="0" err="1">
                <a:solidFill>
                  <a:srgbClr val="000000"/>
                </a:solidFill>
                <a:latin typeface="Arial"/>
                <a:ea typeface="Verdana" panose="020B0604030504040204" pitchFamily="34" charset="0"/>
                <a:cs typeface="Verdana" panose="020B0604030504040204" pitchFamily="34" charset="0"/>
              </a:rPr>
              <a:t>axis</a:t>
            </a:r>
            <a:r>
              <a:rPr lang="de-DE" altLang="de-DE" b="0" dirty="0">
                <a:solidFill>
                  <a:srgbClr val="000000"/>
                </a:solidFill>
                <a:latin typeface="Arial"/>
                <a:ea typeface="Verdana" panose="020B0604030504040204" pitchFamily="34" charset="0"/>
                <a:cs typeface="Verdana" panose="020B0604030504040204" pitchFamily="34" charset="0"/>
              </a:rPr>
              <a:t> with </a:t>
            </a:r>
            <a:r>
              <a:rPr lang="de-DE" altLang="de-DE" b="0" dirty="0" err="1">
                <a:solidFill>
                  <a:srgbClr val="000000"/>
                </a:solidFill>
                <a:latin typeface="Arial"/>
                <a:ea typeface="Verdana" panose="020B0604030504040204" pitchFamily="34" charset="0"/>
                <a:cs typeface="Verdana" panose="020B0604030504040204" pitchFamily="34" charset="0"/>
              </a:rPr>
              <a:t>bending</a:t>
            </a:r>
            <a:r>
              <a:rPr lang="de-DE" altLang="de-DE" b="0" dirty="0">
                <a:solidFill>
                  <a:srgbClr val="000000"/>
                </a:solidFill>
                <a:latin typeface="Arial"/>
                <a:ea typeface="Verdana" panose="020B0604030504040204" pitchFamily="34" charset="0"/>
                <a:cs typeface="Verdana" panose="020B0604030504040204" pitchFamily="34" charset="0"/>
              </a:rPr>
              <a:t> </a:t>
            </a:r>
            <a:r>
              <a:rPr lang="de-DE" altLang="de-DE" b="0" dirty="0" err="1">
                <a:solidFill>
                  <a:srgbClr val="000000"/>
                </a:solidFill>
                <a:latin typeface="Arial"/>
                <a:ea typeface="Verdana" panose="020B0604030504040204" pitchFamily="34" charset="0"/>
                <a:cs typeface="Verdana" panose="020B0604030504040204" pitchFamily="34" charset="0"/>
              </a:rPr>
              <a:t>along</a:t>
            </a:r>
            <a:r>
              <a:rPr lang="de-DE" altLang="de-DE" b="0" dirty="0">
                <a:solidFill>
                  <a:srgbClr val="000000"/>
                </a:solidFill>
                <a:latin typeface="Arial"/>
                <a:ea typeface="Verdana" panose="020B0604030504040204" pitchFamily="34" charset="0"/>
                <a:cs typeface="Verdana" panose="020B0604030504040204" pitchFamily="34" charset="0"/>
              </a:rPr>
              <a:t> </a:t>
            </a:r>
            <a:r>
              <a:rPr lang="de-DE" altLang="de-DE" b="0" dirty="0" err="1">
                <a:solidFill>
                  <a:srgbClr val="000000"/>
                </a:solidFill>
                <a:latin typeface="Arial"/>
                <a:ea typeface="Verdana" panose="020B0604030504040204" pitchFamily="34" charset="0"/>
                <a:cs typeface="Verdana" panose="020B0604030504040204" pitchFamily="34" charset="0"/>
              </a:rPr>
              <a:t>the</a:t>
            </a:r>
            <a:r>
              <a:rPr lang="de-DE" altLang="de-DE" b="0" dirty="0">
                <a:solidFill>
                  <a:srgbClr val="000000"/>
                </a:solidFill>
                <a:latin typeface="Arial"/>
                <a:ea typeface="Verdana" panose="020B0604030504040204" pitchFamily="34" charset="0"/>
                <a:cs typeface="Verdana" panose="020B0604030504040204" pitchFamily="34" charset="0"/>
              </a:rPr>
              <a:t> </a:t>
            </a:r>
            <a:r>
              <a:rPr lang="de-DE" altLang="de-DE" b="0" dirty="0" err="1">
                <a:solidFill>
                  <a:srgbClr val="000000"/>
                </a:solidFill>
                <a:latin typeface="Arial"/>
                <a:ea typeface="Verdana" panose="020B0604030504040204" pitchFamily="34" charset="0"/>
                <a:cs typeface="Verdana" panose="020B0604030504040204" pitchFamily="34" charset="0"/>
              </a:rPr>
              <a:t>shaft</a:t>
            </a:r>
            <a:r>
              <a:rPr lang="de-DE" altLang="de-DE" b="0" dirty="0">
                <a:solidFill>
                  <a:srgbClr val="000000"/>
                </a:solidFill>
                <a:latin typeface="Arial"/>
                <a:ea typeface="Verdana" panose="020B0604030504040204" pitchFamily="34" charset="0"/>
                <a:cs typeface="Verdana" panose="020B0604030504040204" pitchFamily="34" charset="0"/>
              </a:rPr>
              <a:t> </a:t>
            </a:r>
            <a:r>
              <a:rPr lang="de-DE" altLang="de-DE" b="0" dirty="0" err="1">
                <a:solidFill>
                  <a:srgbClr val="000000"/>
                </a:solidFill>
                <a:latin typeface="Arial"/>
                <a:ea typeface="Verdana" panose="020B0604030504040204" pitchFamily="34" charset="0"/>
                <a:cs typeface="Verdana" panose="020B0604030504040204" pitchFamily="34" charset="0"/>
              </a:rPr>
              <a:t>line</a:t>
            </a:r>
            <a:r>
              <a:rPr lang="de-DE" altLang="de-DE" b="0" dirty="0">
                <a:solidFill>
                  <a:srgbClr val="000000"/>
                </a:solidFill>
                <a:latin typeface="Arial"/>
                <a:ea typeface="Verdana" panose="020B0604030504040204" pitchFamily="34" charset="0"/>
                <a:cs typeface="Verdana" panose="020B0604030504040204" pitchFamily="34" charset="0"/>
              </a:rPr>
              <a:t>. </a:t>
            </a:r>
          </a:p>
          <a:p>
            <a:pPr eaLnBrk="1" hangingPunct="1">
              <a:spcBef>
                <a:spcPct val="0"/>
              </a:spcBef>
              <a:buNone/>
              <a:defRPr/>
            </a:pPr>
            <a:r>
              <a:rPr lang="de-DE" altLang="de-DE" dirty="0">
                <a:solidFill>
                  <a:srgbClr val="000000"/>
                </a:solidFill>
                <a:latin typeface="Arial"/>
              </a:rPr>
              <a:t>                                 </a:t>
            </a:r>
            <a:r>
              <a:rPr lang="de-DE" altLang="de-DE" dirty="0" err="1">
                <a:solidFill>
                  <a:srgbClr val="0000FF"/>
                </a:solidFill>
                <a:latin typeface="Arial"/>
                <a:ea typeface="Verdana" panose="020B0604030504040204" pitchFamily="34" charset="0"/>
                <a:cs typeface="Verdana" panose="020B0604030504040204" pitchFamily="34" charset="0"/>
              </a:rPr>
              <a:t>Physical</a:t>
            </a:r>
            <a:r>
              <a:rPr lang="de-DE" altLang="de-DE" dirty="0">
                <a:solidFill>
                  <a:srgbClr val="0000FF"/>
                </a:solidFill>
                <a:latin typeface="Arial"/>
                <a:ea typeface="Verdana" panose="020B0604030504040204" pitchFamily="34" charset="0"/>
                <a:cs typeface="Verdana" panose="020B0604030504040204" pitchFamily="34" charset="0"/>
              </a:rPr>
              <a:t> </a:t>
            </a:r>
            <a:r>
              <a:rPr lang="de-DE" altLang="de-DE" dirty="0" err="1">
                <a:solidFill>
                  <a:srgbClr val="0000FF"/>
                </a:solidFill>
                <a:latin typeface="Arial"/>
                <a:ea typeface="Verdana" panose="020B0604030504040204" pitchFamily="34" charset="0"/>
                <a:cs typeface="Verdana" panose="020B0604030504040204" pitchFamily="34" charset="0"/>
              </a:rPr>
              <a:t>Effects</a:t>
            </a:r>
            <a:r>
              <a:rPr lang="de-DE" altLang="de-DE" dirty="0">
                <a:solidFill>
                  <a:srgbClr val="003399"/>
                </a:solidFill>
                <a:latin typeface="Arial"/>
                <a:ea typeface="Verdana" panose="020B0604030504040204" pitchFamily="34" charset="0"/>
                <a:cs typeface="Verdana" panose="020B0604030504040204" pitchFamily="34" charset="0"/>
              </a:rPr>
              <a:t>: </a:t>
            </a:r>
            <a:r>
              <a:rPr lang="de-DE" altLang="de-DE" b="0" dirty="0">
                <a:solidFill>
                  <a:srgbClr val="000000"/>
                </a:solidFill>
                <a:latin typeface="Arial"/>
                <a:ea typeface="Verdana" panose="020B0604030504040204" pitchFamily="34" charset="0"/>
                <a:cs typeface="Verdana" panose="020B0604030504040204" pitchFamily="34" charset="0"/>
              </a:rPr>
              <a:t>Inertia (</a:t>
            </a:r>
            <a:r>
              <a:rPr lang="de-DE" altLang="de-DE" b="0" dirty="0" err="1">
                <a:solidFill>
                  <a:srgbClr val="000000"/>
                </a:solidFill>
                <a:latin typeface="Arial"/>
                <a:ea typeface="Verdana" panose="020B0604030504040204" pitchFamily="34" charset="0"/>
                <a:cs typeface="Verdana" panose="020B0604030504040204" pitchFamily="34" charset="0"/>
              </a:rPr>
              <a:t>masses</a:t>
            </a:r>
            <a:r>
              <a:rPr lang="de-DE" altLang="de-DE" b="0" dirty="0">
                <a:solidFill>
                  <a:srgbClr val="000000"/>
                </a:solidFill>
                <a:latin typeface="Arial"/>
                <a:ea typeface="Verdana" panose="020B0604030504040204" pitchFamily="34" charset="0"/>
                <a:cs typeface="Verdana" panose="020B0604030504040204" pitchFamily="34" charset="0"/>
              </a:rPr>
              <a:t>), </a:t>
            </a:r>
            <a:r>
              <a:rPr lang="de-DE" altLang="de-DE" b="0" dirty="0" err="1">
                <a:solidFill>
                  <a:srgbClr val="000000"/>
                </a:solidFill>
                <a:latin typeface="Arial"/>
                <a:ea typeface="Verdana" panose="020B0604030504040204" pitchFamily="34" charset="0"/>
                <a:cs typeface="Verdana" panose="020B0604030504040204" pitchFamily="34" charset="0"/>
              </a:rPr>
              <a:t>stiffness</a:t>
            </a:r>
            <a:endParaRPr lang="de-DE" altLang="de-DE" b="0" dirty="0">
              <a:solidFill>
                <a:srgbClr val="000000"/>
              </a:solidFill>
              <a:latin typeface="Arial"/>
              <a:ea typeface="Verdana" panose="020B0604030504040204" pitchFamily="34" charset="0"/>
              <a:cs typeface="Verdana" panose="020B0604030504040204" pitchFamily="34" charset="0"/>
            </a:endParaRPr>
          </a:p>
          <a:p>
            <a:pPr eaLnBrk="1" hangingPunct="1">
              <a:spcBef>
                <a:spcPct val="0"/>
              </a:spcBef>
              <a:buNone/>
              <a:defRPr/>
            </a:pPr>
            <a:r>
              <a:rPr lang="de-DE" altLang="de-DE" b="0" dirty="0">
                <a:solidFill>
                  <a:srgbClr val="000000"/>
                </a:solidFill>
                <a:latin typeface="Arial"/>
              </a:rPr>
              <a:t>                                 </a:t>
            </a:r>
            <a:r>
              <a:rPr lang="de-DE" altLang="de-DE" b="0" dirty="0">
                <a:solidFill>
                  <a:srgbClr val="000000"/>
                </a:solidFill>
                <a:latin typeface="Arial"/>
                <a:ea typeface="Verdana" panose="020B0604030504040204" pitchFamily="34" charset="0"/>
                <a:cs typeface="Verdana" panose="020B0604030504040204" pitchFamily="34" charset="0"/>
              </a:rPr>
              <a:t>and </a:t>
            </a:r>
            <a:r>
              <a:rPr lang="de-DE" altLang="de-DE" b="0" dirty="0" err="1">
                <a:solidFill>
                  <a:srgbClr val="000000"/>
                </a:solidFill>
                <a:latin typeface="Arial"/>
                <a:ea typeface="Verdana" panose="020B0604030504040204" pitchFamily="34" charset="0"/>
                <a:cs typeface="Verdana" panose="020B0604030504040204" pitchFamily="34" charset="0"/>
              </a:rPr>
              <a:t>damping</a:t>
            </a:r>
            <a:r>
              <a:rPr lang="de-DE" altLang="de-DE" b="0" dirty="0">
                <a:solidFill>
                  <a:srgbClr val="000000"/>
                </a:solidFill>
                <a:latin typeface="Arial"/>
                <a:ea typeface="Verdana" panose="020B0604030504040204" pitchFamily="34" charset="0"/>
                <a:cs typeface="Verdana" panose="020B0604030504040204" pitchFamily="34" charset="0"/>
              </a:rPr>
              <a:t>  </a:t>
            </a:r>
            <a:r>
              <a:rPr lang="de-DE" altLang="de-DE" b="0" dirty="0" err="1">
                <a:solidFill>
                  <a:srgbClr val="000000"/>
                </a:solidFill>
                <a:latin typeface="Arial"/>
                <a:ea typeface="Verdana" panose="020B0604030504040204" pitchFamily="34" charset="0"/>
                <a:cs typeface="Verdana" panose="020B0604030504040204" pitchFamily="34" charset="0"/>
              </a:rPr>
              <a:t>of</a:t>
            </a:r>
            <a:r>
              <a:rPr lang="de-DE" altLang="de-DE" b="0" dirty="0">
                <a:solidFill>
                  <a:srgbClr val="000000"/>
                </a:solidFill>
                <a:latin typeface="Arial"/>
                <a:ea typeface="Verdana" panose="020B0604030504040204" pitchFamily="34" charset="0"/>
                <a:cs typeface="Verdana" panose="020B0604030504040204" pitchFamily="34" charset="0"/>
              </a:rPr>
              <a:t> </a:t>
            </a:r>
            <a:r>
              <a:rPr lang="de-DE" altLang="de-DE" b="0" dirty="0" err="1">
                <a:solidFill>
                  <a:srgbClr val="000000"/>
                </a:solidFill>
                <a:latin typeface="Arial"/>
                <a:ea typeface="Verdana" panose="020B0604030504040204" pitchFamily="34" charset="0"/>
                <a:cs typeface="Verdana" panose="020B0604030504040204" pitchFamily="34" charset="0"/>
              </a:rPr>
              <a:t>the</a:t>
            </a:r>
            <a:r>
              <a:rPr lang="de-DE" altLang="de-DE" b="0" dirty="0">
                <a:solidFill>
                  <a:srgbClr val="000000"/>
                </a:solidFill>
                <a:latin typeface="Arial"/>
                <a:ea typeface="Verdana" panose="020B0604030504040204" pitchFamily="34" charset="0"/>
                <a:cs typeface="Verdana" panose="020B0604030504040204" pitchFamily="34" charset="0"/>
              </a:rPr>
              <a:t> </a:t>
            </a:r>
            <a:r>
              <a:rPr lang="de-DE" altLang="de-DE" b="0" dirty="0" err="1">
                <a:solidFill>
                  <a:srgbClr val="000000"/>
                </a:solidFill>
                <a:latin typeface="Arial"/>
                <a:ea typeface="Verdana" panose="020B0604030504040204" pitchFamily="34" charset="0"/>
                <a:cs typeface="Verdana" panose="020B0604030504040204" pitchFamily="34" charset="0"/>
              </a:rPr>
              <a:t>system</a:t>
            </a:r>
            <a:r>
              <a:rPr lang="de-DE" altLang="de-DE" b="0" dirty="0">
                <a:solidFill>
                  <a:srgbClr val="000000"/>
                </a:solidFill>
                <a:latin typeface="Arial"/>
                <a:ea typeface="Verdana" panose="020B0604030504040204" pitchFamily="34" charset="0"/>
                <a:cs typeface="Verdana" panose="020B0604030504040204" pitchFamily="34" charset="0"/>
              </a:rPr>
              <a:t> </a:t>
            </a:r>
            <a:r>
              <a:rPr lang="de-DE" altLang="de-DE" b="0" dirty="0" err="1">
                <a:solidFill>
                  <a:srgbClr val="000000"/>
                </a:solidFill>
                <a:latin typeface="Arial"/>
                <a:ea typeface="Verdana" panose="020B0604030504040204" pitchFamily="34" charset="0"/>
                <a:cs typeface="Verdana" panose="020B0604030504040204" pitchFamily="34" charset="0"/>
              </a:rPr>
              <a:t>components</a:t>
            </a:r>
            <a:r>
              <a:rPr lang="de-DE" altLang="de-DE" b="0" dirty="0">
                <a:solidFill>
                  <a:srgbClr val="000000"/>
                </a:solidFill>
                <a:latin typeface="Arial"/>
                <a:ea typeface="Verdana" panose="020B0604030504040204" pitchFamily="34" charset="0"/>
                <a:cs typeface="Verdana" panose="020B0604030504040204" pitchFamily="34" charset="0"/>
              </a:rPr>
              <a:t> </a:t>
            </a:r>
            <a:r>
              <a:rPr lang="de-DE" altLang="de-DE" b="0" dirty="0" err="1">
                <a:solidFill>
                  <a:srgbClr val="000000"/>
                </a:solidFill>
                <a:latin typeface="Arial"/>
                <a:ea typeface="Verdana" panose="020B0604030504040204" pitchFamily="34" charset="0"/>
                <a:cs typeface="Verdana" panose="020B0604030504040204" pitchFamily="34" charset="0"/>
              </a:rPr>
              <a:t>including</a:t>
            </a:r>
            <a:endParaRPr lang="de-DE" altLang="de-DE" b="0" dirty="0">
              <a:solidFill>
                <a:srgbClr val="000000"/>
              </a:solidFill>
              <a:latin typeface="Arial"/>
              <a:ea typeface="Verdana" panose="020B0604030504040204" pitchFamily="34" charset="0"/>
              <a:cs typeface="Verdana" panose="020B0604030504040204" pitchFamily="34" charset="0"/>
            </a:endParaRPr>
          </a:p>
          <a:p>
            <a:pPr eaLnBrk="1" hangingPunct="1">
              <a:spcBef>
                <a:spcPct val="0"/>
              </a:spcBef>
              <a:buNone/>
              <a:defRPr/>
            </a:pPr>
            <a:r>
              <a:rPr lang="de-DE" altLang="de-DE" b="0" dirty="0">
                <a:solidFill>
                  <a:srgbClr val="000000"/>
                </a:solidFill>
                <a:latin typeface="Arial"/>
                <a:ea typeface="Verdana" panose="020B0604030504040204" pitchFamily="34" charset="0"/>
                <a:cs typeface="Verdana" panose="020B0604030504040204" pitchFamily="34" charset="0"/>
              </a:rPr>
              <a:t>                                 </a:t>
            </a:r>
            <a:r>
              <a:rPr lang="de-DE" altLang="de-DE" b="0" dirty="0" err="1">
                <a:solidFill>
                  <a:srgbClr val="000000"/>
                </a:solidFill>
                <a:latin typeface="Arial"/>
                <a:ea typeface="Verdana" panose="020B0604030504040204" pitchFamily="34" charset="0"/>
                <a:cs typeface="Verdana" panose="020B0604030504040204" pitchFamily="34" charset="0"/>
              </a:rPr>
              <a:t>Shaft</a:t>
            </a:r>
            <a:r>
              <a:rPr lang="de-DE" altLang="de-DE" b="0" dirty="0">
                <a:solidFill>
                  <a:srgbClr val="000000"/>
                </a:solidFill>
                <a:latin typeface="Arial"/>
                <a:ea typeface="Verdana" panose="020B0604030504040204" pitchFamily="34" charset="0"/>
                <a:cs typeface="Verdana" panose="020B0604030504040204" pitchFamily="34" charset="0"/>
              </a:rPr>
              <a:t>, Impeller, </a:t>
            </a:r>
            <a:r>
              <a:rPr lang="de-DE" altLang="de-DE" b="0" dirty="0" err="1">
                <a:solidFill>
                  <a:srgbClr val="000000"/>
                </a:solidFill>
                <a:latin typeface="Arial"/>
                <a:ea typeface="Verdana" panose="020B0604030504040204" pitchFamily="34" charset="0"/>
                <a:cs typeface="Verdana" panose="020B0604030504040204" pitchFamily="34" charset="0"/>
              </a:rPr>
              <a:t>Bearings</a:t>
            </a:r>
            <a:r>
              <a:rPr lang="de-DE" altLang="de-DE" b="0" dirty="0">
                <a:solidFill>
                  <a:srgbClr val="000000"/>
                </a:solidFill>
                <a:latin typeface="Arial"/>
                <a:ea typeface="Verdana" panose="020B0604030504040204" pitchFamily="34" charset="0"/>
                <a:cs typeface="Verdana" panose="020B0604030504040204" pitchFamily="34" charset="0"/>
              </a:rPr>
              <a:t> and Seals.</a:t>
            </a:r>
          </a:p>
          <a:p>
            <a:pPr eaLnBrk="1" hangingPunct="1">
              <a:spcBef>
                <a:spcPct val="0"/>
              </a:spcBef>
              <a:buNone/>
              <a:defRPr/>
            </a:pPr>
            <a:endParaRPr lang="de-DE" altLang="de-DE" dirty="0">
              <a:solidFill>
                <a:srgbClr val="000000"/>
              </a:solidFill>
              <a:latin typeface="Arial"/>
            </a:endParaRPr>
          </a:p>
          <a:p>
            <a:pPr eaLnBrk="1" hangingPunct="1">
              <a:spcBef>
                <a:spcPct val="0"/>
              </a:spcBef>
              <a:buNone/>
              <a:defRPr/>
            </a:pPr>
            <a:r>
              <a:rPr lang="de-DE" altLang="de-DE" dirty="0">
                <a:solidFill>
                  <a:srgbClr val="000000"/>
                </a:solidFill>
                <a:latin typeface="Arial"/>
                <a:ea typeface="Verdana" panose="020B0604030504040204" pitchFamily="34" charset="0"/>
                <a:cs typeface="Verdana" panose="020B0604030504040204" pitchFamily="34" charset="0"/>
              </a:rPr>
              <a:t>                                 </a:t>
            </a:r>
            <a:r>
              <a:rPr lang="de-DE" altLang="de-DE" dirty="0">
                <a:solidFill>
                  <a:srgbClr val="0000FF"/>
                </a:solidFill>
                <a:latin typeface="Arial"/>
                <a:ea typeface="Verdana" panose="020B0604030504040204" pitchFamily="34" charset="0"/>
                <a:cs typeface="Verdana" panose="020B0604030504040204" pitchFamily="34" charset="0"/>
              </a:rPr>
              <a:t>Dynamic </a:t>
            </a:r>
            <a:r>
              <a:rPr lang="de-DE" altLang="de-DE" dirty="0" err="1">
                <a:solidFill>
                  <a:srgbClr val="0000FF"/>
                </a:solidFill>
                <a:latin typeface="Arial"/>
                <a:ea typeface="Verdana" panose="020B0604030504040204" pitchFamily="34" charset="0"/>
                <a:cs typeface="Verdana" panose="020B0604030504040204" pitchFamily="34" charset="0"/>
              </a:rPr>
              <a:t>Characteristics</a:t>
            </a:r>
            <a:r>
              <a:rPr lang="de-DE" altLang="de-DE" dirty="0">
                <a:solidFill>
                  <a:srgbClr val="0000FF"/>
                </a:solidFill>
                <a:latin typeface="Arial"/>
                <a:ea typeface="Verdana" panose="020B0604030504040204" pitchFamily="34" charset="0"/>
                <a:cs typeface="Verdana" panose="020B0604030504040204" pitchFamily="34" charset="0"/>
              </a:rPr>
              <a:t>:  </a:t>
            </a:r>
            <a:r>
              <a:rPr lang="de-DE" altLang="de-DE" b="0" dirty="0">
                <a:solidFill>
                  <a:srgbClr val="000000"/>
                </a:solidFill>
                <a:latin typeface="Arial"/>
                <a:ea typeface="Verdana" panose="020B0604030504040204" pitchFamily="34" charset="0"/>
                <a:cs typeface="Verdana" panose="020B0604030504040204" pitchFamily="34" charset="0"/>
              </a:rPr>
              <a:t>Lateral </a:t>
            </a:r>
            <a:r>
              <a:rPr lang="de-DE" altLang="de-DE" b="0" dirty="0" err="1">
                <a:solidFill>
                  <a:srgbClr val="000000"/>
                </a:solidFill>
                <a:latin typeface="Arial"/>
                <a:ea typeface="Verdana" panose="020B0604030504040204" pitchFamily="34" charset="0"/>
                <a:cs typeface="Verdana" panose="020B0604030504040204" pitchFamily="34" charset="0"/>
              </a:rPr>
              <a:t>natural</a:t>
            </a:r>
            <a:r>
              <a:rPr lang="de-DE" altLang="de-DE" b="0" dirty="0">
                <a:solidFill>
                  <a:srgbClr val="000000"/>
                </a:solidFill>
                <a:latin typeface="Arial"/>
                <a:ea typeface="Verdana" panose="020B0604030504040204" pitchFamily="34" charset="0"/>
                <a:cs typeface="Verdana" panose="020B0604030504040204" pitchFamily="34" charset="0"/>
              </a:rPr>
              <a:t> </a:t>
            </a:r>
          </a:p>
          <a:p>
            <a:pPr eaLnBrk="1" hangingPunct="1">
              <a:spcBef>
                <a:spcPct val="0"/>
              </a:spcBef>
              <a:buNone/>
              <a:defRPr/>
            </a:pPr>
            <a:r>
              <a:rPr lang="de-DE" altLang="de-DE" dirty="0">
                <a:solidFill>
                  <a:srgbClr val="000000"/>
                </a:solidFill>
                <a:latin typeface="Arial"/>
                <a:ea typeface="Verdana" panose="020B0604030504040204" pitchFamily="34" charset="0"/>
                <a:cs typeface="Verdana" panose="020B0604030504040204" pitchFamily="34" charset="0"/>
              </a:rPr>
              <a:t>                                 </a:t>
            </a:r>
            <a:r>
              <a:rPr lang="de-DE" altLang="de-DE" b="0" dirty="0" err="1">
                <a:solidFill>
                  <a:srgbClr val="000000"/>
                </a:solidFill>
                <a:latin typeface="Arial"/>
                <a:ea typeface="Verdana" panose="020B0604030504040204" pitchFamily="34" charset="0"/>
                <a:cs typeface="Verdana" panose="020B0604030504040204" pitchFamily="34" charset="0"/>
              </a:rPr>
              <a:t>frequencies</a:t>
            </a:r>
            <a:r>
              <a:rPr lang="de-DE" altLang="de-DE" b="0" dirty="0">
                <a:solidFill>
                  <a:srgbClr val="000000"/>
                </a:solidFill>
                <a:latin typeface="Arial"/>
                <a:ea typeface="Verdana" panose="020B0604030504040204" pitchFamily="34" charset="0"/>
                <a:cs typeface="Verdana" panose="020B0604030504040204" pitchFamily="34" charset="0"/>
              </a:rPr>
              <a:t>, </a:t>
            </a:r>
            <a:r>
              <a:rPr lang="de-DE" altLang="de-DE" b="0" dirty="0" err="1">
                <a:solidFill>
                  <a:srgbClr val="000000"/>
                </a:solidFill>
                <a:latin typeface="Arial"/>
                <a:ea typeface="Verdana" panose="020B0604030504040204" pitchFamily="34" charset="0"/>
                <a:cs typeface="Verdana" panose="020B0604030504040204" pitchFamily="34" charset="0"/>
              </a:rPr>
              <a:t>critical</a:t>
            </a:r>
            <a:r>
              <a:rPr lang="de-DE" altLang="de-DE" b="0" dirty="0">
                <a:solidFill>
                  <a:srgbClr val="000000"/>
                </a:solidFill>
                <a:latin typeface="Arial"/>
                <a:ea typeface="Verdana" panose="020B0604030504040204" pitchFamily="34" charset="0"/>
                <a:cs typeface="Verdana" panose="020B0604030504040204" pitchFamily="34" charset="0"/>
              </a:rPr>
              <a:t> </a:t>
            </a:r>
            <a:r>
              <a:rPr lang="de-DE" altLang="de-DE" b="0" dirty="0" err="1">
                <a:solidFill>
                  <a:srgbClr val="000000"/>
                </a:solidFill>
                <a:latin typeface="Arial"/>
                <a:ea typeface="Verdana" panose="020B0604030504040204" pitchFamily="34" charset="0"/>
                <a:cs typeface="Verdana" panose="020B0604030504040204" pitchFamily="34" charset="0"/>
              </a:rPr>
              <a:t>speeds</a:t>
            </a:r>
            <a:r>
              <a:rPr lang="de-DE" altLang="de-DE" b="0" dirty="0">
                <a:solidFill>
                  <a:srgbClr val="000000"/>
                </a:solidFill>
                <a:latin typeface="Arial"/>
                <a:ea typeface="Verdana" panose="020B0604030504040204" pitchFamily="34" charset="0"/>
                <a:cs typeface="Verdana" panose="020B0604030504040204" pitchFamily="34" charset="0"/>
              </a:rPr>
              <a:t>, </a:t>
            </a:r>
            <a:r>
              <a:rPr lang="de-DE" altLang="de-DE" b="0" dirty="0" err="1">
                <a:solidFill>
                  <a:srgbClr val="000000"/>
                </a:solidFill>
                <a:latin typeface="Arial"/>
                <a:ea typeface="Verdana" panose="020B0604030504040204" pitchFamily="34" charset="0"/>
                <a:cs typeface="Verdana" panose="020B0604030504040204" pitchFamily="34" charset="0"/>
              </a:rPr>
              <a:t>resonances</a:t>
            </a:r>
            <a:r>
              <a:rPr lang="de-DE" altLang="de-DE" b="0" dirty="0">
                <a:solidFill>
                  <a:srgbClr val="000000"/>
                </a:solidFill>
                <a:latin typeface="Arial"/>
                <a:ea typeface="Verdana" panose="020B0604030504040204" pitchFamily="34" charset="0"/>
                <a:cs typeface="Verdana" panose="020B0604030504040204" pitchFamily="34" charset="0"/>
              </a:rPr>
              <a:t>, </a:t>
            </a:r>
            <a:r>
              <a:rPr lang="de-DE" altLang="de-DE" b="0" dirty="0" err="1">
                <a:solidFill>
                  <a:srgbClr val="000000"/>
                </a:solidFill>
                <a:latin typeface="Arial"/>
                <a:ea typeface="Verdana" panose="020B0604030504040204" pitchFamily="34" charset="0"/>
                <a:cs typeface="Verdana" panose="020B0604030504040204" pitchFamily="34" charset="0"/>
              </a:rPr>
              <a:t>natural</a:t>
            </a:r>
            <a:endParaRPr lang="de-DE" altLang="de-DE" b="0" dirty="0">
              <a:solidFill>
                <a:srgbClr val="000000"/>
              </a:solidFill>
              <a:latin typeface="Arial"/>
              <a:ea typeface="Verdana" panose="020B0604030504040204" pitchFamily="34" charset="0"/>
              <a:cs typeface="Verdana" panose="020B0604030504040204" pitchFamily="34" charset="0"/>
            </a:endParaRPr>
          </a:p>
          <a:p>
            <a:pPr eaLnBrk="1" hangingPunct="1">
              <a:spcBef>
                <a:spcPct val="0"/>
              </a:spcBef>
              <a:buNone/>
              <a:defRPr/>
            </a:pPr>
            <a:r>
              <a:rPr lang="de-DE" altLang="de-DE" b="0" dirty="0">
                <a:solidFill>
                  <a:srgbClr val="000000"/>
                </a:solidFill>
                <a:latin typeface="Arial"/>
                <a:ea typeface="Verdana" panose="020B0604030504040204" pitchFamily="34" charset="0"/>
                <a:cs typeface="Verdana" panose="020B0604030504040204" pitchFamily="34" charset="0"/>
              </a:rPr>
              <a:t>                                 </a:t>
            </a:r>
            <a:r>
              <a:rPr lang="de-DE" altLang="de-DE" b="0" dirty="0" err="1">
                <a:solidFill>
                  <a:srgbClr val="000000"/>
                </a:solidFill>
                <a:latin typeface="Arial"/>
                <a:ea typeface="Verdana" panose="020B0604030504040204" pitchFamily="34" charset="0"/>
                <a:cs typeface="Verdana" panose="020B0604030504040204" pitchFamily="34" charset="0"/>
              </a:rPr>
              <a:t>modes</a:t>
            </a:r>
            <a:r>
              <a:rPr lang="de-DE" altLang="de-DE" b="0" dirty="0">
                <a:solidFill>
                  <a:srgbClr val="000000"/>
                </a:solidFill>
                <a:latin typeface="Arial"/>
                <a:ea typeface="Verdana" panose="020B0604030504040204" pitchFamily="34" charset="0"/>
                <a:cs typeface="Verdana" panose="020B0604030504040204" pitchFamily="34" charset="0"/>
              </a:rPr>
              <a:t>, </a:t>
            </a:r>
            <a:r>
              <a:rPr lang="de-DE" altLang="de-DE" b="0" dirty="0" err="1">
                <a:solidFill>
                  <a:srgbClr val="000000"/>
                </a:solidFill>
                <a:latin typeface="Arial"/>
                <a:ea typeface="Verdana" panose="020B0604030504040204" pitchFamily="34" charset="0"/>
                <a:cs typeface="Verdana" panose="020B0604030504040204" pitchFamily="34" charset="0"/>
              </a:rPr>
              <a:t>damping</a:t>
            </a:r>
            <a:r>
              <a:rPr lang="de-DE" altLang="de-DE" b="0" dirty="0">
                <a:solidFill>
                  <a:srgbClr val="000000"/>
                </a:solidFill>
                <a:latin typeface="Arial"/>
                <a:ea typeface="Verdana" panose="020B0604030504040204" pitchFamily="34" charset="0"/>
                <a:cs typeface="Verdana" panose="020B0604030504040204" pitchFamily="34" charset="0"/>
              </a:rPr>
              <a:t>, </a:t>
            </a:r>
            <a:r>
              <a:rPr lang="de-DE" altLang="de-DE" b="0" dirty="0" err="1">
                <a:solidFill>
                  <a:srgbClr val="000000"/>
                </a:solidFill>
                <a:latin typeface="Arial"/>
                <a:ea typeface="Verdana" panose="020B0604030504040204" pitchFamily="34" charset="0"/>
                <a:cs typeface="Verdana" panose="020B0604030504040204" pitchFamily="34" charset="0"/>
              </a:rPr>
              <a:t>stability</a:t>
            </a:r>
            <a:r>
              <a:rPr lang="de-DE" altLang="de-DE" b="0" dirty="0">
                <a:solidFill>
                  <a:srgbClr val="000000"/>
                </a:solidFill>
                <a:latin typeface="Arial"/>
                <a:ea typeface="Verdana" panose="020B0604030504040204" pitchFamily="34" charset="0"/>
                <a:cs typeface="Verdana" panose="020B0604030504040204" pitchFamily="34" charset="0"/>
              </a:rPr>
              <a:t>, </a:t>
            </a:r>
          </a:p>
          <a:p>
            <a:pPr eaLnBrk="1" hangingPunct="1">
              <a:spcBef>
                <a:spcPct val="0"/>
              </a:spcBef>
              <a:buNone/>
              <a:defRPr/>
            </a:pPr>
            <a:endParaRPr lang="de-DE" altLang="de-DE" dirty="0">
              <a:solidFill>
                <a:srgbClr val="000000"/>
              </a:solidFill>
              <a:latin typeface="Arial"/>
              <a:ea typeface="Verdana" panose="020B0604030504040204" pitchFamily="34" charset="0"/>
              <a:cs typeface="Verdana" panose="020B0604030504040204" pitchFamily="34" charset="0"/>
            </a:endParaRPr>
          </a:p>
          <a:p>
            <a:pPr eaLnBrk="1" hangingPunct="1">
              <a:spcBef>
                <a:spcPct val="0"/>
              </a:spcBef>
              <a:buNone/>
              <a:defRPr/>
            </a:pPr>
            <a:r>
              <a:rPr lang="de-DE" altLang="de-DE" dirty="0">
                <a:solidFill>
                  <a:srgbClr val="000000"/>
                </a:solidFill>
                <a:latin typeface="Arial"/>
                <a:ea typeface="Verdana" panose="020B0604030504040204" pitchFamily="34" charset="0"/>
                <a:cs typeface="Verdana" panose="020B0604030504040204" pitchFamily="34" charset="0"/>
              </a:rPr>
              <a:t>                                 </a:t>
            </a:r>
            <a:r>
              <a:rPr lang="de-DE" altLang="de-DE" dirty="0" err="1">
                <a:solidFill>
                  <a:srgbClr val="0000FF"/>
                </a:solidFill>
                <a:latin typeface="Arial"/>
                <a:ea typeface="Verdana" panose="020B0604030504040204" pitchFamily="34" charset="0"/>
                <a:cs typeface="Verdana" panose="020B0604030504040204" pitchFamily="34" charset="0"/>
              </a:rPr>
              <a:t>Excitations</a:t>
            </a:r>
            <a:r>
              <a:rPr lang="de-DE" altLang="de-DE" dirty="0">
                <a:solidFill>
                  <a:srgbClr val="0000FF"/>
                </a:solidFill>
                <a:latin typeface="Arial"/>
                <a:ea typeface="Verdana" panose="020B0604030504040204" pitchFamily="34" charset="0"/>
                <a:cs typeface="Verdana" panose="020B0604030504040204" pitchFamily="34" charset="0"/>
              </a:rPr>
              <a:t>: </a:t>
            </a:r>
          </a:p>
          <a:p>
            <a:pPr eaLnBrk="1" hangingPunct="1">
              <a:spcBef>
                <a:spcPct val="0"/>
              </a:spcBef>
              <a:buNone/>
              <a:defRPr/>
            </a:pPr>
            <a:r>
              <a:rPr lang="de-DE" altLang="de-DE" dirty="0">
                <a:solidFill>
                  <a:srgbClr val="FF0000"/>
                </a:solidFill>
                <a:latin typeface="Arial"/>
                <a:ea typeface="Verdana" panose="020B0604030504040204" pitchFamily="34" charset="0"/>
                <a:cs typeface="Verdana" panose="020B0604030504040204" pitchFamily="34" charset="0"/>
              </a:rPr>
              <a:t>                                 Mech. &amp; </a:t>
            </a:r>
            <a:r>
              <a:rPr lang="de-DE" altLang="de-DE" dirty="0" err="1">
                <a:solidFill>
                  <a:srgbClr val="FF0000"/>
                </a:solidFill>
                <a:latin typeface="Arial"/>
                <a:ea typeface="Verdana" panose="020B0604030504040204" pitchFamily="34" charset="0"/>
                <a:cs typeface="Verdana" panose="020B0604030504040204" pitchFamily="34" charset="0"/>
              </a:rPr>
              <a:t>Hydr</a:t>
            </a:r>
            <a:r>
              <a:rPr lang="de-DE" altLang="de-DE" dirty="0">
                <a:solidFill>
                  <a:srgbClr val="FF0000"/>
                </a:solidFill>
                <a:latin typeface="Arial"/>
                <a:ea typeface="Verdana" panose="020B0604030504040204" pitchFamily="34" charset="0"/>
                <a:cs typeface="Verdana" panose="020B0604030504040204" pitchFamily="34" charset="0"/>
              </a:rPr>
              <a:t>. </a:t>
            </a:r>
            <a:r>
              <a:rPr lang="de-DE" altLang="de-DE" dirty="0" err="1">
                <a:solidFill>
                  <a:srgbClr val="FF0000"/>
                </a:solidFill>
                <a:latin typeface="Arial"/>
                <a:ea typeface="Verdana" panose="020B0604030504040204" pitchFamily="34" charset="0"/>
                <a:cs typeface="Verdana" panose="020B0604030504040204" pitchFamily="34" charset="0"/>
              </a:rPr>
              <a:t>Unbalance</a:t>
            </a:r>
            <a:r>
              <a:rPr lang="de-DE" altLang="de-DE" dirty="0">
                <a:solidFill>
                  <a:srgbClr val="FF0000"/>
                </a:solidFill>
                <a:latin typeface="Arial"/>
                <a:ea typeface="Verdana" panose="020B0604030504040204" pitchFamily="34" charset="0"/>
                <a:cs typeface="Verdana" panose="020B0604030504040204" pitchFamily="34" charset="0"/>
              </a:rPr>
              <a:t>, </a:t>
            </a:r>
            <a:r>
              <a:rPr lang="de-DE" altLang="de-DE" b="0" dirty="0" err="1">
                <a:solidFill>
                  <a:srgbClr val="000000"/>
                </a:solidFill>
                <a:latin typeface="Arial"/>
                <a:ea typeface="Verdana" panose="020B0604030504040204" pitchFamily="34" charset="0"/>
                <a:cs typeface="Verdana" panose="020B0604030504040204" pitchFamily="34" charset="0"/>
              </a:rPr>
              <a:t>with</a:t>
            </a:r>
            <a:r>
              <a:rPr lang="de-DE" altLang="de-DE" b="0" dirty="0">
                <a:solidFill>
                  <a:srgbClr val="000000"/>
                </a:solidFill>
                <a:latin typeface="Arial"/>
                <a:ea typeface="Verdana" panose="020B0604030504040204" pitchFamily="34" charset="0"/>
                <a:cs typeface="Verdana" panose="020B0604030504040204" pitchFamily="34" charset="0"/>
              </a:rPr>
              <a:t> </a:t>
            </a:r>
            <a:r>
              <a:rPr lang="de-DE" altLang="de-DE" b="0" dirty="0" err="1">
                <a:solidFill>
                  <a:srgbClr val="000000"/>
                </a:solidFill>
                <a:latin typeface="Arial"/>
                <a:ea typeface="Verdana" panose="020B0604030504040204" pitchFamily="34" charset="0"/>
                <a:cs typeface="Verdana" panose="020B0604030504040204" pitchFamily="34" charset="0"/>
              </a:rPr>
              <a:t>rotational</a:t>
            </a:r>
            <a:r>
              <a:rPr lang="de-DE" altLang="de-DE" b="0" dirty="0">
                <a:solidFill>
                  <a:srgbClr val="000000"/>
                </a:solidFill>
                <a:latin typeface="Arial"/>
                <a:ea typeface="Verdana" panose="020B0604030504040204" pitchFamily="34" charset="0"/>
                <a:cs typeface="Verdana" panose="020B0604030504040204" pitchFamily="34" charset="0"/>
              </a:rPr>
              <a:t> </a:t>
            </a:r>
            <a:r>
              <a:rPr lang="de-DE" altLang="de-DE" b="0" dirty="0" err="1">
                <a:solidFill>
                  <a:srgbClr val="000000"/>
                </a:solidFill>
                <a:latin typeface="Arial"/>
                <a:ea typeface="Verdana" panose="020B0604030504040204" pitchFamily="34" charset="0"/>
                <a:cs typeface="Verdana" panose="020B0604030504040204" pitchFamily="34" charset="0"/>
              </a:rPr>
              <a:t>frequency</a:t>
            </a:r>
            <a:r>
              <a:rPr lang="de-DE" altLang="de-DE" b="0" dirty="0">
                <a:solidFill>
                  <a:srgbClr val="000000"/>
                </a:solidFill>
                <a:latin typeface="Arial"/>
                <a:ea typeface="Verdana" panose="020B0604030504040204" pitchFamily="34" charset="0"/>
                <a:cs typeface="Verdana" panose="020B0604030504040204" pitchFamily="34" charset="0"/>
              </a:rPr>
              <a:t> </a:t>
            </a:r>
            <a:r>
              <a:rPr lang="el-GR" altLang="de-DE" b="0" dirty="0">
                <a:solidFill>
                  <a:srgbClr val="000000"/>
                </a:solidFill>
                <a:latin typeface="Arial"/>
                <a:ea typeface="Verdana" panose="020B0604030504040204" pitchFamily="34" charset="0"/>
                <a:cs typeface="Verdana" panose="020B0604030504040204" pitchFamily="34" charset="0"/>
              </a:rPr>
              <a:t>Ω</a:t>
            </a:r>
            <a:r>
              <a:rPr lang="de-DE" altLang="de-DE" b="0" dirty="0">
                <a:solidFill>
                  <a:srgbClr val="000000"/>
                </a:solidFill>
                <a:latin typeface="Arial"/>
                <a:ea typeface="Verdana" panose="020B0604030504040204" pitchFamily="34" charset="0"/>
                <a:cs typeface="Verdana" panose="020B0604030504040204" pitchFamily="34" charset="0"/>
              </a:rPr>
              <a:t>,</a:t>
            </a:r>
          </a:p>
          <a:p>
            <a:pPr eaLnBrk="1" hangingPunct="1">
              <a:spcBef>
                <a:spcPct val="0"/>
              </a:spcBef>
              <a:buNone/>
              <a:defRPr/>
            </a:pPr>
            <a:r>
              <a:rPr lang="de-DE" altLang="de-DE" dirty="0">
                <a:solidFill>
                  <a:srgbClr val="000000"/>
                </a:solidFill>
                <a:latin typeface="Arial"/>
                <a:ea typeface="Verdana" panose="020B0604030504040204" pitchFamily="34" charset="0"/>
                <a:cs typeface="Verdana" panose="020B0604030504040204" pitchFamily="34" charset="0"/>
              </a:rPr>
              <a:t>                                 </a:t>
            </a:r>
            <a:r>
              <a:rPr lang="de-DE" altLang="de-DE" dirty="0">
                <a:solidFill>
                  <a:srgbClr val="FF0000"/>
                </a:solidFill>
                <a:latin typeface="Arial"/>
                <a:ea typeface="Verdana" panose="020B0604030504040204" pitchFamily="34" charset="0"/>
                <a:cs typeface="Verdana" panose="020B0604030504040204" pitchFamily="34" charset="0"/>
              </a:rPr>
              <a:t>Fluid </a:t>
            </a:r>
            <a:r>
              <a:rPr lang="de-DE" altLang="de-DE" dirty="0" err="1">
                <a:solidFill>
                  <a:srgbClr val="FF0000"/>
                </a:solidFill>
                <a:latin typeface="Arial"/>
                <a:ea typeface="Verdana" panose="020B0604030504040204" pitchFamily="34" charset="0"/>
                <a:cs typeface="Verdana" panose="020B0604030504040204" pitchFamily="34" charset="0"/>
              </a:rPr>
              <a:t>forces</a:t>
            </a:r>
            <a:r>
              <a:rPr lang="de-DE" altLang="de-DE" dirty="0">
                <a:solidFill>
                  <a:srgbClr val="FF0000"/>
                </a:solidFill>
                <a:latin typeface="Arial"/>
                <a:ea typeface="Verdana" panose="020B0604030504040204" pitchFamily="34" charset="0"/>
                <a:cs typeface="Verdana" panose="020B0604030504040204" pitchFamily="34" charset="0"/>
              </a:rPr>
              <a:t> </a:t>
            </a:r>
            <a:r>
              <a:rPr lang="de-DE" altLang="de-DE" b="0" dirty="0">
                <a:solidFill>
                  <a:srgbClr val="000000"/>
                </a:solidFill>
                <a:latin typeface="Arial"/>
                <a:ea typeface="Verdana" panose="020B0604030504040204" pitchFamily="34" charset="0"/>
                <a:cs typeface="Verdana" panose="020B0604030504040204" pitchFamily="34" charset="0"/>
              </a:rPr>
              <a:t>at </a:t>
            </a:r>
            <a:r>
              <a:rPr lang="de-DE" altLang="de-DE" b="0" dirty="0" err="1">
                <a:solidFill>
                  <a:srgbClr val="000000"/>
                </a:solidFill>
                <a:latin typeface="Arial"/>
                <a:ea typeface="Verdana" panose="020B0604030504040204" pitchFamily="34" charset="0"/>
                <a:cs typeface="Verdana" panose="020B0604030504040204" pitchFamily="34" charset="0"/>
              </a:rPr>
              <a:t>impeller</a:t>
            </a:r>
            <a:r>
              <a:rPr lang="de-DE" altLang="de-DE" b="0" dirty="0">
                <a:solidFill>
                  <a:srgbClr val="000000"/>
                </a:solidFill>
                <a:latin typeface="Arial"/>
                <a:ea typeface="Verdana" panose="020B0604030504040204" pitchFamily="34" charset="0"/>
                <a:cs typeface="Verdana" panose="020B0604030504040204" pitchFamily="34" charset="0"/>
              </a:rPr>
              <a:t> with </a:t>
            </a:r>
            <a:r>
              <a:rPr lang="de-DE" altLang="de-DE" b="0" dirty="0" err="1">
                <a:solidFill>
                  <a:srgbClr val="000000"/>
                </a:solidFill>
                <a:latin typeface="Arial"/>
                <a:ea typeface="Verdana" panose="020B0604030504040204" pitchFamily="34" charset="0"/>
                <a:cs typeface="Verdana" panose="020B0604030504040204" pitchFamily="34" charset="0"/>
              </a:rPr>
              <a:t>vane</a:t>
            </a:r>
            <a:r>
              <a:rPr lang="de-DE" altLang="de-DE" b="0" dirty="0">
                <a:solidFill>
                  <a:srgbClr val="000000"/>
                </a:solidFill>
                <a:latin typeface="Arial"/>
                <a:ea typeface="Verdana" panose="020B0604030504040204" pitchFamily="34" charset="0"/>
                <a:cs typeface="Verdana" panose="020B0604030504040204" pitchFamily="34" charset="0"/>
              </a:rPr>
              <a:t> </a:t>
            </a:r>
            <a:r>
              <a:rPr lang="de-DE" altLang="de-DE" b="0" dirty="0" err="1">
                <a:solidFill>
                  <a:srgbClr val="000000"/>
                </a:solidFill>
                <a:latin typeface="Arial"/>
                <a:ea typeface="Verdana" panose="020B0604030504040204" pitchFamily="34" charset="0"/>
                <a:cs typeface="Verdana" panose="020B0604030504040204" pitchFamily="34" charset="0"/>
              </a:rPr>
              <a:t>passing</a:t>
            </a:r>
            <a:r>
              <a:rPr lang="de-DE" altLang="de-DE" b="0" dirty="0">
                <a:solidFill>
                  <a:srgbClr val="000000"/>
                </a:solidFill>
                <a:latin typeface="Arial"/>
                <a:ea typeface="Verdana" panose="020B0604030504040204" pitchFamily="34" charset="0"/>
                <a:cs typeface="Verdana" panose="020B0604030504040204" pitchFamily="34" charset="0"/>
              </a:rPr>
              <a:t> </a:t>
            </a:r>
            <a:r>
              <a:rPr lang="de-DE" altLang="de-DE" b="0" dirty="0" err="1">
                <a:solidFill>
                  <a:srgbClr val="000000"/>
                </a:solidFill>
                <a:latin typeface="Arial"/>
                <a:ea typeface="Verdana" panose="020B0604030504040204" pitchFamily="34" charset="0"/>
                <a:cs typeface="Verdana" panose="020B0604030504040204" pitchFamily="34" charset="0"/>
              </a:rPr>
              <a:t>frequency</a:t>
            </a:r>
            <a:r>
              <a:rPr lang="de-DE" altLang="de-DE" b="0" dirty="0">
                <a:solidFill>
                  <a:srgbClr val="000000"/>
                </a:solidFill>
                <a:latin typeface="Arial"/>
                <a:ea typeface="Verdana" panose="020B0604030504040204" pitchFamily="34" charset="0"/>
                <a:cs typeface="Verdana" panose="020B0604030504040204" pitchFamily="34" charset="0"/>
              </a:rPr>
              <a:t> </a:t>
            </a:r>
            <a:r>
              <a:rPr lang="de-DE" altLang="de-DE" b="0" dirty="0" err="1">
                <a:solidFill>
                  <a:srgbClr val="000000"/>
                </a:solidFill>
                <a:latin typeface="Arial"/>
                <a:ea typeface="Verdana" panose="020B0604030504040204" pitchFamily="34" charset="0"/>
                <a:cs typeface="Verdana" panose="020B0604030504040204" pitchFamily="34" charset="0"/>
              </a:rPr>
              <a:t>Nx</a:t>
            </a:r>
            <a:r>
              <a:rPr lang="el-GR" altLang="de-DE" b="0" dirty="0">
                <a:solidFill>
                  <a:srgbClr val="000000"/>
                </a:solidFill>
                <a:latin typeface="Arial"/>
                <a:ea typeface="Verdana" panose="020B0604030504040204" pitchFamily="34" charset="0"/>
                <a:cs typeface="Verdana" panose="020B0604030504040204" pitchFamily="34" charset="0"/>
              </a:rPr>
              <a:t>Ω</a:t>
            </a:r>
            <a:endParaRPr lang="de-DE" altLang="de-DE" b="0" dirty="0">
              <a:solidFill>
                <a:srgbClr val="000000"/>
              </a:solidFill>
              <a:latin typeface="Arial"/>
              <a:ea typeface="Verdana" panose="020B0604030504040204" pitchFamily="34" charset="0"/>
              <a:cs typeface="Verdana" panose="020B0604030504040204" pitchFamily="34" charset="0"/>
            </a:endParaRPr>
          </a:p>
          <a:p>
            <a:pPr eaLnBrk="1" hangingPunct="1">
              <a:spcBef>
                <a:spcPct val="0"/>
              </a:spcBef>
              <a:buNone/>
              <a:defRPr/>
            </a:pPr>
            <a:r>
              <a:rPr lang="de-DE" altLang="de-DE" dirty="0">
                <a:solidFill>
                  <a:srgbClr val="FF0000"/>
                </a:solidFill>
                <a:latin typeface="Arial"/>
                <a:ea typeface="Verdana" panose="020B0604030504040204" pitchFamily="34" charset="0"/>
                <a:cs typeface="Verdana" panose="020B0604030504040204" pitchFamily="34" charset="0"/>
              </a:rPr>
              <a:t>                                 </a:t>
            </a:r>
            <a:r>
              <a:rPr lang="de-DE" altLang="de-DE" dirty="0" err="1">
                <a:solidFill>
                  <a:srgbClr val="FF0000"/>
                </a:solidFill>
                <a:latin typeface="Arial"/>
                <a:ea typeface="Verdana" panose="020B0604030504040204" pitchFamily="34" charset="0"/>
                <a:cs typeface="Verdana" panose="020B0604030504040204" pitchFamily="34" charset="0"/>
              </a:rPr>
              <a:t>Self</a:t>
            </a:r>
            <a:r>
              <a:rPr lang="de-DE" altLang="de-DE" dirty="0">
                <a:solidFill>
                  <a:srgbClr val="FF0000"/>
                </a:solidFill>
                <a:latin typeface="Arial"/>
                <a:ea typeface="Verdana" panose="020B0604030504040204" pitchFamily="34" charset="0"/>
                <a:cs typeface="Verdana" panose="020B0604030504040204" pitchFamily="34" charset="0"/>
              </a:rPr>
              <a:t> </a:t>
            </a:r>
            <a:r>
              <a:rPr lang="de-DE" altLang="de-DE" dirty="0" err="1">
                <a:solidFill>
                  <a:srgbClr val="FF0000"/>
                </a:solidFill>
                <a:latin typeface="Arial"/>
                <a:ea typeface="Verdana" panose="020B0604030504040204" pitchFamily="34" charset="0"/>
                <a:cs typeface="Verdana" panose="020B0604030504040204" pitchFamily="34" charset="0"/>
              </a:rPr>
              <a:t>excited</a:t>
            </a:r>
            <a:r>
              <a:rPr lang="de-DE" altLang="de-DE" dirty="0">
                <a:solidFill>
                  <a:srgbClr val="FF0000"/>
                </a:solidFill>
                <a:latin typeface="Arial"/>
                <a:ea typeface="Verdana" panose="020B0604030504040204" pitchFamily="34" charset="0"/>
                <a:cs typeface="Verdana" panose="020B0604030504040204" pitchFamily="34" charset="0"/>
              </a:rPr>
              <a:t> </a:t>
            </a:r>
            <a:r>
              <a:rPr lang="de-DE" altLang="de-DE" dirty="0" err="1">
                <a:solidFill>
                  <a:srgbClr val="FF0000"/>
                </a:solidFill>
                <a:latin typeface="Arial"/>
                <a:ea typeface="Verdana" panose="020B0604030504040204" pitchFamily="34" charset="0"/>
                <a:cs typeface="Verdana" panose="020B0604030504040204" pitchFamily="34" charset="0"/>
              </a:rPr>
              <a:t>vibrations</a:t>
            </a:r>
            <a:r>
              <a:rPr lang="de-DE" altLang="de-DE" dirty="0">
                <a:solidFill>
                  <a:srgbClr val="FF0000"/>
                </a:solidFill>
                <a:latin typeface="Arial"/>
                <a:ea typeface="Verdana" panose="020B0604030504040204" pitchFamily="34" charset="0"/>
                <a:cs typeface="Verdana" panose="020B0604030504040204" pitchFamily="34" charset="0"/>
              </a:rPr>
              <a:t>, </a:t>
            </a:r>
            <a:r>
              <a:rPr lang="de-DE" altLang="de-DE" dirty="0" err="1">
                <a:solidFill>
                  <a:srgbClr val="FF0000"/>
                </a:solidFill>
                <a:latin typeface="Arial"/>
                <a:ea typeface="Verdana" panose="020B0604030504040204" pitchFamily="34" charset="0"/>
                <a:cs typeface="Verdana" panose="020B0604030504040204" pitchFamily="34" charset="0"/>
              </a:rPr>
              <a:t>Instability</a:t>
            </a:r>
            <a:r>
              <a:rPr lang="de-DE" altLang="de-DE" dirty="0">
                <a:solidFill>
                  <a:srgbClr val="FF0000"/>
                </a:solidFill>
                <a:latin typeface="Arial"/>
                <a:ea typeface="Verdana" panose="020B0604030504040204" pitchFamily="34" charset="0"/>
                <a:cs typeface="Verdana" panose="020B0604030504040204" pitchFamily="34" charset="0"/>
              </a:rPr>
              <a:t> </a:t>
            </a:r>
            <a:r>
              <a:rPr lang="de-DE" altLang="de-DE" b="0" dirty="0">
                <a:solidFill>
                  <a:srgbClr val="000000"/>
                </a:solidFill>
                <a:latin typeface="Arial"/>
                <a:ea typeface="Verdana" panose="020B0604030504040204" pitchFamily="34" charset="0"/>
                <a:cs typeface="Verdana" panose="020B0604030504040204" pitchFamily="34" charset="0"/>
              </a:rPr>
              <a:t>in </a:t>
            </a:r>
            <a:r>
              <a:rPr lang="de-DE" altLang="de-DE" b="0" dirty="0" err="1">
                <a:solidFill>
                  <a:srgbClr val="000000"/>
                </a:solidFill>
                <a:latin typeface="Arial"/>
                <a:ea typeface="Verdana" panose="020B0604030504040204" pitchFamily="34" charset="0"/>
                <a:cs typeface="Verdana" panose="020B0604030504040204" pitchFamily="34" charset="0"/>
              </a:rPr>
              <a:t>bearings</a:t>
            </a:r>
            <a:r>
              <a:rPr lang="de-DE" altLang="de-DE" b="0" dirty="0">
                <a:solidFill>
                  <a:srgbClr val="000000"/>
                </a:solidFill>
                <a:latin typeface="Arial"/>
                <a:ea typeface="Verdana" panose="020B0604030504040204" pitchFamily="34" charset="0"/>
                <a:cs typeface="Verdana" panose="020B0604030504040204" pitchFamily="34" charset="0"/>
              </a:rPr>
              <a:t> and </a:t>
            </a:r>
            <a:r>
              <a:rPr lang="de-DE" altLang="de-DE" b="0" dirty="0" err="1">
                <a:solidFill>
                  <a:srgbClr val="000000"/>
                </a:solidFill>
                <a:latin typeface="Arial"/>
                <a:ea typeface="Verdana" panose="020B0604030504040204" pitchFamily="34" charset="0"/>
                <a:cs typeface="Verdana" panose="020B0604030504040204" pitchFamily="34" charset="0"/>
              </a:rPr>
              <a:t>seals</a:t>
            </a:r>
            <a:r>
              <a:rPr lang="de-DE" altLang="de-DE" b="0" dirty="0">
                <a:solidFill>
                  <a:srgbClr val="000000"/>
                </a:solidFill>
                <a:latin typeface="Arial"/>
                <a:ea typeface="Verdana" panose="020B0604030504040204" pitchFamily="34" charset="0"/>
                <a:cs typeface="Verdana" panose="020B0604030504040204" pitchFamily="34" charset="0"/>
              </a:rPr>
              <a:t> </a:t>
            </a:r>
          </a:p>
          <a:p>
            <a:pPr eaLnBrk="1" hangingPunct="1">
              <a:spcBef>
                <a:spcPct val="0"/>
              </a:spcBef>
              <a:buNone/>
              <a:defRPr/>
            </a:pPr>
            <a:r>
              <a:rPr lang="de-DE" altLang="de-DE" sz="1800" dirty="0">
                <a:solidFill>
                  <a:srgbClr val="000000"/>
                </a:solidFill>
              </a:rPr>
              <a:t>                                       </a:t>
            </a:r>
            <a:endParaRPr lang="de-DE" altLang="de-DE" sz="1800" dirty="0">
              <a:solidFill>
                <a:srgbClr val="000000"/>
              </a:solidFill>
              <a:latin typeface="Verdana" panose="020B0604030504040204" pitchFamily="34" charset="0"/>
            </a:endParaRPr>
          </a:p>
        </p:txBody>
      </p:sp>
      <p:sp>
        <p:nvSpPr>
          <p:cNvPr id="2" name="Textfeld 1">
            <a:extLst>
              <a:ext uri="{FF2B5EF4-FFF2-40B4-BE49-F238E27FC236}">
                <a16:creationId xmlns:a16="http://schemas.microsoft.com/office/drawing/2014/main" id="{B161567C-4F0E-0E63-3DF3-CED0AE911728}"/>
              </a:ext>
            </a:extLst>
          </p:cNvPr>
          <p:cNvSpPr txBox="1"/>
          <p:nvPr/>
        </p:nvSpPr>
        <p:spPr>
          <a:xfrm>
            <a:off x="1059499" y="398363"/>
            <a:ext cx="7919989" cy="830997"/>
          </a:xfrm>
          <a:prstGeom prst="rect">
            <a:avLst/>
          </a:prstGeom>
          <a:noFill/>
        </p:spPr>
        <p:txBody>
          <a:bodyPr wrap="none">
            <a:spAutoFit/>
          </a:bodyPr>
          <a:lstStyle/>
          <a:p>
            <a:pPr>
              <a:defRPr/>
            </a:pPr>
            <a:r>
              <a:rPr lang="de-DE" sz="2400" dirty="0">
                <a:solidFill>
                  <a:srgbClr val="0000FF"/>
                </a:solidFill>
                <a:latin typeface="Arial"/>
              </a:rPr>
              <a:t>Lateral </a:t>
            </a:r>
            <a:r>
              <a:rPr lang="de-DE" sz="2400" dirty="0" err="1">
                <a:solidFill>
                  <a:srgbClr val="0000FF"/>
                </a:solidFill>
                <a:latin typeface="Arial"/>
              </a:rPr>
              <a:t>Vibrations</a:t>
            </a:r>
            <a:r>
              <a:rPr lang="de-DE" sz="2400" dirty="0">
                <a:solidFill>
                  <a:srgbClr val="0000FF"/>
                </a:solidFill>
                <a:latin typeface="Arial"/>
              </a:rPr>
              <a:t> </a:t>
            </a:r>
            <a:r>
              <a:rPr lang="de-DE" sz="2400" dirty="0" err="1">
                <a:solidFill>
                  <a:srgbClr val="0000FF"/>
                </a:solidFill>
                <a:latin typeface="Arial"/>
              </a:rPr>
              <a:t>of</a:t>
            </a:r>
            <a:r>
              <a:rPr lang="de-DE" sz="2400" dirty="0">
                <a:solidFill>
                  <a:srgbClr val="0000FF"/>
                </a:solidFill>
                <a:latin typeface="Arial"/>
              </a:rPr>
              <a:t> </a:t>
            </a:r>
            <a:r>
              <a:rPr lang="de-DE" sz="2400" dirty="0" err="1">
                <a:solidFill>
                  <a:srgbClr val="0000FF"/>
                </a:solidFill>
                <a:latin typeface="Arial"/>
              </a:rPr>
              <a:t>the</a:t>
            </a:r>
            <a:r>
              <a:rPr lang="de-DE" sz="2400" dirty="0">
                <a:solidFill>
                  <a:srgbClr val="0000FF"/>
                </a:solidFill>
                <a:latin typeface="Arial"/>
              </a:rPr>
              <a:t> Horizontal </a:t>
            </a:r>
            <a:r>
              <a:rPr lang="de-DE" sz="2400" dirty="0" err="1">
                <a:solidFill>
                  <a:srgbClr val="0000FF"/>
                </a:solidFill>
                <a:latin typeface="Arial"/>
              </a:rPr>
              <a:t>Feedwater</a:t>
            </a:r>
            <a:r>
              <a:rPr lang="de-DE" sz="2400" dirty="0">
                <a:solidFill>
                  <a:srgbClr val="0000FF"/>
                </a:solidFill>
                <a:latin typeface="Arial"/>
              </a:rPr>
              <a:t> Pump </a:t>
            </a:r>
          </a:p>
          <a:p>
            <a:pPr>
              <a:defRPr/>
            </a:pPr>
            <a:r>
              <a:rPr lang="de-DE" sz="2400" b="0" dirty="0">
                <a:latin typeface="Arial"/>
              </a:rPr>
              <a:t>Lateral </a:t>
            </a:r>
            <a:r>
              <a:rPr lang="de-DE" sz="2400" b="0" dirty="0" err="1">
                <a:latin typeface="Arial"/>
              </a:rPr>
              <a:t>Vibrations</a:t>
            </a:r>
            <a:r>
              <a:rPr lang="de-DE" sz="2400" b="0" dirty="0">
                <a:latin typeface="Arial"/>
              </a:rPr>
              <a:t>, Dynamic </a:t>
            </a:r>
            <a:r>
              <a:rPr lang="de-DE" sz="2400" b="0" dirty="0" err="1">
                <a:latin typeface="Arial"/>
              </a:rPr>
              <a:t>Characteristics</a:t>
            </a:r>
            <a:r>
              <a:rPr lang="de-DE" sz="2400" b="0" dirty="0">
                <a:latin typeface="Arial"/>
              </a:rPr>
              <a:t>, </a:t>
            </a:r>
            <a:r>
              <a:rPr lang="de-DE" sz="2400" b="0" dirty="0" err="1">
                <a:latin typeface="Arial"/>
              </a:rPr>
              <a:t>Excitations</a:t>
            </a:r>
            <a:endParaRPr lang="de-DE" sz="2400" b="0" dirty="0">
              <a:latin typeface="Arial"/>
            </a:endParaRPr>
          </a:p>
        </p:txBody>
      </p:sp>
      <p:pic>
        <p:nvPicPr>
          <p:cNvPr id="3" name="Grafik 2">
            <a:extLst>
              <a:ext uri="{FF2B5EF4-FFF2-40B4-BE49-F238E27FC236}">
                <a16:creationId xmlns:a16="http://schemas.microsoft.com/office/drawing/2014/main" id="{80ADC09F-B615-A791-49FE-CDC001F55B66}"/>
              </a:ext>
            </a:extLst>
          </p:cNvPr>
          <p:cNvPicPr>
            <a:picLocks noChangeAspect="1"/>
          </p:cNvPicPr>
          <p:nvPr/>
        </p:nvPicPr>
        <p:blipFill>
          <a:blip r:embed="rId3"/>
          <a:stretch>
            <a:fillRect/>
          </a:stretch>
        </p:blipFill>
        <p:spPr>
          <a:xfrm>
            <a:off x="243840" y="2418080"/>
            <a:ext cx="4602480" cy="3210560"/>
          </a:xfrm>
          <a:prstGeom prst="rect">
            <a:avLst/>
          </a:prstGeom>
        </p:spPr>
      </p:pic>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el 3">
            <a:extLst>
              <a:ext uri="{FF2B5EF4-FFF2-40B4-BE49-F238E27FC236}">
                <a16:creationId xmlns:a16="http://schemas.microsoft.com/office/drawing/2014/main" id="{8EC3160C-2A66-E772-1B65-C360C8E9B60A}"/>
              </a:ext>
            </a:extLst>
          </p:cNvPr>
          <p:cNvSpPr txBox="1">
            <a:spLocks/>
          </p:cNvSpPr>
          <p:nvPr/>
        </p:nvSpPr>
        <p:spPr bwMode="auto">
          <a:xfrm>
            <a:off x="1893888" y="2555875"/>
            <a:ext cx="6877050" cy="838200"/>
          </a:xfrm>
          <a:prstGeom prst="rect">
            <a:avLst/>
          </a:prstGeom>
          <a:noFill/>
          <a:ln w="9525">
            <a:noFill/>
            <a:miter lim="800000"/>
            <a:headEnd/>
            <a:tailEnd/>
          </a:ln>
          <a:effectLst/>
        </p:spPr>
        <p:txBody>
          <a:bodyPr lIns="0" tIns="0" rIns="0" bIns="0"/>
          <a:lstStyle/>
          <a:p>
            <a:pPr marL="0" marR="0" lvl="0" indent="0" algn="l" defTabSz="914400" rtl="0" eaLnBrk="1" fontAlgn="base" latinLnBrk="0" hangingPunct="1">
              <a:lnSpc>
                <a:spcPct val="100000"/>
              </a:lnSpc>
              <a:spcBef>
                <a:spcPct val="0"/>
              </a:spcBef>
              <a:spcAft>
                <a:spcPct val="0"/>
              </a:spcAft>
              <a:buClrTx/>
              <a:buSzTx/>
              <a:buFontTx/>
              <a:buNone/>
              <a:tabLst/>
              <a:defRPr/>
            </a:pPr>
            <a:br>
              <a:rPr kumimoji="0" lang="de-DE" sz="2000" b="1" i="0" u="none" strike="noStrike" kern="0" cap="none" spc="0" normalizeH="0" baseline="0" noProof="0" dirty="0">
                <a:ln>
                  <a:noFill/>
                </a:ln>
                <a:solidFill>
                  <a:srgbClr val="000000"/>
                </a:solidFill>
                <a:effectLst/>
                <a:uLnTx/>
                <a:uFillTx/>
                <a:latin typeface="Arial"/>
                <a:ea typeface="+mn-ea"/>
                <a:cs typeface="+mn-cs"/>
              </a:rPr>
            </a:br>
            <a:r>
              <a:rPr kumimoji="0" lang="de-DE" sz="2000" b="1" i="0" u="none" strike="noStrike" kern="0" cap="none" spc="0" normalizeH="0" baseline="0" noProof="0" dirty="0">
                <a:ln>
                  <a:noFill/>
                </a:ln>
                <a:solidFill>
                  <a:srgbClr val="000000"/>
                </a:solidFill>
                <a:effectLst/>
                <a:uLnTx/>
                <a:uFillTx/>
                <a:latin typeface="Arial"/>
                <a:ea typeface="+mn-ea"/>
                <a:cs typeface="+mn-cs"/>
              </a:rPr>
              <a:t>		</a:t>
            </a:r>
          </a:p>
        </p:txBody>
      </p:sp>
      <p:sp>
        <p:nvSpPr>
          <p:cNvPr id="5" name="Textfeld 4">
            <a:extLst>
              <a:ext uri="{FF2B5EF4-FFF2-40B4-BE49-F238E27FC236}">
                <a16:creationId xmlns:a16="http://schemas.microsoft.com/office/drawing/2014/main" id="{07240E44-DC61-FF18-3D6B-E62916EA6331}"/>
              </a:ext>
            </a:extLst>
          </p:cNvPr>
          <p:cNvSpPr txBox="1">
            <a:spLocks noChangeArrowheads="1"/>
          </p:cNvSpPr>
          <p:nvPr/>
        </p:nvSpPr>
        <p:spPr bwMode="auto">
          <a:xfrm>
            <a:off x="785348" y="1097895"/>
            <a:ext cx="11020572" cy="5940088"/>
          </a:xfrm>
          <a:prstGeom prst="rect">
            <a:avLst/>
          </a:prstGeom>
          <a:noFill/>
          <a:ln>
            <a:noFill/>
          </a:ln>
        </p:spPr>
        <p:txBody>
          <a:bodyPr wrap="square">
            <a:spAutoFit/>
          </a:bodyPr>
          <a:lstStyle>
            <a:lvl1pPr marL="361950" indent="-361950" eaLnBrk="0" hangingPunct="0">
              <a:defRPr b="1">
                <a:solidFill>
                  <a:schemeClr val="tx1"/>
                </a:solidFill>
                <a:latin typeface="Verdana" pitchFamily="34" charset="0"/>
              </a:defRPr>
            </a:lvl1pPr>
            <a:lvl2pPr marL="742950" indent="-285750" eaLnBrk="0" hangingPunct="0">
              <a:defRPr b="1">
                <a:solidFill>
                  <a:schemeClr val="tx1"/>
                </a:solidFill>
                <a:latin typeface="Verdana" pitchFamily="34" charset="0"/>
              </a:defRPr>
            </a:lvl2pPr>
            <a:lvl3pPr marL="1143000" indent="-228600" eaLnBrk="0" hangingPunct="0">
              <a:defRPr b="1">
                <a:solidFill>
                  <a:schemeClr val="tx1"/>
                </a:solidFill>
                <a:latin typeface="Verdana" pitchFamily="34" charset="0"/>
              </a:defRPr>
            </a:lvl3pPr>
            <a:lvl4pPr marL="1600200" indent="-228600" eaLnBrk="0" hangingPunct="0">
              <a:defRPr b="1">
                <a:solidFill>
                  <a:schemeClr val="tx1"/>
                </a:solidFill>
                <a:latin typeface="Verdana" pitchFamily="34" charset="0"/>
              </a:defRPr>
            </a:lvl4pPr>
            <a:lvl5pPr marL="2057400" indent="-228600" eaLnBrk="0" hangingPunct="0">
              <a:defRPr b="1">
                <a:solidFill>
                  <a:schemeClr val="tx1"/>
                </a:solidFill>
                <a:latin typeface="Verdana" pitchFamily="34" charset="0"/>
              </a:defRPr>
            </a:lvl5pPr>
            <a:lvl6pPr marL="2514600" indent="-228600" eaLnBrk="0" fontAlgn="base" hangingPunct="0">
              <a:spcBef>
                <a:spcPct val="0"/>
              </a:spcBef>
              <a:spcAft>
                <a:spcPct val="0"/>
              </a:spcAft>
              <a:defRPr b="1">
                <a:solidFill>
                  <a:schemeClr val="tx1"/>
                </a:solidFill>
                <a:latin typeface="Verdana" pitchFamily="34" charset="0"/>
              </a:defRPr>
            </a:lvl6pPr>
            <a:lvl7pPr marL="2971800" indent="-228600" eaLnBrk="0" fontAlgn="base" hangingPunct="0">
              <a:spcBef>
                <a:spcPct val="0"/>
              </a:spcBef>
              <a:spcAft>
                <a:spcPct val="0"/>
              </a:spcAft>
              <a:defRPr b="1">
                <a:solidFill>
                  <a:schemeClr val="tx1"/>
                </a:solidFill>
                <a:latin typeface="Verdana" pitchFamily="34" charset="0"/>
              </a:defRPr>
            </a:lvl7pPr>
            <a:lvl8pPr marL="3429000" indent="-228600" eaLnBrk="0" fontAlgn="base" hangingPunct="0">
              <a:spcBef>
                <a:spcPct val="0"/>
              </a:spcBef>
              <a:spcAft>
                <a:spcPct val="0"/>
              </a:spcAft>
              <a:defRPr b="1">
                <a:solidFill>
                  <a:schemeClr val="tx1"/>
                </a:solidFill>
                <a:latin typeface="Verdana" pitchFamily="34" charset="0"/>
              </a:defRPr>
            </a:lvl8pPr>
            <a:lvl9pPr marL="3886200" indent="-228600" eaLnBrk="0" fontAlgn="base" hangingPunct="0">
              <a:spcBef>
                <a:spcPct val="0"/>
              </a:spcBef>
              <a:spcAft>
                <a:spcPct val="0"/>
              </a:spcAft>
              <a:defRPr b="1">
                <a:solidFill>
                  <a:schemeClr val="tx1"/>
                </a:solidFill>
                <a:latin typeface="Verdana"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de-DE" altLang="de-DE" sz="2000" b="1" i="0" u="none" strike="noStrike" kern="1200" cap="none" spc="0" normalizeH="0" baseline="0" noProof="0" dirty="0">
              <a:ln>
                <a:noFill/>
              </a:ln>
              <a:effectLst/>
              <a:uLnTx/>
              <a:uFillTx/>
              <a:latin typeface="Arial" charset="0"/>
              <a:ea typeface="+mn-ea"/>
              <a:cs typeface="+mn-cs"/>
            </a:endParaRPr>
          </a:p>
          <a:p>
            <a:pPr marL="361950" marR="0" lvl="0" indent="-361950" algn="l" defTabSz="914400" rtl="0" eaLnBrk="1" fontAlgn="base" latinLnBrk="0" hangingPunct="1">
              <a:lnSpc>
                <a:spcPct val="100000"/>
              </a:lnSpc>
              <a:spcBef>
                <a:spcPct val="0"/>
              </a:spcBef>
              <a:spcAft>
                <a:spcPct val="0"/>
              </a:spcAft>
              <a:buClrTx/>
              <a:buSzTx/>
              <a:buFont typeface="Wingdings" pitchFamily="2" charset="2"/>
              <a:buChar char="Ø"/>
              <a:tabLst/>
              <a:defRPr/>
            </a:pPr>
            <a:r>
              <a:rPr kumimoji="0" lang="de-DE" altLang="de-DE" sz="2400" b="1" i="0" u="none" strike="noStrike" kern="1200" cap="none" spc="0" normalizeH="0" baseline="0" noProof="0" dirty="0" err="1">
                <a:ln>
                  <a:noFill/>
                </a:ln>
                <a:effectLst/>
                <a:uLnTx/>
                <a:uFillTx/>
                <a:latin typeface="Arial" charset="0"/>
                <a:ea typeface="+mn-ea"/>
                <a:cs typeface="+mn-cs"/>
              </a:rPr>
              <a:t>Vertical</a:t>
            </a:r>
            <a:r>
              <a:rPr kumimoji="0" lang="de-DE" altLang="de-DE" sz="2400" b="1" i="0" u="none" strike="noStrike" kern="1200" cap="none" spc="0" normalizeH="0" baseline="0" noProof="0" dirty="0">
                <a:ln>
                  <a:noFill/>
                </a:ln>
                <a:effectLst/>
                <a:uLnTx/>
                <a:uFillTx/>
                <a:latin typeface="Arial" charset="0"/>
                <a:ea typeface="+mn-ea"/>
                <a:cs typeface="+mn-cs"/>
              </a:rPr>
              <a:t> and Horizontal Pump</a:t>
            </a:r>
            <a:r>
              <a:rPr kumimoji="0" lang="de-DE" altLang="de-DE" sz="2400" b="1" i="0" u="none" strike="noStrike" kern="1200" cap="none" spc="0" normalizeH="0" noProof="0" dirty="0">
                <a:ln>
                  <a:noFill/>
                </a:ln>
                <a:effectLst/>
                <a:uLnTx/>
                <a:uFillTx/>
                <a:latin typeface="Arial" charset="0"/>
                <a:ea typeface="+mn-ea"/>
                <a:cs typeface="+mn-cs"/>
              </a:rPr>
              <a:t> Systems in </a:t>
            </a:r>
            <a:r>
              <a:rPr kumimoji="0" lang="de-DE" altLang="de-DE" sz="2400" b="1" i="0" u="none" strike="noStrike" kern="1200" cap="none" spc="0" normalizeH="0" noProof="0" dirty="0" err="1">
                <a:ln>
                  <a:noFill/>
                </a:ln>
                <a:effectLst/>
                <a:uLnTx/>
                <a:uFillTx/>
                <a:latin typeface="Arial" charset="0"/>
                <a:ea typeface="+mn-ea"/>
                <a:cs typeface="+mn-cs"/>
              </a:rPr>
              <a:t>Nuclear</a:t>
            </a:r>
            <a:r>
              <a:rPr kumimoji="0" lang="de-DE" altLang="de-DE" sz="2400" b="1" i="0" u="none" strike="noStrike" kern="1200" cap="none" spc="0" normalizeH="0" noProof="0" dirty="0">
                <a:ln>
                  <a:noFill/>
                </a:ln>
                <a:effectLst/>
                <a:uLnTx/>
                <a:uFillTx/>
                <a:latin typeface="Arial" charset="0"/>
                <a:ea typeface="+mn-ea"/>
                <a:cs typeface="+mn-cs"/>
              </a:rPr>
              <a:t> Power Plants</a:t>
            </a:r>
            <a:endParaRPr kumimoji="0" lang="de-DE" altLang="de-DE" sz="2400" b="1" i="0" u="none" strike="noStrike" kern="1200" cap="none" spc="0" normalizeH="0" baseline="0" noProof="0" dirty="0">
              <a:ln>
                <a:noFill/>
              </a:ln>
              <a:effectLst/>
              <a:uLnTx/>
              <a:uFillTx/>
              <a:latin typeface="Arial" charset="0"/>
              <a:ea typeface="+mn-ea"/>
              <a:cs typeface="+mn-cs"/>
            </a:endParaRPr>
          </a:p>
          <a:p>
            <a:pPr marL="361950" marR="0" lvl="0" indent="-361950" algn="l" defTabSz="914400" rtl="0" eaLnBrk="1" fontAlgn="base" latinLnBrk="0" hangingPunct="1">
              <a:lnSpc>
                <a:spcPct val="100000"/>
              </a:lnSpc>
              <a:spcBef>
                <a:spcPct val="0"/>
              </a:spcBef>
              <a:spcAft>
                <a:spcPct val="0"/>
              </a:spcAft>
              <a:buClrTx/>
              <a:buSzTx/>
              <a:buFont typeface="Wingdings" pitchFamily="2" charset="2"/>
              <a:buChar char="Ø"/>
              <a:tabLst/>
              <a:defRPr/>
            </a:pPr>
            <a:endParaRPr kumimoji="0" lang="de-DE" altLang="de-DE" sz="2400" b="1" i="0" u="none" strike="noStrike" kern="1200" cap="none" spc="0" normalizeH="0" baseline="0" noProof="0" dirty="0">
              <a:ln>
                <a:noFill/>
              </a:ln>
              <a:solidFill>
                <a:srgbClr val="000000"/>
              </a:solidFill>
              <a:effectLst/>
              <a:uLnTx/>
              <a:uFillTx/>
              <a:latin typeface="Arial" charset="0"/>
              <a:ea typeface="+mn-ea"/>
              <a:cs typeface="+mn-cs"/>
            </a:endParaRPr>
          </a:p>
          <a:p>
            <a:pPr marL="361950" marR="0" lvl="0" indent="-361950" algn="l" defTabSz="914400" rtl="0" eaLnBrk="1" fontAlgn="base" latinLnBrk="0" hangingPunct="1">
              <a:lnSpc>
                <a:spcPct val="100000"/>
              </a:lnSpc>
              <a:spcBef>
                <a:spcPct val="0"/>
              </a:spcBef>
              <a:spcAft>
                <a:spcPct val="0"/>
              </a:spcAft>
              <a:buClrTx/>
              <a:buSzTx/>
              <a:buFont typeface="Wingdings" pitchFamily="2" charset="2"/>
              <a:buChar char="Ø"/>
              <a:tabLst/>
              <a:defRPr/>
            </a:pPr>
            <a:r>
              <a:rPr kumimoji="0" lang="de-DE" altLang="de-DE" sz="2400" b="1" i="0" u="none" strike="noStrike" kern="1200" cap="none" spc="0" normalizeH="0" baseline="0" noProof="0" dirty="0">
                <a:ln>
                  <a:noFill/>
                </a:ln>
                <a:effectLst/>
                <a:uLnTx/>
                <a:uFillTx/>
                <a:latin typeface="Arial" charset="0"/>
                <a:ea typeface="+mn-ea"/>
                <a:cs typeface="+mn-cs"/>
              </a:rPr>
              <a:t>A </a:t>
            </a:r>
            <a:r>
              <a:rPr kumimoji="0" lang="de-DE" altLang="de-DE" sz="2400" b="1" i="0" u="none" strike="noStrike" kern="1200" cap="none" spc="0" normalizeH="0" baseline="0" noProof="0" dirty="0" err="1">
                <a:ln>
                  <a:noFill/>
                </a:ln>
                <a:effectLst/>
                <a:uLnTx/>
                <a:uFillTx/>
                <a:latin typeface="Arial" charset="0"/>
                <a:ea typeface="+mn-ea"/>
                <a:cs typeface="+mn-cs"/>
              </a:rPr>
              <a:t>typical</a:t>
            </a:r>
            <a:r>
              <a:rPr kumimoji="0" lang="de-DE" altLang="de-DE" sz="2400" b="1" i="0" u="none" strike="noStrike" kern="1200" cap="none" spc="0" normalizeH="0" baseline="0" noProof="0" dirty="0">
                <a:ln>
                  <a:noFill/>
                </a:ln>
                <a:effectLst/>
                <a:uLnTx/>
                <a:uFillTx/>
                <a:latin typeface="Arial" charset="0"/>
                <a:ea typeface="+mn-ea"/>
                <a:cs typeface="+mn-cs"/>
              </a:rPr>
              <a:t>  Horizontal </a:t>
            </a:r>
            <a:r>
              <a:rPr kumimoji="0" lang="de-DE" altLang="de-DE" sz="2400" b="1" i="0" u="none" strike="noStrike" kern="1200" cap="none" spc="0" normalizeH="0" baseline="0" noProof="0" dirty="0" err="1">
                <a:ln>
                  <a:noFill/>
                </a:ln>
                <a:effectLst/>
                <a:uLnTx/>
                <a:uFillTx/>
                <a:latin typeface="Arial" charset="0"/>
                <a:ea typeface="+mn-ea"/>
                <a:cs typeface="+mn-cs"/>
              </a:rPr>
              <a:t>Feedwater</a:t>
            </a:r>
            <a:r>
              <a:rPr kumimoji="0" lang="de-DE" altLang="de-DE" sz="2400" b="1" i="0" u="none" strike="noStrike" kern="1200" cap="none" spc="0" normalizeH="0" baseline="0" noProof="0" dirty="0">
                <a:ln>
                  <a:noFill/>
                </a:ln>
                <a:effectLst/>
                <a:uLnTx/>
                <a:uFillTx/>
                <a:latin typeface="Arial" charset="0"/>
                <a:ea typeface="+mn-ea"/>
                <a:cs typeface="+mn-cs"/>
              </a:rPr>
              <a:t> Pump</a:t>
            </a:r>
          </a:p>
          <a:p>
            <a:pPr marL="0" marR="0" lvl="0" indent="0" algn="l" defTabSz="914400" rtl="0" eaLnBrk="1" fontAlgn="base" latinLnBrk="0" hangingPunct="1">
              <a:lnSpc>
                <a:spcPct val="100000"/>
              </a:lnSpc>
              <a:spcBef>
                <a:spcPct val="0"/>
              </a:spcBef>
              <a:spcAft>
                <a:spcPct val="0"/>
              </a:spcAft>
              <a:buClrTx/>
              <a:buSzTx/>
              <a:tabLst/>
              <a:defRPr/>
            </a:pPr>
            <a:endParaRPr kumimoji="0" lang="de-DE" altLang="de-DE" sz="2400" b="1" i="0" u="none" strike="noStrike" kern="1200" cap="none" spc="0" normalizeH="0" baseline="0" noProof="0" dirty="0">
              <a:ln>
                <a:noFill/>
              </a:ln>
              <a:solidFill>
                <a:srgbClr val="0000FF"/>
              </a:solidFill>
              <a:effectLst/>
              <a:uLnTx/>
              <a:uFillTx/>
              <a:latin typeface="Arial" charset="0"/>
              <a:ea typeface="+mn-ea"/>
              <a:cs typeface="+mn-cs"/>
            </a:endParaRPr>
          </a:p>
          <a:p>
            <a:pPr marL="361950" marR="0" lvl="0" indent="-361950" algn="l" defTabSz="914400" rtl="0" eaLnBrk="1" fontAlgn="base" latinLnBrk="0" hangingPunct="1">
              <a:lnSpc>
                <a:spcPct val="100000"/>
              </a:lnSpc>
              <a:spcBef>
                <a:spcPct val="0"/>
              </a:spcBef>
              <a:spcAft>
                <a:spcPct val="0"/>
              </a:spcAft>
              <a:buClrTx/>
              <a:buSzTx/>
              <a:buFont typeface="Wingdings" pitchFamily="2" charset="2"/>
              <a:buChar char="Ø"/>
              <a:tabLst/>
              <a:defRPr/>
            </a:pPr>
            <a:r>
              <a:rPr kumimoji="0" lang="de-DE" altLang="de-DE" sz="2400" b="1" i="0" u="none" strike="noStrike" kern="1200" cap="none" spc="0" normalizeH="0" baseline="0" noProof="0" dirty="0">
                <a:ln>
                  <a:noFill/>
                </a:ln>
                <a:solidFill>
                  <a:srgbClr val="000000"/>
                </a:solidFill>
                <a:effectLst/>
                <a:uLnTx/>
                <a:uFillTx/>
                <a:latin typeface="Arial" charset="0"/>
                <a:ea typeface="+mn-ea"/>
                <a:cs typeface="+mn-cs"/>
              </a:rPr>
              <a:t>Lateral </a:t>
            </a:r>
            <a:r>
              <a:rPr kumimoji="0" lang="de-DE" altLang="de-DE" sz="2400" b="1" i="0" u="none" strike="noStrike" kern="1200" cap="none" spc="0" normalizeH="0" baseline="0" noProof="0" dirty="0" err="1">
                <a:ln>
                  <a:noFill/>
                </a:ln>
                <a:solidFill>
                  <a:srgbClr val="000000"/>
                </a:solidFill>
                <a:effectLst/>
                <a:uLnTx/>
                <a:uFillTx/>
                <a:latin typeface="Arial" charset="0"/>
                <a:ea typeface="+mn-ea"/>
                <a:cs typeface="+mn-cs"/>
              </a:rPr>
              <a:t>Vibrations</a:t>
            </a:r>
            <a:r>
              <a:rPr kumimoji="0" lang="de-DE" altLang="de-DE" sz="2400" b="1" i="0" u="none" strike="noStrike" kern="1200" cap="none" spc="0" normalizeH="0" baseline="0" noProof="0" dirty="0">
                <a:ln>
                  <a:noFill/>
                </a:ln>
                <a:solidFill>
                  <a:srgbClr val="000000"/>
                </a:solidFill>
                <a:effectLst/>
                <a:uLnTx/>
                <a:uFillTx/>
                <a:latin typeface="Arial" charset="0"/>
                <a:ea typeface="+mn-ea"/>
                <a:cs typeface="+mn-cs"/>
              </a:rPr>
              <a:t> </a:t>
            </a:r>
            <a:r>
              <a:rPr kumimoji="0" lang="de-DE" altLang="de-DE" sz="2400" b="1" i="0" u="none" strike="noStrike" kern="1200" cap="none" spc="0" normalizeH="0" baseline="0" noProof="0" dirty="0" err="1">
                <a:ln>
                  <a:noFill/>
                </a:ln>
                <a:solidFill>
                  <a:srgbClr val="000000"/>
                </a:solidFill>
                <a:effectLst/>
                <a:uLnTx/>
                <a:uFillTx/>
                <a:latin typeface="Arial" charset="0"/>
                <a:ea typeface="+mn-ea"/>
                <a:cs typeface="+mn-cs"/>
              </a:rPr>
              <a:t>of</a:t>
            </a:r>
            <a:r>
              <a:rPr kumimoji="0" lang="de-DE" altLang="de-DE" sz="2400" b="1" i="0" u="none" strike="noStrike" kern="1200" cap="none" spc="0" normalizeH="0" baseline="0" noProof="0" dirty="0">
                <a:ln>
                  <a:noFill/>
                </a:ln>
                <a:solidFill>
                  <a:srgbClr val="000000"/>
                </a:solidFill>
                <a:effectLst/>
                <a:uLnTx/>
                <a:uFillTx/>
                <a:latin typeface="Arial" charset="0"/>
                <a:ea typeface="+mn-ea"/>
                <a:cs typeface="+mn-cs"/>
              </a:rPr>
              <a:t> </a:t>
            </a:r>
            <a:r>
              <a:rPr kumimoji="0" lang="de-DE" altLang="de-DE" sz="2400" b="1" i="0" u="none" strike="noStrike" kern="1200" cap="none" spc="0" normalizeH="0" baseline="0" noProof="0" dirty="0" err="1">
                <a:ln>
                  <a:noFill/>
                </a:ln>
                <a:solidFill>
                  <a:srgbClr val="000000"/>
                </a:solidFill>
                <a:effectLst/>
                <a:uLnTx/>
                <a:uFillTx/>
                <a:latin typeface="Arial" charset="0"/>
                <a:ea typeface="+mn-ea"/>
                <a:cs typeface="+mn-cs"/>
              </a:rPr>
              <a:t>the</a:t>
            </a:r>
            <a:r>
              <a:rPr kumimoji="0" lang="de-DE" altLang="de-DE" sz="2400" b="1" i="0" u="none" strike="noStrike" kern="1200" cap="none" spc="0" normalizeH="0" baseline="0" noProof="0" dirty="0">
                <a:ln>
                  <a:noFill/>
                </a:ln>
                <a:solidFill>
                  <a:srgbClr val="000000"/>
                </a:solidFill>
                <a:effectLst/>
                <a:uLnTx/>
                <a:uFillTx/>
                <a:latin typeface="Arial" charset="0"/>
                <a:ea typeface="+mn-ea"/>
                <a:cs typeface="+mn-cs"/>
              </a:rPr>
              <a:t> Horizontal </a:t>
            </a:r>
            <a:r>
              <a:rPr kumimoji="0" lang="de-DE" altLang="de-DE" sz="2400" b="1" i="0" u="none" strike="noStrike" kern="1200" cap="none" spc="0" normalizeH="0" baseline="0" noProof="0" dirty="0" err="1">
                <a:ln>
                  <a:noFill/>
                </a:ln>
                <a:solidFill>
                  <a:srgbClr val="000000"/>
                </a:solidFill>
                <a:effectLst/>
                <a:uLnTx/>
                <a:uFillTx/>
                <a:latin typeface="Arial" charset="0"/>
                <a:ea typeface="+mn-ea"/>
                <a:cs typeface="+mn-cs"/>
              </a:rPr>
              <a:t>Feedwater</a:t>
            </a:r>
            <a:r>
              <a:rPr kumimoji="0" lang="de-DE" altLang="de-DE" sz="2400" b="1" i="0" u="none" strike="noStrike" kern="1200" cap="none" spc="0" normalizeH="0" baseline="0" noProof="0" dirty="0">
                <a:ln>
                  <a:noFill/>
                </a:ln>
                <a:solidFill>
                  <a:srgbClr val="000000"/>
                </a:solidFill>
                <a:effectLst/>
                <a:uLnTx/>
                <a:uFillTx/>
                <a:latin typeface="Arial" charset="0"/>
                <a:ea typeface="+mn-ea"/>
                <a:cs typeface="+mn-cs"/>
              </a:rPr>
              <a:t> Pump</a:t>
            </a:r>
          </a:p>
          <a:p>
            <a:pPr marL="361950" marR="0" lvl="0" indent="-361950" algn="l" defTabSz="914400" rtl="0" eaLnBrk="1" fontAlgn="base" latinLnBrk="0" hangingPunct="1">
              <a:lnSpc>
                <a:spcPct val="100000"/>
              </a:lnSpc>
              <a:spcBef>
                <a:spcPct val="0"/>
              </a:spcBef>
              <a:spcAft>
                <a:spcPct val="0"/>
              </a:spcAft>
              <a:buClrTx/>
              <a:buSzTx/>
              <a:buFont typeface="Wingdings" pitchFamily="2" charset="2"/>
              <a:buChar char="Ø"/>
              <a:tabLst/>
              <a:defRPr/>
            </a:pPr>
            <a:endParaRPr kumimoji="0" lang="de-DE" altLang="de-DE" sz="2400" b="1" i="0" u="none" strike="noStrike" kern="1200" cap="none" spc="0" normalizeH="0" baseline="0" noProof="0" dirty="0">
              <a:ln>
                <a:noFill/>
              </a:ln>
              <a:solidFill>
                <a:srgbClr val="000000"/>
              </a:solidFill>
              <a:effectLst/>
              <a:uLnTx/>
              <a:uFillTx/>
              <a:latin typeface="Arial" charset="0"/>
              <a:ea typeface="+mn-ea"/>
              <a:cs typeface="+mn-cs"/>
            </a:endParaRPr>
          </a:p>
          <a:p>
            <a:pPr marL="361950" marR="0" lvl="0" indent="-361950" algn="l" defTabSz="914400" rtl="0" eaLnBrk="1" fontAlgn="base" latinLnBrk="0" hangingPunct="1">
              <a:lnSpc>
                <a:spcPct val="100000"/>
              </a:lnSpc>
              <a:spcBef>
                <a:spcPct val="0"/>
              </a:spcBef>
              <a:spcAft>
                <a:spcPct val="0"/>
              </a:spcAft>
              <a:buClrTx/>
              <a:buSzTx/>
              <a:buFont typeface="Wingdings" pitchFamily="2" charset="2"/>
              <a:buChar char="Ø"/>
              <a:tabLst/>
              <a:defRPr/>
            </a:pPr>
            <a:r>
              <a:rPr kumimoji="0" lang="de-DE" altLang="de-DE" sz="2400" b="1" i="0" u="none" strike="noStrike" kern="1200" cap="none" spc="0" normalizeH="0" baseline="0" noProof="0" dirty="0">
                <a:ln>
                  <a:noFill/>
                </a:ln>
                <a:solidFill>
                  <a:srgbClr val="0000FF"/>
                </a:solidFill>
                <a:effectLst/>
                <a:uLnTx/>
                <a:uFillTx/>
                <a:latin typeface="Arial" charset="0"/>
                <a:ea typeface="+mn-ea"/>
                <a:cs typeface="+mn-cs"/>
              </a:rPr>
              <a:t>Modelling </a:t>
            </a:r>
            <a:r>
              <a:rPr kumimoji="0" lang="de-DE" altLang="de-DE" sz="2400" b="1" i="0" u="none" strike="noStrike" kern="1200" cap="none" spc="0" normalizeH="0" baseline="0" noProof="0" dirty="0" err="1">
                <a:ln>
                  <a:noFill/>
                </a:ln>
                <a:solidFill>
                  <a:srgbClr val="0000FF"/>
                </a:solidFill>
                <a:effectLst/>
                <a:uLnTx/>
                <a:uFillTx/>
                <a:latin typeface="Arial" charset="0"/>
                <a:ea typeface="+mn-ea"/>
                <a:cs typeface="+mn-cs"/>
              </a:rPr>
              <a:t>of</a:t>
            </a:r>
            <a:r>
              <a:rPr kumimoji="0" lang="de-DE" altLang="de-DE" sz="2400" b="1" i="0" u="none" strike="noStrike" kern="1200" cap="none" spc="0" normalizeH="0" baseline="0" noProof="0" dirty="0">
                <a:ln>
                  <a:noFill/>
                </a:ln>
                <a:solidFill>
                  <a:srgbClr val="0000FF"/>
                </a:solidFill>
                <a:effectLst/>
                <a:uLnTx/>
                <a:uFillTx/>
                <a:latin typeface="Arial" charset="0"/>
                <a:ea typeface="+mn-ea"/>
                <a:cs typeface="+mn-cs"/>
              </a:rPr>
              <a:t> </a:t>
            </a:r>
            <a:r>
              <a:rPr lang="de-DE" altLang="de-DE" sz="2400" noProof="0" dirty="0" err="1">
                <a:solidFill>
                  <a:srgbClr val="0000FF"/>
                </a:solidFill>
                <a:latin typeface="Arial" charset="0"/>
              </a:rPr>
              <a:t>the</a:t>
            </a:r>
            <a:r>
              <a:rPr kumimoji="0" lang="de-DE" altLang="de-DE" sz="2400" b="1" i="0" u="none" strike="noStrike" kern="1200" cap="none" spc="0" normalizeH="0" baseline="0" noProof="0" dirty="0">
                <a:ln>
                  <a:noFill/>
                </a:ln>
                <a:solidFill>
                  <a:srgbClr val="0000FF"/>
                </a:solidFill>
                <a:effectLst/>
                <a:uLnTx/>
                <a:uFillTx/>
                <a:latin typeface="Arial" charset="0"/>
                <a:ea typeface="+mn-ea"/>
                <a:cs typeface="+mn-cs"/>
              </a:rPr>
              <a:t> Horizontal </a:t>
            </a:r>
            <a:r>
              <a:rPr kumimoji="0" lang="de-DE" altLang="de-DE" sz="2400" b="1" i="0" u="none" strike="noStrike" kern="1200" cap="none" spc="0" normalizeH="0" baseline="0" noProof="0" dirty="0" err="1">
                <a:ln>
                  <a:noFill/>
                </a:ln>
                <a:solidFill>
                  <a:srgbClr val="0000FF"/>
                </a:solidFill>
                <a:effectLst/>
                <a:uLnTx/>
                <a:uFillTx/>
                <a:latin typeface="Arial" charset="0"/>
                <a:ea typeface="+mn-ea"/>
                <a:cs typeface="+mn-cs"/>
              </a:rPr>
              <a:t>Feedwater</a:t>
            </a:r>
            <a:r>
              <a:rPr kumimoji="0" lang="de-DE" altLang="de-DE" sz="2400" b="1" i="0" u="none" strike="noStrike" kern="1200" cap="none" spc="0" normalizeH="0" baseline="0" noProof="0" dirty="0">
                <a:ln>
                  <a:noFill/>
                </a:ln>
                <a:solidFill>
                  <a:srgbClr val="0000FF"/>
                </a:solidFill>
                <a:effectLst/>
                <a:uLnTx/>
                <a:uFillTx/>
                <a:latin typeface="Arial" charset="0"/>
                <a:ea typeface="+mn-ea"/>
                <a:cs typeface="+mn-cs"/>
              </a:rPr>
              <a:t> Pump </a:t>
            </a:r>
            <a:r>
              <a:rPr kumimoji="0" lang="de-DE" altLang="de-DE" sz="2400" b="1" i="0" u="none" strike="noStrike" kern="1200" cap="none" spc="0" normalizeH="0" baseline="0" noProof="0" dirty="0" err="1">
                <a:ln>
                  <a:noFill/>
                </a:ln>
                <a:solidFill>
                  <a:srgbClr val="0000FF"/>
                </a:solidFill>
                <a:effectLst/>
                <a:uLnTx/>
                <a:uFillTx/>
                <a:latin typeface="Arial" charset="0"/>
                <a:ea typeface="+mn-ea"/>
                <a:cs typeface="+mn-cs"/>
              </a:rPr>
              <a:t>with</a:t>
            </a:r>
            <a:r>
              <a:rPr kumimoji="0" lang="de-DE" altLang="de-DE" sz="2400" b="1" i="0" u="none" strike="noStrike" kern="1200" cap="none" spc="0" normalizeH="0" baseline="0" noProof="0" dirty="0">
                <a:ln>
                  <a:noFill/>
                </a:ln>
                <a:solidFill>
                  <a:srgbClr val="0000FF"/>
                </a:solidFill>
                <a:effectLst/>
                <a:uLnTx/>
                <a:uFillTx/>
                <a:latin typeface="Arial" charset="0"/>
                <a:ea typeface="+mn-ea"/>
                <a:cs typeface="+mn-cs"/>
              </a:rPr>
              <a:t> Interactions</a:t>
            </a:r>
          </a:p>
          <a:p>
            <a:pPr marL="0" marR="0" lvl="0" indent="0" algn="l" defTabSz="914400" rtl="0" eaLnBrk="1" fontAlgn="base" latinLnBrk="0" hangingPunct="1">
              <a:lnSpc>
                <a:spcPct val="100000"/>
              </a:lnSpc>
              <a:spcBef>
                <a:spcPct val="0"/>
              </a:spcBef>
              <a:spcAft>
                <a:spcPct val="0"/>
              </a:spcAft>
              <a:buClrTx/>
              <a:buSzTx/>
              <a:tabLst/>
              <a:defRPr/>
            </a:pPr>
            <a:endParaRPr kumimoji="0" lang="de-DE" altLang="de-DE" sz="2400" b="1" i="0" u="none" strike="noStrike" kern="1200" cap="none" spc="0" normalizeH="0" baseline="0" noProof="0" dirty="0">
              <a:ln>
                <a:noFill/>
              </a:ln>
              <a:solidFill>
                <a:srgbClr val="000000"/>
              </a:solidFill>
              <a:effectLst/>
              <a:uLnTx/>
              <a:uFillTx/>
              <a:latin typeface="Arial" charset="0"/>
              <a:ea typeface="+mn-ea"/>
              <a:cs typeface="+mn-cs"/>
            </a:endParaRPr>
          </a:p>
          <a:p>
            <a:pPr marL="361950" marR="0" lvl="0" indent="-361950" algn="l" defTabSz="914400" rtl="0" eaLnBrk="1" fontAlgn="base" latinLnBrk="0" hangingPunct="1">
              <a:lnSpc>
                <a:spcPct val="100000"/>
              </a:lnSpc>
              <a:spcBef>
                <a:spcPct val="0"/>
              </a:spcBef>
              <a:spcAft>
                <a:spcPct val="0"/>
              </a:spcAft>
              <a:buClrTx/>
              <a:buSzTx/>
              <a:buFont typeface="Wingdings" pitchFamily="2" charset="2"/>
              <a:buChar char="Ø"/>
              <a:tabLst/>
              <a:defRPr/>
            </a:pPr>
            <a:r>
              <a:rPr kumimoji="0" lang="de-DE" altLang="de-DE" sz="2400" b="1" i="0" u="none" strike="noStrike" kern="1200" cap="none" spc="0" normalizeH="0" baseline="0" noProof="0" dirty="0">
                <a:ln>
                  <a:noFill/>
                </a:ln>
                <a:solidFill>
                  <a:srgbClr val="000000"/>
                </a:solidFill>
                <a:effectLst/>
                <a:uLnTx/>
                <a:uFillTx/>
                <a:latin typeface="Arial" charset="0"/>
                <a:ea typeface="+mn-ea"/>
                <a:cs typeface="+mn-cs"/>
              </a:rPr>
              <a:t>Monitoring </a:t>
            </a:r>
            <a:r>
              <a:rPr kumimoji="0" lang="de-DE" altLang="de-DE" sz="2400" b="1" i="0" u="none" strike="noStrike" kern="1200" cap="none" spc="0" normalizeH="0" baseline="0" noProof="0" dirty="0" err="1">
                <a:ln>
                  <a:noFill/>
                </a:ln>
                <a:solidFill>
                  <a:srgbClr val="000000"/>
                </a:solidFill>
                <a:effectLst/>
                <a:uLnTx/>
                <a:uFillTx/>
                <a:latin typeface="Arial" charset="0"/>
                <a:ea typeface="+mn-ea"/>
                <a:cs typeface="+mn-cs"/>
              </a:rPr>
              <a:t>of</a:t>
            </a:r>
            <a:r>
              <a:rPr kumimoji="0" lang="de-DE" altLang="de-DE" sz="2400" b="1" i="0" u="none" strike="noStrike" kern="1200" cap="none" spc="0" normalizeH="0" baseline="0" noProof="0" dirty="0">
                <a:ln>
                  <a:noFill/>
                </a:ln>
                <a:solidFill>
                  <a:srgbClr val="000000"/>
                </a:solidFill>
                <a:effectLst/>
                <a:uLnTx/>
                <a:uFillTx/>
                <a:latin typeface="Arial" charset="0"/>
                <a:ea typeface="+mn-ea"/>
                <a:cs typeface="+mn-cs"/>
              </a:rPr>
              <a:t> </a:t>
            </a:r>
            <a:r>
              <a:rPr lang="de-DE" altLang="de-DE" sz="2400" dirty="0" err="1">
                <a:solidFill>
                  <a:srgbClr val="000000"/>
                </a:solidFill>
                <a:latin typeface="Arial" charset="0"/>
              </a:rPr>
              <a:t>the</a:t>
            </a:r>
            <a:r>
              <a:rPr kumimoji="0" lang="de-DE" altLang="de-DE" sz="2400" b="1" i="0" u="none" strike="noStrike" kern="1200" cap="none" spc="0" normalizeH="0" baseline="0" noProof="0" dirty="0">
                <a:ln>
                  <a:noFill/>
                </a:ln>
                <a:solidFill>
                  <a:srgbClr val="000000"/>
                </a:solidFill>
                <a:effectLst/>
                <a:uLnTx/>
                <a:uFillTx/>
                <a:latin typeface="Arial" charset="0"/>
                <a:ea typeface="+mn-ea"/>
                <a:cs typeface="+mn-cs"/>
              </a:rPr>
              <a:t> Horizontal </a:t>
            </a:r>
            <a:r>
              <a:rPr kumimoji="0" lang="de-DE" altLang="de-DE" sz="2400" b="1" i="0" u="none" strike="noStrike" kern="1200" cap="none" spc="0" normalizeH="0" baseline="0" noProof="0" dirty="0" err="1">
                <a:ln>
                  <a:noFill/>
                </a:ln>
                <a:solidFill>
                  <a:srgbClr val="000000"/>
                </a:solidFill>
                <a:effectLst/>
                <a:uLnTx/>
                <a:uFillTx/>
                <a:latin typeface="Arial" charset="0"/>
                <a:ea typeface="+mn-ea"/>
                <a:cs typeface="+mn-cs"/>
              </a:rPr>
              <a:t>Feedwater</a:t>
            </a:r>
            <a:r>
              <a:rPr kumimoji="0" lang="de-DE" altLang="de-DE" sz="2400" b="1" i="0" u="none" strike="noStrike" kern="1200" cap="none" spc="0" normalizeH="0" baseline="0" noProof="0" dirty="0">
                <a:ln>
                  <a:noFill/>
                </a:ln>
                <a:solidFill>
                  <a:srgbClr val="000000"/>
                </a:solidFill>
                <a:effectLst/>
                <a:uLnTx/>
                <a:uFillTx/>
                <a:latin typeface="Arial" charset="0"/>
                <a:ea typeface="+mn-ea"/>
                <a:cs typeface="+mn-cs"/>
              </a:rPr>
              <a:t> Pump OL3 </a:t>
            </a:r>
            <a:r>
              <a:rPr kumimoji="0" lang="de-DE" altLang="de-DE" sz="2400" b="1" i="0" u="none" strike="noStrike" kern="1200" cap="none" spc="0" normalizeH="0" baseline="0" noProof="0" dirty="0" err="1">
                <a:ln>
                  <a:noFill/>
                </a:ln>
                <a:solidFill>
                  <a:srgbClr val="000000"/>
                </a:solidFill>
                <a:effectLst/>
                <a:uLnTx/>
                <a:uFillTx/>
                <a:latin typeface="Arial" charset="0"/>
                <a:ea typeface="+mn-ea"/>
                <a:cs typeface="+mn-cs"/>
              </a:rPr>
              <a:t>during</a:t>
            </a:r>
            <a:r>
              <a:rPr kumimoji="0" lang="de-DE" altLang="de-DE" sz="2400" b="1" i="0" u="none" strike="noStrike" kern="1200" cap="none" spc="0" normalizeH="0" baseline="0" noProof="0" dirty="0">
                <a:ln>
                  <a:noFill/>
                </a:ln>
                <a:solidFill>
                  <a:srgbClr val="000000"/>
                </a:solidFill>
                <a:effectLst/>
                <a:uLnTx/>
                <a:uFillTx/>
                <a:latin typeface="Arial" charset="0"/>
                <a:ea typeface="+mn-ea"/>
                <a:cs typeface="+mn-cs"/>
              </a:rPr>
              <a:t> Operation</a:t>
            </a:r>
          </a:p>
          <a:p>
            <a:pPr marL="0" marR="0" lvl="0" indent="0" algn="l" defTabSz="914400" rtl="0" eaLnBrk="1" fontAlgn="base" latinLnBrk="0" hangingPunct="1">
              <a:lnSpc>
                <a:spcPct val="100000"/>
              </a:lnSpc>
              <a:spcBef>
                <a:spcPct val="0"/>
              </a:spcBef>
              <a:spcAft>
                <a:spcPct val="0"/>
              </a:spcAft>
              <a:buClrTx/>
              <a:buSzTx/>
              <a:tabLst/>
              <a:defRPr/>
            </a:pPr>
            <a:endParaRPr kumimoji="0" lang="de-DE" altLang="de-DE" sz="2400" b="1" i="0" u="none" strike="noStrike" kern="1200" cap="none" spc="0" normalizeH="0" baseline="0" noProof="0" dirty="0">
              <a:ln>
                <a:noFill/>
              </a:ln>
              <a:solidFill>
                <a:srgbClr val="000000"/>
              </a:solidFill>
              <a:effectLst/>
              <a:uLnTx/>
              <a:uFillTx/>
              <a:latin typeface="Arial" charset="0"/>
              <a:ea typeface="+mn-ea"/>
              <a:cs typeface="+mn-cs"/>
            </a:endParaRPr>
          </a:p>
          <a:p>
            <a:pPr marL="361950" marR="0" lvl="0" indent="-361950" algn="l" defTabSz="914400" rtl="0" eaLnBrk="1" fontAlgn="base" latinLnBrk="0" hangingPunct="1">
              <a:lnSpc>
                <a:spcPct val="100000"/>
              </a:lnSpc>
              <a:spcBef>
                <a:spcPct val="0"/>
              </a:spcBef>
              <a:spcAft>
                <a:spcPct val="0"/>
              </a:spcAft>
              <a:buClrTx/>
              <a:buSzTx/>
              <a:buFont typeface="Wingdings" pitchFamily="2" charset="2"/>
              <a:buChar char="Ø"/>
              <a:tabLst/>
              <a:defRPr/>
            </a:pPr>
            <a:r>
              <a:rPr kumimoji="0" lang="de-DE" altLang="de-DE" sz="2400" b="1" i="0" u="none" strike="noStrike" kern="1200" cap="none" spc="0" normalizeH="0" baseline="0" noProof="0" dirty="0">
                <a:ln>
                  <a:noFill/>
                </a:ln>
                <a:solidFill>
                  <a:srgbClr val="000000"/>
                </a:solidFill>
                <a:effectLst/>
                <a:uLnTx/>
                <a:uFillTx/>
                <a:latin typeface="Arial" charset="0"/>
                <a:ea typeface="+mn-ea"/>
                <a:cs typeface="+mn-cs"/>
              </a:rPr>
              <a:t>Vibration</a:t>
            </a:r>
            <a:r>
              <a:rPr kumimoji="0" lang="de-DE" altLang="de-DE" sz="2400" b="1" i="0" u="none" strike="noStrike" kern="1200" cap="none" spc="0" normalizeH="0" noProof="0" dirty="0">
                <a:ln>
                  <a:noFill/>
                </a:ln>
                <a:solidFill>
                  <a:srgbClr val="000000"/>
                </a:solidFill>
                <a:effectLst/>
                <a:uLnTx/>
                <a:uFillTx/>
                <a:latin typeface="Arial" charset="0"/>
                <a:ea typeface="+mn-ea"/>
                <a:cs typeface="+mn-cs"/>
              </a:rPr>
              <a:t> </a:t>
            </a:r>
            <a:r>
              <a:rPr kumimoji="0" lang="de-DE" altLang="de-DE" sz="2400" b="1" i="0" u="none" strike="noStrike" kern="1200" cap="none" spc="0" normalizeH="0" noProof="0" dirty="0" err="1">
                <a:ln>
                  <a:noFill/>
                </a:ln>
                <a:solidFill>
                  <a:srgbClr val="000000"/>
                </a:solidFill>
                <a:effectLst/>
                <a:uLnTx/>
                <a:uFillTx/>
                <a:latin typeface="Arial" charset="0"/>
                <a:ea typeface="+mn-ea"/>
                <a:cs typeface="+mn-cs"/>
              </a:rPr>
              <a:t>Phenomena</a:t>
            </a:r>
            <a:r>
              <a:rPr kumimoji="0" lang="de-DE" altLang="de-DE" sz="2400" b="1" i="0" u="none" strike="noStrike" kern="1200" cap="none" spc="0" normalizeH="0" noProof="0" dirty="0">
                <a:ln>
                  <a:noFill/>
                </a:ln>
                <a:solidFill>
                  <a:srgbClr val="000000"/>
                </a:solidFill>
                <a:effectLst/>
                <a:uLnTx/>
                <a:uFillTx/>
                <a:latin typeface="Arial" charset="0"/>
                <a:ea typeface="+mn-ea"/>
                <a:cs typeface="+mn-cs"/>
              </a:rPr>
              <a:t> </a:t>
            </a:r>
            <a:r>
              <a:rPr kumimoji="0" lang="de-DE" altLang="de-DE" sz="2400" b="1" i="0" u="none" strike="noStrike" kern="1200" cap="none" spc="0" normalizeH="0" noProof="0" dirty="0" err="1">
                <a:ln>
                  <a:noFill/>
                </a:ln>
                <a:solidFill>
                  <a:srgbClr val="000000"/>
                </a:solidFill>
                <a:effectLst/>
                <a:uLnTx/>
                <a:uFillTx/>
                <a:latin typeface="Arial" charset="0"/>
                <a:ea typeface="+mn-ea"/>
                <a:cs typeface="+mn-cs"/>
              </a:rPr>
              <a:t>of</a:t>
            </a:r>
            <a:r>
              <a:rPr kumimoji="0" lang="de-DE" altLang="de-DE" sz="2400" b="1" i="0" u="none" strike="noStrike" kern="1200" cap="none" spc="0" normalizeH="0" noProof="0" dirty="0">
                <a:ln>
                  <a:noFill/>
                </a:ln>
                <a:solidFill>
                  <a:srgbClr val="000000"/>
                </a:solidFill>
                <a:effectLst/>
                <a:uLnTx/>
                <a:uFillTx/>
                <a:latin typeface="Arial" charset="0"/>
                <a:ea typeface="+mn-ea"/>
                <a:cs typeface="+mn-cs"/>
              </a:rPr>
              <a:t> </a:t>
            </a:r>
            <a:r>
              <a:rPr kumimoji="0" lang="de-DE" altLang="de-DE" sz="2400" b="1" i="0" u="none" strike="noStrike" kern="1200" cap="none" spc="0" normalizeH="0" noProof="0" dirty="0" err="1">
                <a:ln>
                  <a:noFill/>
                </a:ln>
                <a:solidFill>
                  <a:srgbClr val="000000"/>
                </a:solidFill>
                <a:effectLst/>
                <a:uLnTx/>
                <a:uFillTx/>
                <a:latin typeface="Arial" charset="0"/>
                <a:ea typeface="+mn-ea"/>
                <a:cs typeface="+mn-cs"/>
              </a:rPr>
              <a:t>the</a:t>
            </a:r>
            <a:r>
              <a:rPr kumimoji="0" lang="de-DE" altLang="de-DE" sz="2400" b="1" i="0" u="none" strike="noStrike" kern="1200" cap="none" spc="0" normalizeH="0" noProof="0" dirty="0">
                <a:ln>
                  <a:noFill/>
                </a:ln>
                <a:solidFill>
                  <a:srgbClr val="000000"/>
                </a:solidFill>
                <a:effectLst/>
                <a:uLnTx/>
                <a:uFillTx/>
                <a:latin typeface="Arial" charset="0"/>
                <a:ea typeface="+mn-ea"/>
                <a:cs typeface="+mn-cs"/>
              </a:rPr>
              <a:t> Horizontal </a:t>
            </a:r>
            <a:r>
              <a:rPr kumimoji="0" lang="de-DE" altLang="de-DE" sz="2400" b="1" i="0" u="none" strike="noStrike" kern="1200" cap="none" spc="0" normalizeH="0" noProof="0" dirty="0" err="1">
                <a:ln>
                  <a:noFill/>
                </a:ln>
                <a:solidFill>
                  <a:srgbClr val="000000"/>
                </a:solidFill>
                <a:effectLst/>
                <a:uLnTx/>
                <a:uFillTx/>
                <a:latin typeface="Arial" charset="0"/>
                <a:ea typeface="+mn-ea"/>
                <a:cs typeface="+mn-cs"/>
              </a:rPr>
              <a:t>Feedwater</a:t>
            </a:r>
            <a:r>
              <a:rPr kumimoji="0" lang="de-DE" altLang="de-DE" sz="2400" b="1" i="0" u="none" strike="noStrike" kern="1200" cap="none" spc="0" normalizeH="0" noProof="0" dirty="0">
                <a:ln>
                  <a:noFill/>
                </a:ln>
                <a:solidFill>
                  <a:srgbClr val="000000"/>
                </a:solidFill>
                <a:effectLst/>
                <a:uLnTx/>
                <a:uFillTx/>
                <a:latin typeface="Arial" charset="0"/>
                <a:ea typeface="+mn-ea"/>
                <a:cs typeface="+mn-cs"/>
              </a:rPr>
              <a:t> Pump OL3</a:t>
            </a:r>
          </a:p>
          <a:p>
            <a:pPr marL="361950" marR="0" lvl="0" indent="-361950" algn="l" defTabSz="914400" rtl="0" eaLnBrk="1" fontAlgn="base" latinLnBrk="0" hangingPunct="1">
              <a:lnSpc>
                <a:spcPct val="100000"/>
              </a:lnSpc>
              <a:spcBef>
                <a:spcPct val="0"/>
              </a:spcBef>
              <a:spcAft>
                <a:spcPct val="0"/>
              </a:spcAft>
              <a:buClrTx/>
              <a:buSzTx/>
              <a:buFont typeface="Wingdings" pitchFamily="2" charset="2"/>
              <a:buChar char="Ø"/>
              <a:tabLst/>
              <a:defRPr/>
            </a:pPr>
            <a:endParaRPr lang="de-DE" altLang="de-DE" sz="2400" dirty="0">
              <a:solidFill>
                <a:srgbClr val="000000"/>
              </a:solidFill>
              <a:latin typeface="Arial" charset="0"/>
            </a:endParaRPr>
          </a:p>
          <a:p>
            <a:pPr marL="361950" marR="0" lvl="0" indent="-361950" algn="l" defTabSz="914400" rtl="0" eaLnBrk="1" fontAlgn="base" latinLnBrk="0" hangingPunct="1">
              <a:lnSpc>
                <a:spcPct val="100000"/>
              </a:lnSpc>
              <a:spcBef>
                <a:spcPct val="0"/>
              </a:spcBef>
              <a:spcAft>
                <a:spcPct val="0"/>
              </a:spcAft>
              <a:buClrTx/>
              <a:buSzTx/>
              <a:buFont typeface="Wingdings" pitchFamily="2" charset="2"/>
              <a:buChar char="Ø"/>
              <a:tabLst/>
              <a:defRPr/>
            </a:pPr>
            <a:r>
              <a:rPr kumimoji="0" lang="de-DE" altLang="de-DE" sz="2400" b="1" i="0" u="none" strike="noStrike" kern="1200" cap="none" spc="0" normalizeH="0" noProof="0" dirty="0" err="1">
                <a:ln>
                  <a:noFill/>
                </a:ln>
                <a:solidFill>
                  <a:srgbClr val="000000"/>
                </a:solidFill>
                <a:effectLst/>
                <a:uLnTx/>
                <a:uFillTx/>
                <a:latin typeface="Arial" charset="0"/>
                <a:ea typeface="+mn-ea"/>
                <a:cs typeface="+mn-cs"/>
              </a:rPr>
              <a:t>Measured</a:t>
            </a:r>
            <a:r>
              <a:rPr kumimoji="0" lang="de-DE" altLang="de-DE" sz="2400" b="1" i="0" u="none" strike="noStrike" kern="1200" cap="none" spc="0" normalizeH="0" noProof="0" dirty="0">
                <a:ln>
                  <a:noFill/>
                </a:ln>
                <a:solidFill>
                  <a:srgbClr val="000000"/>
                </a:solidFill>
                <a:effectLst/>
                <a:uLnTx/>
                <a:uFillTx/>
                <a:latin typeface="Arial" charset="0"/>
                <a:ea typeface="+mn-ea"/>
                <a:cs typeface="+mn-cs"/>
              </a:rPr>
              <a:t> and </a:t>
            </a:r>
            <a:r>
              <a:rPr kumimoji="0" lang="de-DE" altLang="de-DE" sz="2400" b="1" i="0" u="none" strike="noStrike" kern="1200" cap="none" spc="0" normalizeH="0" noProof="0" dirty="0" err="1">
                <a:ln>
                  <a:noFill/>
                </a:ln>
                <a:solidFill>
                  <a:srgbClr val="000000"/>
                </a:solidFill>
                <a:effectLst/>
                <a:uLnTx/>
                <a:uFillTx/>
                <a:latin typeface="Arial" charset="0"/>
                <a:ea typeface="+mn-ea"/>
                <a:cs typeface="+mn-cs"/>
              </a:rPr>
              <a:t>Calculated</a:t>
            </a:r>
            <a:r>
              <a:rPr kumimoji="0" lang="de-DE" altLang="de-DE" sz="2400" b="1" i="0" u="none" strike="noStrike" kern="1200" cap="none" spc="0" normalizeH="0" noProof="0" dirty="0">
                <a:ln>
                  <a:noFill/>
                </a:ln>
                <a:solidFill>
                  <a:srgbClr val="000000"/>
                </a:solidFill>
                <a:effectLst/>
                <a:uLnTx/>
                <a:uFillTx/>
                <a:latin typeface="Arial" charset="0"/>
                <a:ea typeface="+mn-ea"/>
                <a:cs typeface="+mn-cs"/>
              </a:rPr>
              <a:t> </a:t>
            </a:r>
            <a:r>
              <a:rPr kumimoji="0" lang="de-DE" altLang="de-DE" sz="2400" b="1" i="0" u="none" strike="noStrike" kern="1200" cap="none" spc="0" normalizeH="0" noProof="0" dirty="0" err="1">
                <a:ln>
                  <a:noFill/>
                </a:ln>
                <a:solidFill>
                  <a:srgbClr val="000000"/>
                </a:solidFill>
                <a:effectLst/>
                <a:uLnTx/>
                <a:uFillTx/>
                <a:latin typeface="Arial" charset="0"/>
                <a:ea typeface="+mn-ea"/>
                <a:cs typeface="+mn-cs"/>
              </a:rPr>
              <a:t>Vibrations</a:t>
            </a:r>
            <a:r>
              <a:rPr kumimoji="0" lang="de-DE" altLang="de-DE" sz="2400" b="1" i="0" u="none" strike="noStrike" kern="1200" cap="none" spc="0" normalizeH="0" noProof="0" dirty="0">
                <a:ln>
                  <a:noFill/>
                </a:ln>
                <a:solidFill>
                  <a:srgbClr val="000000"/>
                </a:solidFill>
                <a:effectLst/>
                <a:uLnTx/>
                <a:uFillTx/>
                <a:latin typeface="Arial" charset="0"/>
                <a:ea typeface="+mn-ea"/>
                <a:cs typeface="+mn-cs"/>
              </a:rPr>
              <a:t> </a:t>
            </a:r>
            <a:r>
              <a:rPr kumimoji="0" lang="de-DE" altLang="de-DE" sz="2400" b="1" i="0" u="none" strike="noStrike" kern="1200" cap="none" spc="0" normalizeH="0" noProof="0" dirty="0" err="1">
                <a:ln>
                  <a:noFill/>
                </a:ln>
                <a:solidFill>
                  <a:srgbClr val="000000"/>
                </a:solidFill>
                <a:effectLst/>
                <a:uLnTx/>
                <a:uFillTx/>
                <a:latin typeface="Arial" charset="0"/>
                <a:ea typeface="+mn-ea"/>
                <a:cs typeface="+mn-cs"/>
              </a:rPr>
              <a:t>of</a:t>
            </a:r>
            <a:r>
              <a:rPr kumimoji="0" lang="de-DE" altLang="de-DE" sz="2400" b="1" i="0" u="none" strike="noStrike" kern="1200" cap="none" spc="0" normalizeH="0" noProof="0" dirty="0">
                <a:ln>
                  <a:noFill/>
                </a:ln>
                <a:solidFill>
                  <a:srgbClr val="000000"/>
                </a:solidFill>
                <a:effectLst/>
                <a:uLnTx/>
                <a:uFillTx/>
                <a:latin typeface="Arial" charset="0"/>
                <a:ea typeface="+mn-ea"/>
                <a:cs typeface="+mn-cs"/>
              </a:rPr>
              <a:t> </a:t>
            </a:r>
            <a:r>
              <a:rPr kumimoji="0" lang="de-DE" altLang="de-DE" sz="2400" b="1" i="0" u="none" strike="noStrike" kern="1200" cap="none" spc="0" normalizeH="0" noProof="0" dirty="0" err="1">
                <a:ln>
                  <a:noFill/>
                </a:ln>
                <a:solidFill>
                  <a:srgbClr val="000000"/>
                </a:solidFill>
                <a:effectLst/>
                <a:uLnTx/>
                <a:uFillTx/>
                <a:latin typeface="Arial" charset="0"/>
                <a:ea typeface="+mn-ea"/>
                <a:cs typeface="+mn-cs"/>
              </a:rPr>
              <a:t>the</a:t>
            </a:r>
            <a:r>
              <a:rPr kumimoji="0" lang="de-DE" altLang="de-DE" sz="2400" b="1" i="0" u="none" strike="noStrike" kern="1200" cap="none" spc="0" normalizeH="0" noProof="0" dirty="0">
                <a:ln>
                  <a:noFill/>
                </a:ln>
                <a:solidFill>
                  <a:srgbClr val="000000"/>
                </a:solidFill>
                <a:effectLst/>
                <a:uLnTx/>
                <a:uFillTx/>
                <a:latin typeface="Arial" charset="0"/>
                <a:ea typeface="+mn-ea"/>
                <a:cs typeface="+mn-cs"/>
              </a:rPr>
              <a:t> </a:t>
            </a:r>
            <a:r>
              <a:rPr kumimoji="0" lang="de-DE" altLang="de-DE" sz="2400" b="1" i="0" u="none" strike="noStrike" kern="1200" cap="none" spc="0" normalizeH="0" noProof="0" dirty="0" err="1">
                <a:ln>
                  <a:noFill/>
                </a:ln>
                <a:solidFill>
                  <a:srgbClr val="000000"/>
                </a:solidFill>
                <a:effectLst/>
                <a:uLnTx/>
                <a:uFillTx/>
                <a:latin typeface="Arial" charset="0"/>
                <a:ea typeface="+mn-ea"/>
                <a:cs typeface="+mn-cs"/>
              </a:rPr>
              <a:t>Feedwater</a:t>
            </a:r>
            <a:r>
              <a:rPr kumimoji="0" lang="de-DE" altLang="de-DE" sz="2400" b="1" i="0" u="none" strike="noStrike" kern="1200" cap="none" spc="0" normalizeH="0" noProof="0" dirty="0">
                <a:ln>
                  <a:noFill/>
                </a:ln>
                <a:solidFill>
                  <a:srgbClr val="000000"/>
                </a:solidFill>
                <a:effectLst/>
                <a:uLnTx/>
                <a:uFillTx/>
                <a:latin typeface="Arial" charset="0"/>
                <a:ea typeface="+mn-ea"/>
                <a:cs typeface="+mn-cs"/>
              </a:rPr>
              <a:t> Pump OL3</a:t>
            </a:r>
          </a:p>
          <a:p>
            <a:pPr marL="361950" marR="0" lvl="0" indent="-361950" algn="l" defTabSz="914400" rtl="0" eaLnBrk="1" fontAlgn="base" latinLnBrk="0" hangingPunct="1">
              <a:lnSpc>
                <a:spcPct val="100000"/>
              </a:lnSpc>
              <a:spcBef>
                <a:spcPct val="0"/>
              </a:spcBef>
              <a:spcAft>
                <a:spcPct val="0"/>
              </a:spcAft>
              <a:buClrTx/>
              <a:buSzTx/>
              <a:buFont typeface="Wingdings" pitchFamily="2" charset="2"/>
              <a:buChar char="Ø"/>
              <a:tabLst/>
              <a:defRPr/>
            </a:pPr>
            <a:endParaRPr lang="de-DE" altLang="de-DE" sz="2400" baseline="0" dirty="0">
              <a:solidFill>
                <a:srgbClr val="000000"/>
              </a:solidFill>
              <a:latin typeface="Arial" charset="0"/>
            </a:endParaRPr>
          </a:p>
          <a:p>
            <a:pPr marL="0" marR="0" lvl="0" indent="0" algn="l" defTabSz="914400" rtl="0" eaLnBrk="1" fontAlgn="base" latinLnBrk="0" hangingPunct="1">
              <a:lnSpc>
                <a:spcPct val="100000"/>
              </a:lnSpc>
              <a:spcBef>
                <a:spcPct val="0"/>
              </a:spcBef>
              <a:spcAft>
                <a:spcPct val="0"/>
              </a:spcAft>
              <a:buClrTx/>
              <a:buSzTx/>
              <a:tabLst/>
              <a:defRPr/>
            </a:pPr>
            <a:endParaRPr lang="de-DE" altLang="de-DE" sz="2400" baseline="0" dirty="0">
              <a:solidFill>
                <a:srgbClr val="000000"/>
              </a:solidFill>
              <a:latin typeface="Arial" charset="0"/>
            </a:endParaRPr>
          </a:p>
        </p:txBody>
      </p:sp>
      <p:sp>
        <p:nvSpPr>
          <p:cNvPr id="47108" name="Rechteck 1">
            <a:extLst>
              <a:ext uri="{FF2B5EF4-FFF2-40B4-BE49-F238E27FC236}">
                <a16:creationId xmlns:a16="http://schemas.microsoft.com/office/drawing/2014/main" id="{73D62BC3-6968-894E-0025-EA65A3EC0C0F}"/>
              </a:ext>
            </a:extLst>
          </p:cNvPr>
          <p:cNvSpPr>
            <a:spLocks noChangeArrowheads="1"/>
          </p:cNvSpPr>
          <p:nvPr/>
        </p:nvSpPr>
        <p:spPr bwMode="auto">
          <a:xfrm>
            <a:off x="688208" y="266785"/>
            <a:ext cx="10815584" cy="4893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b="1">
                <a:solidFill>
                  <a:schemeClr val="tx1"/>
                </a:solidFill>
                <a:latin typeface="Verdana" panose="020B0604030504040204" pitchFamily="34" charset="0"/>
              </a:defRPr>
            </a:lvl1pPr>
            <a:lvl2pPr marL="742950" indent="-285750">
              <a:defRPr b="1">
                <a:solidFill>
                  <a:schemeClr val="tx1"/>
                </a:solidFill>
                <a:latin typeface="Verdana" panose="020B0604030504040204" pitchFamily="34" charset="0"/>
              </a:defRPr>
            </a:lvl2pPr>
            <a:lvl3pPr marL="1143000" indent="-228600">
              <a:defRPr b="1">
                <a:solidFill>
                  <a:schemeClr val="tx1"/>
                </a:solidFill>
                <a:latin typeface="Verdana" panose="020B0604030504040204" pitchFamily="34" charset="0"/>
              </a:defRPr>
            </a:lvl3pPr>
            <a:lvl4pPr marL="1600200" indent="-228600">
              <a:defRPr b="1">
                <a:solidFill>
                  <a:schemeClr val="tx1"/>
                </a:solidFill>
                <a:latin typeface="Verdana" panose="020B0604030504040204" pitchFamily="34" charset="0"/>
              </a:defRPr>
            </a:lvl4pPr>
            <a:lvl5pPr marL="2057400" indent="-228600">
              <a:defRPr b="1">
                <a:solidFill>
                  <a:schemeClr val="tx1"/>
                </a:solidFill>
                <a:latin typeface="Verdana" panose="020B0604030504040204" pitchFamily="34" charset="0"/>
              </a:defRPr>
            </a:lvl5pPr>
            <a:lvl6pPr marL="2514600" indent="-228600" eaLnBrk="0" fontAlgn="base" hangingPunct="0">
              <a:spcBef>
                <a:spcPct val="0"/>
              </a:spcBef>
              <a:spcAft>
                <a:spcPct val="0"/>
              </a:spcAft>
              <a:defRPr b="1">
                <a:solidFill>
                  <a:schemeClr val="tx1"/>
                </a:solidFill>
                <a:latin typeface="Verdana" panose="020B0604030504040204" pitchFamily="34" charset="0"/>
              </a:defRPr>
            </a:lvl6pPr>
            <a:lvl7pPr marL="2971800" indent="-228600" eaLnBrk="0" fontAlgn="base" hangingPunct="0">
              <a:spcBef>
                <a:spcPct val="0"/>
              </a:spcBef>
              <a:spcAft>
                <a:spcPct val="0"/>
              </a:spcAft>
              <a:defRPr b="1">
                <a:solidFill>
                  <a:schemeClr val="tx1"/>
                </a:solidFill>
                <a:latin typeface="Verdana" panose="020B0604030504040204" pitchFamily="34" charset="0"/>
              </a:defRPr>
            </a:lvl7pPr>
            <a:lvl8pPr marL="3429000" indent="-228600" eaLnBrk="0" fontAlgn="base" hangingPunct="0">
              <a:spcBef>
                <a:spcPct val="0"/>
              </a:spcBef>
              <a:spcAft>
                <a:spcPct val="0"/>
              </a:spcAft>
              <a:defRPr b="1">
                <a:solidFill>
                  <a:schemeClr val="tx1"/>
                </a:solidFill>
                <a:latin typeface="Verdana" panose="020B0604030504040204" pitchFamily="34" charset="0"/>
              </a:defRPr>
            </a:lvl8pPr>
            <a:lvl9pPr marL="3886200" indent="-228600" eaLnBrk="0" fontAlgn="base" hangingPunct="0">
              <a:spcBef>
                <a:spcPct val="0"/>
              </a:spcBef>
              <a:spcAft>
                <a:spcPct val="0"/>
              </a:spcAft>
              <a:defRPr b="1">
                <a:solidFill>
                  <a:schemeClr val="tx1"/>
                </a:solidFill>
                <a:latin typeface="Verdana" panose="020B0604030504040204" pitchFamily="34" charset="0"/>
              </a:defRPr>
            </a:lvl9pPr>
          </a:lstStyle>
          <a:p>
            <a:pPr marL="0" marR="0" lvl="0" indent="0" algn="l" defTabSz="914400" rtl="0" eaLnBrk="0" fontAlgn="base" latinLnBrk="0" hangingPunct="0">
              <a:lnSpc>
                <a:spcPct val="107000"/>
              </a:lnSpc>
              <a:spcBef>
                <a:spcPct val="0"/>
              </a:spcBef>
              <a:spcAft>
                <a:spcPts val="800"/>
              </a:spcAft>
              <a:buClrTx/>
              <a:buSzTx/>
              <a:buFont typeface="Wingdings" panose="05000000000000000000" pitchFamily="2" charset="2"/>
              <a:buNone/>
              <a:tabLst/>
              <a:defRPr/>
            </a:pPr>
            <a:r>
              <a:rPr kumimoji="0" lang="de-DE" altLang="de-DE" sz="2600" b="1" i="0" u="none" strike="noStrike" kern="1200" cap="none" spc="0" normalizeH="0" baseline="0" noProof="0" dirty="0" err="1">
                <a:ln>
                  <a:noFill/>
                </a:ln>
                <a:solidFill>
                  <a:srgbClr val="000000"/>
                </a:solidFill>
                <a:effectLst/>
                <a:uLnTx/>
                <a:uFillTx/>
                <a:latin typeface="Arial"/>
                <a:ea typeface="+mn-ea"/>
                <a:cs typeface="+mn-cs"/>
              </a:rPr>
              <a:t>Lecture</a:t>
            </a:r>
            <a:r>
              <a:rPr kumimoji="0" lang="de-DE" altLang="de-DE" sz="2600" b="1" i="0" u="none" strike="noStrike" kern="1200" cap="none" spc="0" normalizeH="0" baseline="0" noProof="0" dirty="0">
                <a:ln>
                  <a:noFill/>
                </a:ln>
                <a:solidFill>
                  <a:srgbClr val="000000"/>
                </a:solidFill>
                <a:effectLst/>
                <a:uLnTx/>
                <a:uFillTx/>
                <a:latin typeface="Arial"/>
                <a:ea typeface="+mn-ea"/>
                <a:cs typeface="+mn-cs"/>
              </a:rPr>
              <a:t> IV  </a:t>
            </a:r>
            <a:r>
              <a:rPr kumimoji="0" lang="de-DE" altLang="de-DE" sz="2600" b="1" i="0" u="none" strike="noStrike" kern="1200" cap="none" spc="0" normalizeH="0" baseline="0" noProof="0" dirty="0" err="1">
                <a:ln>
                  <a:noFill/>
                </a:ln>
                <a:solidFill>
                  <a:srgbClr val="0000FF"/>
                </a:solidFill>
                <a:effectLst/>
                <a:uLnTx/>
                <a:uFillTx/>
                <a:latin typeface="Arial"/>
                <a:ea typeface="+mn-ea"/>
                <a:cs typeface="+mn-cs"/>
              </a:rPr>
              <a:t>Vibrations</a:t>
            </a:r>
            <a:r>
              <a:rPr kumimoji="0" lang="de-DE" altLang="de-DE" sz="2600" b="1" i="0" u="none" strike="noStrike" kern="1200" cap="none" spc="0" normalizeH="0" baseline="0" noProof="0" dirty="0">
                <a:ln>
                  <a:noFill/>
                </a:ln>
                <a:solidFill>
                  <a:srgbClr val="0000FF"/>
                </a:solidFill>
                <a:effectLst/>
                <a:uLnTx/>
                <a:uFillTx/>
                <a:latin typeface="Arial"/>
                <a:ea typeface="+mn-ea"/>
                <a:cs typeface="+mn-cs"/>
              </a:rPr>
              <a:t> </a:t>
            </a:r>
            <a:r>
              <a:rPr kumimoji="0" lang="de-DE" altLang="de-DE" sz="2600" b="1" i="0" u="none" strike="noStrike" kern="1200" cap="none" spc="0" normalizeH="0" baseline="0" noProof="0" dirty="0" err="1">
                <a:ln>
                  <a:noFill/>
                </a:ln>
                <a:solidFill>
                  <a:srgbClr val="0000FF"/>
                </a:solidFill>
                <a:effectLst/>
                <a:uLnTx/>
                <a:uFillTx/>
                <a:latin typeface="Arial"/>
                <a:ea typeface="+mn-ea"/>
                <a:cs typeface="+mn-cs"/>
              </a:rPr>
              <a:t>of</a:t>
            </a:r>
            <a:r>
              <a:rPr kumimoji="0" lang="de-DE" altLang="de-DE" sz="2600" b="1" i="0" u="none" strike="noStrike" kern="1200" cap="none" spc="0" normalizeH="0" baseline="0" noProof="0" dirty="0">
                <a:ln>
                  <a:noFill/>
                </a:ln>
                <a:solidFill>
                  <a:srgbClr val="0000FF"/>
                </a:solidFill>
                <a:effectLst/>
                <a:uLnTx/>
                <a:uFillTx/>
                <a:latin typeface="Arial"/>
                <a:ea typeface="+mn-ea"/>
                <a:cs typeface="+mn-cs"/>
              </a:rPr>
              <a:t> </a:t>
            </a:r>
            <a:r>
              <a:rPr kumimoji="0" lang="de-DE" altLang="de-DE" sz="2600" b="1" i="0" u="none" strike="noStrike" kern="1200" cap="none" spc="0" normalizeH="0" baseline="0" noProof="0" dirty="0" err="1">
                <a:ln>
                  <a:noFill/>
                </a:ln>
                <a:solidFill>
                  <a:srgbClr val="0000FF"/>
                </a:solidFill>
                <a:effectLst/>
                <a:uLnTx/>
                <a:uFillTx/>
                <a:latin typeface="Arial"/>
                <a:ea typeface="+mn-ea"/>
                <a:cs typeface="+mn-cs"/>
              </a:rPr>
              <a:t>Feedwater</a:t>
            </a:r>
            <a:r>
              <a:rPr kumimoji="0" lang="de-DE" altLang="de-DE" sz="2600" b="1" i="0" u="none" strike="noStrike" kern="1200" cap="none" spc="0" normalizeH="0" baseline="0" noProof="0" dirty="0">
                <a:ln>
                  <a:noFill/>
                </a:ln>
                <a:solidFill>
                  <a:srgbClr val="0000FF"/>
                </a:solidFill>
                <a:effectLst/>
                <a:uLnTx/>
                <a:uFillTx/>
                <a:latin typeface="Arial"/>
                <a:ea typeface="+mn-ea"/>
                <a:cs typeface="+mn-cs"/>
              </a:rPr>
              <a:t> Pumps in </a:t>
            </a:r>
            <a:r>
              <a:rPr kumimoji="0" lang="de-DE" altLang="de-DE" sz="2600" b="1" i="0" u="none" strike="noStrike" kern="1200" cap="none" spc="0" normalizeH="0" baseline="0" noProof="0" dirty="0" err="1">
                <a:ln>
                  <a:noFill/>
                </a:ln>
                <a:solidFill>
                  <a:srgbClr val="0000FF"/>
                </a:solidFill>
                <a:effectLst/>
                <a:uLnTx/>
                <a:uFillTx/>
                <a:latin typeface="Arial"/>
                <a:ea typeface="+mn-ea"/>
                <a:cs typeface="+mn-cs"/>
              </a:rPr>
              <a:t>Nuclear</a:t>
            </a:r>
            <a:r>
              <a:rPr kumimoji="0" lang="de-DE" altLang="de-DE" sz="2600" b="1" i="0" u="none" strike="noStrike" kern="1200" cap="none" spc="0" normalizeH="0" baseline="0" noProof="0" dirty="0">
                <a:ln>
                  <a:noFill/>
                </a:ln>
                <a:solidFill>
                  <a:srgbClr val="0000FF"/>
                </a:solidFill>
                <a:effectLst/>
                <a:uLnTx/>
                <a:uFillTx/>
                <a:latin typeface="Arial"/>
                <a:ea typeface="+mn-ea"/>
                <a:cs typeface="+mn-cs"/>
              </a:rPr>
              <a:t> Power Plants</a:t>
            </a:r>
          </a:p>
        </p:txBody>
      </p:sp>
    </p:spTree>
    <p:extLst>
      <p:ext uri="{BB962C8B-B14F-4D97-AF65-F5344CB8AC3E}">
        <p14:creationId xmlns:p14="http://schemas.microsoft.com/office/powerpoint/2010/main" val="1504266431"/>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2" presetClass="entr" presetSubtype="8"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left)">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utoUpdateAnimBg="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feld 3">
            <a:extLst>
              <a:ext uri="{FF2B5EF4-FFF2-40B4-BE49-F238E27FC236}">
                <a16:creationId xmlns:a16="http://schemas.microsoft.com/office/drawing/2014/main" id="{6EE571AE-7C46-61A3-FD9E-26C6F9C16D8C}"/>
              </a:ext>
            </a:extLst>
          </p:cNvPr>
          <p:cNvSpPr txBox="1"/>
          <p:nvPr/>
        </p:nvSpPr>
        <p:spPr>
          <a:xfrm>
            <a:off x="1730376" y="2092326"/>
            <a:ext cx="2519363" cy="708025"/>
          </a:xfrm>
          <a:prstGeom prst="rect">
            <a:avLst/>
          </a:prstGeom>
          <a:solidFill>
            <a:srgbClr val="38E888"/>
          </a:solidFill>
        </p:spPr>
        <p:style>
          <a:lnRef idx="2">
            <a:schemeClr val="dk1"/>
          </a:lnRef>
          <a:fillRef idx="1">
            <a:schemeClr val="lt1"/>
          </a:fillRef>
          <a:effectRef idx="0">
            <a:schemeClr val="dk1"/>
          </a:effectRef>
          <a:fontRef idx="minor">
            <a:schemeClr val="dk1"/>
          </a:fontRef>
        </p:style>
        <p:txBody>
          <a:bodyPr>
            <a:spAutoFit/>
          </a:bodyPr>
          <a:lstStyle/>
          <a:p>
            <a:pPr algn="ctr" eaLnBrk="1" hangingPunct="1">
              <a:defRPr/>
            </a:pPr>
            <a:r>
              <a:rPr lang="en-US" sz="2000" dirty="0">
                <a:solidFill>
                  <a:srgbClr val="000000"/>
                </a:solidFill>
                <a:latin typeface="Arial"/>
              </a:rPr>
              <a:t>Vibrations  of </a:t>
            </a:r>
          </a:p>
          <a:p>
            <a:pPr algn="ctr" eaLnBrk="1" hangingPunct="1">
              <a:defRPr/>
            </a:pPr>
            <a:r>
              <a:rPr lang="en-US" sz="2000" dirty="0">
                <a:solidFill>
                  <a:srgbClr val="000000"/>
                </a:solidFill>
                <a:latin typeface="Arial"/>
              </a:rPr>
              <a:t>Pump System</a:t>
            </a:r>
          </a:p>
        </p:txBody>
      </p:sp>
      <p:sp>
        <p:nvSpPr>
          <p:cNvPr id="5" name="Textfeld 4">
            <a:extLst>
              <a:ext uri="{FF2B5EF4-FFF2-40B4-BE49-F238E27FC236}">
                <a16:creationId xmlns:a16="http://schemas.microsoft.com/office/drawing/2014/main" id="{2410CDE0-7C34-2423-4CAD-917E00C3E9B2}"/>
              </a:ext>
            </a:extLst>
          </p:cNvPr>
          <p:cNvSpPr txBox="1"/>
          <p:nvPr/>
        </p:nvSpPr>
        <p:spPr>
          <a:xfrm>
            <a:off x="4860925" y="2114551"/>
            <a:ext cx="2520950" cy="708025"/>
          </a:xfrm>
          <a:prstGeom prst="rect">
            <a:avLst/>
          </a:prstGeom>
          <a:solidFill>
            <a:srgbClr val="8EB4E3"/>
          </a:solidFill>
        </p:spPr>
        <p:style>
          <a:lnRef idx="2">
            <a:schemeClr val="dk1"/>
          </a:lnRef>
          <a:fillRef idx="1">
            <a:schemeClr val="lt1"/>
          </a:fillRef>
          <a:effectRef idx="0">
            <a:schemeClr val="dk1"/>
          </a:effectRef>
          <a:fontRef idx="minor">
            <a:schemeClr val="dk1"/>
          </a:fontRef>
        </p:style>
        <p:txBody>
          <a:bodyPr>
            <a:spAutoFit/>
          </a:bodyPr>
          <a:lstStyle/>
          <a:p>
            <a:pPr algn="ctr" eaLnBrk="1" hangingPunct="1">
              <a:defRPr/>
            </a:pPr>
            <a:r>
              <a:rPr lang="en-US" sz="2000" dirty="0">
                <a:solidFill>
                  <a:srgbClr val="000000"/>
                </a:solidFill>
                <a:latin typeface="Arial"/>
              </a:rPr>
              <a:t>Dynamics of </a:t>
            </a:r>
          </a:p>
          <a:p>
            <a:pPr algn="ctr" eaLnBrk="1" hangingPunct="1">
              <a:defRPr/>
            </a:pPr>
            <a:r>
              <a:rPr lang="en-US" sz="2000" dirty="0">
                <a:solidFill>
                  <a:srgbClr val="000000"/>
                </a:solidFill>
                <a:latin typeface="Arial"/>
              </a:rPr>
              <a:t>Pump System</a:t>
            </a:r>
          </a:p>
        </p:txBody>
      </p:sp>
      <p:sp>
        <p:nvSpPr>
          <p:cNvPr id="6" name="Textfeld 5">
            <a:extLst>
              <a:ext uri="{FF2B5EF4-FFF2-40B4-BE49-F238E27FC236}">
                <a16:creationId xmlns:a16="http://schemas.microsoft.com/office/drawing/2014/main" id="{41A35E16-2EAF-A015-726A-0D20BFB47B36}"/>
              </a:ext>
            </a:extLst>
          </p:cNvPr>
          <p:cNvSpPr txBox="1"/>
          <p:nvPr/>
        </p:nvSpPr>
        <p:spPr>
          <a:xfrm>
            <a:off x="7958138" y="2114551"/>
            <a:ext cx="2519362" cy="708025"/>
          </a:xfrm>
          <a:prstGeom prst="rect">
            <a:avLst/>
          </a:prstGeom>
          <a:solidFill>
            <a:srgbClr val="FF7C80"/>
          </a:solidFill>
        </p:spPr>
        <p:style>
          <a:lnRef idx="2">
            <a:schemeClr val="dk1"/>
          </a:lnRef>
          <a:fillRef idx="1">
            <a:schemeClr val="lt1"/>
          </a:fillRef>
          <a:effectRef idx="0">
            <a:schemeClr val="dk1"/>
          </a:effectRef>
          <a:fontRef idx="minor">
            <a:schemeClr val="dk1"/>
          </a:fontRef>
        </p:style>
        <p:txBody>
          <a:bodyPr>
            <a:spAutoFit/>
          </a:bodyPr>
          <a:lstStyle/>
          <a:p>
            <a:pPr algn="ctr" eaLnBrk="1" hangingPunct="1">
              <a:defRPr/>
            </a:pPr>
            <a:r>
              <a:rPr lang="en-US" dirty="0">
                <a:solidFill>
                  <a:srgbClr val="000000"/>
                </a:solidFill>
                <a:latin typeface="Frutiger LT Com 55 Roman" panose="020B0503030504020204" pitchFamily="34" charset="0"/>
              </a:rPr>
              <a:t> </a:t>
            </a:r>
            <a:r>
              <a:rPr lang="en-US" sz="2000" dirty="0">
                <a:solidFill>
                  <a:srgbClr val="000000"/>
                </a:solidFill>
                <a:latin typeface="Arial"/>
              </a:rPr>
              <a:t>Excitation of  </a:t>
            </a:r>
          </a:p>
          <a:p>
            <a:pPr algn="ctr" eaLnBrk="1" hangingPunct="1">
              <a:defRPr/>
            </a:pPr>
            <a:r>
              <a:rPr lang="en-US" sz="2000" dirty="0">
                <a:solidFill>
                  <a:srgbClr val="000000"/>
                </a:solidFill>
                <a:latin typeface="Arial"/>
              </a:rPr>
              <a:t>Pump </a:t>
            </a:r>
            <a:r>
              <a:rPr lang="en-US" sz="2000" dirty="0" err="1">
                <a:solidFill>
                  <a:srgbClr val="000000"/>
                </a:solidFill>
                <a:latin typeface="Arial"/>
              </a:rPr>
              <a:t>Sytem</a:t>
            </a:r>
            <a:endParaRPr lang="en-US" sz="2000" dirty="0">
              <a:solidFill>
                <a:srgbClr val="000000"/>
              </a:solidFill>
              <a:latin typeface="Arial"/>
            </a:endParaRPr>
          </a:p>
        </p:txBody>
      </p:sp>
      <p:sp>
        <p:nvSpPr>
          <p:cNvPr id="7" name="Textfeld 6">
            <a:extLst>
              <a:ext uri="{FF2B5EF4-FFF2-40B4-BE49-F238E27FC236}">
                <a16:creationId xmlns:a16="http://schemas.microsoft.com/office/drawing/2014/main" id="{6EFB995D-DC9E-99F6-CB34-B8005F4110E8}"/>
              </a:ext>
            </a:extLst>
          </p:cNvPr>
          <p:cNvSpPr txBox="1"/>
          <p:nvPr/>
        </p:nvSpPr>
        <p:spPr>
          <a:xfrm>
            <a:off x="4371976" y="2122488"/>
            <a:ext cx="411163" cy="646112"/>
          </a:xfrm>
          <a:prstGeom prst="rect">
            <a:avLst/>
          </a:prstGeom>
          <a:noFill/>
          <a:ln>
            <a:noFill/>
          </a:ln>
        </p:spPr>
        <p:style>
          <a:lnRef idx="2">
            <a:schemeClr val="dk1"/>
          </a:lnRef>
          <a:fillRef idx="1">
            <a:schemeClr val="lt1"/>
          </a:fillRef>
          <a:effectRef idx="0">
            <a:schemeClr val="dk1"/>
          </a:effectRef>
          <a:fontRef idx="minor">
            <a:schemeClr val="dk1"/>
          </a:fontRef>
        </p:style>
        <p:txBody>
          <a:bodyPr>
            <a:spAutoFit/>
          </a:bodyPr>
          <a:lstStyle/>
          <a:p>
            <a:pPr algn="ctr" eaLnBrk="1" hangingPunct="1">
              <a:defRPr/>
            </a:pPr>
            <a:r>
              <a:rPr lang="en-US" sz="3600" dirty="0">
                <a:solidFill>
                  <a:srgbClr val="000000"/>
                </a:solidFill>
                <a:latin typeface="Arial"/>
              </a:rPr>
              <a:t>=</a:t>
            </a:r>
          </a:p>
        </p:txBody>
      </p:sp>
      <p:sp>
        <p:nvSpPr>
          <p:cNvPr id="8" name="Textfeld 7">
            <a:extLst>
              <a:ext uri="{FF2B5EF4-FFF2-40B4-BE49-F238E27FC236}">
                <a16:creationId xmlns:a16="http://schemas.microsoft.com/office/drawing/2014/main" id="{16D2C958-81F9-9773-3226-86D9695E654B}"/>
              </a:ext>
            </a:extLst>
          </p:cNvPr>
          <p:cNvSpPr txBox="1"/>
          <p:nvPr/>
        </p:nvSpPr>
        <p:spPr>
          <a:xfrm>
            <a:off x="7473951" y="2179638"/>
            <a:ext cx="411163" cy="646112"/>
          </a:xfrm>
          <a:prstGeom prst="rect">
            <a:avLst/>
          </a:prstGeom>
          <a:noFill/>
          <a:ln>
            <a:noFill/>
          </a:ln>
        </p:spPr>
        <p:style>
          <a:lnRef idx="2">
            <a:schemeClr val="dk1"/>
          </a:lnRef>
          <a:fillRef idx="1">
            <a:schemeClr val="lt1"/>
          </a:fillRef>
          <a:effectRef idx="0">
            <a:schemeClr val="dk1"/>
          </a:effectRef>
          <a:fontRef idx="minor">
            <a:schemeClr val="dk1"/>
          </a:fontRef>
        </p:style>
        <p:txBody>
          <a:bodyPr>
            <a:spAutoFit/>
          </a:bodyPr>
          <a:lstStyle/>
          <a:p>
            <a:pPr algn="ctr" eaLnBrk="1" hangingPunct="1">
              <a:defRPr/>
            </a:pPr>
            <a:r>
              <a:rPr lang="en-US" sz="3600" dirty="0">
                <a:solidFill>
                  <a:srgbClr val="000000"/>
                </a:solidFill>
                <a:latin typeface="Arial"/>
              </a:rPr>
              <a:t>x</a:t>
            </a:r>
          </a:p>
        </p:txBody>
      </p:sp>
      <p:sp>
        <p:nvSpPr>
          <p:cNvPr id="9" name="Textfeld 8">
            <a:extLst>
              <a:ext uri="{FF2B5EF4-FFF2-40B4-BE49-F238E27FC236}">
                <a16:creationId xmlns:a16="http://schemas.microsoft.com/office/drawing/2014/main" id="{9335EAF6-67FD-F841-BCAB-BD31C7E6A6EA}"/>
              </a:ext>
            </a:extLst>
          </p:cNvPr>
          <p:cNvSpPr txBox="1"/>
          <p:nvPr/>
        </p:nvSpPr>
        <p:spPr>
          <a:xfrm>
            <a:off x="1693863" y="3490913"/>
            <a:ext cx="2519362" cy="400050"/>
          </a:xfrm>
          <a:prstGeom prst="rect">
            <a:avLst/>
          </a:prstGeom>
          <a:noFill/>
        </p:spPr>
        <p:style>
          <a:lnRef idx="2">
            <a:schemeClr val="dk1"/>
          </a:lnRef>
          <a:fillRef idx="1">
            <a:schemeClr val="lt1"/>
          </a:fillRef>
          <a:effectRef idx="0">
            <a:schemeClr val="dk1"/>
          </a:effectRef>
          <a:fontRef idx="minor">
            <a:schemeClr val="dk1"/>
          </a:fontRef>
        </p:style>
        <p:txBody>
          <a:bodyPr>
            <a:spAutoFit/>
          </a:bodyPr>
          <a:lstStyle/>
          <a:p>
            <a:pPr algn="ctr" eaLnBrk="1" hangingPunct="1">
              <a:defRPr/>
            </a:pPr>
            <a:r>
              <a:rPr lang="en-US" sz="2000" dirty="0">
                <a:solidFill>
                  <a:srgbClr val="000000"/>
                </a:solidFill>
                <a:latin typeface="Arial"/>
              </a:rPr>
              <a:t>Output</a:t>
            </a:r>
          </a:p>
        </p:txBody>
      </p:sp>
      <p:sp>
        <p:nvSpPr>
          <p:cNvPr id="10" name="Textfeld 9">
            <a:extLst>
              <a:ext uri="{FF2B5EF4-FFF2-40B4-BE49-F238E27FC236}">
                <a16:creationId xmlns:a16="http://schemas.microsoft.com/office/drawing/2014/main" id="{BC4B3A11-01DA-8F1A-B20B-970939B01F2F}"/>
              </a:ext>
            </a:extLst>
          </p:cNvPr>
          <p:cNvSpPr txBox="1"/>
          <p:nvPr/>
        </p:nvSpPr>
        <p:spPr>
          <a:xfrm>
            <a:off x="4897438" y="3490913"/>
            <a:ext cx="2520950" cy="400050"/>
          </a:xfrm>
          <a:prstGeom prst="rect">
            <a:avLst/>
          </a:prstGeom>
          <a:noFill/>
        </p:spPr>
        <p:style>
          <a:lnRef idx="2">
            <a:schemeClr val="dk1"/>
          </a:lnRef>
          <a:fillRef idx="1">
            <a:schemeClr val="lt1"/>
          </a:fillRef>
          <a:effectRef idx="0">
            <a:schemeClr val="dk1"/>
          </a:effectRef>
          <a:fontRef idx="minor">
            <a:schemeClr val="dk1"/>
          </a:fontRef>
        </p:style>
        <p:txBody>
          <a:bodyPr>
            <a:spAutoFit/>
          </a:bodyPr>
          <a:lstStyle/>
          <a:p>
            <a:pPr algn="ctr" eaLnBrk="1" hangingPunct="1">
              <a:defRPr/>
            </a:pPr>
            <a:r>
              <a:rPr lang="en-US" sz="2000" dirty="0">
                <a:solidFill>
                  <a:srgbClr val="000000"/>
                </a:solidFill>
                <a:latin typeface="Arial"/>
              </a:rPr>
              <a:t>Pump System</a:t>
            </a:r>
          </a:p>
        </p:txBody>
      </p:sp>
      <p:sp>
        <p:nvSpPr>
          <p:cNvPr id="11" name="Textfeld 10">
            <a:extLst>
              <a:ext uri="{FF2B5EF4-FFF2-40B4-BE49-F238E27FC236}">
                <a16:creationId xmlns:a16="http://schemas.microsoft.com/office/drawing/2014/main" id="{CCB9C070-B770-3C18-4F83-A03BB054B7FC}"/>
              </a:ext>
            </a:extLst>
          </p:cNvPr>
          <p:cNvSpPr txBox="1"/>
          <p:nvPr/>
        </p:nvSpPr>
        <p:spPr>
          <a:xfrm>
            <a:off x="7958138" y="3490913"/>
            <a:ext cx="2519362" cy="400050"/>
          </a:xfrm>
          <a:prstGeom prst="rect">
            <a:avLst/>
          </a:prstGeom>
          <a:noFill/>
        </p:spPr>
        <p:style>
          <a:lnRef idx="2">
            <a:schemeClr val="dk1"/>
          </a:lnRef>
          <a:fillRef idx="1">
            <a:schemeClr val="lt1"/>
          </a:fillRef>
          <a:effectRef idx="0">
            <a:schemeClr val="dk1"/>
          </a:effectRef>
          <a:fontRef idx="minor">
            <a:schemeClr val="dk1"/>
          </a:fontRef>
        </p:style>
        <p:txBody>
          <a:bodyPr>
            <a:spAutoFit/>
          </a:bodyPr>
          <a:lstStyle/>
          <a:p>
            <a:pPr algn="ctr" eaLnBrk="1" hangingPunct="1">
              <a:defRPr/>
            </a:pPr>
            <a:r>
              <a:rPr lang="en-US" sz="2000" dirty="0">
                <a:solidFill>
                  <a:srgbClr val="000000"/>
                </a:solidFill>
                <a:latin typeface="Arial"/>
              </a:rPr>
              <a:t>Input</a:t>
            </a:r>
          </a:p>
        </p:txBody>
      </p:sp>
      <p:sp>
        <p:nvSpPr>
          <p:cNvPr id="34826" name="Geschweifte Klammer rechts 11">
            <a:extLst>
              <a:ext uri="{FF2B5EF4-FFF2-40B4-BE49-F238E27FC236}">
                <a16:creationId xmlns:a16="http://schemas.microsoft.com/office/drawing/2014/main" id="{8D918370-3E0A-A7B1-C7D4-3F8D3169C082}"/>
              </a:ext>
            </a:extLst>
          </p:cNvPr>
          <p:cNvSpPr>
            <a:spLocks/>
          </p:cNvSpPr>
          <p:nvPr/>
        </p:nvSpPr>
        <p:spPr bwMode="auto">
          <a:xfrm rot="5400000">
            <a:off x="2682875" y="3303588"/>
            <a:ext cx="541338" cy="2519362"/>
          </a:xfrm>
          <a:prstGeom prst="rightBrace">
            <a:avLst>
              <a:gd name="adj1" fmla="val 8338"/>
              <a:gd name="adj2" fmla="val 50000"/>
            </a:avLst>
          </a:prstGeom>
          <a:noFill/>
          <a:ln w="28575" algn="ctr">
            <a:solidFill>
              <a:schemeClr val="tx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a:spcBef>
                <a:spcPct val="20000"/>
              </a:spcBef>
              <a:buFont typeface="Wingdings" panose="05000000000000000000" pitchFamily="2" charset="2"/>
              <a:buChar char="§"/>
              <a:defRPr sz="2000">
                <a:solidFill>
                  <a:schemeClr val="tx1"/>
                </a:solidFill>
                <a:latin typeface="Arial" panose="020B0604020202020204" pitchFamily="34" charset="0"/>
              </a:defRPr>
            </a:lvl1pPr>
            <a:lvl2pPr marL="742950" indent="-285750">
              <a:spcBef>
                <a:spcPct val="20000"/>
              </a:spcBef>
              <a:buFont typeface="Wingdings" panose="05000000000000000000" pitchFamily="2" charset="2"/>
              <a:buChar char="§"/>
              <a:defRPr>
                <a:solidFill>
                  <a:schemeClr val="tx1"/>
                </a:solidFill>
                <a:latin typeface="Arial" panose="020B0604020202020204" pitchFamily="34" charset="0"/>
              </a:defRPr>
            </a:lvl2pPr>
            <a:lvl3pPr marL="1143000" indent="-228600">
              <a:spcBef>
                <a:spcPct val="20000"/>
              </a:spcBef>
              <a:buFont typeface="Wingdings" panose="05000000000000000000" pitchFamily="2" charset="2"/>
              <a:buChar char="§"/>
              <a:defRPr>
                <a:solidFill>
                  <a:schemeClr val="tx1"/>
                </a:solidFill>
                <a:latin typeface="Arial" panose="020B0604020202020204" pitchFamily="34" charset="0"/>
              </a:defRPr>
            </a:lvl3pPr>
            <a:lvl4pPr marL="1600200" indent="-228600">
              <a:spcBef>
                <a:spcPct val="20000"/>
              </a:spcBef>
              <a:buFont typeface="Wingdings" panose="05000000000000000000" pitchFamily="2" charset="2"/>
              <a:buChar char="§"/>
              <a:defRPr sz="1600">
                <a:solidFill>
                  <a:schemeClr val="tx1"/>
                </a:solidFill>
                <a:latin typeface="Arial" panose="020B0604020202020204" pitchFamily="34" charset="0"/>
              </a:defRPr>
            </a:lvl4pPr>
            <a:lvl5pPr marL="2057400" indent="-228600">
              <a:spcBef>
                <a:spcPct val="20000"/>
              </a:spcBef>
              <a:buFont typeface="Wingdings" panose="05000000000000000000" pitchFamily="2" charset="2"/>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1600">
                <a:solidFill>
                  <a:schemeClr val="tx1"/>
                </a:solidFill>
                <a:latin typeface="Arial" panose="020B0604020202020204" pitchFamily="34" charset="0"/>
              </a:defRPr>
            </a:lvl9pPr>
          </a:lstStyle>
          <a:p>
            <a:pPr eaLnBrk="1" hangingPunct="1">
              <a:spcBef>
                <a:spcPct val="0"/>
              </a:spcBef>
              <a:spcAft>
                <a:spcPct val="40000"/>
              </a:spcAft>
              <a:buNone/>
            </a:pPr>
            <a:endParaRPr lang="de-DE" altLang="de-DE" sz="1800" b="0">
              <a:solidFill>
                <a:srgbClr val="000000"/>
              </a:solidFill>
              <a:latin typeface="Frutiger LT Com 55 Roman" pitchFamily="34" charset="0"/>
            </a:endParaRPr>
          </a:p>
        </p:txBody>
      </p:sp>
      <p:sp>
        <p:nvSpPr>
          <p:cNvPr id="34827" name="Geschweifte Klammer rechts 12">
            <a:extLst>
              <a:ext uri="{FF2B5EF4-FFF2-40B4-BE49-F238E27FC236}">
                <a16:creationId xmlns:a16="http://schemas.microsoft.com/office/drawing/2014/main" id="{89F703AE-75FD-5638-2FDC-5E10807088D9}"/>
              </a:ext>
            </a:extLst>
          </p:cNvPr>
          <p:cNvSpPr>
            <a:spLocks/>
          </p:cNvSpPr>
          <p:nvPr/>
        </p:nvSpPr>
        <p:spPr bwMode="auto">
          <a:xfrm rot="5400000">
            <a:off x="5851525" y="3303588"/>
            <a:ext cx="541338" cy="2519362"/>
          </a:xfrm>
          <a:prstGeom prst="rightBrace">
            <a:avLst>
              <a:gd name="adj1" fmla="val 8338"/>
              <a:gd name="adj2" fmla="val 50000"/>
            </a:avLst>
          </a:prstGeom>
          <a:noFill/>
          <a:ln w="28575" algn="ctr">
            <a:solidFill>
              <a:schemeClr val="tx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a:spcBef>
                <a:spcPct val="20000"/>
              </a:spcBef>
              <a:buFont typeface="Wingdings" panose="05000000000000000000" pitchFamily="2" charset="2"/>
              <a:buChar char="§"/>
              <a:defRPr sz="2000">
                <a:solidFill>
                  <a:schemeClr val="tx1"/>
                </a:solidFill>
                <a:latin typeface="Arial" panose="020B0604020202020204" pitchFamily="34" charset="0"/>
              </a:defRPr>
            </a:lvl1pPr>
            <a:lvl2pPr marL="742950" indent="-285750">
              <a:spcBef>
                <a:spcPct val="20000"/>
              </a:spcBef>
              <a:buFont typeface="Wingdings" panose="05000000000000000000" pitchFamily="2" charset="2"/>
              <a:buChar char="§"/>
              <a:defRPr>
                <a:solidFill>
                  <a:schemeClr val="tx1"/>
                </a:solidFill>
                <a:latin typeface="Arial" panose="020B0604020202020204" pitchFamily="34" charset="0"/>
              </a:defRPr>
            </a:lvl2pPr>
            <a:lvl3pPr marL="1143000" indent="-228600">
              <a:spcBef>
                <a:spcPct val="20000"/>
              </a:spcBef>
              <a:buFont typeface="Wingdings" panose="05000000000000000000" pitchFamily="2" charset="2"/>
              <a:buChar char="§"/>
              <a:defRPr>
                <a:solidFill>
                  <a:schemeClr val="tx1"/>
                </a:solidFill>
                <a:latin typeface="Arial" panose="020B0604020202020204" pitchFamily="34" charset="0"/>
              </a:defRPr>
            </a:lvl3pPr>
            <a:lvl4pPr marL="1600200" indent="-228600">
              <a:spcBef>
                <a:spcPct val="20000"/>
              </a:spcBef>
              <a:buFont typeface="Wingdings" panose="05000000000000000000" pitchFamily="2" charset="2"/>
              <a:buChar char="§"/>
              <a:defRPr sz="1600">
                <a:solidFill>
                  <a:schemeClr val="tx1"/>
                </a:solidFill>
                <a:latin typeface="Arial" panose="020B0604020202020204" pitchFamily="34" charset="0"/>
              </a:defRPr>
            </a:lvl4pPr>
            <a:lvl5pPr marL="2057400" indent="-228600">
              <a:spcBef>
                <a:spcPct val="20000"/>
              </a:spcBef>
              <a:buFont typeface="Wingdings" panose="05000000000000000000" pitchFamily="2" charset="2"/>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1600">
                <a:solidFill>
                  <a:schemeClr val="tx1"/>
                </a:solidFill>
                <a:latin typeface="Arial" panose="020B0604020202020204" pitchFamily="34" charset="0"/>
              </a:defRPr>
            </a:lvl9pPr>
          </a:lstStyle>
          <a:p>
            <a:pPr eaLnBrk="1" hangingPunct="1">
              <a:spcBef>
                <a:spcPct val="0"/>
              </a:spcBef>
              <a:spcAft>
                <a:spcPct val="40000"/>
              </a:spcAft>
              <a:buNone/>
            </a:pPr>
            <a:endParaRPr lang="de-DE" altLang="de-DE" sz="1800" b="0">
              <a:solidFill>
                <a:srgbClr val="000000"/>
              </a:solidFill>
              <a:latin typeface="Frutiger LT Com 55 Roman" pitchFamily="34" charset="0"/>
            </a:endParaRPr>
          </a:p>
        </p:txBody>
      </p:sp>
      <p:sp>
        <p:nvSpPr>
          <p:cNvPr id="34828" name="Geschweifte Klammer rechts 13">
            <a:extLst>
              <a:ext uri="{FF2B5EF4-FFF2-40B4-BE49-F238E27FC236}">
                <a16:creationId xmlns:a16="http://schemas.microsoft.com/office/drawing/2014/main" id="{5B7DA543-895F-6BD2-F1A3-6474739A2914}"/>
              </a:ext>
            </a:extLst>
          </p:cNvPr>
          <p:cNvSpPr>
            <a:spLocks/>
          </p:cNvSpPr>
          <p:nvPr/>
        </p:nvSpPr>
        <p:spPr bwMode="auto">
          <a:xfrm rot="5400000">
            <a:off x="8947150" y="3303588"/>
            <a:ext cx="541338" cy="2519362"/>
          </a:xfrm>
          <a:prstGeom prst="rightBrace">
            <a:avLst>
              <a:gd name="adj1" fmla="val 8338"/>
              <a:gd name="adj2" fmla="val 50000"/>
            </a:avLst>
          </a:prstGeom>
          <a:noFill/>
          <a:ln w="28575" algn="ctr">
            <a:solidFill>
              <a:schemeClr val="tx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a:spcBef>
                <a:spcPct val="20000"/>
              </a:spcBef>
              <a:buFont typeface="Wingdings" panose="05000000000000000000" pitchFamily="2" charset="2"/>
              <a:buChar char="§"/>
              <a:defRPr sz="2000">
                <a:solidFill>
                  <a:schemeClr val="tx1"/>
                </a:solidFill>
                <a:latin typeface="Arial" panose="020B0604020202020204" pitchFamily="34" charset="0"/>
              </a:defRPr>
            </a:lvl1pPr>
            <a:lvl2pPr marL="742950" indent="-285750">
              <a:spcBef>
                <a:spcPct val="20000"/>
              </a:spcBef>
              <a:buFont typeface="Wingdings" panose="05000000000000000000" pitchFamily="2" charset="2"/>
              <a:buChar char="§"/>
              <a:defRPr>
                <a:solidFill>
                  <a:schemeClr val="tx1"/>
                </a:solidFill>
                <a:latin typeface="Arial" panose="020B0604020202020204" pitchFamily="34" charset="0"/>
              </a:defRPr>
            </a:lvl2pPr>
            <a:lvl3pPr marL="1143000" indent="-228600">
              <a:spcBef>
                <a:spcPct val="20000"/>
              </a:spcBef>
              <a:buFont typeface="Wingdings" panose="05000000000000000000" pitchFamily="2" charset="2"/>
              <a:buChar char="§"/>
              <a:defRPr>
                <a:solidFill>
                  <a:schemeClr val="tx1"/>
                </a:solidFill>
                <a:latin typeface="Arial" panose="020B0604020202020204" pitchFamily="34" charset="0"/>
              </a:defRPr>
            </a:lvl3pPr>
            <a:lvl4pPr marL="1600200" indent="-228600">
              <a:spcBef>
                <a:spcPct val="20000"/>
              </a:spcBef>
              <a:buFont typeface="Wingdings" panose="05000000000000000000" pitchFamily="2" charset="2"/>
              <a:buChar char="§"/>
              <a:defRPr sz="1600">
                <a:solidFill>
                  <a:schemeClr val="tx1"/>
                </a:solidFill>
                <a:latin typeface="Arial" panose="020B0604020202020204" pitchFamily="34" charset="0"/>
              </a:defRPr>
            </a:lvl4pPr>
            <a:lvl5pPr marL="2057400" indent="-228600">
              <a:spcBef>
                <a:spcPct val="20000"/>
              </a:spcBef>
              <a:buFont typeface="Wingdings" panose="05000000000000000000" pitchFamily="2" charset="2"/>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1600">
                <a:solidFill>
                  <a:schemeClr val="tx1"/>
                </a:solidFill>
                <a:latin typeface="Arial" panose="020B0604020202020204" pitchFamily="34" charset="0"/>
              </a:defRPr>
            </a:lvl9pPr>
          </a:lstStyle>
          <a:p>
            <a:pPr eaLnBrk="1" hangingPunct="1">
              <a:spcBef>
                <a:spcPct val="0"/>
              </a:spcBef>
              <a:spcAft>
                <a:spcPct val="40000"/>
              </a:spcAft>
              <a:buNone/>
            </a:pPr>
            <a:endParaRPr lang="de-DE" altLang="de-DE" sz="1800" b="0">
              <a:solidFill>
                <a:srgbClr val="000000"/>
              </a:solidFill>
              <a:latin typeface="Frutiger LT Com 55 Roman" pitchFamily="34" charset="0"/>
            </a:endParaRPr>
          </a:p>
        </p:txBody>
      </p:sp>
      <p:sp>
        <p:nvSpPr>
          <p:cNvPr id="22542" name="Textfeld 14">
            <a:extLst>
              <a:ext uri="{FF2B5EF4-FFF2-40B4-BE49-F238E27FC236}">
                <a16:creationId xmlns:a16="http://schemas.microsoft.com/office/drawing/2014/main" id="{CC9F8DAF-5382-3641-BCD8-027AEE1B091E}"/>
              </a:ext>
            </a:extLst>
          </p:cNvPr>
          <p:cNvSpPr txBox="1">
            <a:spLocks noChangeArrowheads="1"/>
          </p:cNvSpPr>
          <p:nvPr/>
        </p:nvSpPr>
        <p:spPr bwMode="auto">
          <a:xfrm>
            <a:off x="1693864" y="4833938"/>
            <a:ext cx="2592387" cy="400050"/>
          </a:xfrm>
          <a:prstGeom prst="rect">
            <a:avLst/>
          </a:prstGeom>
          <a:noFill/>
          <a:ln>
            <a:noFill/>
          </a:ln>
        </p:spPr>
        <p:txBody>
          <a:bodyPr>
            <a:spAutoFit/>
          </a:bodyPr>
          <a:lstStyle>
            <a:lvl1pPr>
              <a:spcBef>
                <a:spcPct val="20000"/>
              </a:spcBef>
              <a:buFont typeface="Wingdings" pitchFamily="2" charset="2"/>
              <a:buChar char="§"/>
              <a:defRPr sz="2000">
                <a:solidFill>
                  <a:schemeClr val="tx1"/>
                </a:solidFill>
                <a:latin typeface="Arial" charset="0"/>
              </a:defRPr>
            </a:lvl1pPr>
            <a:lvl2pPr marL="742950" indent="-285750">
              <a:spcBef>
                <a:spcPct val="20000"/>
              </a:spcBef>
              <a:buFont typeface="Wingdings" pitchFamily="2" charset="2"/>
              <a:buChar char="§"/>
              <a:defRPr>
                <a:solidFill>
                  <a:schemeClr val="tx1"/>
                </a:solidFill>
                <a:latin typeface="Arial" charset="0"/>
              </a:defRPr>
            </a:lvl2pPr>
            <a:lvl3pPr marL="1143000" indent="-228600">
              <a:spcBef>
                <a:spcPct val="20000"/>
              </a:spcBef>
              <a:buFont typeface="Wingdings" pitchFamily="2" charset="2"/>
              <a:buChar char="§"/>
              <a:defRPr>
                <a:solidFill>
                  <a:schemeClr val="tx1"/>
                </a:solidFill>
                <a:latin typeface="Arial" charset="0"/>
              </a:defRPr>
            </a:lvl3pPr>
            <a:lvl4pPr marL="1600200" indent="-228600">
              <a:spcBef>
                <a:spcPct val="20000"/>
              </a:spcBef>
              <a:buFont typeface="Wingdings" pitchFamily="2" charset="2"/>
              <a:buChar char="§"/>
              <a:defRPr sz="1600">
                <a:solidFill>
                  <a:schemeClr val="tx1"/>
                </a:solidFill>
                <a:latin typeface="Arial" charset="0"/>
              </a:defRPr>
            </a:lvl4pPr>
            <a:lvl5pPr marL="2057400" indent="-228600">
              <a:spcBef>
                <a:spcPct val="20000"/>
              </a:spcBef>
              <a:buFont typeface="Wingdings" pitchFamily="2" charset="2"/>
              <a:buChar char="§"/>
              <a:defRPr sz="1600">
                <a:solidFill>
                  <a:schemeClr val="tx1"/>
                </a:solidFill>
                <a:latin typeface="Arial" charset="0"/>
              </a:defRPr>
            </a:lvl5pPr>
            <a:lvl6pPr marL="2514600" indent="-228600" eaLnBrk="0" fontAlgn="base" hangingPunct="0">
              <a:spcBef>
                <a:spcPct val="20000"/>
              </a:spcBef>
              <a:spcAft>
                <a:spcPct val="0"/>
              </a:spcAft>
              <a:buFont typeface="Wingdings" pitchFamily="2" charset="2"/>
              <a:buChar char="§"/>
              <a:defRPr sz="1600">
                <a:solidFill>
                  <a:schemeClr val="tx1"/>
                </a:solidFill>
                <a:latin typeface="Arial" charset="0"/>
              </a:defRPr>
            </a:lvl6pPr>
            <a:lvl7pPr marL="2971800" indent="-228600" eaLnBrk="0" fontAlgn="base" hangingPunct="0">
              <a:spcBef>
                <a:spcPct val="20000"/>
              </a:spcBef>
              <a:spcAft>
                <a:spcPct val="0"/>
              </a:spcAft>
              <a:buFont typeface="Wingdings" pitchFamily="2" charset="2"/>
              <a:buChar char="§"/>
              <a:defRPr sz="1600">
                <a:solidFill>
                  <a:schemeClr val="tx1"/>
                </a:solidFill>
                <a:latin typeface="Arial" charset="0"/>
              </a:defRPr>
            </a:lvl7pPr>
            <a:lvl8pPr marL="3429000" indent="-228600" eaLnBrk="0" fontAlgn="base" hangingPunct="0">
              <a:spcBef>
                <a:spcPct val="20000"/>
              </a:spcBef>
              <a:spcAft>
                <a:spcPct val="0"/>
              </a:spcAft>
              <a:buFont typeface="Wingdings" pitchFamily="2" charset="2"/>
              <a:buChar char="§"/>
              <a:defRPr sz="1600">
                <a:solidFill>
                  <a:schemeClr val="tx1"/>
                </a:solidFill>
                <a:latin typeface="Arial" charset="0"/>
              </a:defRPr>
            </a:lvl8pPr>
            <a:lvl9pPr marL="3886200" indent="-228600" eaLnBrk="0" fontAlgn="base" hangingPunct="0">
              <a:spcBef>
                <a:spcPct val="20000"/>
              </a:spcBef>
              <a:spcAft>
                <a:spcPct val="0"/>
              </a:spcAft>
              <a:buFont typeface="Wingdings" pitchFamily="2" charset="2"/>
              <a:buChar char="§"/>
              <a:defRPr sz="1600">
                <a:solidFill>
                  <a:schemeClr val="tx1"/>
                </a:solidFill>
                <a:latin typeface="Arial" charset="0"/>
              </a:defRPr>
            </a:lvl9pPr>
          </a:lstStyle>
          <a:p>
            <a:pPr algn="ctr" eaLnBrk="1" hangingPunct="1">
              <a:spcBef>
                <a:spcPct val="0"/>
              </a:spcBef>
              <a:buNone/>
              <a:defRPr/>
            </a:pPr>
            <a:r>
              <a:rPr lang="de-DE" altLang="de-DE" b="0" dirty="0">
                <a:solidFill>
                  <a:srgbClr val="00B050"/>
                </a:solidFill>
                <a:latin typeface="Arial"/>
              </a:rPr>
              <a:t>Lateral </a:t>
            </a:r>
            <a:r>
              <a:rPr lang="de-DE" altLang="de-DE" b="0" dirty="0" err="1">
                <a:solidFill>
                  <a:srgbClr val="00B050"/>
                </a:solidFill>
                <a:latin typeface="Arial"/>
              </a:rPr>
              <a:t>Vibrations</a:t>
            </a:r>
            <a:endParaRPr lang="de-DE" altLang="de-DE" b="0" dirty="0">
              <a:solidFill>
                <a:srgbClr val="00B050"/>
              </a:solidFill>
              <a:latin typeface="Arial"/>
            </a:endParaRPr>
          </a:p>
        </p:txBody>
      </p:sp>
      <p:sp>
        <p:nvSpPr>
          <p:cNvPr id="16" name="Textfeld 15">
            <a:extLst>
              <a:ext uri="{FF2B5EF4-FFF2-40B4-BE49-F238E27FC236}">
                <a16:creationId xmlns:a16="http://schemas.microsoft.com/office/drawing/2014/main" id="{D7C02EB1-4AB8-7136-48DB-D26F5403BD00}"/>
              </a:ext>
            </a:extLst>
          </p:cNvPr>
          <p:cNvSpPr txBox="1"/>
          <p:nvPr/>
        </p:nvSpPr>
        <p:spPr>
          <a:xfrm>
            <a:off x="4597401" y="4632325"/>
            <a:ext cx="3121025" cy="1600200"/>
          </a:xfrm>
          <a:prstGeom prst="rect">
            <a:avLst/>
          </a:prstGeom>
          <a:noFill/>
        </p:spPr>
        <p:txBody>
          <a:bodyPr>
            <a:spAutoFit/>
          </a:bodyPr>
          <a:lstStyle/>
          <a:p>
            <a:pPr eaLnBrk="1" hangingPunct="1">
              <a:defRPr/>
            </a:pPr>
            <a:endParaRPr lang="en-US" b="0" dirty="0">
              <a:solidFill>
                <a:srgbClr val="0070C0"/>
              </a:solidFill>
            </a:endParaRPr>
          </a:p>
          <a:p>
            <a:pPr marL="285750" indent="-285750" eaLnBrk="1" hangingPunct="1">
              <a:buFont typeface="Wingdings" panose="05000000000000000000" pitchFamily="2" charset="2"/>
              <a:buChar char="§"/>
              <a:defRPr/>
            </a:pPr>
            <a:r>
              <a:rPr lang="en-US" sz="2000" b="0" dirty="0">
                <a:solidFill>
                  <a:srgbClr val="0000FF"/>
                </a:solidFill>
                <a:latin typeface="Arial"/>
              </a:rPr>
              <a:t>Matrices M, D, G, K or </a:t>
            </a:r>
          </a:p>
          <a:p>
            <a:pPr marL="285750" indent="-285750" eaLnBrk="1" hangingPunct="1">
              <a:buFont typeface="Wingdings" panose="05000000000000000000" pitchFamily="2" charset="2"/>
              <a:buChar char="§"/>
              <a:defRPr/>
            </a:pPr>
            <a:r>
              <a:rPr lang="en-US" sz="2000" b="0" dirty="0">
                <a:solidFill>
                  <a:srgbClr val="0000FF"/>
                </a:solidFill>
                <a:latin typeface="Arial"/>
              </a:rPr>
              <a:t>Natural frequencies</a:t>
            </a:r>
          </a:p>
          <a:p>
            <a:pPr marL="285750" indent="-285750" eaLnBrk="1" hangingPunct="1">
              <a:buFont typeface="Wingdings" panose="05000000000000000000" pitchFamily="2" charset="2"/>
              <a:buChar char="§"/>
              <a:defRPr/>
            </a:pPr>
            <a:r>
              <a:rPr lang="en-US" sz="2000" b="0" dirty="0">
                <a:solidFill>
                  <a:srgbClr val="0000FF"/>
                </a:solidFill>
                <a:latin typeface="Arial"/>
              </a:rPr>
              <a:t>Damping</a:t>
            </a:r>
          </a:p>
          <a:p>
            <a:pPr marL="285750" indent="-285750" eaLnBrk="1" hangingPunct="1">
              <a:buFont typeface="Wingdings" panose="05000000000000000000" pitchFamily="2" charset="2"/>
              <a:buChar char="§"/>
              <a:defRPr/>
            </a:pPr>
            <a:r>
              <a:rPr lang="en-US" sz="2000" b="0" dirty="0">
                <a:solidFill>
                  <a:srgbClr val="0000FF"/>
                </a:solidFill>
                <a:latin typeface="Arial"/>
              </a:rPr>
              <a:t>Mode shapes</a:t>
            </a:r>
          </a:p>
        </p:txBody>
      </p:sp>
      <p:sp>
        <p:nvSpPr>
          <p:cNvPr id="22544" name="Textfeld 16">
            <a:extLst>
              <a:ext uri="{FF2B5EF4-FFF2-40B4-BE49-F238E27FC236}">
                <a16:creationId xmlns:a16="http://schemas.microsoft.com/office/drawing/2014/main" id="{7798B149-4BC1-4B21-1376-9F4325A90322}"/>
              </a:ext>
            </a:extLst>
          </p:cNvPr>
          <p:cNvSpPr txBox="1">
            <a:spLocks noChangeArrowheads="1"/>
          </p:cNvSpPr>
          <p:nvPr/>
        </p:nvSpPr>
        <p:spPr bwMode="auto">
          <a:xfrm>
            <a:off x="7564438" y="4908551"/>
            <a:ext cx="4475162" cy="1323439"/>
          </a:xfrm>
          <a:prstGeom prst="rect">
            <a:avLst/>
          </a:prstGeom>
          <a:noFill/>
          <a:ln>
            <a:noFill/>
          </a:ln>
        </p:spPr>
        <p:txBody>
          <a:bodyPr wrap="square">
            <a:spAutoFit/>
          </a:bodyPr>
          <a:lstStyle>
            <a:lvl1pPr marL="285750" indent="-285750">
              <a:spcBef>
                <a:spcPct val="20000"/>
              </a:spcBef>
              <a:buFont typeface="Wingdings" pitchFamily="2" charset="2"/>
              <a:buChar char="§"/>
              <a:defRPr sz="2000">
                <a:solidFill>
                  <a:schemeClr val="tx1"/>
                </a:solidFill>
                <a:latin typeface="Arial" charset="0"/>
              </a:defRPr>
            </a:lvl1pPr>
            <a:lvl2pPr marL="742950" indent="-285750">
              <a:spcBef>
                <a:spcPct val="20000"/>
              </a:spcBef>
              <a:buFont typeface="Wingdings" pitchFamily="2" charset="2"/>
              <a:buChar char="§"/>
              <a:defRPr>
                <a:solidFill>
                  <a:schemeClr val="tx1"/>
                </a:solidFill>
                <a:latin typeface="Arial" charset="0"/>
              </a:defRPr>
            </a:lvl2pPr>
            <a:lvl3pPr marL="1143000" indent="-228600">
              <a:spcBef>
                <a:spcPct val="20000"/>
              </a:spcBef>
              <a:buFont typeface="Wingdings" pitchFamily="2" charset="2"/>
              <a:buChar char="§"/>
              <a:defRPr>
                <a:solidFill>
                  <a:schemeClr val="tx1"/>
                </a:solidFill>
                <a:latin typeface="Arial" charset="0"/>
              </a:defRPr>
            </a:lvl3pPr>
            <a:lvl4pPr marL="1600200" indent="-228600">
              <a:spcBef>
                <a:spcPct val="20000"/>
              </a:spcBef>
              <a:buFont typeface="Wingdings" pitchFamily="2" charset="2"/>
              <a:buChar char="§"/>
              <a:defRPr sz="1600">
                <a:solidFill>
                  <a:schemeClr val="tx1"/>
                </a:solidFill>
                <a:latin typeface="Arial" charset="0"/>
              </a:defRPr>
            </a:lvl4pPr>
            <a:lvl5pPr marL="2057400" indent="-228600">
              <a:spcBef>
                <a:spcPct val="20000"/>
              </a:spcBef>
              <a:buFont typeface="Wingdings" pitchFamily="2" charset="2"/>
              <a:buChar char="§"/>
              <a:defRPr sz="1600">
                <a:solidFill>
                  <a:schemeClr val="tx1"/>
                </a:solidFill>
                <a:latin typeface="Arial" charset="0"/>
              </a:defRPr>
            </a:lvl5pPr>
            <a:lvl6pPr marL="2514600" indent="-228600" eaLnBrk="0" fontAlgn="base" hangingPunct="0">
              <a:spcBef>
                <a:spcPct val="20000"/>
              </a:spcBef>
              <a:spcAft>
                <a:spcPct val="0"/>
              </a:spcAft>
              <a:buFont typeface="Wingdings" pitchFamily="2" charset="2"/>
              <a:buChar char="§"/>
              <a:defRPr sz="1600">
                <a:solidFill>
                  <a:schemeClr val="tx1"/>
                </a:solidFill>
                <a:latin typeface="Arial" charset="0"/>
              </a:defRPr>
            </a:lvl6pPr>
            <a:lvl7pPr marL="2971800" indent="-228600" eaLnBrk="0" fontAlgn="base" hangingPunct="0">
              <a:spcBef>
                <a:spcPct val="20000"/>
              </a:spcBef>
              <a:spcAft>
                <a:spcPct val="0"/>
              </a:spcAft>
              <a:buFont typeface="Wingdings" pitchFamily="2" charset="2"/>
              <a:buChar char="§"/>
              <a:defRPr sz="1600">
                <a:solidFill>
                  <a:schemeClr val="tx1"/>
                </a:solidFill>
                <a:latin typeface="Arial" charset="0"/>
              </a:defRPr>
            </a:lvl7pPr>
            <a:lvl8pPr marL="3429000" indent="-228600" eaLnBrk="0" fontAlgn="base" hangingPunct="0">
              <a:spcBef>
                <a:spcPct val="20000"/>
              </a:spcBef>
              <a:spcAft>
                <a:spcPct val="0"/>
              </a:spcAft>
              <a:buFont typeface="Wingdings" pitchFamily="2" charset="2"/>
              <a:buChar char="§"/>
              <a:defRPr sz="1600">
                <a:solidFill>
                  <a:schemeClr val="tx1"/>
                </a:solidFill>
                <a:latin typeface="Arial" charset="0"/>
              </a:defRPr>
            </a:lvl8pPr>
            <a:lvl9pPr marL="3886200" indent="-228600" eaLnBrk="0" fontAlgn="base" hangingPunct="0">
              <a:spcBef>
                <a:spcPct val="20000"/>
              </a:spcBef>
              <a:spcAft>
                <a:spcPct val="0"/>
              </a:spcAft>
              <a:buFont typeface="Wingdings" pitchFamily="2" charset="2"/>
              <a:buChar char="§"/>
              <a:defRPr sz="1600">
                <a:solidFill>
                  <a:schemeClr val="tx1"/>
                </a:solidFill>
                <a:latin typeface="Arial" charset="0"/>
              </a:defRPr>
            </a:lvl9pPr>
          </a:lstStyle>
          <a:p>
            <a:pPr eaLnBrk="1" hangingPunct="1">
              <a:spcBef>
                <a:spcPct val="0"/>
              </a:spcBef>
              <a:defRPr/>
            </a:pPr>
            <a:r>
              <a:rPr lang="en-US" altLang="de-DE" dirty="0">
                <a:solidFill>
                  <a:srgbClr val="FF0000"/>
                </a:solidFill>
                <a:latin typeface="Arial"/>
              </a:rPr>
              <a:t> </a:t>
            </a:r>
            <a:r>
              <a:rPr lang="en-US" altLang="de-DE" b="0" dirty="0">
                <a:solidFill>
                  <a:srgbClr val="FF0000"/>
                </a:solidFill>
                <a:latin typeface="Arial"/>
              </a:rPr>
              <a:t>Mech. &amp; </a:t>
            </a:r>
            <a:r>
              <a:rPr lang="en-US" altLang="de-DE" b="0" dirty="0" err="1">
                <a:solidFill>
                  <a:srgbClr val="FF0000"/>
                </a:solidFill>
                <a:latin typeface="Arial"/>
              </a:rPr>
              <a:t>Hydr</a:t>
            </a:r>
            <a:r>
              <a:rPr lang="en-US" altLang="de-DE" b="0" dirty="0">
                <a:solidFill>
                  <a:srgbClr val="FF0000"/>
                </a:solidFill>
                <a:latin typeface="Arial"/>
              </a:rPr>
              <a:t>. Unbalance (Exc. </a:t>
            </a:r>
            <a:r>
              <a:rPr lang="el-GR" altLang="de-DE" b="0" dirty="0">
                <a:solidFill>
                  <a:srgbClr val="FF0000"/>
                </a:solidFill>
                <a:latin typeface="Times New Roman"/>
                <a:cs typeface="Times New Roman"/>
              </a:rPr>
              <a:t>Ω</a:t>
            </a:r>
            <a:r>
              <a:rPr lang="de-DE" altLang="de-DE" b="0" dirty="0">
                <a:solidFill>
                  <a:srgbClr val="FF0000"/>
                </a:solidFill>
                <a:latin typeface="Times New Roman"/>
                <a:cs typeface="Times New Roman"/>
              </a:rPr>
              <a:t>)</a:t>
            </a:r>
            <a:r>
              <a:rPr lang="en-US" altLang="de-DE" b="0" dirty="0">
                <a:solidFill>
                  <a:srgbClr val="FF0000"/>
                </a:solidFill>
                <a:latin typeface="Arial"/>
              </a:rPr>
              <a:t> </a:t>
            </a:r>
          </a:p>
          <a:p>
            <a:pPr eaLnBrk="1" hangingPunct="1">
              <a:spcBef>
                <a:spcPct val="0"/>
              </a:spcBef>
              <a:defRPr/>
            </a:pPr>
            <a:r>
              <a:rPr lang="en-US" altLang="de-DE" b="0" dirty="0">
                <a:solidFill>
                  <a:srgbClr val="FF0000"/>
                </a:solidFill>
                <a:latin typeface="Arial"/>
              </a:rPr>
              <a:t> Fluid forces (Exc. </a:t>
            </a:r>
            <a:r>
              <a:rPr lang="en-US" altLang="de-DE" b="0" dirty="0" err="1">
                <a:solidFill>
                  <a:srgbClr val="FF0000"/>
                </a:solidFill>
                <a:latin typeface="Arial"/>
              </a:rPr>
              <a:t>Nx</a:t>
            </a:r>
            <a:r>
              <a:rPr lang="el-GR" altLang="de-DE" b="0" dirty="0">
                <a:solidFill>
                  <a:srgbClr val="FF0000"/>
                </a:solidFill>
                <a:latin typeface="Times New Roman"/>
                <a:cs typeface="Times New Roman"/>
              </a:rPr>
              <a:t>Ω</a:t>
            </a:r>
            <a:r>
              <a:rPr lang="de-DE" altLang="de-DE" b="0" dirty="0">
                <a:solidFill>
                  <a:srgbClr val="FF0000"/>
                </a:solidFill>
                <a:latin typeface="Times New Roman"/>
                <a:cs typeface="Times New Roman"/>
              </a:rPr>
              <a:t>)</a:t>
            </a:r>
            <a:endParaRPr lang="en-US" altLang="de-DE" b="0" dirty="0">
              <a:solidFill>
                <a:srgbClr val="FF0000"/>
              </a:solidFill>
              <a:latin typeface="Arial"/>
            </a:endParaRPr>
          </a:p>
          <a:p>
            <a:pPr eaLnBrk="1" hangingPunct="1">
              <a:spcBef>
                <a:spcPct val="0"/>
              </a:spcBef>
              <a:defRPr/>
            </a:pPr>
            <a:r>
              <a:rPr lang="en-US" altLang="de-DE" b="0" dirty="0">
                <a:solidFill>
                  <a:srgbClr val="FF0000"/>
                </a:solidFill>
                <a:latin typeface="Arial"/>
              </a:rPr>
              <a:t> Self – Excitation, Instability</a:t>
            </a:r>
          </a:p>
          <a:p>
            <a:pPr marL="0" indent="0" eaLnBrk="1" hangingPunct="1">
              <a:spcBef>
                <a:spcPct val="0"/>
              </a:spcBef>
              <a:buNone/>
              <a:defRPr/>
            </a:pPr>
            <a:r>
              <a:rPr lang="en-US" altLang="de-DE" dirty="0">
                <a:solidFill>
                  <a:srgbClr val="FF0000"/>
                </a:solidFill>
                <a:latin typeface="Arial"/>
              </a:rPr>
              <a:t>     </a:t>
            </a:r>
            <a:endParaRPr lang="de-DE" altLang="de-DE" dirty="0">
              <a:solidFill>
                <a:srgbClr val="FF0000"/>
              </a:solidFill>
              <a:latin typeface="Arial"/>
              <a:cs typeface="Times New Roman"/>
            </a:endParaRPr>
          </a:p>
        </p:txBody>
      </p:sp>
      <p:sp>
        <p:nvSpPr>
          <p:cNvPr id="2" name="Textfeld 1">
            <a:extLst>
              <a:ext uri="{FF2B5EF4-FFF2-40B4-BE49-F238E27FC236}">
                <a16:creationId xmlns:a16="http://schemas.microsoft.com/office/drawing/2014/main" id="{AAFAD09F-AB63-8903-6A39-807A1E01475C}"/>
              </a:ext>
            </a:extLst>
          </p:cNvPr>
          <p:cNvSpPr txBox="1"/>
          <p:nvPr/>
        </p:nvSpPr>
        <p:spPr>
          <a:xfrm>
            <a:off x="1177019" y="519967"/>
            <a:ext cx="9300481" cy="830997"/>
          </a:xfrm>
          <a:prstGeom prst="rect">
            <a:avLst/>
          </a:prstGeom>
          <a:noFill/>
        </p:spPr>
        <p:txBody>
          <a:bodyPr wrap="square">
            <a:spAutoFit/>
          </a:bodyPr>
          <a:lstStyle/>
          <a:p>
            <a:pPr>
              <a:defRPr/>
            </a:pPr>
            <a:r>
              <a:rPr lang="de-DE" sz="2400" dirty="0">
                <a:solidFill>
                  <a:srgbClr val="0000FF"/>
                </a:solidFill>
                <a:latin typeface="Arial"/>
              </a:rPr>
              <a:t>Modelling </a:t>
            </a:r>
            <a:r>
              <a:rPr lang="de-DE" sz="2400" dirty="0" err="1">
                <a:solidFill>
                  <a:srgbClr val="0000FF"/>
                </a:solidFill>
                <a:latin typeface="Arial"/>
              </a:rPr>
              <a:t>of</a:t>
            </a:r>
            <a:r>
              <a:rPr lang="de-DE" sz="2400" dirty="0">
                <a:solidFill>
                  <a:srgbClr val="0000FF"/>
                </a:solidFill>
                <a:latin typeface="Arial"/>
              </a:rPr>
              <a:t> </a:t>
            </a:r>
            <a:r>
              <a:rPr lang="de-DE" sz="2400" dirty="0" err="1">
                <a:solidFill>
                  <a:srgbClr val="0000FF"/>
                </a:solidFill>
                <a:latin typeface="Arial"/>
              </a:rPr>
              <a:t>the</a:t>
            </a:r>
            <a:r>
              <a:rPr lang="de-DE" sz="2400" dirty="0">
                <a:solidFill>
                  <a:srgbClr val="0000FF"/>
                </a:solidFill>
                <a:latin typeface="Arial"/>
              </a:rPr>
              <a:t> Horizontal </a:t>
            </a:r>
            <a:r>
              <a:rPr lang="de-DE" sz="2400" dirty="0" err="1">
                <a:solidFill>
                  <a:srgbClr val="0000FF"/>
                </a:solidFill>
                <a:latin typeface="Arial"/>
              </a:rPr>
              <a:t>Feedwater</a:t>
            </a:r>
            <a:r>
              <a:rPr lang="de-DE" sz="2400" dirty="0">
                <a:solidFill>
                  <a:srgbClr val="0000FF"/>
                </a:solidFill>
                <a:latin typeface="Arial"/>
              </a:rPr>
              <a:t> Pump </a:t>
            </a:r>
            <a:r>
              <a:rPr lang="de-DE" sz="2400" dirty="0" err="1">
                <a:solidFill>
                  <a:srgbClr val="0000FF"/>
                </a:solidFill>
                <a:latin typeface="Arial"/>
              </a:rPr>
              <a:t>with</a:t>
            </a:r>
            <a:r>
              <a:rPr lang="de-DE" sz="2400" dirty="0">
                <a:solidFill>
                  <a:srgbClr val="0000FF"/>
                </a:solidFill>
                <a:latin typeface="Arial"/>
              </a:rPr>
              <a:t> Interactions</a:t>
            </a:r>
          </a:p>
          <a:p>
            <a:pPr>
              <a:defRPr/>
            </a:pPr>
            <a:r>
              <a:rPr lang="de-DE" sz="2400" b="0" dirty="0">
                <a:latin typeface="Arial"/>
              </a:rPr>
              <a:t>Input Output Relations </a:t>
            </a:r>
            <a:r>
              <a:rPr lang="de-DE" sz="2400" b="0" dirty="0" err="1">
                <a:latin typeface="Arial"/>
              </a:rPr>
              <a:t>for</a:t>
            </a:r>
            <a:r>
              <a:rPr lang="de-DE" sz="2400" b="0" dirty="0">
                <a:latin typeface="Arial"/>
              </a:rPr>
              <a:t> </a:t>
            </a:r>
            <a:r>
              <a:rPr lang="de-DE" sz="2400" b="0" dirty="0" err="1">
                <a:latin typeface="Arial"/>
              </a:rPr>
              <a:t>the</a:t>
            </a:r>
            <a:r>
              <a:rPr lang="de-DE" sz="2400" b="0" dirty="0">
                <a:latin typeface="Arial"/>
              </a:rPr>
              <a:t> Pump System</a:t>
            </a:r>
            <a:endParaRPr lang="de-DE" sz="2400" dirty="0">
              <a:latin typeface="Arial"/>
            </a:endParaRPr>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Textfeld 2">
            <a:extLst>
              <a:ext uri="{FF2B5EF4-FFF2-40B4-BE49-F238E27FC236}">
                <a16:creationId xmlns:a16="http://schemas.microsoft.com/office/drawing/2014/main" id="{BB5BB105-8A63-3C87-8C8C-60D09DBFBE50}"/>
              </a:ext>
            </a:extLst>
          </p:cNvPr>
          <p:cNvSpPr txBox="1">
            <a:spLocks noChangeArrowheads="1"/>
          </p:cNvSpPr>
          <p:nvPr/>
        </p:nvSpPr>
        <p:spPr bwMode="auto">
          <a:xfrm>
            <a:off x="1168671" y="1996264"/>
            <a:ext cx="3345384" cy="2400657"/>
          </a:xfrm>
          <a:prstGeom prst="rect">
            <a:avLst/>
          </a:prstGeom>
          <a:noFill/>
          <a:ln w="38100">
            <a:solidFill>
              <a:srgbClr val="FF0000"/>
            </a:solidFill>
            <a:miter lim="800000"/>
            <a:headEnd/>
            <a:tailEnd/>
          </a:ln>
        </p:spPr>
        <p:txBody>
          <a:bodyPr wrap="square">
            <a:spAutoFit/>
          </a:bodyPr>
          <a:lstStyle>
            <a:lvl1pPr>
              <a:spcBef>
                <a:spcPct val="20000"/>
              </a:spcBef>
              <a:buFont typeface="Wingdings" panose="05000000000000000000" pitchFamily="2" charset="2"/>
              <a:buChar char="§"/>
              <a:defRPr sz="2000">
                <a:solidFill>
                  <a:schemeClr val="tx1"/>
                </a:solidFill>
                <a:latin typeface="Arial" panose="020B0604020202020204" pitchFamily="34" charset="0"/>
              </a:defRPr>
            </a:lvl1pPr>
            <a:lvl2pPr marL="742950" indent="-285750">
              <a:spcBef>
                <a:spcPct val="20000"/>
              </a:spcBef>
              <a:buFont typeface="Wingdings" panose="05000000000000000000" pitchFamily="2" charset="2"/>
              <a:buChar char="§"/>
              <a:defRPr>
                <a:solidFill>
                  <a:schemeClr val="tx1"/>
                </a:solidFill>
                <a:latin typeface="Arial" panose="020B0604020202020204" pitchFamily="34" charset="0"/>
              </a:defRPr>
            </a:lvl2pPr>
            <a:lvl3pPr marL="1143000" indent="-228600">
              <a:spcBef>
                <a:spcPct val="20000"/>
              </a:spcBef>
              <a:buFont typeface="Wingdings" panose="05000000000000000000" pitchFamily="2" charset="2"/>
              <a:buChar char="§"/>
              <a:defRPr>
                <a:solidFill>
                  <a:schemeClr val="tx1"/>
                </a:solidFill>
                <a:latin typeface="Arial" panose="020B0604020202020204" pitchFamily="34" charset="0"/>
              </a:defRPr>
            </a:lvl3pPr>
            <a:lvl4pPr marL="1600200" indent="-228600">
              <a:spcBef>
                <a:spcPct val="20000"/>
              </a:spcBef>
              <a:buFont typeface="Wingdings" panose="05000000000000000000" pitchFamily="2" charset="2"/>
              <a:buChar char="§"/>
              <a:defRPr sz="1600">
                <a:solidFill>
                  <a:schemeClr val="tx1"/>
                </a:solidFill>
                <a:latin typeface="Arial" panose="020B0604020202020204" pitchFamily="34" charset="0"/>
              </a:defRPr>
            </a:lvl4pPr>
            <a:lvl5pPr marL="2057400" indent="-228600">
              <a:spcBef>
                <a:spcPct val="20000"/>
              </a:spcBef>
              <a:buFont typeface="Wingdings" panose="05000000000000000000" pitchFamily="2" charset="2"/>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1600">
                <a:solidFill>
                  <a:schemeClr val="tx1"/>
                </a:solidFill>
                <a:latin typeface="Arial" panose="020B0604020202020204" pitchFamily="34" charset="0"/>
              </a:defRPr>
            </a:lvl9pPr>
          </a:lstStyle>
          <a:p>
            <a:pPr eaLnBrk="1" hangingPunct="1">
              <a:spcBef>
                <a:spcPct val="0"/>
              </a:spcBef>
              <a:buNone/>
              <a:defRPr/>
            </a:pPr>
            <a:r>
              <a:rPr lang="de-DE" altLang="de-DE" sz="2400" dirty="0" err="1">
                <a:solidFill>
                  <a:srgbClr val="FF0000"/>
                </a:solidFill>
                <a:latin typeface="Arial"/>
              </a:rPr>
              <a:t>Excitations</a:t>
            </a:r>
            <a:r>
              <a:rPr lang="de-DE" altLang="de-DE" sz="2400" dirty="0">
                <a:solidFill>
                  <a:srgbClr val="FF0000"/>
                </a:solidFill>
                <a:latin typeface="Arial"/>
              </a:rPr>
              <a:t> F</a:t>
            </a:r>
            <a:r>
              <a:rPr lang="de-DE" altLang="de-DE" sz="2400" b="0" dirty="0">
                <a:solidFill>
                  <a:srgbClr val="FF0000"/>
                </a:solidFill>
                <a:latin typeface="Arial"/>
              </a:rPr>
              <a:t>(t)</a:t>
            </a:r>
          </a:p>
          <a:p>
            <a:pPr eaLnBrk="1" hangingPunct="1">
              <a:spcBef>
                <a:spcPct val="0"/>
              </a:spcBef>
              <a:buNone/>
              <a:defRPr/>
            </a:pPr>
            <a:endParaRPr lang="de-DE" altLang="de-DE" sz="1800" dirty="0">
              <a:solidFill>
                <a:srgbClr val="000000"/>
              </a:solidFill>
              <a:latin typeface="Verdana" panose="020B0604030504040204" pitchFamily="34" charset="0"/>
            </a:endParaRPr>
          </a:p>
          <a:p>
            <a:pPr eaLnBrk="1" hangingPunct="1">
              <a:spcBef>
                <a:spcPct val="0"/>
              </a:spcBef>
              <a:buNone/>
              <a:defRPr/>
            </a:pPr>
            <a:r>
              <a:rPr lang="de-DE" altLang="de-DE" sz="1800" b="0" dirty="0" err="1">
                <a:solidFill>
                  <a:srgbClr val="FF0000"/>
                </a:solidFill>
                <a:latin typeface="Verdana" panose="020B0604030504040204" pitchFamily="34" charset="0"/>
              </a:rPr>
              <a:t>Mechanical</a:t>
            </a:r>
            <a:r>
              <a:rPr lang="de-DE" altLang="de-DE" sz="1800" b="0" dirty="0">
                <a:solidFill>
                  <a:srgbClr val="FF0000"/>
                </a:solidFill>
                <a:latin typeface="Verdana" panose="020B0604030504040204" pitchFamily="34" charset="0"/>
              </a:rPr>
              <a:t> </a:t>
            </a:r>
            <a:r>
              <a:rPr lang="de-DE" altLang="de-DE" sz="1800" b="0" dirty="0" err="1">
                <a:solidFill>
                  <a:srgbClr val="FF0000"/>
                </a:solidFill>
                <a:latin typeface="Verdana" panose="020B0604030504040204" pitchFamily="34" charset="0"/>
              </a:rPr>
              <a:t>Unbalance</a:t>
            </a:r>
            <a:endParaRPr lang="de-DE" altLang="de-DE" sz="1800" b="0" dirty="0">
              <a:solidFill>
                <a:srgbClr val="FF0000"/>
              </a:solidFill>
              <a:latin typeface="Verdana" panose="020B0604030504040204" pitchFamily="34" charset="0"/>
            </a:endParaRPr>
          </a:p>
          <a:p>
            <a:pPr eaLnBrk="1" hangingPunct="1">
              <a:spcBef>
                <a:spcPct val="0"/>
              </a:spcBef>
              <a:buNone/>
              <a:defRPr/>
            </a:pPr>
            <a:endParaRPr lang="de-DE" altLang="de-DE" sz="1800" b="0" dirty="0">
              <a:solidFill>
                <a:srgbClr val="FF0000"/>
              </a:solidFill>
              <a:latin typeface="Verdana" panose="020B0604030504040204" pitchFamily="34" charset="0"/>
            </a:endParaRPr>
          </a:p>
          <a:p>
            <a:pPr eaLnBrk="1" hangingPunct="1">
              <a:spcBef>
                <a:spcPct val="0"/>
              </a:spcBef>
              <a:buNone/>
              <a:defRPr/>
            </a:pPr>
            <a:r>
              <a:rPr lang="de-DE" altLang="de-DE" sz="1800" b="0" dirty="0" err="1">
                <a:solidFill>
                  <a:srgbClr val="FF0000"/>
                </a:solidFill>
                <a:latin typeface="Verdana" panose="020B0604030504040204" pitchFamily="34" charset="0"/>
              </a:rPr>
              <a:t>Hydraulic</a:t>
            </a:r>
            <a:r>
              <a:rPr lang="de-DE" altLang="de-DE" sz="1800" b="0" dirty="0">
                <a:solidFill>
                  <a:srgbClr val="FF0000"/>
                </a:solidFill>
                <a:latin typeface="Verdana" panose="020B0604030504040204" pitchFamily="34" charset="0"/>
              </a:rPr>
              <a:t> </a:t>
            </a:r>
            <a:r>
              <a:rPr lang="de-DE" altLang="de-DE" sz="1800" b="0" dirty="0" err="1">
                <a:solidFill>
                  <a:srgbClr val="FF0000"/>
                </a:solidFill>
                <a:latin typeface="Verdana" panose="020B0604030504040204" pitchFamily="34" charset="0"/>
              </a:rPr>
              <a:t>Unbalance</a:t>
            </a:r>
            <a:endParaRPr lang="de-DE" altLang="de-DE" sz="1800" b="0" dirty="0">
              <a:solidFill>
                <a:srgbClr val="FF0000"/>
              </a:solidFill>
              <a:latin typeface="Verdana" panose="020B0604030504040204" pitchFamily="34" charset="0"/>
            </a:endParaRPr>
          </a:p>
          <a:p>
            <a:pPr eaLnBrk="1" hangingPunct="1">
              <a:spcBef>
                <a:spcPct val="0"/>
              </a:spcBef>
              <a:buNone/>
              <a:defRPr/>
            </a:pPr>
            <a:endParaRPr lang="de-DE" altLang="de-DE" sz="1800" b="0" dirty="0">
              <a:solidFill>
                <a:srgbClr val="FF0000"/>
              </a:solidFill>
              <a:latin typeface="Verdana" panose="020B0604030504040204" pitchFamily="34" charset="0"/>
            </a:endParaRPr>
          </a:p>
          <a:p>
            <a:pPr eaLnBrk="1" hangingPunct="1">
              <a:spcBef>
                <a:spcPct val="0"/>
              </a:spcBef>
              <a:buNone/>
              <a:defRPr/>
            </a:pPr>
            <a:r>
              <a:rPr lang="de-DE" altLang="de-DE" sz="1800" b="0" dirty="0">
                <a:solidFill>
                  <a:srgbClr val="FF0000"/>
                </a:solidFill>
                <a:latin typeface="Verdana" panose="020B0604030504040204" pitchFamily="34" charset="0"/>
              </a:rPr>
              <a:t>Fluid Forces (Vane Passing)</a:t>
            </a:r>
          </a:p>
          <a:p>
            <a:pPr eaLnBrk="1" hangingPunct="1">
              <a:spcBef>
                <a:spcPct val="0"/>
              </a:spcBef>
              <a:buNone/>
              <a:defRPr/>
            </a:pPr>
            <a:endParaRPr lang="de-DE" altLang="de-DE" sz="1800" dirty="0">
              <a:solidFill>
                <a:srgbClr val="FF0000"/>
              </a:solidFill>
              <a:latin typeface="Verdana" panose="020B0604030504040204" pitchFamily="34" charset="0"/>
            </a:endParaRPr>
          </a:p>
        </p:txBody>
      </p:sp>
      <p:sp>
        <p:nvSpPr>
          <p:cNvPr id="28675" name="Textfeld 3">
            <a:extLst>
              <a:ext uri="{FF2B5EF4-FFF2-40B4-BE49-F238E27FC236}">
                <a16:creationId xmlns:a16="http://schemas.microsoft.com/office/drawing/2014/main" id="{4A0208AC-C43D-36E6-468E-F70752F9C3B2}"/>
              </a:ext>
            </a:extLst>
          </p:cNvPr>
          <p:cNvSpPr txBox="1">
            <a:spLocks noChangeArrowheads="1"/>
          </p:cNvSpPr>
          <p:nvPr/>
        </p:nvSpPr>
        <p:spPr bwMode="auto">
          <a:xfrm>
            <a:off x="7554685" y="1950099"/>
            <a:ext cx="4167119" cy="2400657"/>
          </a:xfrm>
          <a:prstGeom prst="rect">
            <a:avLst/>
          </a:prstGeom>
          <a:noFill/>
          <a:ln w="38100">
            <a:solidFill>
              <a:srgbClr val="00B050"/>
            </a:solidFill>
            <a:miter lim="800000"/>
            <a:headEnd/>
            <a:tailEnd/>
          </a:ln>
        </p:spPr>
        <p:txBody>
          <a:bodyPr wrap="square">
            <a:spAutoFit/>
          </a:bodyPr>
          <a:lstStyle>
            <a:lvl1pPr>
              <a:spcBef>
                <a:spcPct val="20000"/>
              </a:spcBef>
              <a:buFont typeface="Wingdings" panose="05000000000000000000" pitchFamily="2" charset="2"/>
              <a:buChar char="§"/>
              <a:defRPr sz="2000">
                <a:solidFill>
                  <a:schemeClr val="tx1"/>
                </a:solidFill>
                <a:latin typeface="Arial" panose="020B0604020202020204" pitchFamily="34" charset="0"/>
              </a:defRPr>
            </a:lvl1pPr>
            <a:lvl2pPr marL="742950" indent="-285750">
              <a:spcBef>
                <a:spcPct val="20000"/>
              </a:spcBef>
              <a:buFont typeface="Wingdings" panose="05000000000000000000" pitchFamily="2" charset="2"/>
              <a:buChar char="§"/>
              <a:defRPr>
                <a:solidFill>
                  <a:schemeClr val="tx1"/>
                </a:solidFill>
                <a:latin typeface="Arial" panose="020B0604020202020204" pitchFamily="34" charset="0"/>
              </a:defRPr>
            </a:lvl2pPr>
            <a:lvl3pPr marL="1143000" indent="-228600">
              <a:spcBef>
                <a:spcPct val="20000"/>
              </a:spcBef>
              <a:buFont typeface="Wingdings" panose="05000000000000000000" pitchFamily="2" charset="2"/>
              <a:buChar char="§"/>
              <a:defRPr>
                <a:solidFill>
                  <a:schemeClr val="tx1"/>
                </a:solidFill>
                <a:latin typeface="Arial" panose="020B0604020202020204" pitchFamily="34" charset="0"/>
              </a:defRPr>
            </a:lvl3pPr>
            <a:lvl4pPr marL="1600200" indent="-228600">
              <a:spcBef>
                <a:spcPct val="20000"/>
              </a:spcBef>
              <a:buFont typeface="Wingdings" panose="05000000000000000000" pitchFamily="2" charset="2"/>
              <a:buChar char="§"/>
              <a:defRPr sz="1600">
                <a:solidFill>
                  <a:schemeClr val="tx1"/>
                </a:solidFill>
                <a:latin typeface="Arial" panose="020B0604020202020204" pitchFamily="34" charset="0"/>
              </a:defRPr>
            </a:lvl4pPr>
            <a:lvl5pPr marL="2057400" indent="-228600">
              <a:spcBef>
                <a:spcPct val="20000"/>
              </a:spcBef>
              <a:buFont typeface="Wingdings" panose="05000000000000000000" pitchFamily="2" charset="2"/>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1600">
                <a:solidFill>
                  <a:schemeClr val="tx1"/>
                </a:solidFill>
                <a:latin typeface="Arial" panose="020B0604020202020204" pitchFamily="34" charset="0"/>
              </a:defRPr>
            </a:lvl9pPr>
          </a:lstStyle>
          <a:p>
            <a:pPr eaLnBrk="1" hangingPunct="1">
              <a:spcBef>
                <a:spcPct val="0"/>
              </a:spcBef>
              <a:buNone/>
              <a:defRPr/>
            </a:pPr>
            <a:r>
              <a:rPr lang="de-DE" altLang="de-DE" sz="2400" dirty="0">
                <a:solidFill>
                  <a:srgbClr val="00B050"/>
                </a:solidFill>
                <a:latin typeface="Arial"/>
              </a:rPr>
              <a:t>Vibration Response x</a:t>
            </a:r>
            <a:r>
              <a:rPr lang="de-DE" altLang="de-DE" sz="2400" b="0" dirty="0">
                <a:solidFill>
                  <a:srgbClr val="00B050"/>
                </a:solidFill>
                <a:latin typeface="Arial"/>
              </a:rPr>
              <a:t>(t)</a:t>
            </a:r>
          </a:p>
          <a:p>
            <a:pPr eaLnBrk="1" hangingPunct="1">
              <a:spcBef>
                <a:spcPct val="0"/>
              </a:spcBef>
              <a:buNone/>
              <a:defRPr/>
            </a:pPr>
            <a:endParaRPr lang="de-DE" altLang="de-DE" sz="1800" dirty="0">
              <a:solidFill>
                <a:srgbClr val="000000"/>
              </a:solidFill>
              <a:latin typeface="Verdana" panose="020B0604030504040204" pitchFamily="34" charset="0"/>
            </a:endParaRPr>
          </a:p>
          <a:p>
            <a:pPr eaLnBrk="1" hangingPunct="1">
              <a:spcBef>
                <a:spcPct val="0"/>
              </a:spcBef>
              <a:buNone/>
              <a:defRPr/>
            </a:pPr>
            <a:r>
              <a:rPr lang="de-DE" altLang="de-DE" sz="1800" b="0" dirty="0">
                <a:solidFill>
                  <a:srgbClr val="00B050"/>
                </a:solidFill>
                <a:latin typeface="Verdana" panose="020B0604030504040204" pitchFamily="34" charset="0"/>
              </a:rPr>
              <a:t>   Mech. </a:t>
            </a:r>
            <a:r>
              <a:rPr lang="de-DE" altLang="de-DE" sz="1800" b="0" dirty="0" err="1">
                <a:solidFill>
                  <a:srgbClr val="00B050"/>
                </a:solidFill>
                <a:latin typeface="Verdana" panose="020B0604030504040204" pitchFamily="34" charset="0"/>
              </a:rPr>
              <a:t>Unbalance</a:t>
            </a:r>
            <a:r>
              <a:rPr lang="de-DE" altLang="de-DE" sz="1800" b="0" dirty="0">
                <a:solidFill>
                  <a:srgbClr val="00B050"/>
                </a:solidFill>
                <a:latin typeface="Verdana" panose="020B0604030504040204" pitchFamily="34" charset="0"/>
              </a:rPr>
              <a:t> Response</a:t>
            </a:r>
          </a:p>
          <a:p>
            <a:pPr eaLnBrk="1" hangingPunct="1">
              <a:spcBef>
                <a:spcPct val="0"/>
              </a:spcBef>
              <a:buNone/>
              <a:defRPr/>
            </a:pPr>
            <a:endParaRPr lang="de-DE" altLang="de-DE" sz="1800" b="0" dirty="0">
              <a:solidFill>
                <a:srgbClr val="00B050"/>
              </a:solidFill>
              <a:latin typeface="Verdana" panose="020B0604030504040204" pitchFamily="34" charset="0"/>
            </a:endParaRPr>
          </a:p>
          <a:p>
            <a:pPr eaLnBrk="1" hangingPunct="1">
              <a:spcBef>
                <a:spcPct val="0"/>
              </a:spcBef>
              <a:buNone/>
              <a:defRPr/>
            </a:pPr>
            <a:r>
              <a:rPr lang="de-DE" altLang="de-DE" sz="1800" b="0" dirty="0">
                <a:solidFill>
                  <a:srgbClr val="00B050"/>
                </a:solidFill>
                <a:latin typeface="Verdana" panose="020B0604030504040204" pitchFamily="34" charset="0"/>
              </a:rPr>
              <a:t>   </a:t>
            </a:r>
            <a:r>
              <a:rPr lang="de-DE" altLang="de-DE" sz="1800" b="0" dirty="0" err="1">
                <a:solidFill>
                  <a:srgbClr val="00B050"/>
                </a:solidFill>
                <a:latin typeface="Verdana" panose="020B0604030504040204" pitchFamily="34" charset="0"/>
              </a:rPr>
              <a:t>Hydraulic</a:t>
            </a:r>
            <a:r>
              <a:rPr lang="de-DE" altLang="de-DE" sz="1800" b="0" dirty="0">
                <a:solidFill>
                  <a:srgbClr val="00B050"/>
                </a:solidFill>
                <a:latin typeface="Verdana" panose="020B0604030504040204" pitchFamily="34" charset="0"/>
              </a:rPr>
              <a:t> </a:t>
            </a:r>
            <a:r>
              <a:rPr lang="de-DE" altLang="de-DE" sz="1800" b="0" dirty="0" err="1">
                <a:solidFill>
                  <a:srgbClr val="00B050"/>
                </a:solidFill>
                <a:latin typeface="Verdana" panose="020B0604030504040204" pitchFamily="34" charset="0"/>
              </a:rPr>
              <a:t>Unbalance</a:t>
            </a:r>
            <a:r>
              <a:rPr lang="de-DE" altLang="de-DE" sz="1800" b="0" dirty="0">
                <a:solidFill>
                  <a:srgbClr val="00B050"/>
                </a:solidFill>
                <a:latin typeface="Verdana" panose="020B0604030504040204" pitchFamily="34" charset="0"/>
              </a:rPr>
              <a:t> Response</a:t>
            </a:r>
          </a:p>
          <a:p>
            <a:pPr eaLnBrk="1" hangingPunct="1">
              <a:spcBef>
                <a:spcPct val="0"/>
              </a:spcBef>
              <a:buNone/>
              <a:defRPr/>
            </a:pPr>
            <a:endParaRPr lang="de-DE" altLang="de-DE" sz="1800" b="0" dirty="0">
              <a:solidFill>
                <a:srgbClr val="00B050"/>
              </a:solidFill>
              <a:latin typeface="Verdana" panose="020B0604030504040204" pitchFamily="34" charset="0"/>
              <a:cs typeface="Times New Roman" panose="02020603050405020304" pitchFamily="18" charset="0"/>
            </a:endParaRPr>
          </a:p>
          <a:p>
            <a:pPr eaLnBrk="1" hangingPunct="1">
              <a:spcBef>
                <a:spcPct val="0"/>
              </a:spcBef>
              <a:buNone/>
              <a:defRPr/>
            </a:pPr>
            <a:r>
              <a:rPr lang="de-DE" altLang="de-DE" sz="1800" b="0" dirty="0">
                <a:solidFill>
                  <a:srgbClr val="00B050"/>
                </a:solidFill>
                <a:latin typeface="Verdana" panose="020B0604030504040204" pitchFamily="34" charset="0"/>
                <a:cs typeface="Times New Roman" panose="02020603050405020304" pitchFamily="18" charset="0"/>
              </a:rPr>
              <a:t>   Response </a:t>
            </a:r>
            <a:r>
              <a:rPr lang="de-DE" altLang="de-DE" sz="1800" b="0" dirty="0" err="1">
                <a:solidFill>
                  <a:srgbClr val="00B050"/>
                </a:solidFill>
                <a:latin typeface="Verdana" panose="020B0604030504040204" pitchFamily="34" charset="0"/>
                <a:cs typeface="Times New Roman" panose="02020603050405020304" pitchFamily="18" charset="0"/>
              </a:rPr>
              <a:t>to</a:t>
            </a:r>
            <a:r>
              <a:rPr lang="de-DE" altLang="de-DE" sz="1800" b="0" dirty="0">
                <a:solidFill>
                  <a:srgbClr val="00B050"/>
                </a:solidFill>
                <a:latin typeface="Verdana" panose="020B0604030504040204" pitchFamily="34" charset="0"/>
                <a:cs typeface="Times New Roman" panose="02020603050405020304" pitchFamily="18" charset="0"/>
              </a:rPr>
              <a:t> Fluid Forces</a:t>
            </a:r>
            <a:endParaRPr lang="de-DE" altLang="de-DE" sz="1800" b="0" dirty="0">
              <a:solidFill>
                <a:srgbClr val="00B050"/>
              </a:solidFill>
              <a:latin typeface="Times New Roman" panose="02020603050405020304" pitchFamily="18" charset="0"/>
              <a:cs typeface="Times New Roman" panose="02020603050405020304" pitchFamily="18" charset="0"/>
            </a:endParaRPr>
          </a:p>
          <a:p>
            <a:pPr eaLnBrk="1" hangingPunct="1">
              <a:spcBef>
                <a:spcPct val="0"/>
              </a:spcBef>
              <a:buNone/>
              <a:defRPr/>
            </a:pPr>
            <a:r>
              <a:rPr lang="de-DE" altLang="de-DE" sz="1800" dirty="0">
                <a:solidFill>
                  <a:srgbClr val="000000"/>
                </a:solidFill>
                <a:latin typeface="Times New Roman" panose="02020603050405020304" pitchFamily="18" charset="0"/>
                <a:cs typeface="Times New Roman" panose="02020603050405020304" pitchFamily="18" charset="0"/>
              </a:rPr>
              <a:t>   </a:t>
            </a:r>
            <a:endParaRPr lang="de-DE" altLang="de-DE" sz="1800" dirty="0">
              <a:solidFill>
                <a:srgbClr val="000000"/>
              </a:solidFill>
              <a:latin typeface="Verdana" panose="020B0604030504040204" pitchFamily="34" charset="0"/>
            </a:endParaRPr>
          </a:p>
        </p:txBody>
      </p:sp>
      <p:sp>
        <p:nvSpPr>
          <p:cNvPr id="28676" name="Textfeld 5">
            <a:extLst>
              <a:ext uri="{FF2B5EF4-FFF2-40B4-BE49-F238E27FC236}">
                <a16:creationId xmlns:a16="http://schemas.microsoft.com/office/drawing/2014/main" id="{CE792DE7-A8C1-79A1-A7B4-62ED8DF77FEF}"/>
              </a:ext>
            </a:extLst>
          </p:cNvPr>
          <p:cNvSpPr txBox="1">
            <a:spLocks noChangeArrowheads="1"/>
          </p:cNvSpPr>
          <p:nvPr/>
        </p:nvSpPr>
        <p:spPr bwMode="auto">
          <a:xfrm>
            <a:off x="1191168" y="4676474"/>
            <a:ext cx="10504737" cy="1569660"/>
          </a:xfrm>
          <a:prstGeom prst="rect">
            <a:avLst/>
          </a:prstGeom>
          <a:noFill/>
          <a:ln w="38100">
            <a:solidFill>
              <a:srgbClr val="0000FF"/>
            </a:solidFill>
            <a:miter lim="800000"/>
            <a:headEnd/>
            <a:tailEnd/>
          </a:ln>
        </p:spPr>
        <p:txBody>
          <a:bodyPr wrap="square">
            <a:spAutoFit/>
          </a:bodyPr>
          <a:lstStyle>
            <a:lvl1pPr>
              <a:spcBef>
                <a:spcPct val="20000"/>
              </a:spcBef>
              <a:buFont typeface="Wingdings" panose="05000000000000000000" pitchFamily="2" charset="2"/>
              <a:buChar char="§"/>
              <a:defRPr sz="2000">
                <a:solidFill>
                  <a:schemeClr val="tx1"/>
                </a:solidFill>
                <a:latin typeface="Arial" panose="020B0604020202020204" pitchFamily="34" charset="0"/>
              </a:defRPr>
            </a:lvl1pPr>
            <a:lvl2pPr marL="742950" indent="-285750">
              <a:spcBef>
                <a:spcPct val="20000"/>
              </a:spcBef>
              <a:buFont typeface="Wingdings" panose="05000000000000000000" pitchFamily="2" charset="2"/>
              <a:buChar char="§"/>
              <a:defRPr>
                <a:solidFill>
                  <a:schemeClr val="tx1"/>
                </a:solidFill>
                <a:latin typeface="Arial" panose="020B0604020202020204" pitchFamily="34" charset="0"/>
              </a:defRPr>
            </a:lvl2pPr>
            <a:lvl3pPr marL="1143000" indent="-228600">
              <a:spcBef>
                <a:spcPct val="20000"/>
              </a:spcBef>
              <a:buFont typeface="Wingdings" panose="05000000000000000000" pitchFamily="2" charset="2"/>
              <a:buChar char="§"/>
              <a:defRPr>
                <a:solidFill>
                  <a:schemeClr val="tx1"/>
                </a:solidFill>
                <a:latin typeface="Arial" panose="020B0604020202020204" pitchFamily="34" charset="0"/>
              </a:defRPr>
            </a:lvl3pPr>
            <a:lvl4pPr marL="1600200" indent="-228600">
              <a:spcBef>
                <a:spcPct val="20000"/>
              </a:spcBef>
              <a:buFont typeface="Wingdings" panose="05000000000000000000" pitchFamily="2" charset="2"/>
              <a:buChar char="§"/>
              <a:defRPr sz="1600">
                <a:solidFill>
                  <a:schemeClr val="tx1"/>
                </a:solidFill>
                <a:latin typeface="Arial" panose="020B0604020202020204" pitchFamily="34" charset="0"/>
              </a:defRPr>
            </a:lvl4pPr>
            <a:lvl5pPr marL="2057400" indent="-228600">
              <a:spcBef>
                <a:spcPct val="20000"/>
              </a:spcBef>
              <a:buFont typeface="Wingdings" panose="05000000000000000000" pitchFamily="2" charset="2"/>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1600">
                <a:solidFill>
                  <a:schemeClr val="tx1"/>
                </a:solidFill>
                <a:latin typeface="Arial" panose="020B0604020202020204" pitchFamily="34" charset="0"/>
              </a:defRPr>
            </a:lvl9pPr>
          </a:lstStyle>
          <a:p>
            <a:pPr eaLnBrk="1" hangingPunct="1">
              <a:spcBef>
                <a:spcPct val="0"/>
              </a:spcBef>
              <a:buNone/>
              <a:defRPr/>
            </a:pPr>
            <a:r>
              <a:rPr lang="de-DE" altLang="de-DE" sz="2400" dirty="0">
                <a:solidFill>
                  <a:srgbClr val="0000FF"/>
                </a:solidFill>
                <a:latin typeface="Arial"/>
              </a:rPr>
              <a:t>Dynamic </a:t>
            </a:r>
            <a:r>
              <a:rPr lang="de-DE" altLang="de-DE" sz="2400" dirty="0" err="1">
                <a:solidFill>
                  <a:srgbClr val="0000FF"/>
                </a:solidFill>
                <a:latin typeface="Arial"/>
              </a:rPr>
              <a:t>Characteristics</a:t>
            </a:r>
            <a:r>
              <a:rPr lang="de-DE" altLang="de-DE" sz="2400" dirty="0">
                <a:solidFill>
                  <a:srgbClr val="0000FF"/>
                </a:solidFill>
                <a:latin typeface="Arial"/>
              </a:rPr>
              <a:t> </a:t>
            </a:r>
            <a:r>
              <a:rPr lang="de-DE" altLang="de-DE" sz="2400" dirty="0" err="1">
                <a:solidFill>
                  <a:srgbClr val="0000FF"/>
                </a:solidFill>
                <a:latin typeface="Arial"/>
              </a:rPr>
              <a:t>of</a:t>
            </a:r>
            <a:r>
              <a:rPr lang="de-DE" altLang="de-DE" sz="2400" dirty="0">
                <a:solidFill>
                  <a:srgbClr val="0000FF"/>
                </a:solidFill>
                <a:latin typeface="Arial"/>
              </a:rPr>
              <a:t> </a:t>
            </a:r>
            <a:r>
              <a:rPr lang="de-DE" altLang="de-DE" sz="2400" dirty="0" err="1">
                <a:solidFill>
                  <a:srgbClr val="0000FF"/>
                </a:solidFill>
                <a:latin typeface="Arial"/>
              </a:rPr>
              <a:t>the</a:t>
            </a:r>
            <a:r>
              <a:rPr lang="de-DE" altLang="de-DE" sz="2400" dirty="0">
                <a:solidFill>
                  <a:srgbClr val="0000FF"/>
                </a:solidFill>
                <a:latin typeface="Arial"/>
              </a:rPr>
              <a:t> Pump System:</a:t>
            </a:r>
          </a:p>
          <a:p>
            <a:pPr eaLnBrk="1" hangingPunct="1">
              <a:spcBef>
                <a:spcPct val="0"/>
              </a:spcBef>
              <a:buNone/>
              <a:defRPr/>
            </a:pPr>
            <a:endParaRPr lang="de-DE" altLang="de-DE" sz="1800" b="0" dirty="0">
              <a:solidFill>
                <a:srgbClr val="0000FF"/>
              </a:solidFill>
              <a:latin typeface="Verdana" panose="020B0604030504040204" pitchFamily="34" charset="0"/>
            </a:endParaRPr>
          </a:p>
          <a:p>
            <a:pPr eaLnBrk="1" hangingPunct="1">
              <a:spcBef>
                <a:spcPct val="0"/>
              </a:spcBef>
              <a:buNone/>
              <a:defRPr/>
            </a:pPr>
            <a:r>
              <a:rPr lang="de-DE" altLang="de-DE" sz="1800" dirty="0" err="1">
                <a:solidFill>
                  <a:srgbClr val="0000FF"/>
                </a:solidFill>
                <a:latin typeface="Verdana" panose="020B0604030504040204" pitchFamily="34" charset="0"/>
              </a:rPr>
              <a:t>Physical</a:t>
            </a:r>
            <a:r>
              <a:rPr lang="de-DE" altLang="de-DE" sz="1800" dirty="0">
                <a:solidFill>
                  <a:srgbClr val="0000FF"/>
                </a:solidFill>
                <a:latin typeface="Verdana" panose="020B0604030504040204" pitchFamily="34" charset="0"/>
              </a:rPr>
              <a:t> Parameters</a:t>
            </a:r>
            <a:r>
              <a:rPr lang="de-DE" altLang="de-DE" sz="1800" b="0" dirty="0">
                <a:solidFill>
                  <a:srgbClr val="0000FF"/>
                </a:solidFill>
                <a:latin typeface="Verdana" panose="020B0604030504040204" pitchFamily="34" charset="0"/>
              </a:rPr>
              <a:t>: </a:t>
            </a:r>
            <a:r>
              <a:rPr lang="de-DE" altLang="de-DE" sz="1800" b="0" dirty="0" err="1">
                <a:solidFill>
                  <a:srgbClr val="000000"/>
                </a:solidFill>
                <a:latin typeface="Verdana" panose="020B0604030504040204" pitchFamily="34" charset="0"/>
              </a:rPr>
              <a:t>Mass</a:t>
            </a:r>
            <a:r>
              <a:rPr lang="de-DE" altLang="de-DE" sz="1800" b="0" dirty="0">
                <a:solidFill>
                  <a:srgbClr val="000000"/>
                </a:solidFill>
                <a:latin typeface="Verdana" panose="020B0604030504040204" pitchFamily="34" charset="0"/>
              </a:rPr>
              <a:t>, </a:t>
            </a:r>
            <a:r>
              <a:rPr lang="de-DE" altLang="de-DE" sz="1800" b="0" dirty="0" err="1">
                <a:solidFill>
                  <a:srgbClr val="000000"/>
                </a:solidFill>
                <a:latin typeface="Verdana" panose="020B0604030504040204" pitchFamily="34" charset="0"/>
              </a:rPr>
              <a:t>Damping</a:t>
            </a:r>
            <a:r>
              <a:rPr lang="de-DE" altLang="de-DE" sz="1800" b="0" dirty="0">
                <a:solidFill>
                  <a:srgbClr val="000000"/>
                </a:solidFill>
                <a:latin typeface="Verdana" panose="020B0604030504040204" pitchFamily="34" charset="0"/>
              </a:rPr>
              <a:t>, </a:t>
            </a:r>
            <a:r>
              <a:rPr lang="de-DE" altLang="de-DE" sz="1800" b="0" dirty="0" err="1">
                <a:solidFill>
                  <a:srgbClr val="000000"/>
                </a:solidFill>
                <a:latin typeface="Verdana" panose="020B0604030504040204" pitchFamily="34" charset="0"/>
              </a:rPr>
              <a:t>Stiffness</a:t>
            </a:r>
            <a:r>
              <a:rPr lang="de-DE" altLang="de-DE" sz="1800" b="0" dirty="0">
                <a:solidFill>
                  <a:srgbClr val="000000"/>
                </a:solidFill>
                <a:latin typeface="Verdana" panose="020B0604030504040204" pitchFamily="34" charset="0"/>
              </a:rPr>
              <a:t> </a:t>
            </a:r>
            <a:r>
              <a:rPr lang="de-DE" altLang="de-DE" sz="1800" b="0" dirty="0" err="1">
                <a:solidFill>
                  <a:srgbClr val="000000"/>
                </a:solidFill>
                <a:latin typeface="Verdana" panose="020B0604030504040204" pitchFamily="34" charset="0"/>
              </a:rPr>
              <a:t>of</a:t>
            </a:r>
            <a:r>
              <a:rPr lang="de-DE" altLang="de-DE" sz="1800" b="0" dirty="0">
                <a:solidFill>
                  <a:srgbClr val="000000"/>
                </a:solidFill>
                <a:latin typeface="Verdana" panose="020B0604030504040204" pitchFamily="34" charset="0"/>
              </a:rPr>
              <a:t> </a:t>
            </a:r>
            <a:r>
              <a:rPr lang="de-DE" altLang="de-DE" sz="1800" b="0" dirty="0" err="1">
                <a:solidFill>
                  <a:srgbClr val="000000"/>
                </a:solidFill>
                <a:latin typeface="Verdana" panose="020B0604030504040204" pitchFamily="34" charset="0"/>
              </a:rPr>
              <a:t>Shaft</a:t>
            </a:r>
            <a:r>
              <a:rPr lang="de-DE" altLang="de-DE" sz="1800" b="0" dirty="0">
                <a:solidFill>
                  <a:srgbClr val="000000"/>
                </a:solidFill>
                <a:latin typeface="Verdana" panose="020B0604030504040204" pitchFamily="34" charset="0"/>
              </a:rPr>
              <a:t>, Impeller, </a:t>
            </a:r>
            <a:r>
              <a:rPr lang="de-DE" altLang="de-DE" sz="1800" b="0" dirty="0" err="1">
                <a:solidFill>
                  <a:srgbClr val="000000"/>
                </a:solidFill>
                <a:latin typeface="Verdana" panose="020B0604030504040204" pitchFamily="34" charset="0"/>
              </a:rPr>
              <a:t>Bearings</a:t>
            </a:r>
            <a:r>
              <a:rPr lang="de-DE" altLang="de-DE" sz="1800" b="0" dirty="0">
                <a:solidFill>
                  <a:srgbClr val="000000"/>
                </a:solidFill>
                <a:latin typeface="Verdana" panose="020B0604030504040204" pitchFamily="34" charset="0"/>
              </a:rPr>
              <a:t>, Seals</a:t>
            </a:r>
          </a:p>
          <a:p>
            <a:pPr eaLnBrk="1" hangingPunct="1">
              <a:spcBef>
                <a:spcPct val="0"/>
              </a:spcBef>
              <a:buNone/>
              <a:defRPr/>
            </a:pPr>
            <a:endParaRPr lang="de-DE" altLang="de-DE" sz="1800" b="0" dirty="0">
              <a:solidFill>
                <a:srgbClr val="0000FF"/>
              </a:solidFill>
              <a:latin typeface="Verdana" panose="020B0604030504040204" pitchFamily="34" charset="0"/>
            </a:endParaRPr>
          </a:p>
          <a:p>
            <a:pPr eaLnBrk="1" hangingPunct="1">
              <a:spcBef>
                <a:spcPct val="0"/>
              </a:spcBef>
              <a:buNone/>
              <a:defRPr/>
            </a:pPr>
            <a:r>
              <a:rPr lang="de-DE" altLang="de-DE" sz="1800" dirty="0">
                <a:solidFill>
                  <a:srgbClr val="0000FF"/>
                </a:solidFill>
                <a:latin typeface="Verdana" panose="020B0604030504040204" pitchFamily="34" charset="0"/>
              </a:rPr>
              <a:t>Modal Parameters:    </a:t>
            </a:r>
            <a:r>
              <a:rPr lang="de-DE" altLang="de-DE" sz="1800" b="0" dirty="0">
                <a:solidFill>
                  <a:srgbClr val="000000"/>
                </a:solidFill>
                <a:latin typeface="Verdana" panose="020B0604030504040204" pitchFamily="34" charset="0"/>
              </a:rPr>
              <a:t>Natural </a:t>
            </a:r>
            <a:r>
              <a:rPr lang="de-DE" altLang="de-DE" sz="1800" b="0" dirty="0" err="1">
                <a:solidFill>
                  <a:srgbClr val="000000"/>
                </a:solidFill>
                <a:latin typeface="Verdana" panose="020B0604030504040204" pitchFamily="34" charset="0"/>
              </a:rPr>
              <a:t>frequencies</a:t>
            </a:r>
            <a:r>
              <a:rPr lang="de-DE" altLang="de-DE" sz="1800" b="0" dirty="0">
                <a:solidFill>
                  <a:srgbClr val="000000"/>
                </a:solidFill>
                <a:latin typeface="Verdana" panose="020B0604030504040204" pitchFamily="34" charset="0"/>
              </a:rPr>
              <a:t>, </a:t>
            </a:r>
            <a:r>
              <a:rPr lang="de-DE" altLang="de-DE" sz="1800" b="0" dirty="0" err="1">
                <a:solidFill>
                  <a:srgbClr val="000000"/>
                </a:solidFill>
                <a:latin typeface="Verdana" panose="020B0604030504040204" pitchFamily="34" charset="0"/>
              </a:rPr>
              <a:t>Damping</a:t>
            </a:r>
            <a:r>
              <a:rPr lang="de-DE" altLang="de-DE" sz="1800" b="0" dirty="0">
                <a:solidFill>
                  <a:srgbClr val="000000"/>
                </a:solidFill>
                <a:latin typeface="Verdana" panose="020B0604030504040204" pitchFamily="34" charset="0"/>
              </a:rPr>
              <a:t>, Natural </a:t>
            </a:r>
            <a:r>
              <a:rPr lang="de-DE" altLang="de-DE" sz="1800" b="0" dirty="0" err="1">
                <a:solidFill>
                  <a:srgbClr val="000000"/>
                </a:solidFill>
                <a:latin typeface="Verdana" panose="020B0604030504040204" pitchFamily="34" charset="0"/>
              </a:rPr>
              <a:t>modes</a:t>
            </a:r>
            <a:r>
              <a:rPr lang="de-DE" altLang="de-DE" sz="1800" b="0" dirty="0">
                <a:solidFill>
                  <a:srgbClr val="000000"/>
                </a:solidFill>
                <a:latin typeface="Verdana" panose="020B0604030504040204" pitchFamily="34" charset="0"/>
              </a:rPr>
              <a:t> </a:t>
            </a:r>
            <a:endParaRPr lang="de-DE" altLang="de-DE" sz="1800" dirty="0">
              <a:solidFill>
                <a:srgbClr val="000000"/>
              </a:solidFill>
              <a:latin typeface="Verdana" panose="020B0604030504040204" pitchFamily="34" charset="0"/>
            </a:endParaRPr>
          </a:p>
        </p:txBody>
      </p:sp>
      <p:pic>
        <p:nvPicPr>
          <p:cNvPr id="5" name="Grafik 4">
            <a:extLst>
              <a:ext uri="{FF2B5EF4-FFF2-40B4-BE49-F238E27FC236}">
                <a16:creationId xmlns:a16="http://schemas.microsoft.com/office/drawing/2014/main" id="{D0DEEC4C-FBDF-2781-45BB-15A418A68918}"/>
              </a:ext>
            </a:extLst>
          </p:cNvPr>
          <p:cNvPicPr>
            <a:picLocks noChangeAspect="1"/>
          </p:cNvPicPr>
          <p:nvPr/>
        </p:nvPicPr>
        <p:blipFill>
          <a:blip r:embed="rId3"/>
          <a:stretch>
            <a:fillRect/>
          </a:stretch>
        </p:blipFill>
        <p:spPr>
          <a:xfrm>
            <a:off x="4626430" y="1924926"/>
            <a:ext cx="2873827" cy="2425830"/>
          </a:xfrm>
          <a:prstGeom prst="rect">
            <a:avLst/>
          </a:prstGeom>
        </p:spPr>
      </p:pic>
      <p:sp>
        <p:nvSpPr>
          <p:cNvPr id="2" name="Textfeld 1">
            <a:extLst>
              <a:ext uri="{FF2B5EF4-FFF2-40B4-BE49-F238E27FC236}">
                <a16:creationId xmlns:a16="http://schemas.microsoft.com/office/drawing/2014/main" id="{E8BC8490-AFDE-1C4D-2736-4C0EECB0D922}"/>
              </a:ext>
            </a:extLst>
          </p:cNvPr>
          <p:cNvSpPr txBox="1"/>
          <p:nvPr/>
        </p:nvSpPr>
        <p:spPr>
          <a:xfrm>
            <a:off x="1059816" y="518936"/>
            <a:ext cx="9300481" cy="830997"/>
          </a:xfrm>
          <a:prstGeom prst="rect">
            <a:avLst/>
          </a:prstGeom>
          <a:noFill/>
        </p:spPr>
        <p:txBody>
          <a:bodyPr wrap="square">
            <a:spAutoFit/>
          </a:bodyPr>
          <a:lstStyle/>
          <a:p>
            <a:pPr>
              <a:defRPr/>
            </a:pPr>
            <a:r>
              <a:rPr lang="de-DE" sz="2400" dirty="0">
                <a:solidFill>
                  <a:srgbClr val="0000FF"/>
                </a:solidFill>
                <a:latin typeface="Arial"/>
              </a:rPr>
              <a:t>Modelling </a:t>
            </a:r>
            <a:r>
              <a:rPr lang="de-DE" sz="2400" dirty="0" err="1">
                <a:solidFill>
                  <a:srgbClr val="0000FF"/>
                </a:solidFill>
                <a:latin typeface="Arial"/>
              </a:rPr>
              <a:t>of</a:t>
            </a:r>
            <a:r>
              <a:rPr lang="de-DE" sz="2400" dirty="0">
                <a:solidFill>
                  <a:srgbClr val="0000FF"/>
                </a:solidFill>
                <a:latin typeface="Arial"/>
              </a:rPr>
              <a:t> </a:t>
            </a:r>
            <a:r>
              <a:rPr lang="de-DE" sz="2400" dirty="0" err="1">
                <a:solidFill>
                  <a:srgbClr val="0000FF"/>
                </a:solidFill>
                <a:latin typeface="Arial"/>
              </a:rPr>
              <a:t>the</a:t>
            </a:r>
            <a:r>
              <a:rPr lang="de-DE" sz="2400" dirty="0">
                <a:solidFill>
                  <a:srgbClr val="0000FF"/>
                </a:solidFill>
                <a:latin typeface="Arial"/>
              </a:rPr>
              <a:t> Horizontal </a:t>
            </a:r>
            <a:r>
              <a:rPr lang="de-DE" sz="2400" dirty="0" err="1">
                <a:solidFill>
                  <a:srgbClr val="0000FF"/>
                </a:solidFill>
                <a:latin typeface="Arial"/>
              </a:rPr>
              <a:t>Feedwater</a:t>
            </a:r>
            <a:r>
              <a:rPr lang="de-DE" sz="2400" dirty="0">
                <a:solidFill>
                  <a:srgbClr val="0000FF"/>
                </a:solidFill>
                <a:latin typeface="Arial"/>
              </a:rPr>
              <a:t> Pump </a:t>
            </a:r>
            <a:r>
              <a:rPr lang="de-DE" sz="2400" dirty="0" err="1">
                <a:solidFill>
                  <a:srgbClr val="0000FF"/>
                </a:solidFill>
                <a:latin typeface="Arial"/>
              </a:rPr>
              <a:t>with</a:t>
            </a:r>
            <a:r>
              <a:rPr lang="de-DE" sz="2400" dirty="0">
                <a:solidFill>
                  <a:srgbClr val="0000FF"/>
                </a:solidFill>
                <a:latin typeface="Arial"/>
              </a:rPr>
              <a:t> Interactions</a:t>
            </a:r>
          </a:p>
          <a:p>
            <a:pPr>
              <a:defRPr/>
            </a:pPr>
            <a:r>
              <a:rPr lang="de-DE" sz="2400" b="0" dirty="0">
                <a:latin typeface="Arial"/>
              </a:rPr>
              <a:t>Input Output Relations </a:t>
            </a:r>
            <a:r>
              <a:rPr lang="de-DE" sz="2400" b="0" dirty="0" err="1">
                <a:latin typeface="Arial"/>
              </a:rPr>
              <a:t>for</a:t>
            </a:r>
            <a:r>
              <a:rPr lang="de-DE" sz="2400" b="0" dirty="0">
                <a:latin typeface="Arial"/>
              </a:rPr>
              <a:t> </a:t>
            </a:r>
            <a:r>
              <a:rPr lang="de-DE" sz="2400" b="0" dirty="0" err="1">
                <a:latin typeface="Arial"/>
              </a:rPr>
              <a:t>the</a:t>
            </a:r>
            <a:r>
              <a:rPr lang="de-DE" sz="2400" b="0" dirty="0">
                <a:latin typeface="Arial"/>
              </a:rPr>
              <a:t> Pump System</a:t>
            </a:r>
            <a:endParaRPr lang="de-DE" sz="2400" dirty="0">
              <a:latin typeface="Arial"/>
            </a:endParaRPr>
          </a:p>
        </p:txBody>
      </p:sp>
      <p:sp>
        <p:nvSpPr>
          <p:cNvPr id="3" name="Pfeil: nach rechts 2">
            <a:extLst>
              <a:ext uri="{FF2B5EF4-FFF2-40B4-BE49-F238E27FC236}">
                <a16:creationId xmlns:a16="http://schemas.microsoft.com/office/drawing/2014/main" id="{2DB73A30-CA23-2FD7-F3FE-D8435C55E6AB}"/>
              </a:ext>
            </a:extLst>
          </p:cNvPr>
          <p:cNvSpPr/>
          <p:nvPr/>
        </p:nvSpPr>
        <p:spPr>
          <a:xfrm>
            <a:off x="4031185" y="2800967"/>
            <a:ext cx="834729" cy="388547"/>
          </a:xfrm>
          <a:prstGeom prst="rightArrow">
            <a:avLst/>
          </a:prstGeom>
          <a:solidFill>
            <a:srgbClr val="FF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 name="Pfeil: nach rechts 3">
            <a:extLst>
              <a:ext uri="{FF2B5EF4-FFF2-40B4-BE49-F238E27FC236}">
                <a16:creationId xmlns:a16="http://schemas.microsoft.com/office/drawing/2014/main" id="{869C6EFC-5D85-525C-C0D8-71C108CC286E}"/>
              </a:ext>
            </a:extLst>
          </p:cNvPr>
          <p:cNvSpPr/>
          <p:nvPr/>
        </p:nvSpPr>
        <p:spPr>
          <a:xfrm>
            <a:off x="7118576" y="2818930"/>
            <a:ext cx="834729" cy="388547"/>
          </a:xfrm>
          <a:prstGeom prst="rightArrow">
            <a:avLst/>
          </a:prstGeom>
          <a:solidFill>
            <a:srgbClr val="00B05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Textfeld 2">
            <a:extLst>
              <a:ext uri="{FF2B5EF4-FFF2-40B4-BE49-F238E27FC236}">
                <a16:creationId xmlns:a16="http://schemas.microsoft.com/office/drawing/2014/main" id="{224A5D83-EB6E-D303-AE54-519F9039B3F7}"/>
              </a:ext>
            </a:extLst>
          </p:cNvPr>
          <p:cNvSpPr txBox="1">
            <a:spLocks noChangeArrowheads="1"/>
          </p:cNvSpPr>
          <p:nvPr/>
        </p:nvSpPr>
        <p:spPr bwMode="auto">
          <a:xfrm>
            <a:off x="1057273" y="1896475"/>
            <a:ext cx="3423920" cy="2482731"/>
          </a:xfrm>
          <a:prstGeom prst="rect">
            <a:avLst/>
          </a:prstGeom>
          <a:noFill/>
          <a:ln w="38100">
            <a:solidFill>
              <a:srgbClr val="FF0000"/>
            </a:solidFill>
            <a:miter lim="800000"/>
            <a:headEnd/>
            <a:tailEnd/>
          </a:ln>
        </p:spPr>
        <p:txBody>
          <a:bodyPr wrap="square">
            <a:spAutoFit/>
          </a:bodyPr>
          <a:lstStyle>
            <a:lvl1pPr>
              <a:spcBef>
                <a:spcPct val="20000"/>
              </a:spcBef>
              <a:buFont typeface="Wingdings" panose="05000000000000000000" pitchFamily="2" charset="2"/>
              <a:buChar char="§"/>
              <a:defRPr sz="2000">
                <a:solidFill>
                  <a:schemeClr val="tx1"/>
                </a:solidFill>
                <a:latin typeface="Arial" panose="020B0604020202020204" pitchFamily="34" charset="0"/>
              </a:defRPr>
            </a:lvl1pPr>
            <a:lvl2pPr marL="742950" indent="-285750">
              <a:spcBef>
                <a:spcPct val="20000"/>
              </a:spcBef>
              <a:buFont typeface="Wingdings" panose="05000000000000000000" pitchFamily="2" charset="2"/>
              <a:buChar char="§"/>
              <a:defRPr>
                <a:solidFill>
                  <a:schemeClr val="tx1"/>
                </a:solidFill>
                <a:latin typeface="Arial" panose="020B0604020202020204" pitchFamily="34" charset="0"/>
              </a:defRPr>
            </a:lvl2pPr>
            <a:lvl3pPr marL="1143000" indent="-228600">
              <a:spcBef>
                <a:spcPct val="20000"/>
              </a:spcBef>
              <a:buFont typeface="Wingdings" panose="05000000000000000000" pitchFamily="2" charset="2"/>
              <a:buChar char="§"/>
              <a:defRPr>
                <a:solidFill>
                  <a:schemeClr val="tx1"/>
                </a:solidFill>
                <a:latin typeface="Arial" panose="020B0604020202020204" pitchFamily="34" charset="0"/>
              </a:defRPr>
            </a:lvl3pPr>
            <a:lvl4pPr marL="1600200" indent="-228600">
              <a:spcBef>
                <a:spcPct val="20000"/>
              </a:spcBef>
              <a:buFont typeface="Wingdings" panose="05000000000000000000" pitchFamily="2" charset="2"/>
              <a:buChar char="§"/>
              <a:defRPr sz="1600">
                <a:solidFill>
                  <a:schemeClr val="tx1"/>
                </a:solidFill>
                <a:latin typeface="Arial" panose="020B0604020202020204" pitchFamily="34" charset="0"/>
              </a:defRPr>
            </a:lvl4pPr>
            <a:lvl5pPr marL="2057400" indent="-228600">
              <a:spcBef>
                <a:spcPct val="20000"/>
              </a:spcBef>
              <a:buFont typeface="Wingdings" panose="05000000000000000000" pitchFamily="2" charset="2"/>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1600">
                <a:solidFill>
                  <a:schemeClr val="tx1"/>
                </a:solidFill>
                <a:latin typeface="Arial" panose="020B0604020202020204" pitchFamily="34" charset="0"/>
              </a:defRPr>
            </a:lvl9pPr>
          </a:lstStyle>
          <a:p>
            <a:pPr eaLnBrk="1" hangingPunct="1">
              <a:spcBef>
                <a:spcPct val="0"/>
              </a:spcBef>
              <a:buNone/>
              <a:defRPr/>
            </a:pPr>
            <a:r>
              <a:rPr lang="de-DE" altLang="de-DE" sz="2400" dirty="0" err="1">
                <a:solidFill>
                  <a:srgbClr val="FF0000"/>
                </a:solidFill>
                <a:latin typeface="Arial"/>
              </a:rPr>
              <a:t>Excitations</a:t>
            </a:r>
            <a:r>
              <a:rPr lang="de-DE" altLang="de-DE" sz="2400" dirty="0">
                <a:solidFill>
                  <a:srgbClr val="FF0000"/>
                </a:solidFill>
                <a:latin typeface="Arial"/>
              </a:rPr>
              <a:t> F</a:t>
            </a:r>
            <a:r>
              <a:rPr lang="de-DE" altLang="de-DE" sz="2400" b="0" dirty="0">
                <a:solidFill>
                  <a:srgbClr val="FF0000"/>
                </a:solidFill>
                <a:latin typeface="Arial"/>
              </a:rPr>
              <a:t>(t)</a:t>
            </a:r>
          </a:p>
          <a:p>
            <a:pPr eaLnBrk="1" hangingPunct="1">
              <a:spcBef>
                <a:spcPct val="0"/>
              </a:spcBef>
              <a:buNone/>
              <a:defRPr/>
            </a:pPr>
            <a:endParaRPr lang="de-DE" altLang="de-DE" sz="1800" dirty="0">
              <a:solidFill>
                <a:srgbClr val="000000"/>
              </a:solidFill>
              <a:latin typeface="Verdana" panose="020B0604030504040204" pitchFamily="34" charset="0"/>
            </a:endParaRPr>
          </a:p>
          <a:p>
            <a:pPr eaLnBrk="1" hangingPunct="1">
              <a:spcBef>
                <a:spcPct val="0"/>
              </a:spcBef>
              <a:buNone/>
              <a:defRPr/>
            </a:pPr>
            <a:r>
              <a:rPr lang="de-DE" altLang="de-DE" b="0" dirty="0" err="1">
                <a:solidFill>
                  <a:srgbClr val="FF0000"/>
                </a:solidFill>
                <a:latin typeface="Arial"/>
              </a:rPr>
              <a:t>Mechanical</a:t>
            </a:r>
            <a:r>
              <a:rPr lang="de-DE" altLang="de-DE" b="0" dirty="0">
                <a:solidFill>
                  <a:srgbClr val="FF0000"/>
                </a:solidFill>
                <a:latin typeface="Arial"/>
              </a:rPr>
              <a:t> </a:t>
            </a:r>
            <a:r>
              <a:rPr lang="de-DE" altLang="de-DE" b="0" dirty="0" err="1">
                <a:solidFill>
                  <a:srgbClr val="FF0000"/>
                </a:solidFill>
                <a:latin typeface="Arial"/>
              </a:rPr>
              <a:t>Unbalance</a:t>
            </a:r>
            <a:r>
              <a:rPr lang="de-DE" altLang="de-DE" b="0" dirty="0">
                <a:solidFill>
                  <a:srgbClr val="FF0000"/>
                </a:solidFill>
                <a:latin typeface="Arial"/>
              </a:rPr>
              <a:t> </a:t>
            </a:r>
          </a:p>
          <a:p>
            <a:pPr eaLnBrk="1" hangingPunct="1">
              <a:spcBef>
                <a:spcPct val="0"/>
              </a:spcBef>
              <a:buNone/>
              <a:defRPr/>
            </a:pPr>
            <a:endParaRPr lang="de-DE" altLang="de-DE" b="0" baseline="-25000" dirty="0">
              <a:solidFill>
                <a:srgbClr val="000000"/>
              </a:solidFill>
              <a:latin typeface="Arial"/>
            </a:endParaRPr>
          </a:p>
          <a:p>
            <a:pPr eaLnBrk="1" hangingPunct="1">
              <a:spcBef>
                <a:spcPct val="0"/>
              </a:spcBef>
              <a:buNone/>
              <a:defRPr/>
            </a:pPr>
            <a:r>
              <a:rPr lang="de-DE" altLang="de-DE" b="0" dirty="0" err="1">
                <a:solidFill>
                  <a:srgbClr val="FF0000"/>
                </a:solidFill>
                <a:latin typeface="Arial"/>
              </a:rPr>
              <a:t>Hydraulic</a:t>
            </a:r>
            <a:r>
              <a:rPr lang="de-DE" altLang="de-DE" b="0" dirty="0">
                <a:solidFill>
                  <a:srgbClr val="FF0000"/>
                </a:solidFill>
                <a:latin typeface="Arial"/>
              </a:rPr>
              <a:t> </a:t>
            </a:r>
            <a:r>
              <a:rPr lang="de-DE" altLang="de-DE" b="0" dirty="0" err="1">
                <a:solidFill>
                  <a:srgbClr val="FF0000"/>
                </a:solidFill>
                <a:latin typeface="Arial"/>
              </a:rPr>
              <a:t>Unbalance</a:t>
            </a:r>
            <a:endParaRPr lang="de-DE" altLang="de-DE" b="0" dirty="0">
              <a:solidFill>
                <a:srgbClr val="FF0000"/>
              </a:solidFill>
              <a:latin typeface="Arial"/>
            </a:endParaRPr>
          </a:p>
          <a:p>
            <a:pPr eaLnBrk="1" hangingPunct="1">
              <a:spcBef>
                <a:spcPct val="0"/>
              </a:spcBef>
              <a:buNone/>
              <a:defRPr/>
            </a:pPr>
            <a:endParaRPr lang="de-DE" altLang="de-DE" b="0" dirty="0">
              <a:solidFill>
                <a:srgbClr val="FF0000"/>
              </a:solidFill>
              <a:latin typeface="Arial"/>
            </a:endParaRPr>
          </a:p>
          <a:p>
            <a:pPr eaLnBrk="1" hangingPunct="1">
              <a:spcBef>
                <a:spcPct val="0"/>
              </a:spcBef>
              <a:buNone/>
              <a:defRPr/>
            </a:pPr>
            <a:r>
              <a:rPr lang="de-DE" altLang="de-DE" b="0" dirty="0">
                <a:solidFill>
                  <a:srgbClr val="FF0000"/>
                </a:solidFill>
                <a:latin typeface="Arial"/>
              </a:rPr>
              <a:t>Fluid Forces (</a:t>
            </a:r>
            <a:r>
              <a:rPr lang="de-DE" altLang="de-DE" b="0" dirty="0" err="1">
                <a:solidFill>
                  <a:srgbClr val="FF0000"/>
                </a:solidFill>
                <a:latin typeface="Arial"/>
              </a:rPr>
              <a:t>VanePassing</a:t>
            </a:r>
            <a:r>
              <a:rPr lang="de-DE" altLang="de-DE" b="0" dirty="0">
                <a:solidFill>
                  <a:srgbClr val="FF0000"/>
                </a:solidFill>
                <a:latin typeface="Arial"/>
              </a:rPr>
              <a:t>)</a:t>
            </a:r>
          </a:p>
          <a:p>
            <a:pPr eaLnBrk="1" hangingPunct="1">
              <a:spcBef>
                <a:spcPct val="0"/>
              </a:spcBef>
              <a:buNone/>
              <a:defRPr/>
            </a:pPr>
            <a:endParaRPr lang="de-DE" altLang="de-DE" b="0" dirty="0">
              <a:solidFill>
                <a:srgbClr val="FF0000"/>
              </a:solidFill>
              <a:latin typeface="Arial"/>
            </a:endParaRPr>
          </a:p>
        </p:txBody>
      </p:sp>
      <p:sp>
        <p:nvSpPr>
          <p:cNvPr id="28675" name="Textfeld 3">
            <a:extLst>
              <a:ext uri="{FF2B5EF4-FFF2-40B4-BE49-F238E27FC236}">
                <a16:creationId xmlns:a16="http://schemas.microsoft.com/office/drawing/2014/main" id="{81B02B2A-4D04-DE54-B873-4E2B387F0FB2}"/>
              </a:ext>
            </a:extLst>
          </p:cNvPr>
          <p:cNvSpPr txBox="1">
            <a:spLocks noChangeArrowheads="1"/>
          </p:cNvSpPr>
          <p:nvPr/>
        </p:nvSpPr>
        <p:spPr bwMode="auto">
          <a:xfrm>
            <a:off x="7707893" y="1944204"/>
            <a:ext cx="3726549" cy="2585323"/>
          </a:xfrm>
          <a:prstGeom prst="rect">
            <a:avLst/>
          </a:prstGeom>
          <a:noFill/>
          <a:ln w="38100">
            <a:solidFill>
              <a:srgbClr val="00B050"/>
            </a:solidFill>
            <a:miter lim="800000"/>
            <a:headEnd/>
            <a:tailEnd/>
          </a:ln>
        </p:spPr>
        <p:txBody>
          <a:bodyPr wrap="square">
            <a:spAutoFit/>
          </a:bodyPr>
          <a:lstStyle>
            <a:lvl1pPr>
              <a:spcBef>
                <a:spcPct val="20000"/>
              </a:spcBef>
              <a:buFont typeface="Wingdings" panose="05000000000000000000" pitchFamily="2" charset="2"/>
              <a:buChar char="§"/>
              <a:defRPr sz="2000">
                <a:solidFill>
                  <a:schemeClr val="tx1"/>
                </a:solidFill>
                <a:latin typeface="Arial" panose="020B0604020202020204" pitchFamily="34" charset="0"/>
              </a:defRPr>
            </a:lvl1pPr>
            <a:lvl2pPr marL="742950" indent="-285750">
              <a:spcBef>
                <a:spcPct val="20000"/>
              </a:spcBef>
              <a:buFont typeface="Wingdings" panose="05000000000000000000" pitchFamily="2" charset="2"/>
              <a:buChar char="§"/>
              <a:defRPr>
                <a:solidFill>
                  <a:schemeClr val="tx1"/>
                </a:solidFill>
                <a:latin typeface="Arial" panose="020B0604020202020204" pitchFamily="34" charset="0"/>
              </a:defRPr>
            </a:lvl2pPr>
            <a:lvl3pPr marL="1143000" indent="-228600">
              <a:spcBef>
                <a:spcPct val="20000"/>
              </a:spcBef>
              <a:buFont typeface="Wingdings" panose="05000000000000000000" pitchFamily="2" charset="2"/>
              <a:buChar char="§"/>
              <a:defRPr>
                <a:solidFill>
                  <a:schemeClr val="tx1"/>
                </a:solidFill>
                <a:latin typeface="Arial" panose="020B0604020202020204" pitchFamily="34" charset="0"/>
              </a:defRPr>
            </a:lvl3pPr>
            <a:lvl4pPr marL="1600200" indent="-228600">
              <a:spcBef>
                <a:spcPct val="20000"/>
              </a:spcBef>
              <a:buFont typeface="Wingdings" panose="05000000000000000000" pitchFamily="2" charset="2"/>
              <a:buChar char="§"/>
              <a:defRPr sz="1600">
                <a:solidFill>
                  <a:schemeClr val="tx1"/>
                </a:solidFill>
                <a:latin typeface="Arial" panose="020B0604020202020204" pitchFamily="34" charset="0"/>
              </a:defRPr>
            </a:lvl4pPr>
            <a:lvl5pPr marL="2057400" indent="-228600">
              <a:spcBef>
                <a:spcPct val="20000"/>
              </a:spcBef>
              <a:buFont typeface="Wingdings" panose="05000000000000000000" pitchFamily="2" charset="2"/>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1600">
                <a:solidFill>
                  <a:schemeClr val="tx1"/>
                </a:solidFill>
                <a:latin typeface="Arial" panose="020B0604020202020204" pitchFamily="34" charset="0"/>
              </a:defRPr>
            </a:lvl9pPr>
          </a:lstStyle>
          <a:p>
            <a:pPr eaLnBrk="1" hangingPunct="1">
              <a:spcBef>
                <a:spcPct val="0"/>
              </a:spcBef>
              <a:buNone/>
              <a:defRPr/>
            </a:pPr>
            <a:r>
              <a:rPr lang="de-DE" altLang="de-DE" sz="2400" dirty="0">
                <a:solidFill>
                  <a:srgbClr val="00B050"/>
                </a:solidFill>
                <a:latin typeface="Arial"/>
              </a:rPr>
              <a:t>Vibration Response x</a:t>
            </a:r>
            <a:r>
              <a:rPr lang="de-DE" altLang="de-DE" sz="2400" b="0" dirty="0">
                <a:solidFill>
                  <a:srgbClr val="00B050"/>
                </a:solidFill>
                <a:latin typeface="Arial"/>
              </a:rPr>
              <a:t>(t)</a:t>
            </a:r>
          </a:p>
          <a:p>
            <a:pPr eaLnBrk="1" hangingPunct="1">
              <a:spcBef>
                <a:spcPct val="0"/>
              </a:spcBef>
              <a:buNone/>
              <a:defRPr/>
            </a:pPr>
            <a:endParaRPr lang="de-DE" altLang="de-DE" sz="1800" dirty="0">
              <a:solidFill>
                <a:srgbClr val="000000"/>
              </a:solidFill>
              <a:latin typeface="Verdana" panose="020B0604030504040204" pitchFamily="34" charset="0"/>
            </a:endParaRPr>
          </a:p>
          <a:p>
            <a:pPr eaLnBrk="1" hangingPunct="1">
              <a:spcBef>
                <a:spcPct val="0"/>
              </a:spcBef>
              <a:buNone/>
              <a:defRPr/>
            </a:pPr>
            <a:r>
              <a:rPr lang="de-DE" altLang="de-DE" b="0" dirty="0">
                <a:solidFill>
                  <a:srgbClr val="000000"/>
                </a:solidFill>
                <a:latin typeface="Arial"/>
              </a:rPr>
              <a:t>   </a:t>
            </a:r>
            <a:r>
              <a:rPr lang="de-DE" altLang="de-DE" b="0" dirty="0">
                <a:solidFill>
                  <a:srgbClr val="00B050"/>
                </a:solidFill>
                <a:latin typeface="Arial"/>
              </a:rPr>
              <a:t>Mech. </a:t>
            </a:r>
            <a:r>
              <a:rPr lang="de-DE" altLang="de-DE" b="0" dirty="0" err="1">
                <a:solidFill>
                  <a:srgbClr val="00B050"/>
                </a:solidFill>
                <a:latin typeface="Arial"/>
              </a:rPr>
              <a:t>Unbalance</a:t>
            </a:r>
            <a:r>
              <a:rPr lang="de-DE" altLang="de-DE" b="0" dirty="0">
                <a:solidFill>
                  <a:srgbClr val="00B050"/>
                </a:solidFill>
                <a:latin typeface="Arial"/>
              </a:rPr>
              <a:t> Response</a:t>
            </a:r>
          </a:p>
          <a:p>
            <a:pPr eaLnBrk="1" hangingPunct="1">
              <a:spcBef>
                <a:spcPct val="0"/>
              </a:spcBef>
              <a:buNone/>
              <a:defRPr/>
            </a:pPr>
            <a:endParaRPr lang="de-DE" altLang="de-DE" b="0" dirty="0">
              <a:solidFill>
                <a:srgbClr val="000000"/>
              </a:solidFill>
              <a:latin typeface="Arial"/>
            </a:endParaRPr>
          </a:p>
          <a:p>
            <a:pPr eaLnBrk="1" hangingPunct="1">
              <a:spcBef>
                <a:spcPct val="0"/>
              </a:spcBef>
              <a:buNone/>
              <a:defRPr/>
            </a:pPr>
            <a:r>
              <a:rPr lang="de-DE" altLang="de-DE" b="0" dirty="0">
                <a:solidFill>
                  <a:srgbClr val="000000"/>
                </a:solidFill>
                <a:latin typeface="Arial"/>
              </a:rPr>
              <a:t>   </a:t>
            </a:r>
            <a:r>
              <a:rPr lang="de-DE" altLang="de-DE" b="0" dirty="0" err="1">
                <a:solidFill>
                  <a:srgbClr val="00B050"/>
                </a:solidFill>
                <a:latin typeface="Arial"/>
              </a:rPr>
              <a:t>Hydr</a:t>
            </a:r>
            <a:r>
              <a:rPr lang="de-DE" altLang="de-DE" b="0" dirty="0">
                <a:solidFill>
                  <a:srgbClr val="00B050"/>
                </a:solidFill>
                <a:latin typeface="Arial"/>
              </a:rPr>
              <a:t>. </a:t>
            </a:r>
            <a:r>
              <a:rPr lang="de-DE" altLang="de-DE" b="0" dirty="0" err="1">
                <a:solidFill>
                  <a:srgbClr val="00B050"/>
                </a:solidFill>
                <a:latin typeface="Arial"/>
              </a:rPr>
              <a:t>Unbalance</a:t>
            </a:r>
            <a:r>
              <a:rPr lang="de-DE" altLang="de-DE" b="0" dirty="0">
                <a:solidFill>
                  <a:srgbClr val="00B050"/>
                </a:solidFill>
                <a:latin typeface="Arial"/>
              </a:rPr>
              <a:t> Response</a:t>
            </a:r>
          </a:p>
          <a:p>
            <a:pPr eaLnBrk="1" hangingPunct="1">
              <a:spcBef>
                <a:spcPct val="0"/>
              </a:spcBef>
              <a:buNone/>
              <a:defRPr/>
            </a:pPr>
            <a:endParaRPr lang="de-DE" altLang="de-DE" b="0" dirty="0">
              <a:solidFill>
                <a:srgbClr val="00B050"/>
              </a:solidFill>
              <a:latin typeface="Arial"/>
            </a:endParaRPr>
          </a:p>
          <a:p>
            <a:pPr eaLnBrk="1" hangingPunct="1">
              <a:spcBef>
                <a:spcPct val="0"/>
              </a:spcBef>
              <a:buNone/>
              <a:defRPr/>
            </a:pPr>
            <a:r>
              <a:rPr lang="de-DE" altLang="de-DE" b="0" dirty="0">
                <a:solidFill>
                  <a:srgbClr val="00B050"/>
                </a:solidFill>
                <a:latin typeface="Arial"/>
              </a:rPr>
              <a:t>   Fluid Forces </a:t>
            </a:r>
            <a:r>
              <a:rPr lang="de-DE" altLang="de-DE" b="0" dirty="0" err="1">
                <a:solidFill>
                  <a:srgbClr val="00B050"/>
                </a:solidFill>
                <a:latin typeface="Arial"/>
              </a:rPr>
              <a:t>Respose</a:t>
            </a:r>
            <a:endParaRPr lang="de-DE" altLang="de-DE" b="0" dirty="0">
              <a:solidFill>
                <a:srgbClr val="00B050"/>
              </a:solidFill>
              <a:latin typeface="Arial"/>
            </a:endParaRPr>
          </a:p>
          <a:p>
            <a:pPr eaLnBrk="1" hangingPunct="1">
              <a:spcBef>
                <a:spcPct val="0"/>
              </a:spcBef>
              <a:buNone/>
              <a:defRPr/>
            </a:pPr>
            <a:endParaRPr lang="de-DE" altLang="de-DE" b="0" dirty="0">
              <a:solidFill>
                <a:srgbClr val="00B050"/>
              </a:solidFill>
              <a:latin typeface="Arial"/>
              <a:cs typeface="Times New Roman" panose="02020603050405020304" pitchFamily="18" charset="0"/>
            </a:endParaRPr>
          </a:p>
        </p:txBody>
      </p:sp>
      <p:sp>
        <p:nvSpPr>
          <p:cNvPr id="2" name="Pfeil nach rechts 1">
            <a:extLst>
              <a:ext uri="{FF2B5EF4-FFF2-40B4-BE49-F238E27FC236}">
                <a16:creationId xmlns:a16="http://schemas.microsoft.com/office/drawing/2014/main" id="{8D1E180B-4567-FB9B-1EA2-1F17658260F8}"/>
              </a:ext>
            </a:extLst>
          </p:cNvPr>
          <p:cNvSpPr/>
          <p:nvPr/>
        </p:nvSpPr>
        <p:spPr>
          <a:xfrm>
            <a:off x="3973286" y="2824362"/>
            <a:ext cx="680805" cy="376038"/>
          </a:xfrm>
          <a:prstGeom prst="rightArrow">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a:solidFill>
                <a:srgbClr val="FFFFFF"/>
              </a:solidFill>
              <a:latin typeface="Arial"/>
            </a:endParaRPr>
          </a:p>
        </p:txBody>
      </p:sp>
      <p:sp>
        <p:nvSpPr>
          <p:cNvPr id="4" name="Pfeil nach rechts 3">
            <a:extLst>
              <a:ext uri="{FF2B5EF4-FFF2-40B4-BE49-F238E27FC236}">
                <a16:creationId xmlns:a16="http://schemas.microsoft.com/office/drawing/2014/main" id="{F927F920-BCF5-F376-19B1-62D0CCE15488}"/>
              </a:ext>
            </a:extLst>
          </p:cNvPr>
          <p:cNvSpPr/>
          <p:nvPr/>
        </p:nvSpPr>
        <p:spPr>
          <a:xfrm>
            <a:off x="7062199" y="2916011"/>
            <a:ext cx="949325" cy="387350"/>
          </a:xfrm>
          <a:prstGeom prst="rightArrow">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a:solidFill>
                <a:srgbClr val="FFFFFF"/>
              </a:solidFill>
              <a:latin typeface="Arial"/>
            </a:endParaRPr>
          </a:p>
        </p:txBody>
      </p:sp>
      <p:sp>
        <p:nvSpPr>
          <p:cNvPr id="5" name="Rechteck 4">
            <a:extLst>
              <a:ext uri="{FF2B5EF4-FFF2-40B4-BE49-F238E27FC236}">
                <a16:creationId xmlns:a16="http://schemas.microsoft.com/office/drawing/2014/main" id="{E451FF48-83DF-85AA-2C7A-C5DB60D3E3A3}"/>
              </a:ext>
            </a:extLst>
          </p:cNvPr>
          <p:cNvSpPr>
            <a:spLocks noRot="1" noChangeAspect="1" noMove="1" noResize="1" noEditPoints="1" noAdjustHandles="1" noChangeArrowheads="1" noChangeShapeType="1" noTextEdit="1"/>
          </p:cNvSpPr>
          <p:nvPr/>
        </p:nvSpPr>
        <p:spPr>
          <a:xfrm>
            <a:off x="2897479" y="4767452"/>
            <a:ext cx="6322565" cy="461665"/>
          </a:xfrm>
          <a:prstGeom prst="rect">
            <a:avLst/>
          </a:prstGeom>
          <a:blipFill>
            <a:blip r:embed="rId3"/>
            <a:stretch>
              <a:fillRect l="-96" t="-9211" r="-579" b="-30263"/>
            </a:stretch>
          </a:blipFill>
        </p:spPr>
        <p:txBody>
          <a:bodyPr/>
          <a:lstStyle/>
          <a:p>
            <a:pPr>
              <a:defRPr/>
            </a:pPr>
            <a:r>
              <a:rPr lang="de-DE">
                <a:noFill/>
              </a:rPr>
              <a:t> </a:t>
            </a:r>
          </a:p>
        </p:txBody>
      </p:sp>
      <p:sp>
        <p:nvSpPr>
          <p:cNvPr id="39945" name="Rechteck 5">
            <a:extLst>
              <a:ext uri="{FF2B5EF4-FFF2-40B4-BE49-F238E27FC236}">
                <a16:creationId xmlns:a16="http://schemas.microsoft.com/office/drawing/2014/main" id="{E2B402D0-8C20-9E0B-2DF3-A42610D8A772}"/>
              </a:ext>
            </a:extLst>
          </p:cNvPr>
          <p:cNvSpPr>
            <a:spLocks noChangeArrowheads="1"/>
          </p:cNvSpPr>
          <p:nvPr/>
        </p:nvSpPr>
        <p:spPr bwMode="auto">
          <a:xfrm>
            <a:off x="1339397" y="5477329"/>
            <a:ext cx="10095045" cy="830997"/>
          </a:xfrm>
          <a:prstGeom prst="rect">
            <a:avLst/>
          </a:prstGeom>
          <a:noFill/>
          <a:ln>
            <a:noFill/>
          </a:ln>
        </p:spPr>
        <p:txBody>
          <a:bodyPr wrap="square">
            <a:spAutoFit/>
          </a:bodyPr>
          <a:lstStyle>
            <a:lvl1pPr>
              <a:defRPr b="1">
                <a:solidFill>
                  <a:schemeClr val="tx1"/>
                </a:solidFill>
                <a:latin typeface="Verdana" pitchFamily="34" charset="0"/>
              </a:defRPr>
            </a:lvl1pPr>
            <a:lvl2pPr marL="742950" indent="-285750">
              <a:defRPr b="1">
                <a:solidFill>
                  <a:schemeClr val="tx1"/>
                </a:solidFill>
                <a:latin typeface="Verdana" pitchFamily="34" charset="0"/>
              </a:defRPr>
            </a:lvl2pPr>
            <a:lvl3pPr marL="1143000" indent="-228600">
              <a:defRPr b="1">
                <a:solidFill>
                  <a:schemeClr val="tx1"/>
                </a:solidFill>
                <a:latin typeface="Verdana" pitchFamily="34" charset="0"/>
              </a:defRPr>
            </a:lvl3pPr>
            <a:lvl4pPr marL="1600200" indent="-228600">
              <a:defRPr b="1">
                <a:solidFill>
                  <a:schemeClr val="tx1"/>
                </a:solidFill>
                <a:latin typeface="Verdana" pitchFamily="34" charset="0"/>
              </a:defRPr>
            </a:lvl4pPr>
            <a:lvl5pPr marL="2057400" indent="-228600">
              <a:defRPr b="1">
                <a:solidFill>
                  <a:schemeClr val="tx1"/>
                </a:solidFill>
                <a:latin typeface="Verdana" pitchFamily="34" charset="0"/>
              </a:defRPr>
            </a:lvl5pPr>
            <a:lvl6pPr marL="2514600" indent="-228600" eaLnBrk="0" fontAlgn="base" hangingPunct="0">
              <a:spcBef>
                <a:spcPct val="0"/>
              </a:spcBef>
              <a:spcAft>
                <a:spcPct val="0"/>
              </a:spcAft>
              <a:defRPr b="1">
                <a:solidFill>
                  <a:schemeClr val="tx1"/>
                </a:solidFill>
                <a:latin typeface="Verdana" pitchFamily="34" charset="0"/>
              </a:defRPr>
            </a:lvl6pPr>
            <a:lvl7pPr marL="2971800" indent="-228600" eaLnBrk="0" fontAlgn="base" hangingPunct="0">
              <a:spcBef>
                <a:spcPct val="0"/>
              </a:spcBef>
              <a:spcAft>
                <a:spcPct val="0"/>
              </a:spcAft>
              <a:defRPr b="1">
                <a:solidFill>
                  <a:schemeClr val="tx1"/>
                </a:solidFill>
                <a:latin typeface="Verdana" pitchFamily="34" charset="0"/>
              </a:defRPr>
            </a:lvl7pPr>
            <a:lvl8pPr marL="3429000" indent="-228600" eaLnBrk="0" fontAlgn="base" hangingPunct="0">
              <a:spcBef>
                <a:spcPct val="0"/>
              </a:spcBef>
              <a:spcAft>
                <a:spcPct val="0"/>
              </a:spcAft>
              <a:defRPr b="1">
                <a:solidFill>
                  <a:schemeClr val="tx1"/>
                </a:solidFill>
                <a:latin typeface="Verdana" pitchFamily="34" charset="0"/>
              </a:defRPr>
            </a:lvl8pPr>
            <a:lvl9pPr marL="3886200" indent="-228600" eaLnBrk="0" fontAlgn="base" hangingPunct="0">
              <a:spcBef>
                <a:spcPct val="0"/>
              </a:spcBef>
              <a:spcAft>
                <a:spcPct val="0"/>
              </a:spcAft>
              <a:defRPr b="1">
                <a:solidFill>
                  <a:schemeClr val="tx1"/>
                </a:solidFill>
                <a:latin typeface="Verdana" pitchFamily="34" charset="0"/>
              </a:defRPr>
            </a:lvl9pPr>
          </a:lstStyle>
          <a:p>
            <a:pPr eaLnBrk="1" hangingPunct="1">
              <a:defRPr/>
            </a:pPr>
            <a:r>
              <a:rPr lang="de-DE" altLang="de-DE" sz="2400" b="0" dirty="0">
                <a:solidFill>
                  <a:srgbClr val="000000"/>
                </a:solidFill>
                <a:latin typeface="Arial"/>
              </a:rPr>
              <a:t>The </a:t>
            </a:r>
            <a:r>
              <a:rPr lang="de-DE" altLang="de-DE" sz="2400" dirty="0" err="1">
                <a:solidFill>
                  <a:srgbClr val="0000FF"/>
                </a:solidFill>
                <a:latin typeface="Arial"/>
              </a:rPr>
              <a:t>Equations</a:t>
            </a:r>
            <a:r>
              <a:rPr lang="de-DE" altLang="de-DE" sz="2400" dirty="0">
                <a:solidFill>
                  <a:srgbClr val="0000FF"/>
                </a:solidFill>
                <a:latin typeface="Arial"/>
              </a:rPr>
              <a:t> </a:t>
            </a:r>
            <a:r>
              <a:rPr lang="de-DE" altLang="de-DE" sz="2400" dirty="0" err="1">
                <a:solidFill>
                  <a:srgbClr val="0000FF"/>
                </a:solidFill>
                <a:latin typeface="Arial"/>
              </a:rPr>
              <a:t>of</a:t>
            </a:r>
            <a:r>
              <a:rPr lang="de-DE" altLang="de-DE" sz="2400" dirty="0">
                <a:solidFill>
                  <a:srgbClr val="0000FF"/>
                </a:solidFill>
                <a:latin typeface="Arial"/>
              </a:rPr>
              <a:t> Motion </a:t>
            </a:r>
            <a:r>
              <a:rPr lang="de-DE" altLang="de-DE" sz="2400" dirty="0" err="1">
                <a:solidFill>
                  <a:srgbClr val="0000FF"/>
                </a:solidFill>
                <a:latin typeface="Arial"/>
              </a:rPr>
              <a:t>of</a:t>
            </a:r>
            <a:r>
              <a:rPr lang="de-DE" altLang="de-DE" sz="2400" dirty="0">
                <a:solidFill>
                  <a:srgbClr val="0000FF"/>
                </a:solidFill>
                <a:latin typeface="Arial"/>
              </a:rPr>
              <a:t> </a:t>
            </a:r>
            <a:r>
              <a:rPr lang="de-DE" altLang="de-DE" sz="2400" dirty="0" err="1">
                <a:solidFill>
                  <a:srgbClr val="0000FF"/>
                </a:solidFill>
                <a:latin typeface="Arial"/>
              </a:rPr>
              <a:t>the</a:t>
            </a:r>
            <a:r>
              <a:rPr lang="de-DE" altLang="de-DE" sz="2400" dirty="0">
                <a:solidFill>
                  <a:srgbClr val="0000FF"/>
                </a:solidFill>
                <a:latin typeface="Arial"/>
              </a:rPr>
              <a:t> Pump </a:t>
            </a:r>
            <a:r>
              <a:rPr lang="de-DE" altLang="de-DE" sz="2400" b="0" dirty="0" err="1">
                <a:solidFill>
                  <a:srgbClr val="000000"/>
                </a:solidFill>
                <a:latin typeface="Arial"/>
              </a:rPr>
              <a:t>contain</a:t>
            </a:r>
            <a:r>
              <a:rPr lang="de-DE" altLang="de-DE" sz="2400" b="0" dirty="0">
                <a:solidFill>
                  <a:srgbClr val="000000"/>
                </a:solidFill>
                <a:latin typeface="Arial"/>
              </a:rPr>
              <a:t> </a:t>
            </a:r>
            <a:r>
              <a:rPr lang="de-DE" altLang="de-DE" sz="2400" b="0" dirty="0" err="1">
                <a:solidFill>
                  <a:srgbClr val="000000"/>
                </a:solidFill>
                <a:latin typeface="Arial"/>
              </a:rPr>
              <a:t>the</a:t>
            </a:r>
            <a:r>
              <a:rPr lang="de-DE" altLang="de-DE" sz="2400" b="0" dirty="0">
                <a:solidFill>
                  <a:srgbClr val="000000"/>
                </a:solidFill>
                <a:latin typeface="Arial"/>
              </a:rPr>
              <a:t> </a:t>
            </a:r>
            <a:r>
              <a:rPr lang="de-DE" altLang="de-DE" sz="2400" b="0" dirty="0" err="1">
                <a:solidFill>
                  <a:srgbClr val="000000"/>
                </a:solidFill>
                <a:latin typeface="Arial"/>
              </a:rPr>
              <a:t>stiffness</a:t>
            </a:r>
            <a:r>
              <a:rPr lang="de-DE" altLang="de-DE" sz="2400" b="0" dirty="0">
                <a:solidFill>
                  <a:srgbClr val="000000"/>
                </a:solidFill>
                <a:latin typeface="Arial"/>
              </a:rPr>
              <a:t> &amp; </a:t>
            </a:r>
            <a:r>
              <a:rPr lang="de-DE" altLang="de-DE" sz="2400" b="0" dirty="0" err="1">
                <a:solidFill>
                  <a:srgbClr val="000000"/>
                </a:solidFill>
                <a:latin typeface="Arial"/>
              </a:rPr>
              <a:t>damping</a:t>
            </a:r>
            <a:r>
              <a:rPr lang="de-DE" altLang="de-DE" sz="2400" b="0" dirty="0">
                <a:solidFill>
                  <a:srgbClr val="000000"/>
                </a:solidFill>
                <a:latin typeface="Arial"/>
              </a:rPr>
              <a:t> &amp; </a:t>
            </a:r>
            <a:r>
              <a:rPr lang="de-DE" altLang="de-DE" sz="2400" b="0" dirty="0" err="1">
                <a:solidFill>
                  <a:srgbClr val="000000"/>
                </a:solidFill>
                <a:latin typeface="Arial"/>
              </a:rPr>
              <a:t>mass</a:t>
            </a:r>
            <a:r>
              <a:rPr lang="de-DE" altLang="de-DE" sz="2400" b="0" dirty="0">
                <a:solidFill>
                  <a:srgbClr val="000000"/>
                </a:solidFill>
                <a:latin typeface="Arial"/>
              </a:rPr>
              <a:t> </a:t>
            </a:r>
            <a:r>
              <a:rPr lang="de-DE" altLang="de-DE" sz="2400" b="0" dirty="0" err="1">
                <a:solidFill>
                  <a:srgbClr val="000000"/>
                </a:solidFill>
                <a:latin typeface="Arial"/>
              </a:rPr>
              <a:t>data</a:t>
            </a:r>
            <a:r>
              <a:rPr lang="de-DE" altLang="de-DE" sz="2400" b="0" dirty="0">
                <a:solidFill>
                  <a:srgbClr val="000000"/>
                </a:solidFill>
                <a:latin typeface="Arial"/>
              </a:rPr>
              <a:t> </a:t>
            </a:r>
            <a:r>
              <a:rPr lang="de-DE" altLang="de-DE" sz="2400" b="0" dirty="0" err="1">
                <a:solidFill>
                  <a:srgbClr val="000000"/>
                </a:solidFill>
                <a:latin typeface="Arial"/>
              </a:rPr>
              <a:t>of</a:t>
            </a:r>
            <a:r>
              <a:rPr lang="de-DE" altLang="de-DE" sz="2400" b="0" dirty="0">
                <a:solidFill>
                  <a:srgbClr val="000000"/>
                </a:solidFill>
                <a:latin typeface="Arial"/>
              </a:rPr>
              <a:t> </a:t>
            </a:r>
            <a:r>
              <a:rPr lang="de-DE" altLang="de-DE" sz="2400" b="0" dirty="0" err="1">
                <a:solidFill>
                  <a:srgbClr val="000000"/>
                </a:solidFill>
                <a:latin typeface="Arial"/>
              </a:rPr>
              <a:t>the</a:t>
            </a:r>
            <a:r>
              <a:rPr lang="de-DE" altLang="de-DE" sz="2400" b="0" dirty="0">
                <a:solidFill>
                  <a:srgbClr val="000000"/>
                </a:solidFill>
                <a:latin typeface="Arial"/>
              </a:rPr>
              <a:t> </a:t>
            </a:r>
            <a:r>
              <a:rPr lang="de-DE" altLang="de-DE" sz="2400" b="0" dirty="0" err="1">
                <a:solidFill>
                  <a:srgbClr val="000000"/>
                </a:solidFill>
                <a:latin typeface="Arial"/>
              </a:rPr>
              <a:t>Shaft</a:t>
            </a:r>
            <a:r>
              <a:rPr lang="de-DE" altLang="de-DE" sz="2400" b="0" dirty="0">
                <a:solidFill>
                  <a:srgbClr val="000000"/>
                </a:solidFill>
                <a:latin typeface="Arial"/>
              </a:rPr>
              <a:t>, Impeller, </a:t>
            </a:r>
            <a:r>
              <a:rPr lang="de-DE" altLang="de-DE" sz="2400" b="0" dirty="0" err="1">
                <a:solidFill>
                  <a:srgbClr val="000000"/>
                </a:solidFill>
                <a:latin typeface="Arial"/>
              </a:rPr>
              <a:t>Bearings</a:t>
            </a:r>
            <a:r>
              <a:rPr lang="de-DE" altLang="de-DE" sz="2400" b="0" dirty="0">
                <a:solidFill>
                  <a:srgbClr val="000000"/>
                </a:solidFill>
                <a:latin typeface="Arial"/>
              </a:rPr>
              <a:t> and Seals. </a:t>
            </a:r>
            <a:endParaRPr lang="de-DE" altLang="de-DE" sz="2200" dirty="0">
              <a:solidFill>
                <a:srgbClr val="000000"/>
              </a:solidFill>
              <a:latin typeface="Arial"/>
            </a:endParaRPr>
          </a:p>
        </p:txBody>
      </p:sp>
      <p:sp>
        <p:nvSpPr>
          <p:cNvPr id="6" name="Rechteck 5">
            <a:extLst>
              <a:ext uri="{FF2B5EF4-FFF2-40B4-BE49-F238E27FC236}">
                <a16:creationId xmlns:a16="http://schemas.microsoft.com/office/drawing/2014/main" id="{5A442F4C-CCF6-1C6C-18C0-4C958B3BB1FE}"/>
              </a:ext>
            </a:extLst>
          </p:cNvPr>
          <p:cNvSpPr/>
          <p:nvPr/>
        </p:nvSpPr>
        <p:spPr>
          <a:xfrm>
            <a:off x="6929438" y="4866869"/>
            <a:ext cx="313191" cy="236944"/>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dirty="0"/>
              <a:t>K</a:t>
            </a:r>
          </a:p>
        </p:txBody>
      </p:sp>
      <p:sp>
        <p:nvSpPr>
          <p:cNvPr id="7" name="Textfeld 6">
            <a:extLst>
              <a:ext uri="{FF2B5EF4-FFF2-40B4-BE49-F238E27FC236}">
                <a16:creationId xmlns:a16="http://schemas.microsoft.com/office/drawing/2014/main" id="{97323FB3-1717-FB1B-51F8-19DB1EBFCF33}"/>
              </a:ext>
            </a:extLst>
          </p:cNvPr>
          <p:cNvSpPr txBox="1"/>
          <p:nvPr/>
        </p:nvSpPr>
        <p:spPr>
          <a:xfrm>
            <a:off x="6884812" y="4782054"/>
            <a:ext cx="510076" cy="461665"/>
          </a:xfrm>
          <a:prstGeom prst="rect">
            <a:avLst/>
          </a:prstGeom>
          <a:noFill/>
        </p:spPr>
        <p:txBody>
          <a:bodyPr wrap="none" rtlCol="0">
            <a:spAutoFit/>
          </a:bodyPr>
          <a:lstStyle/>
          <a:p>
            <a:r>
              <a:rPr lang="de-DE" sz="2400" dirty="0">
                <a:solidFill>
                  <a:srgbClr val="0000FF"/>
                </a:solidFill>
                <a:latin typeface="+mn-lt"/>
              </a:rPr>
              <a:t>K</a:t>
            </a:r>
            <a:r>
              <a:rPr lang="de-DE" sz="2400" b="0" dirty="0">
                <a:solidFill>
                  <a:srgbClr val="0000FF"/>
                </a:solidFill>
                <a:latin typeface="+mn-lt"/>
              </a:rPr>
              <a:t>(</a:t>
            </a:r>
          </a:p>
        </p:txBody>
      </p:sp>
      <p:sp>
        <p:nvSpPr>
          <p:cNvPr id="8" name="Textfeld 7">
            <a:extLst>
              <a:ext uri="{FF2B5EF4-FFF2-40B4-BE49-F238E27FC236}">
                <a16:creationId xmlns:a16="http://schemas.microsoft.com/office/drawing/2014/main" id="{B5200422-62AA-418E-CE23-3422880CEB05}"/>
              </a:ext>
            </a:extLst>
          </p:cNvPr>
          <p:cNvSpPr txBox="1"/>
          <p:nvPr/>
        </p:nvSpPr>
        <p:spPr>
          <a:xfrm>
            <a:off x="1213533" y="339629"/>
            <a:ext cx="9300481" cy="830997"/>
          </a:xfrm>
          <a:prstGeom prst="rect">
            <a:avLst/>
          </a:prstGeom>
          <a:noFill/>
        </p:spPr>
        <p:txBody>
          <a:bodyPr wrap="square">
            <a:spAutoFit/>
          </a:bodyPr>
          <a:lstStyle/>
          <a:p>
            <a:pPr>
              <a:defRPr/>
            </a:pPr>
            <a:r>
              <a:rPr lang="de-DE" sz="2400" dirty="0">
                <a:solidFill>
                  <a:srgbClr val="0000FF"/>
                </a:solidFill>
                <a:latin typeface="Arial"/>
              </a:rPr>
              <a:t>Modelling </a:t>
            </a:r>
            <a:r>
              <a:rPr lang="de-DE" sz="2400" dirty="0" err="1">
                <a:solidFill>
                  <a:srgbClr val="0000FF"/>
                </a:solidFill>
                <a:latin typeface="Arial"/>
              </a:rPr>
              <a:t>of</a:t>
            </a:r>
            <a:r>
              <a:rPr lang="de-DE" sz="2400" dirty="0">
                <a:solidFill>
                  <a:srgbClr val="0000FF"/>
                </a:solidFill>
                <a:latin typeface="Arial"/>
              </a:rPr>
              <a:t> </a:t>
            </a:r>
            <a:r>
              <a:rPr lang="de-DE" sz="2400" dirty="0" err="1">
                <a:solidFill>
                  <a:srgbClr val="0000FF"/>
                </a:solidFill>
                <a:latin typeface="Arial"/>
              </a:rPr>
              <a:t>the</a:t>
            </a:r>
            <a:r>
              <a:rPr lang="de-DE" sz="2400" dirty="0">
                <a:solidFill>
                  <a:srgbClr val="0000FF"/>
                </a:solidFill>
                <a:latin typeface="Arial"/>
              </a:rPr>
              <a:t> Horizontal </a:t>
            </a:r>
            <a:r>
              <a:rPr lang="de-DE" sz="2400" dirty="0" err="1">
                <a:solidFill>
                  <a:srgbClr val="0000FF"/>
                </a:solidFill>
                <a:latin typeface="Arial"/>
              </a:rPr>
              <a:t>Feedwater</a:t>
            </a:r>
            <a:r>
              <a:rPr lang="de-DE" sz="2400" dirty="0">
                <a:solidFill>
                  <a:srgbClr val="0000FF"/>
                </a:solidFill>
                <a:latin typeface="Arial"/>
              </a:rPr>
              <a:t> Pump </a:t>
            </a:r>
            <a:r>
              <a:rPr lang="de-DE" sz="2400" dirty="0" err="1">
                <a:solidFill>
                  <a:srgbClr val="0000FF"/>
                </a:solidFill>
                <a:latin typeface="Arial"/>
              </a:rPr>
              <a:t>with</a:t>
            </a:r>
            <a:r>
              <a:rPr lang="de-DE" sz="2400" dirty="0">
                <a:solidFill>
                  <a:srgbClr val="0000FF"/>
                </a:solidFill>
                <a:latin typeface="Arial"/>
              </a:rPr>
              <a:t> Interactions</a:t>
            </a:r>
          </a:p>
          <a:p>
            <a:pPr>
              <a:defRPr/>
            </a:pPr>
            <a:r>
              <a:rPr lang="de-DE" sz="2400" b="0" dirty="0">
                <a:latin typeface="Arial"/>
              </a:rPr>
              <a:t>Input Output Relations –</a:t>
            </a:r>
            <a:r>
              <a:rPr lang="de-DE" sz="2400" b="0" dirty="0">
                <a:solidFill>
                  <a:srgbClr val="0000FF"/>
                </a:solidFill>
                <a:latin typeface="Arial"/>
              </a:rPr>
              <a:t> </a:t>
            </a:r>
            <a:r>
              <a:rPr lang="de-DE" sz="2400" dirty="0">
                <a:solidFill>
                  <a:srgbClr val="0000FF"/>
                </a:solidFill>
                <a:latin typeface="Arial"/>
              </a:rPr>
              <a:t>Linear</a:t>
            </a:r>
            <a:r>
              <a:rPr lang="de-DE" sz="2400" b="0" dirty="0">
                <a:solidFill>
                  <a:srgbClr val="0000FF"/>
                </a:solidFill>
                <a:latin typeface="Arial"/>
              </a:rPr>
              <a:t> </a:t>
            </a:r>
            <a:r>
              <a:rPr lang="de-DE" sz="2400" b="0" dirty="0" err="1">
                <a:latin typeface="Arial"/>
              </a:rPr>
              <a:t>Equations</a:t>
            </a:r>
            <a:r>
              <a:rPr lang="de-DE" sz="2400" b="0" dirty="0">
                <a:latin typeface="Arial"/>
              </a:rPr>
              <a:t> </a:t>
            </a:r>
            <a:r>
              <a:rPr lang="de-DE" sz="2400" b="0" dirty="0" err="1">
                <a:latin typeface="Arial"/>
              </a:rPr>
              <a:t>of</a:t>
            </a:r>
            <a:r>
              <a:rPr lang="de-DE" sz="2400" b="0" dirty="0">
                <a:latin typeface="Arial"/>
              </a:rPr>
              <a:t> Motion</a:t>
            </a:r>
            <a:r>
              <a:rPr lang="de-DE" sz="2400" dirty="0">
                <a:latin typeface="Arial"/>
              </a:rPr>
              <a:t> </a:t>
            </a:r>
          </a:p>
        </p:txBody>
      </p:sp>
      <p:pic>
        <p:nvPicPr>
          <p:cNvPr id="3" name="Grafik 2">
            <a:extLst>
              <a:ext uri="{FF2B5EF4-FFF2-40B4-BE49-F238E27FC236}">
                <a16:creationId xmlns:a16="http://schemas.microsoft.com/office/drawing/2014/main" id="{C41BE944-8FAB-A7D3-5B8F-CD42CA011CB1}"/>
              </a:ext>
            </a:extLst>
          </p:cNvPr>
          <p:cNvPicPr>
            <a:picLocks noChangeAspect="1"/>
          </p:cNvPicPr>
          <p:nvPr/>
        </p:nvPicPr>
        <p:blipFill>
          <a:blip r:embed="rId4"/>
          <a:stretch>
            <a:fillRect/>
          </a:stretch>
        </p:blipFill>
        <p:spPr>
          <a:xfrm>
            <a:off x="4654092" y="1924926"/>
            <a:ext cx="2588537" cy="2425830"/>
          </a:xfrm>
          <a:prstGeom prst="rect">
            <a:avLst/>
          </a:prstGeom>
        </p:spPr>
      </p:pic>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3" name="Text Box 3">
            <a:extLst>
              <a:ext uri="{FF2B5EF4-FFF2-40B4-BE49-F238E27FC236}">
                <a16:creationId xmlns:a16="http://schemas.microsoft.com/office/drawing/2014/main" id="{54F4F653-5D75-3A0C-B358-0AC8A0081DB1}"/>
              </a:ext>
            </a:extLst>
          </p:cNvPr>
          <p:cNvSpPr txBox="1">
            <a:spLocks noChangeArrowheads="1"/>
          </p:cNvSpPr>
          <p:nvPr/>
        </p:nvSpPr>
        <p:spPr bwMode="auto">
          <a:xfrm>
            <a:off x="859294" y="121980"/>
            <a:ext cx="9669914" cy="830997"/>
          </a:xfrm>
          <a:prstGeom prst="rect">
            <a:avLst/>
          </a:prstGeom>
          <a:noFill/>
          <a:ln>
            <a:noFill/>
          </a:ln>
          <a:effectLst/>
        </p:spPr>
        <p:txBody>
          <a:bodyPr wrap="square">
            <a:spAutoFit/>
          </a:bodyPr>
          <a:lstStyle>
            <a:lvl1pPr eaLnBrk="0" hangingPunct="0">
              <a:defRPr b="1">
                <a:solidFill>
                  <a:schemeClr val="tx1"/>
                </a:solidFill>
                <a:latin typeface="Verdana" pitchFamily="34" charset="0"/>
              </a:defRPr>
            </a:lvl1pPr>
            <a:lvl2pPr marL="742950" indent="-285750" eaLnBrk="0" hangingPunct="0">
              <a:defRPr b="1">
                <a:solidFill>
                  <a:schemeClr val="tx1"/>
                </a:solidFill>
                <a:latin typeface="Verdana" pitchFamily="34" charset="0"/>
              </a:defRPr>
            </a:lvl2pPr>
            <a:lvl3pPr marL="1143000" indent="-228600" eaLnBrk="0" hangingPunct="0">
              <a:defRPr b="1">
                <a:solidFill>
                  <a:schemeClr val="tx1"/>
                </a:solidFill>
                <a:latin typeface="Verdana" pitchFamily="34" charset="0"/>
              </a:defRPr>
            </a:lvl3pPr>
            <a:lvl4pPr marL="1600200" indent="-228600" eaLnBrk="0" hangingPunct="0">
              <a:defRPr b="1">
                <a:solidFill>
                  <a:schemeClr val="tx1"/>
                </a:solidFill>
                <a:latin typeface="Verdana" pitchFamily="34" charset="0"/>
              </a:defRPr>
            </a:lvl4pPr>
            <a:lvl5pPr marL="2057400" indent="-228600" eaLnBrk="0" hangingPunct="0">
              <a:defRPr b="1">
                <a:solidFill>
                  <a:schemeClr val="tx1"/>
                </a:solidFill>
                <a:latin typeface="Verdana" pitchFamily="34" charset="0"/>
              </a:defRPr>
            </a:lvl5pPr>
            <a:lvl6pPr marL="2514600" indent="-228600" eaLnBrk="0" fontAlgn="base" hangingPunct="0">
              <a:spcBef>
                <a:spcPct val="0"/>
              </a:spcBef>
              <a:spcAft>
                <a:spcPct val="0"/>
              </a:spcAft>
              <a:defRPr b="1">
                <a:solidFill>
                  <a:schemeClr val="tx1"/>
                </a:solidFill>
                <a:latin typeface="Verdana" pitchFamily="34" charset="0"/>
              </a:defRPr>
            </a:lvl6pPr>
            <a:lvl7pPr marL="2971800" indent="-228600" eaLnBrk="0" fontAlgn="base" hangingPunct="0">
              <a:spcBef>
                <a:spcPct val="0"/>
              </a:spcBef>
              <a:spcAft>
                <a:spcPct val="0"/>
              </a:spcAft>
              <a:defRPr b="1">
                <a:solidFill>
                  <a:schemeClr val="tx1"/>
                </a:solidFill>
                <a:latin typeface="Verdana" pitchFamily="34" charset="0"/>
              </a:defRPr>
            </a:lvl7pPr>
            <a:lvl8pPr marL="3429000" indent="-228600" eaLnBrk="0" fontAlgn="base" hangingPunct="0">
              <a:spcBef>
                <a:spcPct val="0"/>
              </a:spcBef>
              <a:spcAft>
                <a:spcPct val="0"/>
              </a:spcAft>
              <a:defRPr b="1">
                <a:solidFill>
                  <a:schemeClr val="tx1"/>
                </a:solidFill>
                <a:latin typeface="Verdana" pitchFamily="34" charset="0"/>
              </a:defRPr>
            </a:lvl8pPr>
            <a:lvl9pPr marL="3886200" indent="-228600" eaLnBrk="0" fontAlgn="base" hangingPunct="0">
              <a:spcBef>
                <a:spcPct val="0"/>
              </a:spcBef>
              <a:spcAft>
                <a:spcPct val="0"/>
              </a:spcAft>
              <a:defRPr b="1">
                <a:solidFill>
                  <a:schemeClr val="tx1"/>
                </a:solidFill>
                <a:latin typeface="Verdana"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de-DE" altLang="de-DE" sz="2400" b="1" i="0" u="none" strike="noStrike" kern="1200" cap="none" spc="0" normalizeH="0" baseline="0" noProof="0" dirty="0">
                <a:ln>
                  <a:noFill/>
                </a:ln>
                <a:solidFill>
                  <a:srgbClr val="0000FF"/>
                </a:solidFill>
                <a:effectLst/>
                <a:uLnTx/>
                <a:uFillTx/>
                <a:latin typeface="Arial"/>
                <a:ea typeface="+mn-ea"/>
                <a:cs typeface="+mn-cs"/>
              </a:rPr>
              <a:t>Modelling </a:t>
            </a:r>
            <a:r>
              <a:rPr kumimoji="0" lang="de-DE" altLang="de-DE" sz="2400" b="1" i="0" u="none" strike="noStrike" kern="1200" cap="none" spc="0" normalizeH="0" baseline="0" noProof="0" dirty="0" err="1">
                <a:ln>
                  <a:noFill/>
                </a:ln>
                <a:solidFill>
                  <a:srgbClr val="0000FF"/>
                </a:solidFill>
                <a:effectLst/>
                <a:uLnTx/>
                <a:uFillTx/>
                <a:latin typeface="Arial"/>
                <a:ea typeface="+mn-ea"/>
                <a:cs typeface="+mn-cs"/>
              </a:rPr>
              <a:t>of</a:t>
            </a:r>
            <a:r>
              <a:rPr kumimoji="0" lang="de-DE" altLang="de-DE" sz="2400" b="1" i="0" u="none" strike="noStrike" kern="1200" cap="none" spc="0" normalizeH="0" baseline="0" noProof="0" dirty="0">
                <a:ln>
                  <a:noFill/>
                </a:ln>
                <a:solidFill>
                  <a:srgbClr val="0000FF"/>
                </a:solidFill>
                <a:effectLst/>
                <a:uLnTx/>
                <a:uFillTx/>
                <a:latin typeface="Arial"/>
                <a:ea typeface="+mn-ea"/>
                <a:cs typeface="+mn-cs"/>
              </a:rPr>
              <a:t> </a:t>
            </a:r>
            <a:r>
              <a:rPr kumimoji="0" lang="de-DE" altLang="de-DE" sz="2400" b="1" i="0" u="none" strike="noStrike" kern="1200" cap="none" spc="0" normalizeH="0" baseline="0" noProof="0" dirty="0" err="1">
                <a:ln>
                  <a:noFill/>
                </a:ln>
                <a:solidFill>
                  <a:srgbClr val="0000FF"/>
                </a:solidFill>
                <a:effectLst/>
                <a:uLnTx/>
                <a:uFillTx/>
                <a:latin typeface="Arial"/>
                <a:ea typeface="+mn-ea"/>
                <a:cs typeface="+mn-cs"/>
              </a:rPr>
              <a:t>the</a:t>
            </a:r>
            <a:r>
              <a:rPr kumimoji="0" lang="de-DE" altLang="de-DE" sz="2400" b="1" i="0" u="none" strike="noStrike" kern="1200" cap="none" spc="0" normalizeH="0" baseline="0" noProof="0" dirty="0">
                <a:ln>
                  <a:noFill/>
                </a:ln>
                <a:solidFill>
                  <a:srgbClr val="0000FF"/>
                </a:solidFill>
                <a:effectLst/>
                <a:uLnTx/>
                <a:uFillTx/>
                <a:latin typeface="Arial"/>
                <a:ea typeface="+mn-ea"/>
                <a:cs typeface="+mn-cs"/>
              </a:rPr>
              <a:t> Horizontal </a:t>
            </a:r>
            <a:r>
              <a:rPr kumimoji="0" lang="de-DE" altLang="de-DE" sz="2400" b="1" i="0" u="none" strike="noStrike" kern="1200" cap="none" spc="0" normalizeH="0" baseline="0" noProof="0" dirty="0" err="1">
                <a:ln>
                  <a:noFill/>
                </a:ln>
                <a:solidFill>
                  <a:srgbClr val="0000FF"/>
                </a:solidFill>
                <a:effectLst/>
                <a:uLnTx/>
                <a:uFillTx/>
                <a:latin typeface="Arial"/>
                <a:ea typeface="+mn-ea"/>
                <a:cs typeface="+mn-cs"/>
              </a:rPr>
              <a:t>Feedwater</a:t>
            </a:r>
            <a:r>
              <a:rPr kumimoji="0" lang="de-DE" altLang="de-DE" sz="2400" b="1" i="0" u="none" strike="noStrike" kern="1200" cap="none" spc="0" normalizeH="0" baseline="0" noProof="0" dirty="0">
                <a:ln>
                  <a:noFill/>
                </a:ln>
                <a:solidFill>
                  <a:srgbClr val="0000FF"/>
                </a:solidFill>
                <a:effectLst/>
                <a:uLnTx/>
                <a:uFillTx/>
                <a:latin typeface="Arial"/>
                <a:ea typeface="+mn-ea"/>
                <a:cs typeface="+mn-cs"/>
              </a:rPr>
              <a:t> Pump </a:t>
            </a:r>
            <a:r>
              <a:rPr kumimoji="0" lang="de-DE" altLang="de-DE" sz="2400" b="1" i="0" u="none" strike="noStrike" kern="1200" cap="none" spc="0" normalizeH="0" baseline="0" noProof="0" dirty="0" err="1">
                <a:ln>
                  <a:noFill/>
                </a:ln>
                <a:solidFill>
                  <a:srgbClr val="0000FF"/>
                </a:solidFill>
                <a:effectLst/>
                <a:uLnTx/>
                <a:uFillTx/>
                <a:latin typeface="Arial"/>
                <a:ea typeface="+mn-ea"/>
                <a:cs typeface="+mn-cs"/>
              </a:rPr>
              <a:t>with</a:t>
            </a:r>
            <a:r>
              <a:rPr kumimoji="0" lang="de-DE" altLang="de-DE" sz="2400" b="1" i="0" u="none" strike="noStrike" kern="1200" cap="none" spc="0" normalizeH="0" baseline="0" noProof="0" dirty="0">
                <a:ln>
                  <a:noFill/>
                </a:ln>
                <a:solidFill>
                  <a:srgbClr val="0000FF"/>
                </a:solidFill>
                <a:effectLst/>
                <a:uLnTx/>
                <a:uFillTx/>
                <a:latin typeface="Arial"/>
                <a:ea typeface="+mn-ea"/>
                <a:cs typeface="+mn-cs"/>
              </a:rPr>
              <a:t> Interactions</a:t>
            </a:r>
            <a:br>
              <a:rPr kumimoji="0" lang="de-DE" altLang="de-DE" sz="2400" b="0" i="0" u="none" strike="noStrike" kern="1200" cap="none" spc="0" normalizeH="0" baseline="0" noProof="0" dirty="0">
                <a:ln>
                  <a:noFill/>
                </a:ln>
                <a:solidFill>
                  <a:srgbClr val="000000"/>
                </a:solidFill>
                <a:effectLst/>
                <a:uLnTx/>
                <a:uFillTx/>
                <a:latin typeface="Arial"/>
                <a:ea typeface="+mn-ea"/>
                <a:cs typeface="+mn-cs"/>
              </a:rPr>
            </a:br>
            <a:r>
              <a:rPr kumimoji="0" lang="de-DE" altLang="de-DE" sz="2400" b="0" i="0" u="none" strike="noStrike" kern="1200" cap="none" spc="0" normalizeH="0" baseline="0" noProof="0" dirty="0" err="1">
                <a:ln>
                  <a:noFill/>
                </a:ln>
                <a:solidFill>
                  <a:srgbClr val="000000"/>
                </a:solidFill>
                <a:effectLst/>
                <a:uLnTx/>
                <a:uFillTx/>
                <a:latin typeface="Arial"/>
                <a:ea typeface="+mn-ea"/>
                <a:cs typeface="+mn-cs"/>
              </a:rPr>
              <a:t>Stiffness</a:t>
            </a:r>
            <a:r>
              <a:rPr kumimoji="0" lang="de-DE" altLang="de-DE" sz="2400" b="0" i="0" u="none" strike="noStrike" kern="1200" cap="none" spc="0" normalizeH="0" baseline="0" noProof="0" dirty="0">
                <a:ln>
                  <a:noFill/>
                </a:ln>
                <a:solidFill>
                  <a:srgbClr val="000000"/>
                </a:solidFill>
                <a:effectLst/>
                <a:uLnTx/>
                <a:uFillTx/>
                <a:latin typeface="Arial"/>
                <a:ea typeface="+mn-ea"/>
                <a:cs typeface="+mn-cs"/>
              </a:rPr>
              <a:t> and </a:t>
            </a:r>
            <a:r>
              <a:rPr kumimoji="0" lang="de-DE" altLang="de-DE" sz="2400" b="0" i="0" u="none" strike="noStrike" kern="1200" cap="none" spc="0" normalizeH="0" baseline="0" noProof="0" dirty="0" err="1">
                <a:ln>
                  <a:noFill/>
                </a:ln>
                <a:solidFill>
                  <a:srgbClr val="000000"/>
                </a:solidFill>
                <a:effectLst/>
                <a:uLnTx/>
                <a:uFillTx/>
                <a:latin typeface="Arial"/>
                <a:ea typeface="+mn-ea"/>
                <a:cs typeface="+mn-cs"/>
              </a:rPr>
              <a:t>Damping</a:t>
            </a:r>
            <a:r>
              <a:rPr kumimoji="0" lang="de-DE" altLang="de-DE" sz="2400" b="0" i="0" u="none" strike="noStrike" kern="1200" cap="none" spc="0" normalizeH="0" baseline="0" noProof="0" dirty="0">
                <a:ln>
                  <a:noFill/>
                </a:ln>
                <a:solidFill>
                  <a:srgbClr val="000000"/>
                </a:solidFill>
                <a:effectLst/>
                <a:uLnTx/>
                <a:uFillTx/>
                <a:latin typeface="Arial"/>
                <a:ea typeface="+mn-ea"/>
                <a:cs typeface="+mn-cs"/>
              </a:rPr>
              <a:t> </a:t>
            </a:r>
            <a:r>
              <a:rPr kumimoji="0" lang="de-DE" altLang="de-DE" sz="2400" b="0" i="0" u="none" strike="noStrike" kern="1200" cap="none" spc="0" normalizeH="0" baseline="0" noProof="0" dirty="0" err="1">
                <a:ln>
                  <a:noFill/>
                </a:ln>
                <a:solidFill>
                  <a:srgbClr val="000000"/>
                </a:solidFill>
                <a:effectLst/>
                <a:uLnTx/>
                <a:uFillTx/>
                <a:latin typeface="Arial"/>
                <a:ea typeface="+mn-ea"/>
                <a:cs typeface="+mn-cs"/>
              </a:rPr>
              <a:t>Coefficients</a:t>
            </a:r>
            <a:r>
              <a:rPr kumimoji="0" lang="de-DE" altLang="de-DE" sz="2400" b="0" i="0" u="none" strike="noStrike" kern="1200" cap="none" spc="0" normalizeH="0" baseline="0" noProof="0" dirty="0">
                <a:ln>
                  <a:noFill/>
                </a:ln>
                <a:solidFill>
                  <a:srgbClr val="000000"/>
                </a:solidFill>
                <a:effectLst/>
                <a:uLnTx/>
                <a:uFillTx/>
                <a:latin typeface="Arial"/>
                <a:ea typeface="+mn-ea"/>
                <a:cs typeface="+mn-cs"/>
              </a:rPr>
              <a:t> </a:t>
            </a:r>
            <a:r>
              <a:rPr kumimoji="0" lang="de-DE" altLang="de-DE" sz="2400" b="0" i="0" u="none" strike="noStrike" kern="1200" cap="none" spc="0" normalizeH="0" baseline="0" noProof="0" dirty="0" err="1">
                <a:ln>
                  <a:noFill/>
                </a:ln>
                <a:solidFill>
                  <a:srgbClr val="000000"/>
                </a:solidFill>
                <a:effectLst/>
                <a:uLnTx/>
                <a:uFillTx/>
                <a:latin typeface="Arial"/>
                <a:ea typeface="+mn-ea"/>
                <a:cs typeface="+mn-cs"/>
              </a:rPr>
              <a:t>of</a:t>
            </a:r>
            <a:r>
              <a:rPr kumimoji="0" lang="de-DE" altLang="de-DE" sz="2400" b="0" i="0" u="none" strike="noStrike" kern="1200" cap="none" spc="0" normalizeH="0" baseline="0" noProof="0" dirty="0">
                <a:ln>
                  <a:noFill/>
                </a:ln>
                <a:solidFill>
                  <a:srgbClr val="000000"/>
                </a:solidFill>
                <a:effectLst/>
                <a:uLnTx/>
                <a:uFillTx/>
                <a:latin typeface="Arial"/>
                <a:ea typeface="+mn-ea"/>
                <a:cs typeface="+mn-cs"/>
              </a:rPr>
              <a:t> </a:t>
            </a:r>
            <a:r>
              <a:rPr kumimoji="0" lang="de-DE" altLang="de-DE" sz="2400" b="0" i="0" u="none" strike="noStrike" kern="1200" cap="none" spc="0" normalizeH="0" baseline="0" noProof="0" dirty="0">
                <a:ln>
                  <a:noFill/>
                </a:ln>
                <a:effectLst/>
                <a:uLnTx/>
                <a:uFillTx/>
                <a:latin typeface="Arial"/>
                <a:ea typeface="+mn-ea"/>
                <a:cs typeface="+mn-cs"/>
              </a:rPr>
              <a:t>Fluid Film </a:t>
            </a:r>
            <a:r>
              <a:rPr kumimoji="0" lang="de-DE" altLang="de-DE" sz="2400" b="0" i="0" u="none" strike="noStrike" kern="1200" cap="none" spc="0" normalizeH="0" baseline="0" noProof="0" dirty="0" err="1">
                <a:ln>
                  <a:noFill/>
                </a:ln>
                <a:effectLst/>
                <a:uLnTx/>
                <a:uFillTx/>
                <a:latin typeface="Arial"/>
                <a:ea typeface="+mn-ea"/>
                <a:cs typeface="+mn-cs"/>
              </a:rPr>
              <a:t>Bearings</a:t>
            </a:r>
            <a:r>
              <a:rPr kumimoji="0" lang="de-DE" altLang="de-DE" sz="2400" b="0" i="0" u="none" strike="noStrike" kern="1200" cap="none" spc="0" normalizeH="0" baseline="0" noProof="0" dirty="0">
                <a:ln>
                  <a:noFill/>
                </a:ln>
                <a:effectLst/>
                <a:uLnTx/>
                <a:uFillTx/>
                <a:latin typeface="Arial"/>
                <a:ea typeface="+mn-ea"/>
                <a:cs typeface="+mn-cs"/>
              </a:rPr>
              <a:t> </a:t>
            </a:r>
            <a:r>
              <a:rPr kumimoji="0" lang="de-DE" altLang="de-DE" sz="2400" b="0" i="0" u="none" strike="noStrike" kern="1200" cap="none" spc="0" normalizeH="0" baseline="0" noProof="0" dirty="0">
                <a:ln>
                  <a:noFill/>
                </a:ln>
                <a:solidFill>
                  <a:srgbClr val="000000"/>
                </a:solidFill>
                <a:effectLst/>
                <a:uLnTx/>
                <a:uFillTx/>
                <a:latin typeface="Arial"/>
                <a:ea typeface="+mn-ea"/>
                <a:cs typeface="+mn-cs"/>
              </a:rPr>
              <a:t>and Seals </a:t>
            </a:r>
            <a:endParaRPr kumimoji="0" lang="en-GB" altLang="de-DE" sz="2400" b="0" i="0" u="none" strike="noStrike" kern="1200" cap="none" spc="0" normalizeH="0" baseline="0" noProof="0" dirty="0">
              <a:ln>
                <a:noFill/>
              </a:ln>
              <a:solidFill>
                <a:srgbClr val="000000"/>
              </a:solidFill>
              <a:effectLst/>
              <a:uLnTx/>
              <a:uFillTx/>
              <a:latin typeface="Arial"/>
              <a:ea typeface="+mn-ea"/>
              <a:cs typeface="+mn-cs"/>
            </a:endParaRPr>
          </a:p>
        </p:txBody>
      </p:sp>
      <p:sp>
        <p:nvSpPr>
          <p:cNvPr id="31747" name="Text Box 4">
            <a:extLst>
              <a:ext uri="{FF2B5EF4-FFF2-40B4-BE49-F238E27FC236}">
                <a16:creationId xmlns:a16="http://schemas.microsoft.com/office/drawing/2014/main" id="{1B7CF405-774B-09D8-E47C-93CB359EBED8}"/>
              </a:ext>
            </a:extLst>
          </p:cNvPr>
          <p:cNvSpPr txBox="1">
            <a:spLocks noChangeArrowheads="1"/>
          </p:cNvSpPr>
          <p:nvPr/>
        </p:nvSpPr>
        <p:spPr bwMode="auto">
          <a:xfrm>
            <a:off x="1126536" y="1243694"/>
            <a:ext cx="9278029" cy="5262979"/>
          </a:xfrm>
          <a:prstGeom prst="rect">
            <a:avLst/>
          </a:prstGeom>
          <a:noFill/>
          <a:ln>
            <a:noFill/>
          </a:ln>
          <a:effectLst/>
        </p:spPr>
        <p:txBody>
          <a:bodyPr wrap="square">
            <a:spAutoFit/>
          </a:bodyPr>
          <a:lstStyle>
            <a:lvl1pPr eaLnBrk="0" hangingPunct="0">
              <a:spcBef>
                <a:spcPct val="20000"/>
              </a:spcBef>
              <a:buFont typeface="Wingdings" pitchFamily="2" charset="2"/>
              <a:buChar char="§"/>
              <a:defRPr sz="2000">
                <a:solidFill>
                  <a:schemeClr val="tx1"/>
                </a:solidFill>
                <a:latin typeface="Arial" pitchFamily="34" charset="0"/>
              </a:defRPr>
            </a:lvl1pPr>
            <a:lvl2pPr marL="742950" indent="-285750" eaLnBrk="0" hangingPunct="0">
              <a:spcBef>
                <a:spcPct val="20000"/>
              </a:spcBef>
              <a:buFont typeface="Wingdings" pitchFamily="2" charset="2"/>
              <a:buChar char="§"/>
              <a:defRPr>
                <a:solidFill>
                  <a:schemeClr val="tx1"/>
                </a:solidFill>
                <a:latin typeface="Arial" pitchFamily="34" charset="0"/>
              </a:defRPr>
            </a:lvl2pPr>
            <a:lvl3pPr marL="1143000" indent="-228600" eaLnBrk="0" hangingPunct="0">
              <a:spcBef>
                <a:spcPct val="20000"/>
              </a:spcBef>
              <a:buFont typeface="Wingdings" pitchFamily="2" charset="2"/>
              <a:buChar char="§"/>
              <a:defRPr>
                <a:solidFill>
                  <a:schemeClr val="tx1"/>
                </a:solidFill>
                <a:latin typeface="Arial" pitchFamily="34" charset="0"/>
              </a:defRPr>
            </a:lvl3pPr>
            <a:lvl4pPr marL="1600200" indent="-228600" eaLnBrk="0" hangingPunct="0">
              <a:spcBef>
                <a:spcPct val="20000"/>
              </a:spcBef>
              <a:buFont typeface="Wingdings" pitchFamily="2" charset="2"/>
              <a:buChar char="§"/>
              <a:defRPr sz="1600">
                <a:solidFill>
                  <a:schemeClr val="tx1"/>
                </a:solidFill>
                <a:latin typeface="Arial" pitchFamily="34" charset="0"/>
              </a:defRPr>
            </a:lvl4pPr>
            <a:lvl5pPr marL="2057400" indent="-228600" eaLnBrk="0" hangingPunct="0">
              <a:spcBef>
                <a:spcPct val="20000"/>
              </a:spcBef>
              <a:buFont typeface="Wingdings" pitchFamily="2" charset="2"/>
              <a:buChar char="§"/>
              <a:defRPr sz="1600">
                <a:solidFill>
                  <a:schemeClr val="tx1"/>
                </a:solidFill>
                <a:latin typeface="Arial" pitchFamily="34" charset="0"/>
              </a:defRPr>
            </a:lvl5pPr>
            <a:lvl6pPr marL="2514600" indent="-228600" eaLnBrk="0" fontAlgn="base" hangingPunct="0">
              <a:spcBef>
                <a:spcPct val="20000"/>
              </a:spcBef>
              <a:spcAft>
                <a:spcPct val="0"/>
              </a:spcAft>
              <a:buFont typeface="Wingdings" pitchFamily="2" charset="2"/>
              <a:buChar char="§"/>
              <a:defRPr sz="1600">
                <a:solidFill>
                  <a:schemeClr val="tx1"/>
                </a:solidFill>
                <a:latin typeface="Arial" pitchFamily="34" charset="0"/>
              </a:defRPr>
            </a:lvl6pPr>
            <a:lvl7pPr marL="2971800" indent="-228600" eaLnBrk="0" fontAlgn="base" hangingPunct="0">
              <a:spcBef>
                <a:spcPct val="20000"/>
              </a:spcBef>
              <a:spcAft>
                <a:spcPct val="0"/>
              </a:spcAft>
              <a:buFont typeface="Wingdings" pitchFamily="2" charset="2"/>
              <a:buChar char="§"/>
              <a:defRPr sz="1600">
                <a:solidFill>
                  <a:schemeClr val="tx1"/>
                </a:solidFill>
                <a:latin typeface="Arial" pitchFamily="34" charset="0"/>
              </a:defRPr>
            </a:lvl7pPr>
            <a:lvl8pPr marL="3429000" indent="-228600" eaLnBrk="0" fontAlgn="base" hangingPunct="0">
              <a:spcBef>
                <a:spcPct val="20000"/>
              </a:spcBef>
              <a:spcAft>
                <a:spcPct val="0"/>
              </a:spcAft>
              <a:buFont typeface="Wingdings" pitchFamily="2" charset="2"/>
              <a:buChar char="§"/>
              <a:defRPr sz="1600">
                <a:solidFill>
                  <a:schemeClr val="tx1"/>
                </a:solidFill>
                <a:latin typeface="Arial" pitchFamily="34" charset="0"/>
              </a:defRPr>
            </a:lvl8pPr>
            <a:lvl9pPr marL="3886200" indent="-228600" eaLnBrk="0" fontAlgn="base" hangingPunct="0">
              <a:spcBef>
                <a:spcPct val="20000"/>
              </a:spcBef>
              <a:spcAft>
                <a:spcPct val="0"/>
              </a:spcAft>
              <a:buFont typeface="Wingdings" pitchFamily="2" charset="2"/>
              <a:buChar char="§"/>
              <a:defRPr sz="1600">
                <a:solidFill>
                  <a:schemeClr val="tx1"/>
                </a:solidFill>
                <a:latin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 typeface="Wingdings" pitchFamily="2" charset="2"/>
              <a:buNone/>
              <a:tabLst/>
              <a:defRPr/>
            </a:pPr>
            <a:r>
              <a:rPr kumimoji="0" lang="en-GB" altLang="de-DE" sz="2400" b="0" i="0" u="none" strike="noStrike" kern="1200" cap="none" spc="0" normalizeH="0" baseline="0" noProof="0" dirty="0">
                <a:ln>
                  <a:noFill/>
                </a:ln>
                <a:solidFill>
                  <a:srgbClr val="000000"/>
                </a:solidFill>
                <a:effectLst/>
                <a:uLnTx/>
                <a:uFillTx/>
                <a:latin typeface="Arial"/>
                <a:ea typeface="+mn-ea"/>
                <a:cs typeface="+mn-cs"/>
              </a:rPr>
              <a:t>The Forces of </a:t>
            </a:r>
            <a:r>
              <a:rPr kumimoji="0" lang="en-GB" altLang="de-DE" sz="2400" i="0" u="none" strike="noStrike" kern="1200" cap="none" spc="0" normalizeH="0" baseline="0" noProof="0" dirty="0">
                <a:ln>
                  <a:noFill/>
                </a:ln>
                <a:solidFill>
                  <a:srgbClr val="0000FF"/>
                </a:solidFill>
                <a:effectLst/>
                <a:uLnTx/>
                <a:uFillTx/>
                <a:latin typeface="Arial"/>
                <a:ea typeface="+mn-ea"/>
                <a:cs typeface="+mn-cs"/>
              </a:rPr>
              <a:t>Fluid Film Bearings </a:t>
            </a:r>
            <a:r>
              <a:rPr kumimoji="0" lang="en-GB" altLang="de-DE" sz="2400" b="0" i="0" u="none" strike="noStrike" kern="1200" cap="none" spc="0" normalizeH="0" baseline="0" noProof="0" dirty="0">
                <a:ln>
                  <a:noFill/>
                </a:ln>
                <a:solidFill>
                  <a:srgbClr val="000000"/>
                </a:solidFill>
                <a:effectLst/>
                <a:uLnTx/>
                <a:uFillTx/>
                <a:latin typeface="Arial"/>
                <a:ea typeface="+mn-ea"/>
                <a:cs typeface="+mn-cs"/>
              </a:rPr>
              <a:t>and </a:t>
            </a:r>
            <a:r>
              <a:rPr kumimoji="0" lang="en-GB" altLang="de-DE" sz="2400" i="0" u="none" strike="noStrike" kern="1200" cap="none" spc="0" normalizeH="0" baseline="0" noProof="0" dirty="0">
                <a:ln>
                  <a:noFill/>
                </a:ln>
                <a:solidFill>
                  <a:srgbClr val="0000FF"/>
                </a:solidFill>
                <a:effectLst/>
                <a:uLnTx/>
                <a:uFillTx/>
                <a:latin typeface="Arial"/>
                <a:ea typeface="+mn-ea"/>
                <a:cs typeface="+mn-cs"/>
              </a:rPr>
              <a:t>Seals</a:t>
            </a:r>
            <a:r>
              <a:rPr kumimoji="0" lang="en-GB" altLang="de-DE" sz="2400" b="0" i="0" u="none" strike="noStrike" kern="1200" cap="none" spc="0" normalizeH="0" baseline="0" noProof="0" dirty="0">
                <a:ln>
                  <a:noFill/>
                </a:ln>
                <a:solidFill>
                  <a:srgbClr val="000000"/>
                </a:solidFill>
                <a:effectLst/>
                <a:uLnTx/>
                <a:uFillTx/>
                <a:latin typeface="Arial"/>
                <a:ea typeface="+mn-ea"/>
                <a:cs typeface="+mn-cs"/>
              </a:rPr>
              <a:t> can be presented by </a:t>
            </a:r>
            <a:r>
              <a:rPr kumimoji="0" lang="en-GB" altLang="de-DE" sz="2400" i="0" u="none" strike="noStrike" kern="1200" cap="none" spc="0" normalizeH="0" baseline="0" noProof="0" dirty="0">
                <a:ln>
                  <a:noFill/>
                </a:ln>
                <a:solidFill>
                  <a:srgbClr val="0000FF"/>
                </a:solidFill>
                <a:effectLst/>
                <a:uLnTx/>
                <a:uFillTx/>
                <a:latin typeface="Arial"/>
                <a:ea typeface="+mn-ea"/>
                <a:cs typeface="+mn-cs"/>
              </a:rPr>
              <a:t>stiffness and damping coefficients </a:t>
            </a:r>
            <a:r>
              <a:rPr kumimoji="0" lang="en-GB" altLang="de-DE" sz="2400" u="none" strike="noStrike" kern="1200" cap="none" spc="0" normalizeH="0" baseline="0" noProof="0" dirty="0" err="1">
                <a:ln>
                  <a:noFill/>
                </a:ln>
                <a:solidFill>
                  <a:srgbClr val="0000FF"/>
                </a:solidFill>
                <a:effectLst/>
                <a:uLnTx/>
                <a:uFillTx/>
                <a:latin typeface="Arial"/>
                <a:ea typeface="+mn-ea"/>
                <a:cs typeface="+mn-cs"/>
              </a:rPr>
              <a:t>k</a:t>
            </a:r>
            <a:r>
              <a:rPr kumimoji="0" lang="en-GB" altLang="de-DE" sz="2400" u="none" strike="noStrike" kern="1200" cap="none" spc="0" normalizeH="0" baseline="-25000" noProof="0" dirty="0" err="1">
                <a:ln>
                  <a:noFill/>
                </a:ln>
                <a:solidFill>
                  <a:srgbClr val="0000FF"/>
                </a:solidFill>
                <a:effectLst/>
                <a:uLnTx/>
                <a:uFillTx/>
                <a:latin typeface="Arial"/>
                <a:ea typeface="+mn-ea"/>
                <a:cs typeface="+mn-cs"/>
              </a:rPr>
              <a:t>ij</a:t>
            </a:r>
            <a:r>
              <a:rPr kumimoji="0" lang="en-GB" altLang="de-DE" sz="2400" i="0" u="none" strike="noStrike" kern="1200" cap="none" spc="0" normalizeH="0" baseline="0" noProof="0" dirty="0">
                <a:ln>
                  <a:noFill/>
                </a:ln>
                <a:solidFill>
                  <a:srgbClr val="0000FF"/>
                </a:solidFill>
                <a:effectLst/>
                <a:uLnTx/>
                <a:uFillTx/>
                <a:latin typeface="Arial"/>
                <a:ea typeface="+mn-ea"/>
                <a:cs typeface="+mn-cs"/>
              </a:rPr>
              <a:t> </a:t>
            </a:r>
            <a:r>
              <a:rPr kumimoji="0" lang="en-GB" altLang="de-DE" sz="2400" b="0" i="0" u="none" strike="noStrike" kern="1200" cap="none" spc="0" normalizeH="0" baseline="0" noProof="0" dirty="0">
                <a:ln>
                  <a:noFill/>
                </a:ln>
                <a:solidFill>
                  <a:srgbClr val="0000FF"/>
                </a:solidFill>
                <a:effectLst/>
                <a:uLnTx/>
                <a:uFillTx/>
                <a:latin typeface="Arial"/>
                <a:ea typeface="+mn-ea"/>
                <a:cs typeface="+mn-cs"/>
              </a:rPr>
              <a:t>and</a:t>
            </a:r>
            <a:r>
              <a:rPr kumimoji="0" lang="en-GB" altLang="de-DE" sz="2400" i="0" u="none" strike="noStrike" kern="1200" cap="none" spc="0" normalizeH="0" baseline="0" noProof="0" dirty="0">
                <a:ln>
                  <a:noFill/>
                </a:ln>
                <a:solidFill>
                  <a:srgbClr val="0000FF"/>
                </a:solidFill>
                <a:effectLst/>
                <a:uLnTx/>
                <a:uFillTx/>
                <a:latin typeface="Arial"/>
                <a:ea typeface="+mn-ea"/>
                <a:cs typeface="+mn-cs"/>
              </a:rPr>
              <a:t> </a:t>
            </a:r>
            <a:r>
              <a:rPr lang="en-GB" altLang="de-DE" sz="2400" dirty="0">
                <a:solidFill>
                  <a:srgbClr val="0000FF"/>
                </a:solidFill>
                <a:latin typeface="Arial"/>
              </a:rPr>
              <a:t>d</a:t>
            </a:r>
            <a:r>
              <a:rPr kumimoji="0" lang="en-GB" altLang="de-DE" sz="2400" u="none" strike="noStrike" kern="1200" cap="none" spc="0" normalizeH="0" baseline="-25000" noProof="0" dirty="0" err="1">
                <a:ln>
                  <a:noFill/>
                </a:ln>
                <a:solidFill>
                  <a:srgbClr val="0000FF"/>
                </a:solidFill>
                <a:effectLst/>
                <a:uLnTx/>
                <a:uFillTx/>
                <a:latin typeface="Arial"/>
                <a:ea typeface="+mn-ea"/>
                <a:cs typeface="+mn-cs"/>
              </a:rPr>
              <a:t>ij</a:t>
            </a:r>
            <a:r>
              <a:rPr kumimoji="0" lang="en-GB" altLang="de-DE" sz="2400" i="0" u="none" strike="noStrike" kern="1200" cap="none" spc="0" normalizeH="0" baseline="0" noProof="0" dirty="0">
                <a:ln>
                  <a:noFill/>
                </a:ln>
                <a:solidFill>
                  <a:srgbClr val="0000FF"/>
                </a:solidFill>
                <a:effectLst/>
                <a:uLnTx/>
                <a:uFillTx/>
                <a:latin typeface="Arial"/>
                <a:ea typeface="+mn-ea"/>
                <a:cs typeface="+mn-cs"/>
              </a:rPr>
              <a:t> </a:t>
            </a:r>
            <a:r>
              <a:rPr lang="en-GB" altLang="de-DE" sz="2400" b="0" dirty="0">
                <a:solidFill>
                  <a:srgbClr val="000000"/>
                </a:solidFill>
                <a:latin typeface="Arial"/>
              </a:rPr>
              <a:t>in linear form:</a:t>
            </a:r>
          </a:p>
          <a:p>
            <a:pPr marL="0" marR="0" lvl="0" indent="0" algn="l" defTabSz="914400" rtl="0" eaLnBrk="1" fontAlgn="base" latinLnBrk="0" hangingPunct="1">
              <a:lnSpc>
                <a:spcPct val="100000"/>
              </a:lnSpc>
              <a:spcBef>
                <a:spcPct val="0"/>
              </a:spcBef>
              <a:spcAft>
                <a:spcPct val="0"/>
              </a:spcAft>
              <a:buClrTx/>
              <a:buSzTx/>
              <a:buFont typeface="Wingdings" pitchFamily="2" charset="2"/>
              <a:buNone/>
              <a:tabLst/>
              <a:defRPr/>
            </a:pPr>
            <a:endParaRPr kumimoji="0" lang="en-GB" altLang="de-DE" sz="24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914400" rtl="0" eaLnBrk="1" fontAlgn="base" latinLnBrk="0" hangingPunct="1">
              <a:lnSpc>
                <a:spcPct val="100000"/>
              </a:lnSpc>
              <a:spcBef>
                <a:spcPct val="0"/>
              </a:spcBef>
              <a:spcAft>
                <a:spcPct val="0"/>
              </a:spcAft>
              <a:buClrTx/>
              <a:buSzTx/>
              <a:buFont typeface="Wingdings" pitchFamily="2" charset="2"/>
              <a:buNone/>
              <a:tabLst/>
              <a:defRPr/>
            </a:pPr>
            <a:endParaRPr lang="en-GB" altLang="de-DE" sz="2400" b="0" dirty="0">
              <a:solidFill>
                <a:srgbClr val="000000"/>
              </a:solidFill>
              <a:latin typeface="Arial"/>
            </a:endParaRPr>
          </a:p>
          <a:p>
            <a:pPr marL="0" marR="0" lvl="0" indent="0" algn="l" defTabSz="914400" rtl="0" eaLnBrk="1" fontAlgn="base" latinLnBrk="0" hangingPunct="1">
              <a:lnSpc>
                <a:spcPct val="100000"/>
              </a:lnSpc>
              <a:spcBef>
                <a:spcPct val="0"/>
              </a:spcBef>
              <a:spcAft>
                <a:spcPct val="0"/>
              </a:spcAft>
              <a:buClrTx/>
              <a:buSzTx/>
              <a:buFont typeface="Wingdings" pitchFamily="2" charset="2"/>
              <a:buNone/>
              <a:tabLst/>
              <a:defRPr/>
            </a:pPr>
            <a:endParaRPr kumimoji="0" lang="en-GB" altLang="de-DE" sz="24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914400" rtl="0" eaLnBrk="1" fontAlgn="base" latinLnBrk="0" hangingPunct="1">
              <a:lnSpc>
                <a:spcPct val="100000"/>
              </a:lnSpc>
              <a:spcBef>
                <a:spcPct val="0"/>
              </a:spcBef>
              <a:spcAft>
                <a:spcPct val="0"/>
              </a:spcAft>
              <a:buClrTx/>
              <a:buSzTx/>
              <a:buFont typeface="Wingdings" pitchFamily="2" charset="2"/>
              <a:buNone/>
              <a:tabLst/>
              <a:defRPr/>
            </a:pPr>
            <a:endParaRPr lang="en-GB" altLang="de-DE" sz="2400" b="0" dirty="0">
              <a:solidFill>
                <a:srgbClr val="000000"/>
              </a:solidFill>
              <a:latin typeface="Arial"/>
            </a:endParaRPr>
          </a:p>
          <a:p>
            <a:pPr marL="0" marR="0" lvl="0" indent="0" algn="l" defTabSz="914400" rtl="0" eaLnBrk="1" fontAlgn="base" latinLnBrk="0" hangingPunct="1">
              <a:lnSpc>
                <a:spcPct val="100000"/>
              </a:lnSpc>
              <a:spcBef>
                <a:spcPct val="0"/>
              </a:spcBef>
              <a:spcAft>
                <a:spcPct val="0"/>
              </a:spcAft>
              <a:buClrTx/>
              <a:buSzTx/>
              <a:buFont typeface="Wingdings" pitchFamily="2" charset="2"/>
              <a:buNone/>
              <a:tabLst/>
              <a:defRPr/>
            </a:pPr>
            <a:endParaRPr kumimoji="0" lang="en-GB" altLang="de-DE" sz="24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914400" rtl="0" eaLnBrk="1" fontAlgn="base" latinLnBrk="0" hangingPunct="1">
              <a:lnSpc>
                <a:spcPct val="100000"/>
              </a:lnSpc>
              <a:spcBef>
                <a:spcPct val="0"/>
              </a:spcBef>
              <a:spcAft>
                <a:spcPct val="0"/>
              </a:spcAft>
              <a:buClrTx/>
              <a:buSzTx/>
              <a:buFont typeface="Wingdings" pitchFamily="2" charset="2"/>
              <a:buNone/>
              <a:tabLst/>
              <a:defRPr/>
            </a:pPr>
            <a:endParaRPr kumimoji="0" lang="en-GB" altLang="de-DE" sz="24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914400" rtl="0" eaLnBrk="1" fontAlgn="base" latinLnBrk="0" hangingPunct="1">
              <a:lnSpc>
                <a:spcPct val="100000"/>
              </a:lnSpc>
              <a:spcBef>
                <a:spcPct val="0"/>
              </a:spcBef>
              <a:spcAft>
                <a:spcPct val="0"/>
              </a:spcAft>
              <a:buClrTx/>
              <a:buSzTx/>
              <a:buFont typeface="Wingdings" pitchFamily="2" charset="2"/>
              <a:buNone/>
              <a:tabLst/>
              <a:defRPr/>
            </a:pPr>
            <a:endParaRPr kumimoji="0" lang="en-GB" altLang="de-DE" sz="24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914400" rtl="0" eaLnBrk="1" fontAlgn="base" latinLnBrk="0" hangingPunct="1">
              <a:lnSpc>
                <a:spcPct val="100000"/>
              </a:lnSpc>
              <a:spcBef>
                <a:spcPct val="0"/>
              </a:spcBef>
              <a:spcAft>
                <a:spcPct val="0"/>
              </a:spcAft>
              <a:buClrTx/>
              <a:buSzTx/>
              <a:buFont typeface="Wingdings" pitchFamily="2" charset="2"/>
              <a:buNone/>
              <a:tabLst/>
              <a:defRPr/>
            </a:pPr>
            <a:r>
              <a:rPr lang="en-GB" altLang="de-DE" sz="2400" b="0" dirty="0">
                <a:solidFill>
                  <a:srgbClr val="000000"/>
                </a:solidFill>
                <a:latin typeface="Arial"/>
              </a:rPr>
              <a:t>They depend on the </a:t>
            </a:r>
            <a:r>
              <a:rPr lang="en-GB" altLang="de-DE" sz="2400" dirty="0">
                <a:solidFill>
                  <a:srgbClr val="0000FF"/>
                </a:solidFill>
                <a:latin typeface="Arial"/>
              </a:rPr>
              <a:t>geometry </a:t>
            </a:r>
            <a:r>
              <a:rPr lang="en-GB" altLang="de-DE" sz="2400" b="0" dirty="0">
                <a:solidFill>
                  <a:srgbClr val="000000"/>
                </a:solidFill>
                <a:latin typeface="Arial"/>
              </a:rPr>
              <a:t>(diameter, width, clearance) of the Bearings and Seals, on the </a:t>
            </a:r>
            <a:r>
              <a:rPr lang="en-GB" altLang="de-DE" sz="2400" dirty="0">
                <a:solidFill>
                  <a:srgbClr val="0000FF"/>
                </a:solidFill>
                <a:latin typeface="Arial"/>
              </a:rPr>
              <a:t>physical fluid data </a:t>
            </a:r>
            <a:r>
              <a:rPr lang="en-GB" altLang="de-DE" sz="2400" b="0" dirty="0">
                <a:solidFill>
                  <a:srgbClr val="000000"/>
                </a:solidFill>
                <a:latin typeface="Arial"/>
              </a:rPr>
              <a:t>(density, viscosity, temperature) and on the </a:t>
            </a:r>
            <a:r>
              <a:rPr lang="en-GB" altLang="de-DE" sz="2400" dirty="0">
                <a:solidFill>
                  <a:srgbClr val="0000FF"/>
                </a:solidFill>
                <a:latin typeface="Arial"/>
              </a:rPr>
              <a:t>operating conditions </a:t>
            </a:r>
            <a:r>
              <a:rPr lang="en-GB" altLang="de-DE" sz="2400" b="0" dirty="0">
                <a:solidFill>
                  <a:srgbClr val="000000"/>
                </a:solidFill>
                <a:latin typeface="Arial"/>
              </a:rPr>
              <a:t>(rotational speed, pressure, temperature, ..). </a:t>
            </a:r>
          </a:p>
          <a:p>
            <a:pPr marL="0" marR="0" lvl="0" indent="0" algn="l" defTabSz="914400" rtl="0" eaLnBrk="1" fontAlgn="base" latinLnBrk="0" hangingPunct="1">
              <a:lnSpc>
                <a:spcPct val="100000"/>
              </a:lnSpc>
              <a:spcBef>
                <a:spcPct val="0"/>
              </a:spcBef>
              <a:spcAft>
                <a:spcPct val="0"/>
              </a:spcAft>
              <a:buClrTx/>
              <a:buSzTx/>
              <a:buFont typeface="Wingdings" pitchFamily="2" charset="2"/>
              <a:buNone/>
              <a:tabLst/>
              <a:defRPr/>
            </a:pPr>
            <a:r>
              <a:rPr lang="en-GB" altLang="de-DE" sz="2400" b="0" dirty="0">
                <a:solidFill>
                  <a:srgbClr val="0000FF"/>
                </a:solidFill>
                <a:latin typeface="Arial"/>
              </a:rPr>
              <a:t>z, y  </a:t>
            </a:r>
            <a:r>
              <a:rPr lang="en-GB" altLang="de-DE" sz="2400" b="0" dirty="0">
                <a:solidFill>
                  <a:srgbClr val="000000"/>
                </a:solidFill>
                <a:latin typeface="Arial"/>
              </a:rPr>
              <a:t>are the coordinates in horizontal and vertical directions</a:t>
            </a:r>
            <a:r>
              <a:rPr lang="en-GB" altLang="de-DE" sz="1800" b="0" dirty="0">
                <a:solidFill>
                  <a:srgbClr val="003399"/>
                </a:solidFill>
                <a:latin typeface="Verdana" pitchFamily="34" charset="0"/>
              </a:rPr>
              <a:t>.</a:t>
            </a:r>
            <a:endParaRPr kumimoji="0" lang="en-GB" altLang="de-DE" sz="2400" b="0" i="0" u="none" strike="noStrike" kern="1200" cap="none" spc="0" normalizeH="0" baseline="0" noProof="0" dirty="0">
              <a:ln>
                <a:noFill/>
              </a:ln>
              <a:solidFill>
                <a:srgbClr val="003399"/>
              </a:solidFill>
              <a:effectLst/>
              <a:uLnTx/>
              <a:uFillTx/>
              <a:latin typeface="Arial"/>
              <a:ea typeface="+mn-ea"/>
              <a:cs typeface="+mn-cs"/>
            </a:endParaRPr>
          </a:p>
        </p:txBody>
      </p:sp>
      <mc:AlternateContent xmlns:mc="http://schemas.openxmlformats.org/markup-compatibility/2006" xmlns:a14="http://schemas.microsoft.com/office/drawing/2010/main">
        <mc:Choice Requires="a14">
          <p:sp>
            <p:nvSpPr>
              <p:cNvPr id="2" name="Rechteck 1">
                <a:extLst>
                  <a:ext uri="{FF2B5EF4-FFF2-40B4-BE49-F238E27FC236}">
                    <a16:creationId xmlns:a16="http://schemas.microsoft.com/office/drawing/2014/main" id="{D7F0322C-23E9-73DB-2B06-799950AA9B49}"/>
                  </a:ext>
                </a:extLst>
              </p:cNvPr>
              <p:cNvSpPr/>
              <p:nvPr/>
            </p:nvSpPr>
            <p:spPr>
              <a:xfrm>
                <a:off x="1885157" y="2418135"/>
                <a:ext cx="7618188" cy="1814285"/>
              </a:xfrm>
              <a:prstGeom prst="rect">
                <a:avLst/>
              </a:prstGeom>
              <a:solidFill>
                <a:srgbClr val="FDCA00"/>
              </a:solidFill>
              <a:ln w="25400" cap="flat" cmpd="sng" algn="ctr">
                <a:solidFill>
                  <a:srgbClr val="FDCA00">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2400" b="0" i="1" u="none" strike="noStrike" kern="0" cap="none" spc="0" normalizeH="0" baseline="0" noProof="0" dirty="0">
                  <a:ln>
                    <a:noFill/>
                  </a:ln>
                  <a:solidFill>
                    <a:srgbClr val="000000"/>
                  </a:solidFill>
                  <a:effectLst/>
                  <a:uLnTx/>
                  <a:uFillTx/>
                  <a:latin typeface="+mn-lt"/>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sSub>
                        <m:sSubPr>
                          <m:ctrlPr>
                            <a:rPr kumimoji="0" lang="de-DE" sz="2800" b="0" i="1" u="none" strike="noStrike" kern="0" cap="none" spc="0" normalizeH="0" baseline="0" noProof="0" smtClean="0">
                              <a:ln>
                                <a:noFill/>
                              </a:ln>
                              <a:solidFill>
                                <a:srgbClr val="0000FF"/>
                              </a:solidFill>
                              <a:effectLst/>
                              <a:uLnTx/>
                              <a:uFillTx/>
                              <a:latin typeface="Cambria Math" panose="02040503050406030204" pitchFamily="18" charset="0"/>
                              <a:ea typeface="+mn-ea"/>
                              <a:cs typeface="+mn-cs"/>
                            </a:rPr>
                          </m:ctrlPr>
                        </m:sSubPr>
                        <m:e>
                          <m:r>
                            <m:rPr>
                              <m:sty m:val="p"/>
                            </m:rPr>
                            <a:rPr kumimoji="0" lang="de-DE" sz="2800" b="0" i="0" u="none" strike="noStrike" kern="0" cap="none" spc="0" normalizeH="0" baseline="0" noProof="0" smtClean="0">
                              <a:ln>
                                <a:noFill/>
                              </a:ln>
                              <a:solidFill>
                                <a:srgbClr val="0000FF"/>
                              </a:solidFill>
                              <a:effectLst/>
                              <a:uLnTx/>
                              <a:uFillTx/>
                              <a:latin typeface="Cambria Math" panose="02040503050406030204" pitchFamily="18" charset="0"/>
                              <a:ea typeface="+mn-ea"/>
                              <a:cs typeface="+mn-cs"/>
                            </a:rPr>
                            <m:t>F</m:t>
                          </m:r>
                        </m:e>
                        <m:sub>
                          <m:r>
                            <m:rPr>
                              <m:sty m:val="p"/>
                            </m:rPr>
                            <a:rPr kumimoji="0" lang="de-DE" sz="2800" b="0" i="0" u="none" strike="noStrike" kern="0" cap="none" spc="0" normalizeH="0" baseline="0" noProof="0" smtClean="0">
                              <a:ln>
                                <a:noFill/>
                              </a:ln>
                              <a:solidFill>
                                <a:srgbClr val="0000FF"/>
                              </a:solidFill>
                              <a:effectLst/>
                              <a:uLnTx/>
                              <a:uFillTx/>
                              <a:latin typeface="Cambria Math" panose="02040503050406030204" pitchFamily="18" charset="0"/>
                              <a:ea typeface="+mn-ea"/>
                              <a:cs typeface="+mn-cs"/>
                            </a:rPr>
                            <m:t>z</m:t>
                          </m:r>
                        </m:sub>
                      </m:sSub>
                      <m:d>
                        <m:dPr>
                          <m:ctrlPr>
                            <a:rPr kumimoji="0" lang="de-DE" sz="2800" b="0" i="1" u="none" strike="noStrike" kern="0" cap="none" spc="0" normalizeH="0" baseline="0" noProof="0" smtClean="0">
                              <a:ln>
                                <a:noFill/>
                              </a:ln>
                              <a:solidFill>
                                <a:srgbClr val="0000FF"/>
                              </a:solidFill>
                              <a:effectLst/>
                              <a:uLnTx/>
                              <a:uFillTx/>
                              <a:latin typeface="Cambria Math" panose="02040503050406030204" pitchFamily="18" charset="0"/>
                              <a:ea typeface="+mn-ea"/>
                              <a:cs typeface="+mn-cs"/>
                            </a:rPr>
                          </m:ctrlPr>
                        </m:dPr>
                        <m:e>
                          <m:r>
                            <m:rPr>
                              <m:sty m:val="p"/>
                            </m:rPr>
                            <a:rPr kumimoji="0" lang="de-DE" sz="2800" b="0" i="0" u="none" strike="noStrike" kern="0" cap="none" spc="0" normalizeH="0" baseline="0" noProof="0" smtClean="0">
                              <a:ln>
                                <a:noFill/>
                              </a:ln>
                              <a:solidFill>
                                <a:srgbClr val="0000FF"/>
                              </a:solidFill>
                              <a:effectLst/>
                              <a:uLnTx/>
                              <a:uFillTx/>
                              <a:latin typeface="Cambria Math" panose="02040503050406030204" pitchFamily="18" charset="0"/>
                              <a:ea typeface="+mn-ea"/>
                              <a:cs typeface="+mn-cs"/>
                            </a:rPr>
                            <m:t>t</m:t>
                          </m:r>
                        </m:e>
                      </m:d>
                      <m:r>
                        <a:rPr kumimoji="0" lang="de-DE" sz="2800" b="0" i="0" u="none" strike="noStrike" kern="0" cap="none" spc="0" normalizeH="0" baseline="0" noProof="0" smtClean="0">
                          <a:ln>
                            <a:noFill/>
                          </a:ln>
                          <a:solidFill>
                            <a:srgbClr val="0000FF"/>
                          </a:solidFill>
                          <a:effectLst/>
                          <a:uLnTx/>
                          <a:uFillTx/>
                          <a:latin typeface="Cambria Math" panose="02040503050406030204" pitchFamily="18" charset="0"/>
                          <a:ea typeface="+mn-ea"/>
                          <a:cs typeface="+mn-cs"/>
                        </a:rPr>
                        <m:t>=</m:t>
                      </m:r>
                      <m:sSub>
                        <m:sSubPr>
                          <m:ctrlPr>
                            <a:rPr kumimoji="0" lang="de-DE" sz="2800" b="0" i="1" u="none" strike="noStrike" kern="0" cap="none" spc="0" normalizeH="0" baseline="0" noProof="0" smtClean="0">
                              <a:ln>
                                <a:noFill/>
                              </a:ln>
                              <a:solidFill>
                                <a:srgbClr val="0000FF"/>
                              </a:solidFill>
                              <a:effectLst/>
                              <a:uLnTx/>
                              <a:uFillTx/>
                              <a:latin typeface="Cambria Math" panose="02040503050406030204" pitchFamily="18" charset="0"/>
                              <a:ea typeface="+mn-ea"/>
                              <a:cs typeface="+mn-cs"/>
                            </a:rPr>
                          </m:ctrlPr>
                        </m:sSubPr>
                        <m:e>
                          <m:r>
                            <m:rPr>
                              <m:sty m:val="p"/>
                            </m:rPr>
                            <a:rPr kumimoji="0" lang="de-DE" sz="2800" b="0" i="0" u="none" strike="noStrike" kern="0" cap="none" spc="0" normalizeH="0" baseline="0" noProof="0" smtClean="0">
                              <a:ln>
                                <a:noFill/>
                              </a:ln>
                              <a:solidFill>
                                <a:srgbClr val="0000FF"/>
                              </a:solidFill>
                              <a:effectLst/>
                              <a:uLnTx/>
                              <a:uFillTx/>
                              <a:latin typeface="Cambria Math" panose="02040503050406030204" pitchFamily="18" charset="0"/>
                              <a:ea typeface="+mn-ea"/>
                              <a:cs typeface="+mn-cs"/>
                            </a:rPr>
                            <m:t>k</m:t>
                          </m:r>
                        </m:e>
                        <m:sub>
                          <m:r>
                            <m:rPr>
                              <m:sty m:val="p"/>
                            </m:rPr>
                            <a:rPr kumimoji="0" lang="de-DE" sz="2800" b="0" i="0" u="none" strike="noStrike" kern="0" cap="none" spc="0" normalizeH="0" baseline="0" noProof="0" smtClean="0">
                              <a:ln>
                                <a:noFill/>
                              </a:ln>
                              <a:solidFill>
                                <a:srgbClr val="0000FF"/>
                              </a:solidFill>
                              <a:effectLst/>
                              <a:uLnTx/>
                              <a:uFillTx/>
                              <a:latin typeface="Cambria Math" panose="02040503050406030204" pitchFamily="18" charset="0"/>
                              <a:ea typeface="+mn-ea"/>
                              <a:cs typeface="+mn-cs"/>
                            </a:rPr>
                            <m:t>zz</m:t>
                          </m:r>
                        </m:sub>
                      </m:sSub>
                      <m:r>
                        <m:rPr>
                          <m:sty m:val="p"/>
                        </m:rPr>
                        <a:rPr kumimoji="0" lang="de-DE" sz="2800" b="0" i="0" u="none" strike="noStrike" kern="0" cap="none" spc="0" normalizeH="0" baseline="0" noProof="0" smtClean="0">
                          <a:ln>
                            <a:noFill/>
                          </a:ln>
                          <a:solidFill>
                            <a:srgbClr val="0000FF"/>
                          </a:solidFill>
                          <a:effectLst/>
                          <a:uLnTx/>
                          <a:uFillTx/>
                          <a:latin typeface="Cambria Math" panose="02040503050406030204" pitchFamily="18" charset="0"/>
                          <a:ea typeface="+mn-ea"/>
                          <a:cs typeface="+mn-cs"/>
                        </a:rPr>
                        <m:t>z</m:t>
                      </m:r>
                      <m:r>
                        <a:rPr kumimoji="0" lang="de-DE" sz="2800" b="0" i="0" u="none" strike="noStrike" kern="0" cap="none" spc="0" normalizeH="0" baseline="0" noProof="0" smtClean="0">
                          <a:ln>
                            <a:noFill/>
                          </a:ln>
                          <a:solidFill>
                            <a:srgbClr val="0000FF"/>
                          </a:solidFill>
                          <a:effectLst/>
                          <a:uLnTx/>
                          <a:uFillTx/>
                          <a:latin typeface="Cambria Math" panose="02040503050406030204" pitchFamily="18" charset="0"/>
                          <a:ea typeface="+mn-ea"/>
                          <a:cs typeface="+mn-cs"/>
                        </a:rPr>
                        <m:t>+</m:t>
                      </m:r>
                      <m:sSub>
                        <m:sSubPr>
                          <m:ctrlPr>
                            <a:rPr kumimoji="0" lang="de-DE" sz="2800" b="0" i="1" u="none" strike="noStrike" kern="0" cap="none" spc="0" normalizeH="0" baseline="0" noProof="0" smtClean="0">
                              <a:ln>
                                <a:noFill/>
                              </a:ln>
                              <a:solidFill>
                                <a:srgbClr val="0000FF"/>
                              </a:solidFill>
                              <a:effectLst/>
                              <a:uLnTx/>
                              <a:uFillTx/>
                              <a:latin typeface="Cambria Math" panose="02040503050406030204" pitchFamily="18" charset="0"/>
                              <a:ea typeface="+mn-ea"/>
                              <a:cs typeface="+mn-cs"/>
                            </a:rPr>
                          </m:ctrlPr>
                        </m:sSubPr>
                        <m:e>
                          <m:r>
                            <m:rPr>
                              <m:sty m:val="p"/>
                            </m:rPr>
                            <a:rPr kumimoji="0" lang="de-DE" sz="2800" b="0" i="0" u="none" strike="noStrike" kern="0" cap="none" spc="0" normalizeH="0" baseline="0" noProof="0" smtClean="0">
                              <a:ln>
                                <a:noFill/>
                              </a:ln>
                              <a:solidFill>
                                <a:srgbClr val="0000FF"/>
                              </a:solidFill>
                              <a:effectLst/>
                              <a:uLnTx/>
                              <a:uFillTx/>
                              <a:latin typeface="Cambria Math" panose="02040503050406030204" pitchFamily="18" charset="0"/>
                              <a:ea typeface="+mn-ea"/>
                              <a:cs typeface="+mn-cs"/>
                            </a:rPr>
                            <m:t>k</m:t>
                          </m:r>
                        </m:e>
                        <m:sub>
                          <m:r>
                            <m:rPr>
                              <m:sty m:val="p"/>
                            </m:rPr>
                            <a:rPr kumimoji="0" lang="de-DE" sz="2800" b="0" i="0" u="none" strike="noStrike" kern="0" cap="none" spc="0" normalizeH="0" baseline="0" noProof="0" smtClean="0">
                              <a:ln>
                                <a:noFill/>
                              </a:ln>
                              <a:solidFill>
                                <a:srgbClr val="0000FF"/>
                              </a:solidFill>
                              <a:effectLst/>
                              <a:uLnTx/>
                              <a:uFillTx/>
                              <a:latin typeface="Cambria Math" panose="02040503050406030204" pitchFamily="18" charset="0"/>
                              <a:ea typeface="+mn-ea"/>
                              <a:cs typeface="+mn-cs"/>
                            </a:rPr>
                            <m:t>zy</m:t>
                          </m:r>
                        </m:sub>
                      </m:sSub>
                      <m:r>
                        <m:rPr>
                          <m:sty m:val="p"/>
                        </m:rPr>
                        <a:rPr kumimoji="0" lang="de-DE" sz="2800" b="0" i="0" u="none" strike="noStrike" kern="0" cap="none" spc="0" normalizeH="0" baseline="0" noProof="0" smtClean="0">
                          <a:ln>
                            <a:noFill/>
                          </a:ln>
                          <a:solidFill>
                            <a:srgbClr val="0000FF"/>
                          </a:solidFill>
                          <a:effectLst/>
                          <a:uLnTx/>
                          <a:uFillTx/>
                          <a:latin typeface="Cambria Math" panose="02040503050406030204" pitchFamily="18" charset="0"/>
                          <a:ea typeface="+mn-ea"/>
                          <a:cs typeface="+mn-cs"/>
                        </a:rPr>
                        <m:t>y</m:t>
                      </m:r>
                      <m:r>
                        <a:rPr kumimoji="0" lang="de-DE" sz="2800" b="0" i="0" u="none" strike="noStrike" kern="0" cap="none" spc="0" normalizeH="0" baseline="0" noProof="0" smtClean="0">
                          <a:ln>
                            <a:noFill/>
                          </a:ln>
                          <a:solidFill>
                            <a:srgbClr val="0000FF"/>
                          </a:solidFill>
                          <a:effectLst/>
                          <a:uLnTx/>
                          <a:uFillTx/>
                          <a:latin typeface="Cambria Math" panose="02040503050406030204" pitchFamily="18" charset="0"/>
                          <a:ea typeface="+mn-ea"/>
                          <a:cs typeface="+mn-cs"/>
                        </a:rPr>
                        <m:t>+</m:t>
                      </m:r>
                      <m:sSub>
                        <m:sSubPr>
                          <m:ctrlPr>
                            <a:rPr kumimoji="0" lang="de-DE" sz="2800" b="0" i="1" u="none" strike="noStrike" kern="0" cap="none" spc="0" normalizeH="0" baseline="0" noProof="0" smtClean="0">
                              <a:ln>
                                <a:noFill/>
                              </a:ln>
                              <a:solidFill>
                                <a:srgbClr val="0000FF"/>
                              </a:solidFill>
                              <a:effectLst/>
                              <a:uLnTx/>
                              <a:uFillTx/>
                              <a:latin typeface="Cambria Math" panose="02040503050406030204" pitchFamily="18" charset="0"/>
                              <a:ea typeface="+mn-ea"/>
                              <a:cs typeface="+mn-cs"/>
                            </a:rPr>
                          </m:ctrlPr>
                        </m:sSubPr>
                        <m:e>
                          <m:r>
                            <m:rPr>
                              <m:sty m:val="p"/>
                            </m:rPr>
                            <a:rPr kumimoji="0" lang="de-DE" sz="2800" b="0" i="0" u="none" strike="noStrike" kern="0" cap="none" spc="0" normalizeH="0" baseline="0" noProof="0" smtClean="0">
                              <a:ln>
                                <a:noFill/>
                              </a:ln>
                              <a:solidFill>
                                <a:srgbClr val="0000FF"/>
                              </a:solidFill>
                              <a:effectLst/>
                              <a:uLnTx/>
                              <a:uFillTx/>
                              <a:latin typeface="Cambria Math" panose="02040503050406030204" pitchFamily="18" charset="0"/>
                              <a:ea typeface="+mn-ea"/>
                              <a:cs typeface="+mn-cs"/>
                            </a:rPr>
                            <m:t>d</m:t>
                          </m:r>
                        </m:e>
                        <m:sub>
                          <m:r>
                            <m:rPr>
                              <m:sty m:val="p"/>
                            </m:rPr>
                            <a:rPr kumimoji="0" lang="de-DE" sz="2800" b="0" i="0" u="none" strike="noStrike" kern="0" cap="none" spc="0" normalizeH="0" baseline="0" noProof="0" smtClean="0">
                              <a:ln>
                                <a:noFill/>
                              </a:ln>
                              <a:solidFill>
                                <a:srgbClr val="0000FF"/>
                              </a:solidFill>
                              <a:effectLst/>
                              <a:uLnTx/>
                              <a:uFillTx/>
                              <a:latin typeface="Cambria Math" panose="02040503050406030204" pitchFamily="18" charset="0"/>
                              <a:ea typeface="+mn-ea"/>
                              <a:cs typeface="+mn-cs"/>
                            </a:rPr>
                            <m:t>zz</m:t>
                          </m:r>
                        </m:sub>
                      </m:sSub>
                      <m:acc>
                        <m:accPr>
                          <m:chr m:val="̇"/>
                          <m:ctrlPr>
                            <a:rPr kumimoji="0" lang="de-DE" sz="2800" b="0" i="1" u="none" strike="noStrike" kern="0" cap="none" spc="0" normalizeH="0" baseline="0" noProof="0" smtClean="0">
                              <a:ln>
                                <a:noFill/>
                              </a:ln>
                              <a:solidFill>
                                <a:srgbClr val="0000FF"/>
                              </a:solidFill>
                              <a:effectLst/>
                              <a:uLnTx/>
                              <a:uFillTx/>
                              <a:latin typeface="Cambria Math" panose="02040503050406030204" pitchFamily="18" charset="0"/>
                              <a:ea typeface="+mn-ea"/>
                              <a:cs typeface="+mn-cs"/>
                            </a:rPr>
                          </m:ctrlPr>
                        </m:accPr>
                        <m:e>
                          <m:r>
                            <m:rPr>
                              <m:sty m:val="p"/>
                            </m:rPr>
                            <a:rPr kumimoji="0" lang="de-DE" sz="2800" b="0" i="0" u="none" strike="noStrike" kern="0" cap="none" spc="0" normalizeH="0" baseline="0" noProof="0" smtClean="0">
                              <a:ln>
                                <a:noFill/>
                              </a:ln>
                              <a:solidFill>
                                <a:srgbClr val="0000FF"/>
                              </a:solidFill>
                              <a:effectLst/>
                              <a:uLnTx/>
                              <a:uFillTx/>
                              <a:latin typeface="Cambria Math" panose="02040503050406030204" pitchFamily="18" charset="0"/>
                              <a:ea typeface="+mn-ea"/>
                              <a:cs typeface="+mn-cs"/>
                            </a:rPr>
                            <m:t>z</m:t>
                          </m:r>
                        </m:e>
                      </m:acc>
                      <m:r>
                        <a:rPr kumimoji="0" lang="de-DE" sz="2800" b="0" i="0" u="none" strike="noStrike" kern="0" cap="none" spc="0" normalizeH="0" baseline="0" noProof="0" smtClean="0">
                          <a:ln>
                            <a:noFill/>
                          </a:ln>
                          <a:solidFill>
                            <a:srgbClr val="0000FF"/>
                          </a:solidFill>
                          <a:effectLst/>
                          <a:uLnTx/>
                          <a:uFillTx/>
                          <a:latin typeface="Cambria Math" panose="02040503050406030204" pitchFamily="18" charset="0"/>
                          <a:ea typeface="+mn-ea"/>
                          <a:cs typeface="+mn-cs"/>
                        </a:rPr>
                        <m:t>+</m:t>
                      </m:r>
                      <m:sSub>
                        <m:sSubPr>
                          <m:ctrlPr>
                            <a:rPr kumimoji="0" lang="de-DE" sz="2800" b="0" i="1" u="none" strike="noStrike" kern="0" cap="none" spc="0" normalizeH="0" baseline="0" noProof="0" smtClean="0">
                              <a:ln>
                                <a:noFill/>
                              </a:ln>
                              <a:solidFill>
                                <a:srgbClr val="0000FF"/>
                              </a:solidFill>
                              <a:effectLst/>
                              <a:uLnTx/>
                              <a:uFillTx/>
                              <a:latin typeface="Cambria Math" panose="02040503050406030204" pitchFamily="18" charset="0"/>
                              <a:ea typeface="+mn-ea"/>
                              <a:cs typeface="+mn-cs"/>
                            </a:rPr>
                          </m:ctrlPr>
                        </m:sSubPr>
                        <m:e>
                          <m:r>
                            <m:rPr>
                              <m:sty m:val="p"/>
                            </m:rPr>
                            <a:rPr kumimoji="0" lang="de-DE" sz="2800" b="0" i="0" u="none" strike="noStrike" kern="0" cap="none" spc="0" normalizeH="0" baseline="0" noProof="0" smtClean="0">
                              <a:ln>
                                <a:noFill/>
                              </a:ln>
                              <a:solidFill>
                                <a:srgbClr val="0000FF"/>
                              </a:solidFill>
                              <a:effectLst/>
                              <a:uLnTx/>
                              <a:uFillTx/>
                              <a:latin typeface="Cambria Math" panose="02040503050406030204" pitchFamily="18" charset="0"/>
                              <a:ea typeface="+mn-ea"/>
                              <a:cs typeface="+mn-cs"/>
                            </a:rPr>
                            <m:t>d</m:t>
                          </m:r>
                        </m:e>
                        <m:sub>
                          <m:r>
                            <m:rPr>
                              <m:sty m:val="p"/>
                            </m:rPr>
                            <a:rPr kumimoji="0" lang="de-DE" sz="2800" b="0" i="0" u="none" strike="noStrike" kern="0" cap="none" spc="0" normalizeH="0" baseline="0" noProof="0" smtClean="0">
                              <a:ln>
                                <a:noFill/>
                              </a:ln>
                              <a:solidFill>
                                <a:srgbClr val="0000FF"/>
                              </a:solidFill>
                              <a:effectLst/>
                              <a:uLnTx/>
                              <a:uFillTx/>
                              <a:latin typeface="Cambria Math" panose="02040503050406030204" pitchFamily="18" charset="0"/>
                              <a:ea typeface="+mn-ea"/>
                              <a:cs typeface="+mn-cs"/>
                            </a:rPr>
                            <m:t>zy</m:t>
                          </m:r>
                        </m:sub>
                      </m:sSub>
                      <m:acc>
                        <m:accPr>
                          <m:chr m:val="̇"/>
                          <m:ctrlPr>
                            <a:rPr kumimoji="0" lang="de-DE" sz="2800" b="0" i="1" u="none" strike="noStrike" kern="0" cap="none" spc="0" normalizeH="0" baseline="0" noProof="0" smtClean="0">
                              <a:ln>
                                <a:noFill/>
                              </a:ln>
                              <a:solidFill>
                                <a:srgbClr val="0000FF"/>
                              </a:solidFill>
                              <a:effectLst/>
                              <a:uLnTx/>
                              <a:uFillTx/>
                              <a:latin typeface="Cambria Math" panose="02040503050406030204" pitchFamily="18" charset="0"/>
                              <a:ea typeface="+mn-ea"/>
                              <a:cs typeface="+mn-cs"/>
                            </a:rPr>
                          </m:ctrlPr>
                        </m:accPr>
                        <m:e>
                          <m:r>
                            <m:rPr>
                              <m:sty m:val="p"/>
                            </m:rPr>
                            <a:rPr kumimoji="0" lang="de-DE" sz="2800" b="0" i="0" u="none" strike="noStrike" kern="0" cap="none" spc="0" normalizeH="0" baseline="0" noProof="0" smtClean="0">
                              <a:ln>
                                <a:noFill/>
                              </a:ln>
                              <a:solidFill>
                                <a:srgbClr val="0000FF"/>
                              </a:solidFill>
                              <a:effectLst/>
                              <a:uLnTx/>
                              <a:uFillTx/>
                              <a:latin typeface="Cambria Math" panose="02040503050406030204" pitchFamily="18" charset="0"/>
                              <a:ea typeface="+mn-ea"/>
                              <a:cs typeface="+mn-cs"/>
                            </a:rPr>
                            <m:t>y</m:t>
                          </m:r>
                        </m:e>
                      </m:acc>
                    </m:oMath>
                  </m:oMathPara>
                </a14:m>
                <a:endParaRPr kumimoji="0" lang="de-DE" sz="2800" b="0" u="none" strike="noStrike" kern="0" cap="none" spc="0" normalizeH="0" baseline="0" noProof="0" dirty="0">
                  <a:ln>
                    <a:noFill/>
                  </a:ln>
                  <a:solidFill>
                    <a:srgbClr val="0000FF"/>
                  </a:solidFill>
                  <a:effectLst/>
                  <a:uLnTx/>
                  <a:uFillTx/>
                  <a:latin typeface="+mn-lt"/>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2800" b="0" u="none" strike="noStrike" kern="0" cap="none" spc="0" normalizeH="0" baseline="0" noProof="0" dirty="0">
                  <a:ln>
                    <a:noFill/>
                  </a:ln>
                  <a:solidFill>
                    <a:srgbClr val="0000FF"/>
                  </a:solidFill>
                  <a:effectLst/>
                  <a:uLnTx/>
                  <a:uFillTx/>
                  <a:latin typeface="+mn-lt"/>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sSub>
                        <m:sSubPr>
                          <m:ctrlPr>
                            <a:rPr kumimoji="0" lang="de-DE" sz="2800" b="0" i="1" u="none" strike="noStrike" kern="0" cap="none" spc="0" normalizeH="0" baseline="0" noProof="0" smtClean="0">
                              <a:ln>
                                <a:noFill/>
                              </a:ln>
                              <a:solidFill>
                                <a:srgbClr val="0000FF"/>
                              </a:solidFill>
                              <a:effectLst/>
                              <a:uLnTx/>
                              <a:uFillTx/>
                              <a:latin typeface="Cambria Math" panose="02040503050406030204" pitchFamily="18" charset="0"/>
                              <a:ea typeface="+mn-ea"/>
                              <a:cs typeface="+mn-cs"/>
                            </a:rPr>
                          </m:ctrlPr>
                        </m:sSubPr>
                        <m:e>
                          <m:r>
                            <m:rPr>
                              <m:sty m:val="p"/>
                            </m:rPr>
                            <a:rPr kumimoji="0" lang="de-DE" sz="2800" b="0" i="0" u="none" strike="noStrike" kern="0" cap="none" spc="0" normalizeH="0" baseline="0" noProof="0" smtClean="0">
                              <a:ln>
                                <a:noFill/>
                              </a:ln>
                              <a:solidFill>
                                <a:srgbClr val="0000FF"/>
                              </a:solidFill>
                              <a:effectLst/>
                              <a:uLnTx/>
                              <a:uFillTx/>
                              <a:latin typeface="Cambria Math" panose="02040503050406030204" pitchFamily="18" charset="0"/>
                              <a:ea typeface="+mn-ea"/>
                              <a:cs typeface="+mn-cs"/>
                            </a:rPr>
                            <m:t>F</m:t>
                          </m:r>
                        </m:e>
                        <m:sub>
                          <m:r>
                            <m:rPr>
                              <m:sty m:val="p"/>
                            </m:rPr>
                            <a:rPr kumimoji="0" lang="de-DE" sz="2800" b="0" i="0" u="none" strike="noStrike" kern="0" cap="none" spc="0" normalizeH="0" baseline="0" noProof="0" smtClean="0">
                              <a:ln>
                                <a:noFill/>
                              </a:ln>
                              <a:solidFill>
                                <a:srgbClr val="0000FF"/>
                              </a:solidFill>
                              <a:effectLst/>
                              <a:uLnTx/>
                              <a:uFillTx/>
                              <a:latin typeface="Cambria Math" panose="02040503050406030204" pitchFamily="18" charset="0"/>
                              <a:ea typeface="+mn-ea"/>
                              <a:cs typeface="+mn-cs"/>
                            </a:rPr>
                            <m:t>y</m:t>
                          </m:r>
                        </m:sub>
                      </m:sSub>
                      <m:d>
                        <m:dPr>
                          <m:ctrlPr>
                            <a:rPr kumimoji="0" lang="de-DE" sz="2800" b="0" i="1" u="none" strike="noStrike" kern="0" cap="none" spc="0" normalizeH="0" baseline="0" noProof="0" smtClean="0">
                              <a:ln>
                                <a:noFill/>
                              </a:ln>
                              <a:solidFill>
                                <a:srgbClr val="0000FF"/>
                              </a:solidFill>
                              <a:effectLst/>
                              <a:uLnTx/>
                              <a:uFillTx/>
                              <a:latin typeface="Cambria Math" panose="02040503050406030204" pitchFamily="18" charset="0"/>
                              <a:ea typeface="+mn-ea"/>
                              <a:cs typeface="+mn-cs"/>
                            </a:rPr>
                          </m:ctrlPr>
                        </m:dPr>
                        <m:e>
                          <m:r>
                            <m:rPr>
                              <m:sty m:val="p"/>
                            </m:rPr>
                            <a:rPr kumimoji="0" lang="de-DE" sz="2800" b="0" i="0" u="none" strike="noStrike" kern="0" cap="none" spc="0" normalizeH="0" baseline="0" noProof="0" smtClean="0">
                              <a:ln>
                                <a:noFill/>
                              </a:ln>
                              <a:solidFill>
                                <a:srgbClr val="0000FF"/>
                              </a:solidFill>
                              <a:effectLst/>
                              <a:uLnTx/>
                              <a:uFillTx/>
                              <a:latin typeface="Cambria Math" panose="02040503050406030204" pitchFamily="18" charset="0"/>
                              <a:ea typeface="+mn-ea"/>
                              <a:cs typeface="+mn-cs"/>
                            </a:rPr>
                            <m:t>t</m:t>
                          </m:r>
                        </m:e>
                      </m:d>
                      <m:r>
                        <a:rPr kumimoji="0" lang="de-DE" sz="2800" b="0" i="0" u="none" strike="noStrike" kern="0" cap="none" spc="0" normalizeH="0" baseline="0" noProof="0" smtClean="0">
                          <a:ln>
                            <a:noFill/>
                          </a:ln>
                          <a:solidFill>
                            <a:srgbClr val="0000FF"/>
                          </a:solidFill>
                          <a:effectLst/>
                          <a:uLnTx/>
                          <a:uFillTx/>
                          <a:latin typeface="Cambria Math" panose="02040503050406030204" pitchFamily="18" charset="0"/>
                          <a:ea typeface="+mn-ea"/>
                          <a:cs typeface="+mn-cs"/>
                        </a:rPr>
                        <m:t>=</m:t>
                      </m:r>
                      <m:sSub>
                        <m:sSubPr>
                          <m:ctrlPr>
                            <a:rPr kumimoji="0" lang="de-DE" sz="2800" b="0" i="1" u="none" strike="noStrike" kern="0" cap="none" spc="0" normalizeH="0" baseline="0" noProof="0" smtClean="0">
                              <a:ln>
                                <a:noFill/>
                              </a:ln>
                              <a:solidFill>
                                <a:srgbClr val="0000FF"/>
                              </a:solidFill>
                              <a:effectLst/>
                              <a:uLnTx/>
                              <a:uFillTx/>
                              <a:latin typeface="Cambria Math" panose="02040503050406030204" pitchFamily="18" charset="0"/>
                              <a:ea typeface="+mn-ea"/>
                              <a:cs typeface="+mn-cs"/>
                            </a:rPr>
                          </m:ctrlPr>
                        </m:sSubPr>
                        <m:e>
                          <m:r>
                            <m:rPr>
                              <m:sty m:val="p"/>
                            </m:rPr>
                            <a:rPr kumimoji="0" lang="de-DE" sz="2800" b="0" i="0" u="none" strike="noStrike" kern="0" cap="none" spc="0" normalizeH="0" baseline="0" noProof="0" smtClean="0">
                              <a:ln>
                                <a:noFill/>
                              </a:ln>
                              <a:solidFill>
                                <a:srgbClr val="0000FF"/>
                              </a:solidFill>
                              <a:effectLst/>
                              <a:uLnTx/>
                              <a:uFillTx/>
                              <a:latin typeface="Cambria Math" panose="02040503050406030204" pitchFamily="18" charset="0"/>
                              <a:ea typeface="+mn-ea"/>
                              <a:cs typeface="+mn-cs"/>
                            </a:rPr>
                            <m:t>k</m:t>
                          </m:r>
                        </m:e>
                        <m:sub>
                          <m:r>
                            <m:rPr>
                              <m:sty m:val="p"/>
                            </m:rPr>
                            <a:rPr kumimoji="0" lang="de-DE" sz="2800" b="0" i="0" u="none" strike="noStrike" kern="0" cap="none" spc="0" normalizeH="0" baseline="0" noProof="0" smtClean="0">
                              <a:ln>
                                <a:noFill/>
                              </a:ln>
                              <a:solidFill>
                                <a:srgbClr val="0000FF"/>
                              </a:solidFill>
                              <a:effectLst/>
                              <a:uLnTx/>
                              <a:uFillTx/>
                              <a:latin typeface="Cambria Math" panose="02040503050406030204" pitchFamily="18" charset="0"/>
                              <a:ea typeface="+mn-ea"/>
                              <a:cs typeface="+mn-cs"/>
                            </a:rPr>
                            <m:t>yz</m:t>
                          </m:r>
                        </m:sub>
                      </m:sSub>
                      <m:r>
                        <m:rPr>
                          <m:sty m:val="p"/>
                        </m:rPr>
                        <a:rPr kumimoji="0" lang="de-DE" sz="2800" b="0" i="0" u="none" strike="noStrike" kern="0" cap="none" spc="0" normalizeH="0" baseline="0" noProof="0" smtClean="0">
                          <a:ln>
                            <a:noFill/>
                          </a:ln>
                          <a:solidFill>
                            <a:srgbClr val="0000FF"/>
                          </a:solidFill>
                          <a:effectLst/>
                          <a:uLnTx/>
                          <a:uFillTx/>
                          <a:latin typeface="Cambria Math" panose="02040503050406030204" pitchFamily="18" charset="0"/>
                          <a:ea typeface="+mn-ea"/>
                          <a:cs typeface="+mn-cs"/>
                        </a:rPr>
                        <m:t>z</m:t>
                      </m:r>
                      <m:r>
                        <a:rPr kumimoji="0" lang="de-DE" sz="2800" b="0" i="0" u="none" strike="noStrike" kern="0" cap="none" spc="0" normalizeH="0" baseline="0" noProof="0" smtClean="0">
                          <a:ln>
                            <a:noFill/>
                          </a:ln>
                          <a:solidFill>
                            <a:srgbClr val="0000FF"/>
                          </a:solidFill>
                          <a:effectLst/>
                          <a:uLnTx/>
                          <a:uFillTx/>
                          <a:latin typeface="Cambria Math" panose="02040503050406030204" pitchFamily="18" charset="0"/>
                          <a:ea typeface="+mn-ea"/>
                          <a:cs typeface="+mn-cs"/>
                        </a:rPr>
                        <m:t>+</m:t>
                      </m:r>
                      <m:sSub>
                        <m:sSubPr>
                          <m:ctrlPr>
                            <a:rPr kumimoji="0" lang="de-DE" sz="2800" b="0" i="1" u="none" strike="noStrike" kern="0" cap="none" spc="0" normalizeH="0" baseline="0" noProof="0" smtClean="0">
                              <a:ln>
                                <a:noFill/>
                              </a:ln>
                              <a:solidFill>
                                <a:srgbClr val="0000FF"/>
                              </a:solidFill>
                              <a:effectLst/>
                              <a:uLnTx/>
                              <a:uFillTx/>
                              <a:latin typeface="Cambria Math" panose="02040503050406030204" pitchFamily="18" charset="0"/>
                              <a:ea typeface="+mn-ea"/>
                              <a:cs typeface="+mn-cs"/>
                            </a:rPr>
                          </m:ctrlPr>
                        </m:sSubPr>
                        <m:e>
                          <m:r>
                            <m:rPr>
                              <m:sty m:val="p"/>
                            </m:rPr>
                            <a:rPr kumimoji="0" lang="de-DE" sz="2800" b="0" i="0" u="none" strike="noStrike" kern="0" cap="none" spc="0" normalizeH="0" baseline="0" noProof="0" smtClean="0">
                              <a:ln>
                                <a:noFill/>
                              </a:ln>
                              <a:solidFill>
                                <a:srgbClr val="0000FF"/>
                              </a:solidFill>
                              <a:effectLst/>
                              <a:uLnTx/>
                              <a:uFillTx/>
                              <a:latin typeface="Cambria Math" panose="02040503050406030204" pitchFamily="18" charset="0"/>
                              <a:ea typeface="+mn-ea"/>
                              <a:cs typeface="+mn-cs"/>
                            </a:rPr>
                            <m:t>k</m:t>
                          </m:r>
                        </m:e>
                        <m:sub>
                          <m:r>
                            <m:rPr>
                              <m:sty m:val="p"/>
                            </m:rPr>
                            <a:rPr kumimoji="0" lang="de-DE" sz="2800" b="0" i="0" u="none" strike="noStrike" kern="0" cap="none" spc="0" normalizeH="0" baseline="0" noProof="0" smtClean="0">
                              <a:ln>
                                <a:noFill/>
                              </a:ln>
                              <a:solidFill>
                                <a:srgbClr val="0000FF"/>
                              </a:solidFill>
                              <a:effectLst/>
                              <a:uLnTx/>
                              <a:uFillTx/>
                              <a:latin typeface="Cambria Math" panose="02040503050406030204" pitchFamily="18" charset="0"/>
                              <a:ea typeface="+mn-ea"/>
                              <a:cs typeface="+mn-cs"/>
                            </a:rPr>
                            <m:t>yy</m:t>
                          </m:r>
                        </m:sub>
                      </m:sSub>
                      <m:r>
                        <m:rPr>
                          <m:sty m:val="p"/>
                        </m:rPr>
                        <a:rPr kumimoji="0" lang="de-DE" sz="2800" b="0" i="0" u="none" strike="noStrike" kern="0" cap="none" spc="0" normalizeH="0" baseline="0" noProof="0" smtClean="0">
                          <a:ln>
                            <a:noFill/>
                          </a:ln>
                          <a:solidFill>
                            <a:srgbClr val="0000FF"/>
                          </a:solidFill>
                          <a:effectLst/>
                          <a:uLnTx/>
                          <a:uFillTx/>
                          <a:latin typeface="Cambria Math" panose="02040503050406030204" pitchFamily="18" charset="0"/>
                          <a:ea typeface="+mn-ea"/>
                          <a:cs typeface="+mn-cs"/>
                        </a:rPr>
                        <m:t>y</m:t>
                      </m:r>
                      <m:r>
                        <a:rPr kumimoji="0" lang="de-DE" sz="2800" b="0" i="0" u="none" strike="noStrike" kern="0" cap="none" spc="0" normalizeH="0" baseline="0" noProof="0" smtClean="0">
                          <a:ln>
                            <a:noFill/>
                          </a:ln>
                          <a:solidFill>
                            <a:srgbClr val="0000FF"/>
                          </a:solidFill>
                          <a:effectLst/>
                          <a:uLnTx/>
                          <a:uFillTx/>
                          <a:latin typeface="Cambria Math" panose="02040503050406030204" pitchFamily="18" charset="0"/>
                          <a:ea typeface="+mn-ea"/>
                          <a:cs typeface="+mn-cs"/>
                        </a:rPr>
                        <m:t>+</m:t>
                      </m:r>
                      <m:sSub>
                        <m:sSubPr>
                          <m:ctrlPr>
                            <a:rPr kumimoji="0" lang="de-DE" sz="2800" b="0" i="1" u="none" strike="noStrike" kern="0" cap="none" spc="0" normalizeH="0" baseline="0" noProof="0" smtClean="0">
                              <a:ln>
                                <a:noFill/>
                              </a:ln>
                              <a:solidFill>
                                <a:srgbClr val="0000FF"/>
                              </a:solidFill>
                              <a:effectLst/>
                              <a:uLnTx/>
                              <a:uFillTx/>
                              <a:latin typeface="Cambria Math" panose="02040503050406030204" pitchFamily="18" charset="0"/>
                              <a:ea typeface="+mn-ea"/>
                              <a:cs typeface="+mn-cs"/>
                            </a:rPr>
                          </m:ctrlPr>
                        </m:sSubPr>
                        <m:e>
                          <m:r>
                            <m:rPr>
                              <m:sty m:val="p"/>
                            </m:rPr>
                            <a:rPr kumimoji="0" lang="de-DE" sz="2800" b="0" i="0" u="none" strike="noStrike" kern="0" cap="none" spc="0" normalizeH="0" baseline="0" noProof="0" smtClean="0">
                              <a:ln>
                                <a:noFill/>
                              </a:ln>
                              <a:solidFill>
                                <a:srgbClr val="0000FF"/>
                              </a:solidFill>
                              <a:effectLst/>
                              <a:uLnTx/>
                              <a:uFillTx/>
                              <a:latin typeface="Cambria Math" panose="02040503050406030204" pitchFamily="18" charset="0"/>
                              <a:ea typeface="+mn-ea"/>
                              <a:cs typeface="+mn-cs"/>
                            </a:rPr>
                            <m:t>d</m:t>
                          </m:r>
                        </m:e>
                        <m:sub>
                          <m:r>
                            <m:rPr>
                              <m:sty m:val="p"/>
                            </m:rPr>
                            <a:rPr kumimoji="0" lang="de-DE" sz="2800" b="0" i="0" u="none" strike="noStrike" kern="0" cap="none" spc="0" normalizeH="0" baseline="0" noProof="0" smtClean="0">
                              <a:ln>
                                <a:noFill/>
                              </a:ln>
                              <a:solidFill>
                                <a:srgbClr val="0000FF"/>
                              </a:solidFill>
                              <a:effectLst/>
                              <a:uLnTx/>
                              <a:uFillTx/>
                              <a:latin typeface="Cambria Math" panose="02040503050406030204" pitchFamily="18" charset="0"/>
                              <a:ea typeface="+mn-ea"/>
                              <a:cs typeface="+mn-cs"/>
                            </a:rPr>
                            <m:t>yz</m:t>
                          </m:r>
                        </m:sub>
                      </m:sSub>
                      <m:acc>
                        <m:accPr>
                          <m:chr m:val="̇"/>
                          <m:ctrlPr>
                            <a:rPr kumimoji="0" lang="de-DE" sz="2800" b="0" i="1" u="none" strike="noStrike" kern="0" cap="none" spc="0" normalizeH="0" baseline="0" noProof="0" smtClean="0">
                              <a:ln>
                                <a:noFill/>
                              </a:ln>
                              <a:solidFill>
                                <a:srgbClr val="0000FF"/>
                              </a:solidFill>
                              <a:effectLst/>
                              <a:uLnTx/>
                              <a:uFillTx/>
                              <a:latin typeface="Cambria Math" panose="02040503050406030204" pitchFamily="18" charset="0"/>
                              <a:ea typeface="+mn-ea"/>
                              <a:cs typeface="+mn-cs"/>
                            </a:rPr>
                          </m:ctrlPr>
                        </m:accPr>
                        <m:e>
                          <m:r>
                            <m:rPr>
                              <m:sty m:val="p"/>
                            </m:rPr>
                            <a:rPr kumimoji="0" lang="de-DE" sz="2800" b="0" i="0" u="none" strike="noStrike" kern="0" cap="none" spc="0" normalizeH="0" baseline="0" noProof="0" smtClean="0">
                              <a:ln>
                                <a:noFill/>
                              </a:ln>
                              <a:solidFill>
                                <a:srgbClr val="0000FF"/>
                              </a:solidFill>
                              <a:effectLst/>
                              <a:uLnTx/>
                              <a:uFillTx/>
                              <a:latin typeface="Cambria Math" panose="02040503050406030204" pitchFamily="18" charset="0"/>
                              <a:ea typeface="+mn-ea"/>
                              <a:cs typeface="+mn-cs"/>
                            </a:rPr>
                            <m:t>z</m:t>
                          </m:r>
                        </m:e>
                      </m:acc>
                      <m:r>
                        <a:rPr kumimoji="0" lang="de-DE" sz="2800" b="0" i="0" u="none" strike="noStrike" kern="0" cap="none" spc="0" normalizeH="0" baseline="0" noProof="0" smtClean="0">
                          <a:ln>
                            <a:noFill/>
                          </a:ln>
                          <a:solidFill>
                            <a:srgbClr val="0000FF"/>
                          </a:solidFill>
                          <a:effectLst/>
                          <a:uLnTx/>
                          <a:uFillTx/>
                          <a:latin typeface="Cambria Math" panose="02040503050406030204" pitchFamily="18" charset="0"/>
                          <a:ea typeface="+mn-ea"/>
                          <a:cs typeface="+mn-cs"/>
                        </a:rPr>
                        <m:t>+</m:t>
                      </m:r>
                      <m:sSub>
                        <m:sSubPr>
                          <m:ctrlPr>
                            <a:rPr kumimoji="0" lang="de-DE" sz="2800" b="0" i="1" u="none" strike="noStrike" kern="0" cap="none" spc="0" normalizeH="0" baseline="0" noProof="0" smtClean="0">
                              <a:ln>
                                <a:noFill/>
                              </a:ln>
                              <a:solidFill>
                                <a:srgbClr val="0000FF"/>
                              </a:solidFill>
                              <a:effectLst/>
                              <a:uLnTx/>
                              <a:uFillTx/>
                              <a:latin typeface="Cambria Math" panose="02040503050406030204" pitchFamily="18" charset="0"/>
                              <a:ea typeface="+mn-ea"/>
                              <a:cs typeface="+mn-cs"/>
                            </a:rPr>
                          </m:ctrlPr>
                        </m:sSubPr>
                        <m:e>
                          <m:r>
                            <m:rPr>
                              <m:sty m:val="p"/>
                            </m:rPr>
                            <a:rPr kumimoji="0" lang="de-DE" sz="2800" b="0" i="0" u="none" strike="noStrike" kern="0" cap="none" spc="0" normalizeH="0" baseline="0" noProof="0" smtClean="0">
                              <a:ln>
                                <a:noFill/>
                              </a:ln>
                              <a:solidFill>
                                <a:srgbClr val="0000FF"/>
                              </a:solidFill>
                              <a:effectLst/>
                              <a:uLnTx/>
                              <a:uFillTx/>
                              <a:latin typeface="Cambria Math" panose="02040503050406030204" pitchFamily="18" charset="0"/>
                              <a:ea typeface="+mn-ea"/>
                              <a:cs typeface="+mn-cs"/>
                            </a:rPr>
                            <m:t>d</m:t>
                          </m:r>
                        </m:e>
                        <m:sub>
                          <m:r>
                            <m:rPr>
                              <m:sty m:val="p"/>
                            </m:rPr>
                            <a:rPr kumimoji="0" lang="de-DE" sz="2800" b="0" i="0" u="none" strike="noStrike" kern="0" cap="none" spc="0" normalizeH="0" baseline="0" noProof="0" smtClean="0">
                              <a:ln>
                                <a:noFill/>
                              </a:ln>
                              <a:solidFill>
                                <a:srgbClr val="0000FF"/>
                              </a:solidFill>
                              <a:effectLst/>
                              <a:uLnTx/>
                              <a:uFillTx/>
                              <a:latin typeface="Cambria Math" panose="02040503050406030204" pitchFamily="18" charset="0"/>
                              <a:ea typeface="+mn-ea"/>
                              <a:cs typeface="+mn-cs"/>
                            </a:rPr>
                            <m:t>yy</m:t>
                          </m:r>
                        </m:sub>
                      </m:sSub>
                      <m:acc>
                        <m:accPr>
                          <m:chr m:val="̇"/>
                          <m:ctrlPr>
                            <a:rPr kumimoji="0" lang="de-DE" sz="2800" b="0" i="1" u="none" strike="noStrike" kern="0" cap="none" spc="0" normalizeH="0" baseline="0" noProof="0" smtClean="0">
                              <a:ln>
                                <a:noFill/>
                              </a:ln>
                              <a:solidFill>
                                <a:srgbClr val="0000FF"/>
                              </a:solidFill>
                              <a:effectLst/>
                              <a:uLnTx/>
                              <a:uFillTx/>
                              <a:latin typeface="Cambria Math" panose="02040503050406030204" pitchFamily="18" charset="0"/>
                              <a:ea typeface="+mn-ea"/>
                              <a:cs typeface="+mn-cs"/>
                            </a:rPr>
                          </m:ctrlPr>
                        </m:accPr>
                        <m:e>
                          <m:r>
                            <m:rPr>
                              <m:sty m:val="p"/>
                            </m:rPr>
                            <a:rPr kumimoji="0" lang="de-DE" sz="2800" b="0" i="0" u="none" strike="noStrike" kern="0" cap="none" spc="0" normalizeH="0" baseline="0" noProof="0" smtClean="0">
                              <a:ln>
                                <a:noFill/>
                              </a:ln>
                              <a:solidFill>
                                <a:srgbClr val="0000FF"/>
                              </a:solidFill>
                              <a:effectLst/>
                              <a:uLnTx/>
                              <a:uFillTx/>
                              <a:latin typeface="Cambria Math" panose="02040503050406030204" pitchFamily="18" charset="0"/>
                              <a:ea typeface="+mn-ea"/>
                              <a:cs typeface="+mn-cs"/>
                            </a:rPr>
                            <m:t>y</m:t>
                          </m:r>
                        </m:e>
                      </m:acc>
                    </m:oMath>
                  </m:oMathPara>
                </a14:m>
                <a:endParaRPr kumimoji="0" lang="de-DE" sz="2800" b="0" u="none" strike="noStrike" kern="0" cap="none" spc="0" normalizeH="0" baseline="0" noProof="0" dirty="0">
                  <a:ln>
                    <a:noFill/>
                  </a:ln>
                  <a:solidFill>
                    <a:srgbClr val="0000FF"/>
                  </a:solidFill>
                  <a:effectLst/>
                  <a:uLnTx/>
                  <a:uFillTx/>
                  <a:latin typeface="+mn-lt"/>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6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mc:Choice>
        <mc:Fallback xmlns="">
          <p:sp>
            <p:nvSpPr>
              <p:cNvPr id="2" name="Rechteck 1">
                <a:extLst>
                  <a:ext uri="{FF2B5EF4-FFF2-40B4-BE49-F238E27FC236}">
                    <a16:creationId xmlns:a16="http://schemas.microsoft.com/office/drawing/2014/main" id="{D7F0322C-23E9-73DB-2B06-799950AA9B49}"/>
                  </a:ext>
                </a:extLst>
              </p:cNvPr>
              <p:cNvSpPr>
                <a:spLocks noRot="1" noChangeAspect="1" noMove="1" noResize="1" noEditPoints="1" noAdjustHandles="1" noChangeArrowheads="1" noChangeShapeType="1" noTextEdit="1"/>
              </p:cNvSpPr>
              <p:nvPr/>
            </p:nvSpPr>
            <p:spPr>
              <a:xfrm>
                <a:off x="1885157" y="2418135"/>
                <a:ext cx="7618188" cy="1814285"/>
              </a:xfrm>
              <a:prstGeom prst="rect">
                <a:avLst/>
              </a:prstGeom>
              <a:blipFill>
                <a:blip r:embed="rId3"/>
                <a:stretch>
                  <a:fillRect/>
                </a:stretch>
              </a:blipFill>
              <a:ln w="25400" cap="flat" cmpd="sng" algn="ctr">
                <a:solidFill>
                  <a:srgbClr val="FDCA00">
                    <a:shade val="50000"/>
                  </a:srgbClr>
                </a:solidFill>
                <a:prstDash val="solid"/>
              </a:ln>
              <a:effectLst/>
            </p:spPr>
            <p:txBody>
              <a:bodyPr/>
              <a:lstStyle/>
              <a:p>
                <a:r>
                  <a:rPr lang="de-DE">
                    <a:noFill/>
                  </a:rPr>
                  <a:t> </a:t>
                </a:r>
              </a:p>
            </p:txBody>
          </p:sp>
        </mc:Fallback>
      </mc:AlternateContent>
    </p:spTree>
    <p:extLst>
      <p:ext uri="{BB962C8B-B14F-4D97-AF65-F5344CB8AC3E}">
        <p14:creationId xmlns:p14="http://schemas.microsoft.com/office/powerpoint/2010/main" val="184183934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7" name="Text Box 4">
            <a:extLst>
              <a:ext uri="{FF2B5EF4-FFF2-40B4-BE49-F238E27FC236}">
                <a16:creationId xmlns:a16="http://schemas.microsoft.com/office/drawing/2014/main" id="{1B7CF405-774B-09D8-E47C-93CB359EBED8}"/>
              </a:ext>
            </a:extLst>
          </p:cNvPr>
          <p:cNvSpPr txBox="1">
            <a:spLocks noChangeArrowheads="1"/>
          </p:cNvSpPr>
          <p:nvPr/>
        </p:nvSpPr>
        <p:spPr bwMode="auto">
          <a:xfrm>
            <a:off x="1436914" y="1152980"/>
            <a:ext cx="10319657" cy="4893647"/>
          </a:xfrm>
          <a:prstGeom prst="rect">
            <a:avLst/>
          </a:prstGeom>
          <a:noFill/>
          <a:ln>
            <a:noFill/>
          </a:ln>
          <a:effectLst/>
        </p:spPr>
        <p:txBody>
          <a:bodyPr wrap="square">
            <a:spAutoFit/>
          </a:bodyPr>
          <a:lstStyle>
            <a:lvl1pPr eaLnBrk="0" hangingPunct="0">
              <a:spcBef>
                <a:spcPct val="20000"/>
              </a:spcBef>
              <a:buFont typeface="Wingdings" pitchFamily="2" charset="2"/>
              <a:buChar char="§"/>
              <a:defRPr sz="2000">
                <a:solidFill>
                  <a:schemeClr val="tx1"/>
                </a:solidFill>
                <a:latin typeface="Arial" pitchFamily="34" charset="0"/>
              </a:defRPr>
            </a:lvl1pPr>
            <a:lvl2pPr marL="742950" indent="-285750" eaLnBrk="0" hangingPunct="0">
              <a:spcBef>
                <a:spcPct val="20000"/>
              </a:spcBef>
              <a:buFont typeface="Wingdings" pitchFamily="2" charset="2"/>
              <a:buChar char="§"/>
              <a:defRPr>
                <a:solidFill>
                  <a:schemeClr val="tx1"/>
                </a:solidFill>
                <a:latin typeface="Arial" pitchFamily="34" charset="0"/>
              </a:defRPr>
            </a:lvl2pPr>
            <a:lvl3pPr marL="1143000" indent="-228600" eaLnBrk="0" hangingPunct="0">
              <a:spcBef>
                <a:spcPct val="20000"/>
              </a:spcBef>
              <a:buFont typeface="Wingdings" pitchFamily="2" charset="2"/>
              <a:buChar char="§"/>
              <a:defRPr>
                <a:solidFill>
                  <a:schemeClr val="tx1"/>
                </a:solidFill>
                <a:latin typeface="Arial" pitchFamily="34" charset="0"/>
              </a:defRPr>
            </a:lvl3pPr>
            <a:lvl4pPr marL="1600200" indent="-228600" eaLnBrk="0" hangingPunct="0">
              <a:spcBef>
                <a:spcPct val="20000"/>
              </a:spcBef>
              <a:buFont typeface="Wingdings" pitchFamily="2" charset="2"/>
              <a:buChar char="§"/>
              <a:defRPr sz="1600">
                <a:solidFill>
                  <a:schemeClr val="tx1"/>
                </a:solidFill>
                <a:latin typeface="Arial" pitchFamily="34" charset="0"/>
              </a:defRPr>
            </a:lvl4pPr>
            <a:lvl5pPr marL="2057400" indent="-228600" eaLnBrk="0" hangingPunct="0">
              <a:spcBef>
                <a:spcPct val="20000"/>
              </a:spcBef>
              <a:buFont typeface="Wingdings" pitchFamily="2" charset="2"/>
              <a:buChar char="§"/>
              <a:defRPr sz="1600">
                <a:solidFill>
                  <a:schemeClr val="tx1"/>
                </a:solidFill>
                <a:latin typeface="Arial" pitchFamily="34" charset="0"/>
              </a:defRPr>
            </a:lvl5pPr>
            <a:lvl6pPr marL="2514600" indent="-228600" eaLnBrk="0" fontAlgn="base" hangingPunct="0">
              <a:spcBef>
                <a:spcPct val="20000"/>
              </a:spcBef>
              <a:spcAft>
                <a:spcPct val="0"/>
              </a:spcAft>
              <a:buFont typeface="Wingdings" pitchFamily="2" charset="2"/>
              <a:buChar char="§"/>
              <a:defRPr sz="1600">
                <a:solidFill>
                  <a:schemeClr val="tx1"/>
                </a:solidFill>
                <a:latin typeface="Arial" pitchFamily="34" charset="0"/>
              </a:defRPr>
            </a:lvl6pPr>
            <a:lvl7pPr marL="2971800" indent="-228600" eaLnBrk="0" fontAlgn="base" hangingPunct="0">
              <a:spcBef>
                <a:spcPct val="20000"/>
              </a:spcBef>
              <a:spcAft>
                <a:spcPct val="0"/>
              </a:spcAft>
              <a:buFont typeface="Wingdings" pitchFamily="2" charset="2"/>
              <a:buChar char="§"/>
              <a:defRPr sz="1600">
                <a:solidFill>
                  <a:schemeClr val="tx1"/>
                </a:solidFill>
                <a:latin typeface="Arial" pitchFamily="34" charset="0"/>
              </a:defRPr>
            </a:lvl7pPr>
            <a:lvl8pPr marL="3429000" indent="-228600" eaLnBrk="0" fontAlgn="base" hangingPunct="0">
              <a:spcBef>
                <a:spcPct val="20000"/>
              </a:spcBef>
              <a:spcAft>
                <a:spcPct val="0"/>
              </a:spcAft>
              <a:buFont typeface="Wingdings" pitchFamily="2" charset="2"/>
              <a:buChar char="§"/>
              <a:defRPr sz="1600">
                <a:solidFill>
                  <a:schemeClr val="tx1"/>
                </a:solidFill>
                <a:latin typeface="Arial" pitchFamily="34" charset="0"/>
              </a:defRPr>
            </a:lvl8pPr>
            <a:lvl9pPr marL="3886200" indent="-228600" eaLnBrk="0" fontAlgn="base" hangingPunct="0">
              <a:spcBef>
                <a:spcPct val="20000"/>
              </a:spcBef>
              <a:spcAft>
                <a:spcPct val="0"/>
              </a:spcAft>
              <a:buFont typeface="Wingdings" pitchFamily="2" charset="2"/>
              <a:buChar char="§"/>
              <a:defRPr sz="1600">
                <a:solidFill>
                  <a:schemeClr val="tx1"/>
                </a:solidFill>
                <a:latin typeface="Arial" pitchFamily="34" charset="0"/>
              </a:defRPr>
            </a:lvl9pPr>
          </a:lstStyle>
          <a:p>
            <a:pPr eaLnBrk="1" hangingPunct="1">
              <a:spcBef>
                <a:spcPct val="0"/>
              </a:spcBef>
              <a:buNone/>
              <a:defRPr/>
            </a:pPr>
            <a:endParaRPr lang="en-GB" altLang="de-DE" sz="2400" b="0" dirty="0">
              <a:solidFill>
                <a:srgbClr val="000000"/>
              </a:solidFill>
              <a:latin typeface="Arial"/>
            </a:endParaRPr>
          </a:p>
          <a:p>
            <a:pPr eaLnBrk="1" hangingPunct="1">
              <a:spcBef>
                <a:spcPct val="0"/>
              </a:spcBef>
              <a:buNone/>
              <a:defRPr/>
            </a:pPr>
            <a:r>
              <a:rPr lang="en-GB" altLang="de-DE" sz="2400" b="0" dirty="0">
                <a:solidFill>
                  <a:srgbClr val="000000"/>
                </a:solidFill>
                <a:latin typeface="Arial"/>
              </a:rPr>
              <a:t>The </a:t>
            </a:r>
            <a:r>
              <a:rPr lang="en-GB" altLang="de-DE" sz="2400" dirty="0">
                <a:solidFill>
                  <a:srgbClr val="0000FF"/>
                </a:solidFill>
                <a:latin typeface="Arial"/>
              </a:rPr>
              <a:t>stiffness and damping coefficients </a:t>
            </a:r>
            <a:r>
              <a:rPr lang="en-GB" altLang="de-DE" sz="2400" b="0" dirty="0">
                <a:solidFill>
                  <a:srgbClr val="000000"/>
                </a:solidFill>
                <a:latin typeface="Arial"/>
              </a:rPr>
              <a:t>of Fluid film bearings and Seals can be determined by </a:t>
            </a:r>
            <a:r>
              <a:rPr lang="en-GB" altLang="de-DE" sz="2400" dirty="0">
                <a:solidFill>
                  <a:srgbClr val="0000FF"/>
                </a:solidFill>
                <a:latin typeface="Arial"/>
              </a:rPr>
              <a:t>Numerical calculations </a:t>
            </a:r>
            <a:r>
              <a:rPr lang="en-GB" altLang="de-DE" sz="2400" b="0" dirty="0">
                <a:solidFill>
                  <a:srgbClr val="000000"/>
                </a:solidFill>
                <a:latin typeface="Arial"/>
              </a:rPr>
              <a:t>(CFD) or by </a:t>
            </a:r>
            <a:r>
              <a:rPr lang="en-GB" altLang="de-DE" sz="2400" dirty="0">
                <a:solidFill>
                  <a:srgbClr val="0000FF"/>
                </a:solidFill>
                <a:latin typeface="Arial"/>
              </a:rPr>
              <a:t>Experiments</a:t>
            </a:r>
            <a:r>
              <a:rPr lang="en-GB" altLang="de-DE" sz="2400" b="0" dirty="0">
                <a:solidFill>
                  <a:srgbClr val="FF0000"/>
                </a:solidFill>
                <a:latin typeface="Arial"/>
              </a:rPr>
              <a:t>.</a:t>
            </a:r>
          </a:p>
          <a:p>
            <a:pPr eaLnBrk="1" hangingPunct="1">
              <a:spcBef>
                <a:spcPct val="0"/>
              </a:spcBef>
              <a:buNone/>
              <a:defRPr/>
            </a:pPr>
            <a:r>
              <a:rPr lang="en-GB" altLang="de-DE" sz="2400" b="0" dirty="0">
                <a:solidFill>
                  <a:srgbClr val="000000"/>
                </a:solidFill>
                <a:latin typeface="Arial"/>
              </a:rPr>
              <a:t>For a bearing with a special geometry the coefficients depend on the </a:t>
            </a:r>
            <a:r>
              <a:rPr lang="en-GB" altLang="de-DE" sz="2400" b="0" dirty="0">
                <a:solidFill>
                  <a:srgbClr val="FF0000"/>
                </a:solidFill>
                <a:latin typeface="Arial"/>
              </a:rPr>
              <a:t>Sommerfeld number </a:t>
            </a:r>
            <a:r>
              <a:rPr lang="en-GB" altLang="de-DE" sz="2400" b="0" dirty="0" err="1">
                <a:solidFill>
                  <a:srgbClr val="FF0000"/>
                </a:solidFill>
                <a:latin typeface="Arial"/>
              </a:rPr>
              <a:t>So.</a:t>
            </a:r>
            <a:r>
              <a:rPr lang="en-GB" altLang="de-DE" sz="2400" b="0" dirty="0">
                <a:solidFill>
                  <a:srgbClr val="FF0000"/>
                </a:solidFill>
                <a:latin typeface="Arial"/>
              </a:rPr>
              <a:t> </a:t>
            </a:r>
            <a:r>
              <a:rPr lang="en-GB" altLang="de-DE" sz="2400" b="0" dirty="0">
                <a:solidFill>
                  <a:srgbClr val="000000"/>
                </a:solidFill>
                <a:latin typeface="Arial"/>
              </a:rPr>
              <a:t>Fluid film bearings have </a:t>
            </a:r>
            <a:r>
              <a:rPr lang="en-GB" altLang="de-DE" sz="2400" dirty="0">
                <a:solidFill>
                  <a:srgbClr val="0000FF"/>
                </a:solidFill>
                <a:latin typeface="Arial"/>
              </a:rPr>
              <a:t>anisotropic</a:t>
            </a:r>
            <a:r>
              <a:rPr lang="en-GB" altLang="de-DE" sz="2400" b="0" dirty="0">
                <a:solidFill>
                  <a:srgbClr val="000000"/>
                </a:solidFill>
                <a:latin typeface="Arial"/>
              </a:rPr>
              <a:t> </a:t>
            </a:r>
            <a:r>
              <a:rPr lang="en-GB" altLang="de-DE" sz="2400" b="0" dirty="0" err="1">
                <a:solidFill>
                  <a:srgbClr val="000000"/>
                </a:solidFill>
                <a:latin typeface="Arial"/>
              </a:rPr>
              <a:t>behavior</a:t>
            </a:r>
            <a:r>
              <a:rPr lang="en-GB" altLang="de-DE" sz="2400" b="0" dirty="0">
                <a:solidFill>
                  <a:srgbClr val="000000"/>
                </a:solidFill>
                <a:latin typeface="Arial"/>
              </a:rPr>
              <a:t> :</a:t>
            </a:r>
          </a:p>
          <a:p>
            <a:pPr eaLnBrk="1" hangingPunct="1">
              <a:spcBef>
                <a:spcPct val="0"/>
              </a:spcBef>
              <a:buNone/>
              <a:defRPr/>
            </a:pPr>
            <a:endParaRPr lang="en-GB" altLang="de-DE" sz="2400" b="0" dirty="0">
              <a:solidFill>
                <a:srgbClr val="000000"/>
              </a:solidFill>
              <a:latin typeface="Arial"/>
            </a:endParaRPr>
          </a:p>
          <a:p>
            <a:pPr eaLnBrk="1" hangingPunct="1">
              <a:spcBef>
                <a:spcPct val="0"/>
              </a:spcBef>
              <a:buNone/>
              <a:defRPr/>
            </a:pPr>
            <a:r>
              <a:rPr lang="en-GB" altLang="de-DE" sz="2400" b="0" dirty="0">
                <a:solidFill>
                  <a:srgbClr val="3366CC"/>
                </a:solidFill>
                <a:latin typeface="Arial"/>
              </a:rPr>
              <a:t>    </a:t>
            </a:r>
            <a:r>
              <a:rPr lang="en-GB" altLang="de-DE" sz="2400" b="0" dirty="0" err="1">
                <a:solidFill>
                  <a:srgbClr val="0000FF"/>
                </a:solidFill>
                <a:latin typeface="Arial"/>
              </a:rPr>
              <a:t>kzz</a:t>
            </a:r>
            <a:r>
              <a:rPr lang="en-GB" altLang="de-DE" sz="2400" b="0" dirty="0">
                <a:solidFill>
                  <a:srgbClr val="0000FF"/>
                </a:solidFill>
                <a:latin typeface="Arial"/>
              </a:rPr>
              <a:t> </a:t>
            </a:r>
            <a:r>
              <a:rPr lang="en-GB" altLang="de-DE" sz="2400" dirty="0">
                <a:solidFill>
                  <a:srgbClr val="0000FF"/>
                </a:solidFill>
                <a:latin typeface="Arial"/>
                <a:sym typeface="Symbol" pitchFamily="18" charset="2"/>
              </a:rPr>
              <a:t></a:t>
            </a:r>
            <a:r>
              <a:rPr lang="en-GB" altLang="de-DE" sz="2400" b="0" dirty="0">
                <a:solidFill>
                  <a:srgbClr val="0000FF"/>
                </a:solidFill>
                <a:latin typeface="Arial"/>
              </a:rPr>
              <a:t> </a:t>
            </a:r>
            <a:r>
              <a:rPr lang="en-GB" altLang="de-DE" sz="2400" b="0" dirty="0" err="1">
                <a:solidFill>
                  <a:srgbClr val="0000FF"/>
                </a:solidFill>
                <a:latin typeface="Arial"/>
              </a:rPr>
              <a:t>kyy</a:t>
            </a:r>
            <a:r>
              <a:rPr lang="en-GB" altLang="de-DE" sz="2400" b="0" dirty="0">
                <a:solidFill>
                  <a:srgbClr val="0000FF"/>
                </a:solidFill>
                <a:latin typeface="Arial"/>
              </a:rPr>
              <a:t>  </a:t>
            </a:r>
            <a:r>
              <a:rPr lang="en-GB" altLang="de-DE" sz="2400" b="0" dirty="0">
                <a:solidFill>
                  <a:srgbClr val="000000"/>
                </a:solidFill>
                <a:latin typeface="Arial"/>
              </a:rPr>
              <a:t>and</a:t>
            </a:r>
            <a:r>
              <a:rPr lang="en-GB" altLang="de-DE" sz="2400" b="0" dirty="0">
                <a:solidFill>
                  <a:srgbClr val="3366CC"/>
                </a:solidFill>
                <a:latin typeface="Arial"/>
              </a:rPr>
              <a:t>  </a:t>
            </a:r>
            <a:r>
              <a:rPr lang="en-GB" altLang="de-DE" sz="2400" b="0" dirty="0" err="1">
                <a:solidFill>
                  <a:srgbClr val="0000FF"/>
                </a:solidFill>
                <a:latin typeface="Arial"/>
              </a:rPr>
              <a:t>dzz</a:t>
            </a:r>
            <a:r>
              <a:rPr lang="en-GB" altLang="de-DE" sz="2400" b="0" dirty="0">
                <a:solidFill>
                  <a:srgbClr val="0000FF"/>
                </a:solidFill>
                <a:latin typeface="Arial"/>
              </a:rPr>
              <a:t> </a:t>
            </a:r>
            <a:r>
              <a:rPr lang="en-GB" altLang="de-DE" sz="2400" dirty="0">
                <a:solidFill>
                  <a:srgbClr val="0000FF"/>
                </a:solidFill>
                <a:latin typeface="Arial"/>
                <a:sym typeface="Symbol" pitchFamily="18" charset="2"/>
              </a:rPr>
              <a:t></a:t>
            </a:r>
            <a:r>
              <a:rPr lang="en-GB" altLang="de-DE" sz="2400" b="0" dirty="0">
                <a:solidFill>
                  <a:srgbClr val="0000FF"/>
                </a:solidFill>
                <a:latin typeface="Arial"/>
              </a:rPr>
              <a:t> </a:t>
            </a:r>
            <a:r>
              <a:rPr lang="en-GB" altLang="de-DE" sz="2400" b="0" dirty="0" err="1">
                <a:solidFill>
                  <a:srgbClr val="0000FF"/>
                </a:solidFill>
                <a:latin typeface="Arial"/>
              </a:rPr>
              <a:t>dyy</a:t>
            </a:r>
            <a:endParaRPr lang="en-GB" altLang="de-DE" sz="2400" b="0" dirty="0">
              <a:solidFill>
                <a:srgbClr val="0000FF"/>
              </a:solidFill>
              <a:latin typeface="Arial"/>
            </a:endParaRPr>
          </a:p>
          <a:p>
            <a:pPr eaLnBrk="1" hangingPunct="1">
              <a:spcBef>
                <a:spcPct val="0"/>
              </a:spcBef>
              <a:buNone/>
              <a:defRPr/>
            </a:pPr>
            <a:endParaRPr lang="en-GB" altLang="de-DE" sz="2400" b="0" dirty="0">
              <a:solidFill>
                <a:srgbClr val="000000"/>
              </a:solidFill>
              <a:latin typeface="Arial"/>
            </a:endParaRPr>
          </a:p>
          <a:p>
            <a:pPr eaLnBrk="1" hangingPunct="1">
              <a:spcBef>
                <a:spcPct val="0"/>
              </a:spcBef>
              <a:buNone/>
              <a:defRPr/>
            </a:pPr>
            <a:r>
              <a:rPr lang="en-GB" altLang="de-DE" sz="2400" b="0" dirty="0">
                <a:solidFill>
                  <a:srgbClr val="000000"/>
                </a:solidFill>
                <a:latin typeface="Arial"/>
              </a:rPr>
              <a:t>The coupling coefficients differ from each other: </a:t>
            </a:r>
            <a:r>
              <a:rPr lang="en-GB" altLang="de-DE" sz="2400" dirty="0" err="1">
                <a:solidFill>
                  <a:srgbClr val="0000FF"/>
                </a:solidFill>
                <a:latin typeface="Arial"/>
              </a:rPr>
              <a:t>Unsymmetry</a:t>
            </a:r>
            <a:endParaRPr lang="en-GB" altLang="de-DE" sz="2400" dirty="0">
              <a:solidFill>
                <a:srgbClr val="0000FF"/>
              </a:solidFill>
              <a:latin typeface="Arial"/>
            </a:endParaRPr>
          </a:p>
          <a:p>
            <a:pPr eaLnBrk="1" hangingPunct="1">
              <a:spcBef>
                <a:spcPct val="0"/>
              </a:spcBef>
              <a:buNone/>
              <a:defRPr/>
            </a:pPr>
            <a:endParaRPr lang="en-GB" altLang="de-DE" sz="2400" b="0" dirty="0">
              <a:solidFill>
                <a:srgbClr val="000000"/>
              </a:solidFill>
              <a:latin typeface="Arial"/>
            </a:endParaRPr>
          </a:p>
          <a:p>
            <a:pPr eaLnBrk="1" hangingPunct="1">
              <a:spcBef>
                <a:spcPct val="0"/>
              </a:spcBef>
              <a:buNone/>
              <a:defRPr/>
            </a:pPr>
            <a:r>
              <a:rPr lang="en-GB" altLang="de-DE" sz="2400" b="0" dirty="0">
                <a:solidFill>
                  <a:srgbClr val="3366CC"/>
                </a:solidFill>
                <a:latin typeface="Arial"/>
              </a:rPr>
              <a:t>    </a:t>
            </a:r>
            <a:r>
              <a:rPr lang="en-GB" altLang="de-DE" sz="2400" b="0" dirty="0" err="1">
                <a:solidFill>
                  <a:srgbClr val="0000FF"/>
                </a:solidFill>
                <a:latin typeface="Arial"/>
              </a:rPr>
              <a:t>kzy</a:t>
            </a:r>
            <a:r>
              <a:rPr lang="en-GB" altLang="de-DE" sz="2400" b="0" dirty="0">
                <a:solidFill>
                  <a:srgbClr val="0000FF"/>
                </a:solidFill>
                <a:latin typeface="Arial"/>
              </a:rPr>
              <a:t> </a:t>
            </a:r>
            <a:r>
              <a:rPr lang="en-GB" altLang="de-DE" sz="2400" dirty="0">
                <a:solidFill>
                  <a:srgbClr val="0000FF"/>
                </a:solidFill>
                <a:latin typeface="Arial"/>
                <a:sym typeface="Symbol" pitchFamily="18" charset="2"/>
              </a:rPr>
              <a:t></a:t>
            </a:r>
            <a:r>
              <a:rPr lang="en-GB" altLang="de-DE" sz="2400" b="0" dirty="0">
                <a:solidFill>
                  <a:srgbClr val="0000FF"/>
                </a:solidFill>
                <a:latin typeface="Arial"/>
              </a:rPr>
              <a:t> </a:t>
            </a:r>
            <a:r>
              <a:rPr lang="en-GB" altLang="de-DE" sz="2400" b="0" dirty="0" err="1">
                <a:solidFill>
                  <a:srgbClr val="0000FF"/>
                </a:solidFill>
                <a:latin typeface="Arial"/>
              </a:rPr>
              <a:t>kyz</a:t>
            </a:r>
            <a:r>
              <a:rPr lang="en-GB" altLang="de-DE" sz="2400" b="0" dirty="0">
                <a:solidFill>
                  <a:srgbClr val="0000FF"/>
                </a:solidFill>
                <a:latin typeface="Arial"/>
              </a:rPr>
              <a:t>  </a:t>
            </a:r>
            <a:r>
              <a:rPr lang="en-GB" altLang="de-DE" sz="2400" b="0" dirty="0">
                <a:solidFill>
                  <a:srgbClr val="000000"/>
                </a:solidFill>
                <a:latin typeface="Arial"/>
              </a:rPr>
              <a:t>and</a:t>
            </a:r>
            <a:r>
              <a:rPr lang="en-GB" altLang="de-DE" sz="2400" b="0" dirty="0">
                <a:solidFill>
                  <a:srgbClr val="3366CC"/>
                </a:solidFill>
                <a:latin typeface="Arial"/>
              </a:rPr>
              <a:t>  </a:t>
            </a:r>
            <a:r>
              <a:rPr lang="en-GB" altLang="de-DE" sz="2400" b="0" dirty="0" err="1">
                <a:solidFill>
                  <a:srgbClr val="0000FF"/>
                </a:solidFill>
                <a:latin typeface="Arial"/>
              </a:rPr>
              <a:t>dzy</a:t>
            </a:r>
            <a:r>
              <a:rPr lang="en-GB" altLang="de-DE" sz="2400" b="0" dirty="0">
                <a:solidFill>
                  <a:srgbClr val="0000FF"/>
                </a:solidFill>
                <a:latin typeface="Arial"/>
              </a:rPr>
              <a:t> </a:t>
            </a:r>
            <a:r>
              <a:rPr lang="en-GB" altLang="de-DE" sz="2400" dirty="0">
                <a:solidFill>
                  <a:srgbClr val="0000FF"/>
                </a:solidFill>
                <a:latin typeface="Arial"/>
                <a:sym typeface="Symbol" pitchFamily="18" charset="2"/>
              </a:rPr>
              <a:t></a:t>
            </a:r>
            <a:r>
              <a:rPr lang="en-GB" altLang="de-DE" sz="2400" b="0" dirty="0">
                <a:solidFill>
                  <a:srgbClr val="0000FF"/>
                </a:solidFill>
                <a:latin typeface="Arial"/>
              </a:rPr>
              <a:t> </a:t>
            </a:r>
            <a:r>
              <a:rPr lang="en-GB" altLang="de-DE" sz="2400" b="0" dirty="0" err="1">
                <a:solidFill>
                  <a:srgbClr val="0000FF"/>
                </a:solidFill>
                <a:latin typeface="Arial"/>
              </a:rPr>
              <a:t>dyz</a:t>
            </a:r>
            <a:endParaRPr lang="en-GB" altLang="de-DE" sz="2400" b="0" dirty="0">
              <a:solidFill>
                <a:srgbClr val="0000FF"/>
              </a:solidFill>
              <a:latin typeface="Arial"/>
            </a:endParaRPr>
          </a:p>
          <a:p>
            <a:pPr eaLnBrk="1" hangingPunct="1">
              <a:spcBef>
                <a:spcPct val="0"/>
              </a:spcBef>
              <a:buNone/>
              <a:defRPr/>
            </a:pPr>
            <a:endParaRPr lang="en-GB" altLang="de-DE" sz="2400" b="0" dirty="0">
              <a:solidFill>
                <a:srgbClr val="3366CC"/>
              </a:solidFill>
              <a:latin typeface="Arial"/>
            </a:endParaRPr>
          </a:p>
          <a:p>
            <a:pPr eaLnBrk="1" hangingPunct="1">
              <a:spcBef>
                <a:spcPct val="0"/>
              </a:spcBef>
              <a:buNone/>
              <a:defRPr/>
            </a:pPr>
            <a:r>
              <a:rPr lang="en-GB" altLang="de-DE" sz="2400" b="0" dirty="0">
                <a:solidFill>
                  <a:srgbClr val="000000"/>
                </a:solidFill>
                <a:latin typeface="Arial"/>
              </a:rPr>
              <a:t>A measure for the </a:t>
            </a:r>
            <a:r>
              <a:rPr lang="en-GB" altLang="de-DE" sz="2400" dirty="0">
                <a:solidFill>
                  <a:srgbClr val="0000FF"/>
                </a:solidFill>
                <a:latin typeface="Arial"/>
              </a:rPr>
              <a:t>instability sensitivity </a:t>
            </a:r>
            <a:r>
              <a:rPr lang="en-GB" altLang="de-DE" sz="2400" b="0" dirty="0">
                <a:solidFill>
                  <a:srgbClr val="000000"/>
                </a:solidFill>
                <a:latin typeface="Arial"/>
              </a:rPr>
              <a:t>is the difference: </a:t>
            </a:r>
            <a:r>
              <a:rPr lang="en-GB" altLang="de-DE" sz="2400" b="0" dirty="0">
                <a:solidFill>
                  <a:srgbClr val="0000FF"/>
                </a:solidFill>
                <a:latin typeface="Arial"/>
              </a:rPr>
              <a:t>(</a:t>
            </a:r>
            <a:r>
              <a:rPr lang="en-GB" altLang="de-DE" sz="2400" b="0" dirty="0" err="1">
                <a:solidFill>
                  <a:srgbClr val="0000FF"/>
                </a:solidFill>
                <a:latin typeface="Arial"/>
              </a:rPr>
              <a:t>kzy</a:t>
            </a:r>
            <a:r>
              <a:rPr lang="en-GB" altLang="de-DE" sz="2400" b="0" dirty="0">
                <a:solidFill>
                  <a:srgbClr val="0000FF"/>
                </a:solidFill>
                <a:latin typeface="Arial"/>
              </a:rPr>
              <a:t> – </a:t>
            </a:r>
            <a:r>
              <a:rPr lang="en-GB" altLang="de-DE" sz="2400" b="0" dirty="0" err="1">
                <a:solidFill>
                  <a:srgbClr val="0000FF"/>
                </a:solidFill>
                <a:latin typeface="Arial"/>
              </a:rPr>
              <a:t>kyz</a:t>
            </a:r>
            <a:r>
              <a:rPr lang="en-GB" altLang="de-DE" sz="2400" b="0" dirty="0">
                <a:solidFill>
                  <a:srgbClr val="0000FF"/>
                </a:solidFill>
                <a:latin typeface="Arial"/>
              </a:rPr>
              <a:t>).</a:t>
            </a:r>
          </a:p>
        </p:txBody>
      </p:sp>
      <p:sp>
        <p:nvSpPr>
          <p:cNvPr id="3" name="Text Box 3">
            <a:extLst>
              <a:ext uri="{FF2B5EF4-FFF2-40B4-BE49-F238E27FC236}">
                <a16:creationId xmlns:a16="http://schemas.microsoft.com/office/drawing/2014/main" id="{65B7E908-5C65-8385-3EE6-665B9D8A1BDE}"/>
              </a:ext>
            </a:extLst>
          </p:cNvPr>
          <p:cNvSpPr txBox="1">
            <a:spLocks noChangeArrowheads="1"/>
          </p:cNvSpPr>
          <p:nvPr/>
        </p:nvSpPr>
        <p:spPr bwMode="auto">
          <a:xfrm>
            <a:off x="1261043" y="133532"/>
            <a:ext cx="9669914" cy="830997"/>
          </a:xfrm>
          <a:prstGeom prst="rect">
            <a:avLst/>
          </a:prstGeom>
          <a:noFill/>
          <a:ln>
            <a:noFill/>
          </a:ln>
          <a:effectLst/>
        </p:spPr>
        <p:txBody>
          <a:bodyPr wrap="square">
            <a:spAutoFit/>
          </a:bodyPr>
          <a:lstStyle>
            <a:lvl1pPr eaLnBrk="0" hangingPunct="0">
              <a:defRPr b="1">
                <a:solidFill>
                  <a:schemeClr val="tx1"/>
                </a:solidFill>
                <a:latin typeface="Verdana" pitchFamily="34" charset="0"/>
              </a:defRPr>
            </a:lvl1pPr>
            <a:lvl2pPr marL="742950" indent="-285750" eaLnBrk="0" hangingPunct="0">
              <a:defRPr b="1">
                <a:solidFill>
                  <a:schemeClr val="tx1"/>
                </a:solidFill>
                <a:latin typeface="Verdana" pitchFamily="34" charset="0"/>
              </a:defRPr>
            </a:lvl2pPr>
            <a:lvl3pPr marL="1143000" indent="-228600" eaLnBrk="0" hangingPunct="0">
              <a:defRPr b="1">
                <a:solidFill>
                  <a:schemeClr val="tx1"/>
                </a:solidFill>
                <a:latin typeface="Verdana" pitchFamily="34" charset="0"/>
              </a:defRPr>
            </a:lvl3pPr>
            <a:lvl4pPr marL="1600200" indent="-228600" eaLnBrk="0" hangingPunct="0">
              <a:defRPr b="1">
                <a:solidFill>
                  <a:schemeClr val="tx1"/>
                </a:solidFill>
                <a:latin typeface="Verdana" pitchFamily="34" charset="0"/>
              </a:defRPr>
            </a:lvl4pPr>
            <a:lvl5pPr marL="2057400" indent="-228600" eaLnBrk="0" hangingPunct="0">
              <a:defRPr b="1">
                <a:solidFill>
                  <a:schemeClr val="tx1"/>
                </a:solidFill>
                <a:latin typeface="Verdana" pitchFamily="34" charset="0"/>
              </a:defRPr>
            </a:lvl5pPr>
            <a:lvl6pPr marL="2514600" indent="-228600" eaLnBrk="0" fontAlgn="base" hangingPunct="0">
              <a:spcBef>
                <a:spcPct val="0"/>
              </a:spcBef>
              <a:spcAft>
                <a:spcPct val="0"/>
              </a:spcAft>
              <a:defRPr b="1">
                <a:solidFill>
                  <a:schemeClr val="tx1"/>
                </a:solidFill>
                <a:latin typeface="Verdana" pitchFamily="34" charset="0"/>
              </a:defRPr>
            </a:lvl6pPr>
            <a:lvl7pPr marL="2971800" indent="-228600" eaLnBrk="0" fontAlgn="base" hangingPunct="0">
              <a:spcBef>
                <a:spcPct val="0"/>
              </a:spcBef>
              <a:spcAft>
                <a:spcPct val="0"/>
              </a:spcAft>
              <a:defRPr b="1">
                <a:solidFill>
                  <a:schemeClr val="tx1"/>
                </a:solidFill>
                <a:latin typeface="Verdana" pitchFamily="34" charset="0"/>
              </a:defRPr>
            </a:lvl7pPr>
            <a:lvl8pPr marL="3429000" indent="-228600" eaLnBrk="0" fontAlgn="base" hangingPunct="0">
              <a:spcBef>
                <a:spcPct val="0"/>
              </a:spcBef>
              <a:spcAft>
                <a:spcPct val="0"/>
              </a:spcAft>
              <a:defRPr b="1">
                <a:solidFill>
                  <a:schemeClr val="tx1"/>
                </a:solidFill>
                <a:latin typeface="Verdana" pitchFamily="34" charset="0"/>
              </a:defRPr>
            </a:lvl8pPr>
            <a:lvl9pPr marL="3886200" indent="-228600" eaLnBrk="0" fontAlgn="base" hangingPunct="0">
              <a:spcBef>
                <a:spcPct val="0"/>
              </a:spcBef>
              <a:spcAft>
                <a:spcPct val="0"/>
              </a:spcAft>
              <a:defRPr b="1">
                <a:solidFill>
                  <a:schemeClr val="tx1"/>
                </a:solidFill>
                <a:latin typeface="Verdana"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de-DE" altLang="de-DE" sz="2400" b="1" i="0" u="none" strike="noStrike" kern="1200" cap="none" spc="0" normalizeH="0" baseline="0" noProof="0" dirty="0">
                <a:ln>
                  <a:noFill/>
                </a:ln>
                <a:solidFill>
                  <a:srgbClr val="0000FF"/>
                </a:solidFill>
                <a:effectLst/>
                <a:uLnTx/>
                <a:uFillTx/>
                <a:latin typeface="Arial"/>
                <a:ea typeface="+mn-ea"/>
                <a:cs typeface="+mn-cs"/>
              </a:rPr>
              <a:t>Modelling </a:t>
            </a:r>
            <a:r>
              <a:rPr kumimoji="0" lang="de-DE" altLang="de-DE" sz="2400" b="1" i="0" u="none" strike="noStrike" kern="1200" cap="none" spc="0" normalizeH="0" baseline="0" noProof="0" dirty="0" err="1">
                <a:ln>
                  <a:noFill/>
                </a:ln>
                <a:solidFill>
                  <a:srgbClr val="0000FF"/>
                </a:solidFill>
                <a:effectLst/>
                <a:uLnTx/>
                <a:uFillTx/>
                <a:latin typeface="Arial"/>
                <a:ea typeface="+mn-ea"/>
                <a:cs typeface="+mn-cs"/>
              </a:rPr>
              <a:t>of</a:t>
            </a:r>
            <a:r>
              <a:rPr kumimoji="0" lang="de-DE" altLang="de-DE" sz="2400" b="1" i="0" u="none" strike="noStrike" kern="1200" cap="none" spc="0" normalizeH="0" baseline="0" noProof="0" dirty="0">
                <a:ln>
                  <a:noFill/>
                </a:ln>
                <a:solidFill>
                  <a:srgbClr val="0000FF"/>
                </a:solidFill>
                <a:effectLst/>
                <a:uLnTx/>
                <a:uFillTx/>
                <a:latin typeface="Arial"/>
                <a:ea typeface="+mn-ea"/>
                <a:cs typeface="+mn-cs"/>
              </a:rPr>
              <a:t> </a:t>
            </a:r>
            <a:r>
              <a:rPr kumimoji="0" lang="de-DE" altLang="de-DE" sz="2400" b="1" i="0" u="none" strike="noStrike" kern="1200" cap="none" spc="0" normalizeH="0" baseline="0" noProof="0" dirty="0" err="1">
                <a:ln>
                  <a:noFill/>
                </a:ln>
                <a:solidFill>
                  <a:srgbClr val="0000FF"/>
                </a:solidFill>
                <a:effectLst/>
                <a:uLnTx/>
                <a:uFillTx/>
                <a:latin typeface="Arial"/>
                <a:ea typeface="+mn-ea"/>
                <a:cs typeface="+mn-cs"/>
              </a:rPr>
              <a:t>the</a:t>
            </a:r>
            <a:r>
              <a:rPr kumimoji="0" lang="de-DE" altLang="de-DE" sz="2400" b="1" i="0" u="none" strike="noStrike" kern="1200" cap="none" spc="0" normalizeH="0" baseline="0" noProof="0" dirty="0">
                <a:ln>
                  <a:noFill/>
                </a:ln>
                <a:solidFill>
                  <a:srgbClr val="0000FF"/>
                </a:solidFill>
                <a:effectLst/>
                <a:uLnTx/>
                <a:uFillTx/>
                <a:latin typeface="Arial"/>
                <a:ea typeface="+mn-ea"/>
                <a:cs typeface="+mn-cs"/>
              </a:rPr>
              <a:t> Horizontal </a:t>
            </a:r>
            <a:r>
              <a:rPr kumimoji="0" lang="de-DE" altLang="de-DE" sz="2400" b="1" i="0" u="none" strike="noStrike" kern="1200" cap="none" spc="0" normalizeH="0" baseline="0" noProof="0" dirty="0" err="1">
                <a:ln>
                  <a:noFill/>
                </a:ln>
                <a:solidFill>
                  <a:srgbClr val="0000FF"/>
                </a:solidFill>
                <a:effectLst/>
                <a:uLnTx/>
                <a:uFillTx/>
                <a:latin typeface="Arial"/>
                <a:ea typeface="+mn-ea"/>
                <a:cs typeface="+mn-cs"/>
              </a:rPr>
              <a:t>Feedwater</a:t>
            </a:r>
            <a:r>
              <a:rPr kumimoji="0" lang="de-DE" altLang="de-DE" sz="2400" b="1" i="0" u="none" strike="noStrike" kern="1200" cap="none" spc="0" normalizeH="0" baseline="0" noProof="0" dirty="0">
                <a:ln>
                  <a:noFill/>
                </a:ln>
                <a:solidFill>
                  <a:srgbClr val="0000FF"/>
                </a:solidFill>
                <a:effectLst/>
                <a:uLnTx/>
                <a:uFillTx/>
                <a:latin typeface="Arial"/>
                <a:ea typeface="+mn-ea"/>
                <a:cs typeface="+mn-cs"/>
              </a:rPr>
              <a:t> Pump </a:t>
            </a:r>
            <a:r>
              <a:rPr kumimoji="0" lang="de-DE" altLang="de-DE" sz="2400" b="1" i="0" u="none" strike="noStrike" kern="1200" cap="none" spc="0" normalizeH="0" baseline="0" noProof="0" dirty="0" err="1">
                <a:ln>
                  <a:noFill/>
                </a:ln>
                <a:solidFill>
                  <a:srgbClr val="0000FF"/>
                </a:solidFill>
                <a:effectLst/>
                <a:uLnTx/>
                <a:uFillTx/>
                <a:latin typeface="Arial"/>
                <a:ea typeface="+mn-ea"/>
                <a:cs typeface="+mn-cs"/>
              </a:rPr>
              <a:t>with</a:t>
            </a:r>
            <a:r>
              <a:rPr kumimoji="0" lang="de-DE" altLang="de-DE" sz="2400" b="1" i="0" u="none" strike="noStrike" kern="1200" cap="none" spc="0" normalizeH="0" baseline="0" noProof="0" dirty="0">
                <a:ln>
                  <a:noFill/>
                </a:ln>
                <a:solidFill>
                  <a:srgbClr val="0000FF"/>
                </a:solidFill>
                <a:effectLst/>
                <a:uLnTx/>
                <a:uFillTx/>
                <a:latin typeface="Arial"/>
                <a:ea typeface="+mn-ea"/>
                <a:cs typeface="+mn-cs"/>
              </a:rPr>
              <a:t> Interactions</a:t>
            </a:r>
            <a:br>
              <a:rPr kumimoji="0" lang="de-DE" altLang="de-DE" sz="2400" b="0" i="0" u="none" strike="noStrike" kern="1200" cap="none" spc="0" normalizeH="0" baseline="0" noProof="0" dirty="0">
                <a:ln>
                  <a:noFill/>
                </a:ln>
                <a:solidFill>
                  <a:srgbClr val="000000"/>
                </a:solidFill>
                <a:effectLst/>
                <a:uLnTx/>
                <a:uFillTx/>
                <a:latin typeface="Arial"/>
                <a:ea typeface="+mn-ea"/>
                <a:cs typeface="+mn-cs"/>
              </a:rPr>
            </a:br>
            <a:r>
              <a:rPr kumimoji="0" lang="de-DE" altLang="de-DE" sz="2400" b="0" i="0" u="none" strike="noStrike" kern="1200" cap="none" spc="0" normalizeH="0" baseline="0" noProof="0" dirty="0" err="1">
                <a:ln>
                  <a:noFill/>
                </a:ln>
                <a:solidFill>
                  <a:srgbClr val="000000"/>
                </a:solidFill>
                <a:effectLst/>
                <a:uLnTx/>
                <a:uFillTx/>
                <a:latin typeface="Arial"/>
                <a:ea typeface="+mn-ea"/>
                <a:cs typeface="+mn-cs"/>
              </a:rPr>
              <a:t>Stiffness</a:t>
            </a:r>
            <a:r>
              <a:rPr kumimoji="0" lang="de-DE" altLang="de-DE" sz="2400" b="0" i="0" u="none" strike="noStrike" kern="1200" cap="none" spc="0" normalizeH="0" baseline="0" noProof="0" dirty="0">
                <a:ln>
                  <a:noFill/>
                </a:ln>
                <a:solidFill>
                  <a:srgbClr val="000000"/>
                </a:solidFill>
                <a:effectLst/>
                <a:uLnTx/>
                <a:uFillTx/>
                <a:latin typeface="Arial"/>
                <a:ea typeface="+mn-ea"/>
                <a:cs typeface="+mn-cs"/>
              </a:rPr>
              <a:t> and </a:t>
            </a:r>
            <a:r>
              <a:rPr kumimoji="0" lang="de-DE" altLang="de-DE" sz="2400" b="0" i="0" u="none" strike="noStrike" kern="1200" cap="none" spc="0" normalizeH="0" baseline="0" noProof="0" dirty="0" err="1">
                <a:ln>
                  <a:noFill/>
                </a:ln>
                <a:solidFill>
                  <a:srgbClr val="000000"/>
                </a:solidFill>
                <a:effectLst/>
                <a:uLnTx/>
                <a:uFillTx/>
                <a:latin typeface="Arial"/>
                <a:ea typeface="+mn-ea"/>
                <a:cs typeface="+mn-cs"/>
              </a:rPr>
              <a:t>Damping</a:t>
            </a:r>
            <a:r>
              <a:rPr kumimoji="0" lang="de-DE" altLang="de-DE" sz="2400" b="0" i="0" u="none" strike="noStrike" kern="1200" cap="none" spc="0" normalizeH="0" baseline="0" noProof="0" dirty="0">
                <a:ln>
                  <a:noFill/>
                </a:ln>
                <a:solidFill>
                  <a:srgbClr val="000000"/>
                </a:solidFill>
                <a:effectLst/>
                <a:uLnTx/>
                <a:uFillTx/>
                <a:latin typeface="Arial"/>
                <a:ea typeface="+mn-ea"/>
                <a:cs typeface="+mn-cs"/>
              </a:rPr>
              <a:t> </a:t>
            </a:r>
            <a:r>
              <a:rPr kumimoji="0" lang="de-DE" altLang="de-DE" sz="2400" b="0" i="0" u="none" strike="noStrike" kern="1200" cap="none" spc="0" normalizeH="0" baseline="0" noProof="0" dirty="0" err="1">
                <a:ln>
                  <a:noFill/>
                </a:ln>
                <a:solidFill>
                  <a:srgbClr val="000000"/>
                </a:solidFill>
                <a:effectLst/>
                <a:uLnTx/>
                <a:uFillTx/>
                <a:latin typeface="Arial"/>
                <a:ea typeface="+mn-ea"/>
                <a:cs typeface="+mn-cs"/>
              </a:rPr>
              <a:t>Coefficients</a:t>
            </a:r>
            <a:r>
              <a:rPr kumimoji="0" lang="de-DE" altLang="de-DE" sz="2400" b="0" i="0" u="none" strike="noStrike" kern="1200" cap="none" spc="0" normalizeH="0" baseline="0" noProof="0" dirty="0">
                <a:ln>
                  <a:noFill/>
                </a:ln>
                <a:solidFill>
                  <a:srgbClr val="000000"/>
                </a:solidFill>
                <a:effectLst/>
                <a:uLnTx/>
                <a:uFillTx/>
                <a:latin typeface="Arial"/>
                <a:ea typeface="+mn-ea"/>
                <a:cs typeface="+mn-cs"/>
              </a:rPr>
              <a:t> </a:t>
            </a:r>
            <a:r>
              <a:rPr kumimoji="0" lang="de-DE" altLang="de-DE" sz="2400" b="0" i="0" u="none" strike="noStrike" kern="1200" cap="none" spc="0" normalizeH="0" baseline="0" noProof="0" dirty="0" err="1">
                <a:ln>
                  <a:noFill/>
                </a:ln>
                <a:solidFill>
                  <a:srgbClr val="000000"/>
                </a:solidFill>
                <a:effectLst/>
                <a:uLnTx/>
                <a:uFillTx/>
                <a:latin typeface="Arial"/>
                <a:ea typeface="+mn-ea"/>
                <a:cs typeface="+mn-cs"/>
              </a:rPr>
              <a:t>of</a:t>
            </a:r>
            <a:r>
              <a:rPr kumimoji="0" lang="de-DE" altLang="de-DE" sz="2400" b="0" i="0" u="none" strike="noStrike" kern="1200" cap="none" spc="0" normalizeH="0" baseline="0" noProof="0" dirty="0">
                <a:ln>
                  <a:noFill/>
                </a:ln>
                <a:solidFill>
                  <a:srgbClr val="000000"/>
                </a:solidFill>
                <a:effectLst/>
                <a:uLnTx/>
                <a:uFillTx/>
                <a:latin typeface="Arial"/>
                <a:ea typeface="+mn-ea"/>
                <a:cs typeface="+mn-cs"/>
              </a:rPr>
              <a:t> </a:t>
            </a:r>
            <a:r>
              <a:rPr kumimoji="0" lang="de-DE" altLang="de-DE" sz="2400" b="0" i="0" u="none" strike="noStrike" kern="1200" cap="none" spc="0" normalizeH="0" baseline="0" noProof="0" dirty="0">
                <a:ln>
                  <a:noFill/>
                </a:ln>
                <a:effectLst/>
                <a:uLnTx/>
                <a:uFillTx/>
                <a:latin typeface="Arial"/>
                <a:ea typeface="+mn-ea"/>
                <a:cs typeface="+mn-cs"/>
              </a:rPr>
              <a:t>Fluid Film </a:t>
            </a:r>
            <a:r>
              <a:rPr kumimoji="0" lang="de-DE" altLang="de-DE" sz="2400" b="0" i="0" u="none" strike="noStrike" kern="1200" cap="none" spc="0" normalizeH="0" baseline="0" noProof="0" dirty="0" err="1">
                <a:ln>
                  <a:noFill/>
                </a:ln>
                <a:effectLst/>
                <a:uLnTx/>
                <a:uFillTx/>
                <a:latin typeface="Arial"/>
                <a:ea typeface="+mn-ea"/>
                <a:cs typeface="+mn-cs"/>
              </a:rPr>
              <a:t>Bearings</a:t>
            </a:r>
            <a:r>
              <a:rPr kumimoji="0" lang="de-DE" altLang="de-DE" sz="2400" b="0" i="0" u="none" strike="noStrike" kern="1200" cap="none" spc="0" normalizeH="0" baseline="0" noProof="0" dirty="0">
                <a:ln>
                  <a:noFill/>
                </a:ln>
                <a:effectLst/>
                <a:uLnTx/>
                <a:uFillTx/>
                <a:latin typeface="Arial"/>
                <a:ea typeface="+mn-ea"/>
                <a:cs typeface="+mn-cs"/>
              </a:rPr>
              <a:t> </a:t>
            </a:r>
            <a:r>
              <a:rPr kumimoji="0" lang="de-DE" altLang="de-DE" sz="2400" b="0" i="0" u="none" strike="noStrike" kern="1200" cap="none" spc="0" normalizeH="0" baseline="0" noProof="0" dirty="0">
                <a:ln>
                  <a:noFill/>
                </a:ln>
                <a:solidFill>
                  <a:srgbClr val="000000"/>
                </a:solidFill>
                <a:effectLst/>
                <a:uLnTx/>
                <a:uFillTx/>
                <a:latin typeface="Arial"/>
                <a:ea typeface="+mn-ea"/>
                <a:cs typeface="+mn-cs"/>
              </a:rPr>
              <a:t>and Seals </a:t>
            </a:r>
            <a:endParaRPr kumimoji="0" lang="en-GB" altLang="de-DE" sz="2400" b="0" i="0" u="none" strike="noStrike" kern="1200" cap="none" spc="0" normalizeH="0" baseline="0" noProof="0" dirty="0">
              <a:ln>
                <a:noFill/>
              </a:ln>
              <a:solidFill>
                <a:srgbClr val="000000"/>
              </a:solidFill>
              <a:effectLst/>
              <a:uLnTx/>
              <a:uFillTx/>
              <a:latin typeface="Arial"/>
              <a:ea typeface="+mn-ea"/>
              <a:cs typeface="+mn-cs"/>
            </a:endParaRPr>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el 3">
            <a:extLst>
              <a:ext uri="{FF2B5EF4-FFF2-40B4-BE49-F238E27FC236}">
                <a16:creationId xmlns:a16="http://schemas.microsoft.com/office/drawing/2014/main" id="{8EC3160C-2A66-E772-1B65-C360C8E9B60A}"/>
              </a:ext>
            </a:extLst>
          </p:cNvPr>
          <p:cNvSpPr txBox="1">
            <a:spLocks/>
          </p:cNvSpPr>
          <p:nvPr/>
        </p:nvSpPr>
        <p:spPr bwMode="auto">
          <a:xfrm>
            <a:off x="1893888" y="2555875"/>
            <a:ext cx="6877050" cy="838200"/>
          </a:xfrm>
          <a:prstGeom prst="rect">
            <a:avLst/>
          </a:prstGeom>
          <a:noFill/>
          <a:ln w="9525">
            <a:noFill/>
            <a:miter lim="800000"/>
            <a:headEnd/>
            <a:tailEnd/>
          </a:ln>
          <a:effectLst/>
        </p:spPr>
        <p:txBody>
          <a:bodyPr lIns="0" tIns="0" rIns="0" bIns="0"/>
          <a:lstStyle/>
          <a:p>
            <a:pPr marL="0" marR="0" lvl="0" indent="0" algn="l" defTabSz="914400" rtl="0" eaLnBrk="1" fontAlgn="base" latinLnBrk="0" hangingPunct="1">
              <a:lnSpc>
                <a:spcPct val="100000"/>
              </a:lnSpc>
              <a:spcBef>
                <a:spcPct val="0"/>
              </a:spcBef>
              <a:spcAft>
                <a:spcPct val="0"/>
              </a:spcAft>
              <a:buClrTx/>
              <a:buSzTx/>
              <a:buFontTx/>
              <a:buNone/>
              <a:tabLst/>
              <a:defRPr/>
            </a:pPr>
            <a:br>
              <a:rPr kumimoji="0" lang="de-DE" sz="2000" b="1" i="0" u="none" strike="noStrike" kern="0" cap="none" spc="0" normalizeH="0" baseline="0" noProof="0" dirty="0">
                <a:ln>
                  <a:noFill/>
                </a:ln>
                <a:solidFill>
                  <a:srgbClr val="000000"/>
                </a:solidFill>
                <a:effectLst/>
                <a:uLnTx/>
                <a:uFillTx/>
                <a:latin typeface="Arial"/>
                <a:ea typeface="+mn-ea"/>
                <a:cs typeface="+mn-cs"/>
              </a:rPr>
            </a:br>
            <a:r>
              <a:rPr kumimoji="0" lang="de-DE" sz="2000" b="1" i="0" u="none" strike="noStrike" kern="0" cap="none" spc="0" normalizeH="0" baseline="0" noProof="0" dirty="0">
                <a:ln>
                  <a:noFill/>
                </a:ln>
                <a:solidFill>
                  <a:srgbClr val="000000"/>
                </a:solidFill>
                <a:effectLst/>
                <a:uLnTx/>
                <a:uFillTx/>
                <a:latin typeface="Arial"/>
                <a:ea typeface="+mn-ea"/>
                <a:cs typeface="+mn-cs"/>
              </a:rPr>
              <a:t>		</a:t>
            </a:r>
          </a:p>
        </p:txBody>
      </p:sp>
      <p:sp>
        <p:nvSpPr>
          <p:cNvPr id="5" name="Textfeld 4">
            <a:extLst>
              <a:ext uri="{FF2B5EF4-FFF2-40B4-BE49-F238E27FC236}">
                <a16:creationId xmlns:a16="http://schemas.microsoft.com/office/drawing/2014/main" id="{07240E44-DC61-FF18-3D6B-E62916EA6331}"/>
              </a:ext>
            </a:extLst>
          </p:cNvPr>
          <p:cNvSpPr txBox="1">
            <a:spLocks noChangeArrowheads="1"/>
          </p:cNvSpPr>
          <p:nvPr/>
        </p:nvSpPr>
        <p:spPr bwMode="auto">
          <a:xfrm>
            <a:off x="785348" y="1097895"/>
            <a:ext cx="11020572" cy="5201424"/>
          </a:xfrm>
          <a:prstGeom prst="rect">
            <a:avLst/>
          </a:prstGeom>
          <a:noFill/>
          <a:ln>
            <a:noFill/>
          </a:ln>
        </p:spPr>
        <p:txBody>
          <a:bodyPr wrap="square">
            <a:spAutoFit/>
          </a:bodyPr>
          <a:lstStyle>
            <a:lvl1pPr marL="361950" indent="-361950" eaLnBrk="0" hangingPunct="0">
              <a:defRPr b="1">
                <a:solidFill>
                  <a:schemeClr val="tx1"/>
                </a:solidFill>
                <a:latin typeface="Verdana" pitchFamily="34" charset="0"/>
              </a:defRPr>
            </a:lvl1pPr>
            <a:lvl2pPr marL="742950" indent="-285750" eaLnBrk="0" hangingPunct="0">
              <a:defRPr b="1">
                <a:solidFill>
                  <a:schemeClr val="tx1"/>
                </a:solidFill>
                <a:latin typeface="Verdana" pitchFamily="34" charset="0"/>
              </a:defRPr>
            </a:lvl2pPr>
            <a:lvl3pPr marL="1143000" indent="-228600" eaLnBrk="0" hangingPunct="0">
              <a:defRPr b="1">
                <a:solidFill>
                  <a:schemeClr val="tx1"/>
                </a:solidFill>
                <a:latin typeface="Verdana" pitchFamily="34" charset="0"/>
              </a:defRPr>
            </a:lvl3pPr>
            <a:lvl4pPr marL="1600200" indent="-228600" eaLnBrk="0" hangingPunct="0">
              <a:defRPr b="1">
                <a:solidFill>
                  <a:schemeClr val="tx1"/>
                </a:solidFill>
                <a:latin typeface="Verdana" pitchFamily="34" charset="0"/>
              </a:defRPr>
            </a:lvl4pPr>
            <a:lvl5pPr marL="2057400" indent="-228600" eaLnBrk="0" hangingPunct="0">
              <a:defRPr b="1">
                <a:solidFill>
                  <a:schemeClr val="tx1"/>
                </a:solidFill>
                <a:latin typeface="Verdana" pitchFamily="34" charset="0"/>
              </a:defRPr>
            </a:lvl5pPr>
            <a:lvl6pPr marL="2514600" indent="-228600" eaLnBrk="0" fontAlgn="base" hangingPunct="0">
              <a:spcBef>
                <a:spcPct val="0"/>
              </a:spcBef>
              <a:spcAft>
                <a:spcPct val="0"/>
              </a:spcAft>
              <a:defRPr b="1">
                <a:solidFill>
                  <a:schemeClr val="tx1"/>
                </a:solidFill>
                <a:latin typeface="Verdana" pitchFamily="34" charset="0"/>
              </a:defRPr>
            </a:lvl6pPr>
            <a:lvl7pPr marL="2971800" indent="-228600" eaLnBrk="0" fontAlgn="base" hangingPunct="0">
              <a:spcBef>
                <a:spcPct val="0"/>
              </a:spcBef>
              <a:spcAft>
                <a:spcPct val="0"/>
              </a:spcAft>
              <a:defRPr b="1">
                <a:solidFill>
                  <a:schemeClr val="tx1"/>
                </a:solidFill>
                <a:latin typeface="Verdana" pitchFamily="34" charset="0"/>
              </a:defRPr>
            </a:lvl7pPr>
            <a:lvl8pPr marL="3429000" indent="-228600" eaLnBrk="0" fontAlgn="base" hangingPunct="0">
              <a:spcBef>
                <a:spcPct val="0"/>
              </a:spcBef>
              <a:spcAft>
                <a:spcPct val="0"/>
              </a:spcAft>
              <a:defRPr b="1">
                <a:solidFill>
                  <a:schemeClr val="tx1"/>
                </a:solidFill>
                <a:latin typeface="Verdana" pitchFamily="34" charset="0"/>
              </a:defRPr>
            </a:lvl8pPr>
            <a:lvl9pPr marL="3886200" indent="-228600" eaLnBrk="0" fontAlgn="base" hangingPunct="0">
              <a:spcBef>
                <a:spcPct val="0"/>
              </a:spcBef>
              <a:spcAft>
                <a:spcPct val="0"/>
              </a:spcAft>
              <a:defRPr b="1">
                <a:solidFill>
                  <a:schemeClr val="tx1"/>
                </a:solidFill>
                <a:latin typeface="Verdana"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de-DE" altLang="de-DE" sz="2000" b="1" i="0" u="none" strike="noStrike" kern="1200" cap="none" spc="0" normalizeH="0" baseline="0" noProof="0" dirty="0">
              <a:ln>
                <a:noFill/>
              </a:ln>
              <a:solidFill>
                <a:srgbClr val="000000"/>
              </a:solidFill>
              <a:effectLst/>
              <a:uLnTx/>
              <a:uFillTx/>
              <a:latin typeface="Arial" charset="0"/>
              <a:ea typeface="+mn-ea"/>
              <a:cs typeface="+mn-cs"/>
            </a:endParaRPr>
          </a:p>
          <a:p>
            <a:pPr marL="361950" marR="0" lvl="0" indent="-361950" algn="l" defTabSz="914400" rtl="0" eaLnBrk="1" fontAlgn="base" latinLnBrk="0" hangingPunct="1">
              <a:lnSpc>
                <a:spcPct val="100000"/>
              </a:lnSpc>
              <a:spcBef>
                <a:spcPct val="0"/>
              </a:spcBef>
              <a:spcAft>
                <a:spcPct val="0"/>
              </a:spcAft>
              <a:buClrTx/>
              <a:buSzTx/>
              <a:buFont typeface="Wingdings" pitchFamily="2" charset="2"/>
              <a:buChar char="Ø"/>
              <a:tabLst/>
              <a:defRPr/>
            </a:pPr>
            <a:r>
              <a:rPr kumimoji="0" lang="de-DE" altLang="de-DE" sz="2400" b="1" i="0" u="none" strike="noStrike" kern="1200" cap="none" spc="0" normalizeH="0" baseline="0" noProof="0" dirty="0" err="1">
                <a:ln>
                  <a:noFill/>
                </a:ln>
                <a:effectLst/>
                <a:uLnTx/>
                <a:uFillTx/>
                <a:latin typeface="Arial" charset="0"/>
                <a:ea typeface="+mn-ea"/>
                <a:cs typeface="+mn-cs"/>
              </a:rPr>
              <a:t>Vertical</a:t>
            </a:r>
            <a:r>
              <a:rPr kumimoji="0" lang="de-DE" altLang="de-DE" sz="2400" b="1" i="0" u="none" strike="noStrike" kern="1200" cap="none" spc="0" normalizeH="0" baseline="0" noProof="0" dirty="0">
                <a:ln>
                  <a:noFill/>
                </a:ln>
                <a:effectLst/>
                <a:uLnTx/>
                <a:uFillTx/>
                <a:latin typeface="Arial" charset="0"/>
                <a:ea typeface="+mn-ea"/>
                <a:cs typeface="+mn-cs"/>
              </a:rPr>
              <a:t> and Horizontal Pump</a:t>
            </a:r>
            <a:r>
              <a:rPr kumimoji="0" lang="de-DE" altLang="de-DE" sz="2400" b="1" i="0" u="none" strike="noStrike" kern="1200" cap="none" spc="0" normalizeH="0" noProof="0" dirty="0">
                <a:ln>
                  <a:noFill/>
                </a:ln>
                <a:effectLst/>
                <a:uLnTx/>
                <a:uFillTx/>
                <a:latin typeface="Arial" charset="0"/>
                <a:ea typeface="+mn-ea"/>
                <a:cs typeface="+mn-cs"/>
              </a:rPr>
              <a:t> Systems in </a:t>
            </a:r>
            <a:r>
              <a:rPr kumimoji="0" lang="de-DE" altLang="de-DE" sz="2400" b="1" i="0" u="none" strike="noStrike" kern="1200" cap="none" spc="0" normalizeH="0" noProof="0" dirty="0" err="1">
                <a:ln>
                  <a:noFill/>
                </a:ln>
                <a:effectLst/>
                <a:uLnTx/>
                <a:uFillTx/>
                <a:latin typeface="Arial" charset="0"/>
                <a:ea typeface="+mn-ea"/>
                <a:cs typeface="+mn-cs"/>
              </a:rPr>
              <a:t>Nuclear</a:t>
            </a:r>
            <a:r>
              <a:rPr kumimoji="0" lang="de-DE" altLang="de-DE" sz="2400" b="1" i="0" u="none" strike="noStrike" kern="1200" cap="none" spc="0" normalizeH="0" noProof="0" dirty="0">
                <a:ln>
                  <a:noFill/>
                </a:ln>
                <a:effectLst/>
                <a:uLnTx/>
                <a:uFillTx/>
                <a:latin typeface="Arial" charset="0"/>
                <a:ea typeface="+mn-ea"/>
                <a:cs typeface="+mn-cs"/>
              </a:rPr>
              <a:t> Power Plants</a:t>
            </a:r>
            <a:endParaRPr kumimoji="0" lang="de-DE" altLang="de-DE" sz="2400" b="1" i="0" u="none" strike="noStrike" kern="1200" cap="none" spc="0" normalizeH="0" baseline="0" noProof="0" dirty="0">
              <a:ln>
                <a:noFill/>
              </a:ln>
              <a:effectLst/>
              <a:uLnTx/>
              <a:uFillTx/>
              <a:latin typeface="Arial" charset="0"/>
              <a:ea typeface="+mn-ea"/>
              <a:cs typeface="+mn-cs"/>
            </a:endParaRPr>
          </a:p>
          <a:p>
            <a:pPr marL="361950" marR="0" lvl="0" indent="-361950" algn="l" defTabSz="914400" rtl="0" eaLnBrk="1" fontAlgn="base" latinLnBrk="0" hangingPunct="1">
              <a:lnSpc>
                <a:spcPct val="100000"/>
              </a:lnSpc>
              <a:spcBef>
                <a:spcPct val="0"/>
              </a:spcBef>
              <a:spcAft>
                <a:spcPct val="0"/>
              </a:spcAft>
              <a:buClrTx/>
              <a:buSzTx/>
              <a:buFont typeface="Wingdings" pitchFamily="2" charset="2"/>
              <a:buChar char="Ø"/>
              <a:tabLst/>
              <a:defRPr/>
            </a:pPr>
            <a:endParaRPr kumimoji="0" lang="de-DE" altLang="de-DE" sz="2400" b="1" i="0" u="none" strike="noStrike" kern="1200" cap="none" spc="0" normalizeH="0" baseline="0" noProof="0" dirty="0">
              <a:ln>
                <a:noFill/>
              </a:ln>
              <a:solidFill>
                <a:srgbClr val="000000"/>
              </a:solidFill>
              <a:effectLst/>
              <a:uLnTx/>
              <a:uFillTx/>
              <a:latin typeface="Arial" charset="0"/>
              <a:ea typeface="+mn-ea"/>
              <a:cs typeface="+mn-cs"/>
            </a:endParaRPr>
          </a:p>
          <a:p>
            <a:pPr marL="361950" marR="0" lvl="0" indent="-361950" algn="l" defTabSz="914400" rtl="0" eaLnBrk="1" fontAlgn="base" latinLnBrk="0" hangingPunct="1">
              <a:lnSpc>
                <a:spcPct val="100000"/>
              </a:lnSpc>
              <a:spcBef>
                <a:spcPct val="0"/>
              </a:spcBef>
              <a:spcAft>
                <a:spcPct val="0"/>
              </a:spcAft>
              <a:buClrTx/>
              <a:buSzTx/>
              <a:buFont typeface="Wingdings" pitchFamily="2" charset="2"/>
              <a:buChar char="Ø"/>
              <a:tabLst/>
              <a:defRPr/>
            </a:pPr>
            <a:r>
              <a:rPr kumimoji="0" lang="de-DE" altLang="de-DE" sz="2400" b="1" i="0" u="none" strike="noStrike" kern="1200" cap="none" spc="0" normalizeH="0" baseline="0" noProof="0" dirty="0">
                <a:ln>
                  <a:noFill/>
                </a:ln>
                <a:effectLst/>
                <a:uLnTx/>
                <a:uFillTx/>
                <a:latin typeface="Arial" charset="0"/>
                <a:ea typeface="+mn-ea"/>
                <a:cs typeface="+mn-cs"/>
              </a:rPr>
              <a:t>A </a:t>
            </a:r>
            <a:r>
              <a:rPr kumimoji="0" lang="de-DE" altLang="de-DE" sz="2400" b="1" i="0" u="none" strike="noStrike" kern="1200" cap="none" spc="0" normalizeH="0" baseline="0" noProof="0" dirty="0" err="1">
                <a:ln>
                  <a:noFill/>
                </a:ln>
                <a:effectLst/>
                <a:uLnTx/>
                <a:uFillTx/>
                <a:latin typeface="Arial" charset="0"/>
                <a:ea typeface="+mn-ea"/>
                <a:cs typeface="+mn-cs"/>
              </a:rPr>
              <a:t>typical</a:t>
            </a:r>
            <a:r>
              <a:rPr kumimoji="0" lang="de-DE" altLang="de-DE" sz="2400" b="1" i="0" u="none" strike="noStrike" kern="1200" cap="none" spc="0" normalizeH="0" baseline="0" noProof="0" dirty="0">
                <a:ln>
                  <a:noFill/>
                </a:ln>
                <a:effectLst/>
                <a:uLnTx/>
                <a:uFillTx/>
                <a:latin typeface="Arial" charset="0"/>
                <a:ea typeface="+mn-ea"/>
                <a:cs typeface="+mn-cs"/>
              </a:rPr>
              <a:t>  Horizontal </a:t>
            </a:r>
            <a:r>
              <a:rPr kumimoji="0" lang="de-DE" altLang="de-DE" sz="2400" b="1" i="0" u="none" strike="noStrike" kern="1200" cap="none" spc="0" normalizeH="0" baseline="0" noProof="0" dirty="0" err="1">
                <a:ln>
                  <a:noFill/>
                </a:ln>
                <a:effectLst/>
                <a:uLnTx/>
                <a:uFillTx/>
                <a:latin typeface="Arial" charset="0"/>
                <a:ea typeface="+mn-ea"/>
                <a:cs typeface="+mn-cs"/>
              </a:rPr>
              <a:t>Feedwater</a:t>
            </a:r>
            <a:r>
              <a:rPr kumimoji="0" lang="de-DE" altLang="de-DE" sz="2400" b="1" i="0" u="none" strike="noStrike" kern="1200" cap="none" spc="0" normalizeH="0" baseline="0" noProof="0" dirty="0">
                <a:ln>
                  <a:noFill/>
                </a:ln>
                <a:effectLst/>
                <a:uLnTx/>
                <a:uFillTx/>
                <a:latin typeface="Arial" charset="0"/>
                <a:ea typeface="+mn-ea"/>
                <a:cs typeface="+mn-cs"/>
              </a:rPr>
              <a:t> Pump</a:t>
            </a:r>
          </a:p>
          <a:p>
            <a:pPr marL="0" marR="0" lvl="0" indent="0" algn="l" defTabSz="914400" rtl="0" eaLnBrk="1" fontAlgn="base" latinLnBrk="0" hangingPunct="1">
              <a:lnSpc>
                <a:spcPct val="100000"/>
              </a:lnSpc>
              <a:spcBef>
                <a:spcPct val="0"/>
              </a:spcBef>
              <a:spcAft>
                <a:spcPct val="0"/>
              </a:spcAft>
              <a:buClrTx/>
              <a:buSzTx/>
              <a:tabLst/>
              <a:defRPr/>
            </a:pPr>
            <a:endParaRPr kumimoji="0" lang="de-DE" altLang="de-DE" sz="2400" b="1" i="0" u="none" strike="noStrike" kern="1200" cap="none" spc="0" normalizeH="0" baseline="0" noProof="0" dirty="0">
              <a:ln>
                <a:noFill/>
              </a:ln>
              <a:solidFill>
                <a:srgbClr val="0000FF"/>
              </a:solidFill>
              <a:effectLst/>
              <a:uLnTx/>
              <a:uFillTx/>
              <a:latin typeface="Arial" charset="0"/>
              <a:ea typeface="+mn-ea"/>
              <a:cs typeface="+mn-cs"/>
            </a:endParaRPr>
          </a:p>
          <a:p>
            <a:pPr marL="361950" marR="0" lvl="0" indent="-361950" algn="l" defTabSz="914400" rtl="0" eaLnBrk="1" fontAlgn="base" latinLnBrk="0" hangingPunct="1">
              <a:lnSpc>
                <a:spcPct val="100000"/>
              </a:lnSpc>
              <a:spcBef>
                <a:spcPct val="0"/>
              </a:spcBef>
              <a:spcAft>
                <a:spcPct val="0"/>
              </a:spcAft>
              <a:buClrTx/>
              <a:buSzTx/>
              <a:buFont typeface="Wingdings" pitchFamily="2" charset="2"/>
              <a:buChar char="Ø"/>
              <a:tabLst/>
              <a:defRPr/>
            </a:pPr>
            <a:r>
              <a:rPr kumimoji="0" lang="de-DE" altLang="de-DE" sz="2400" b="1" i="0" u="none" strike="noStrike" kern="1200" cap="none" spc="0" normalizeH="0" baseline="0" noProof="0" dirty="0">
                <a:ln>
                  <a:noFill/>
                </a:ln>
                <a:solidFill>
                  <a:srgbClr val="000000"/>
                </a:solidFill>
                <a:effectLst/>
                <a:uLnTx/>
                <a:uFillTx/>
                <a:latin typeface="Arial" charset="0"/>
                <a:ea typeface="+mn-ea"/>
                <a:cs typeface="+mn-cs"/>
              </a:rPr>
              <a:t>Lateral </a:t>
            </a:r>
            <a:r>
              <a:rPr kumimoji="0" lang="de-DE" altLang="de-DE" sz="2400" b="1" i="0" u="none" strike="noStrike" kern="1200" cap="none" spc="0" normalizeH="0" baseline="0" noProof="0" dirty="0" err="1">
                <a:ln>
                  <a:noFill/>
                </a:ln>
                <a:solidFill>
                  <a:srgbClr val="000000"/>
                </a:solidFill>
                <a:effectLst/>
                <a:uLnTx/>
                <a:uFillTx/>
                <a:latin typeface="Arial" charset="0"/>
                <a:ea typeface="+mn-ea"/>
                <a:cs typeface="+mn-cs"/>
              </a:rPr>
              <a:t>Vibrations</a:t>
            </a:r>
            <a:r>
              <a:rPr kumimoji="0" lang="de-DE" altLang="de-DE" sz="2400" b="1" i="0" u="none" strike="noStrike" kern="1200" cap="none" spc="0" normalizeH="0" baseline="0" noProof="0" dirty="0">
                <a:ln>
                  <a:noFill/>
                </a:ln>
                <a:solidFill>
                  <a:srgbClr val="000000"/>
                </a:solidFill>
                <a:effectLst/>
                <a:uLnTx/>
                <a:uFillTx/>
                <a:latin typeface="Arial" charset="0"/>
                <a:ea typeface="+mn-ea"/>
                <a:cs typeface="+mn-cs"/>
              </a:rPr>
              <a:t> </a:t>
            </a:r>
            <a:r>
              <a:rPr kumimoji="0" lang="de-DE" altLang="de-DE" sz="2400" b="1" i="0" u="none" strike="noStrike" kern="1200" cap="none" spc="0" normalizeH="0" baseline="0" noProof="0" dirty="0" err="1">
                <a:ln>
                  <a:noFill/>
                </a:ln>
                <a:solidFill>
                  <a:srgbClr val="000000"/>
                </a:solidFill>
                <a:effectLst/>
                <a:uLnTx/>
                <a:uFillTx/>
                <a:latin typeface="Arial" charset="0"/>
                <a:ea typeface="+mn-ea"/>
                <a:cs typeface="+mn-cs"/>
              </a:rPr>
              <a:t>of</a:t>
            </a:r>
            <a:r>
              <a:rPr kumimoji="0" lang="de-DE" altLang="de-DE" sz="2400" b="1" i="0" u="none" strike="noStrike" kern="1200" cap="none" spc="0" normalizeH="0" baseline="0" noProof="0" dirty="0">
                <a:ln>
                  <a:noFill/>
                </a:ln>
                <a:solidFill>
                  <a:srgbClr val="000000"/>
                </a:solidFill>
                <a:effectLst/>
                <a:uLnTx/>
                <a:uFillTx/>
                <a:latin typeface="Arial" charset="0"/>
                <a:ea typeface="+mn-ea"/>
                <a:cs typeface="+mn-cs"/>
              </a:rPr>
              <a:t> </a:t>
            </a:r>
            <a:r>
              <a:rPr kumimoji="0" lang="de-DE" altLang="de-DE" sz="2400" b="1" i="0" u="none" strike="noStrike" kern="1200" cap="none" spc="0" normalizeH="0" baseline="0" noProof="0" dirty="0" err="1">
                <a:ln>
                  <a:noFill/>
                </a:ln>
                <a:solidFill>
                  <a:srgbClr val="000000"/>
                </a:solidFill>
                <a:effectLst/>
                <a:uLnTx/>
                <a:uFillTx/>
                <a:latin typeface="Arial" charset="0"/>
                <a:ea typeface="+mn-ea"/>
                <a:cs typeface="+mn-cs"/>
              </a:rPr>
              <a:t>the</a:t>
            </a:r>
            <a:r>
              <a:rPr kumimoji="0" lang="de-DE" altLang="de-DE" sz="2400" b="1" i="0" u="none" strike="noStrike" kern="1200" cap="none" spc="0" normalizeH="0" baseline="0" noProof="0" dirty="0">
                <a:ln>
                  <a:noFill/>
                </a:ln>
                <a:solidFill>
                  <a:srgbClr val="000000"/>
                </a:solidFill>
                <a:effectLst/>
                <a:uLnTx/>
                <a:uFillTx/>
                <a:latin typeface="Arial" charset="0"/>
                <a:ea typeface="+mn-ea"/>
                <a:cs typeface="+mn-cs"/>
              </a:rPr>
              <a:t> Horizontal </a:t>
            </a:r>
            <a:r>
              <a:rPr kumimoji="0" lang="de-DE" altLang="de-DE" sz="2400" b="1" i="0" u="none" strike="noStrike" kern="1200" cap="none" spc="0" normalizeH="0" baseline="0" noProof="0" dirty="0" err="1">
                <a:ln>
                  <a:noFill/>
                </a:ln>
                <a:solidFill>
                  <a:srgbClr val="000000"/>
                </a:solidFill>
                <a:effectLst/>
                <a:uLnTx/>
                <a:uFillTx/>
                <a:latin typeface="Arial" charset="0"/>
                <a:ea typeface="+mn-ea"/>
                <a:cs typeface="+mn-cs"/>
              </a:rPr>
              <a:t>Feedwater</a:t>
            </a:r>
            <a:r>
              <a:rPr kumimoji="0" lang="de-DE" altLang="de-DE" sz="2400" b="1" i="0" u="none" strike="noStrike" kern="1200" cap="none" spc="0" normalizeH="0" baseline="0" noProof="0" dirty="0">
                <a:ln>
                  <a:noFill/>
                </a:ln>
                <a:solidFill>
                  <a:srgbClr val="000000"/>
                </a:solidFill>
                <a:effectLst/>
                <a:uLnTx/>
                <a:uFillTx/>
                <a:latin typeface="Arial" charset="0"/>
                <a:ea typeface="+mn-ea"/>
                <a:cs typeface="+mn-cs"/>
              </a:rPr>
              <a:t> Pump</a:t>
            </a:r>
          </a:p>
          <a:p>
            <a:pPr marL="361950" marR="0" lvl="0" indent="-361950" algn="l" defTabSz="914400" rtl="0" eaLnBrk="1" fontAlgn="base" latinLnBrk="0" hangingPunct="1">
              <a:lnSpc>
                <a:spcPct val="100000"/>
              </a:lnSpc>
              <a:spcBef>
                <a:spcPct val="0"/>
              </a:spcBef>
              <a:spcAft>
                <a:spcPct val="0"/>
              </a:spcAft>
              <a:buClrTx/>
              <a:buSzTx/>
              <a:buFont typeface="Wingdings" pitchFamily="2" charset="2"/>
              <a:buChar char="Ø"/>
              <a:tabLst/>
              <a:defRPr/>
            </a:pPr>
            <a:endParaRPr kumimoji="0" lang="de-DE" altLang="de-DE" sz="2400" b="1" i="0" u="none" strike="noStrike" kern="1200" cap="none" spc="0" normalizeH="0" baseline="0" noProof="0" dirty="0">
              <a:ln>
                <a:noFill/>
              </a:ln>
              <a:solidFill>
                <a:srgbClr val="000000"/>
              </a:solidFill>
              <a:effectLst/>
              <a:uLnTx/>
              <a:uFillTx/>
              <a:latin typeface="Arial" charset="0"/>
              <a:ea typeface="+mn-ea"/>
              <a:cs typeface="+mn-cs"/>
            </a:endParaRPr>
          </a:p>
          <a:p>
            <a:pPr marL="361950" marR="0" lvl="0" indent="-361950" algn="l" defTabSz="914400" rtl="0" eaLnBrk="1" fontAlgn="base" latinLnBrk="0" hangingPunct="1">
              <a:lnSpc>
                <a:spcPct val="100000"/>
              </a:lnSpc>
              <a:spcBef>
                <a:spcPct val="0"/>
              </a:spcBef>
              <a:spcAft>
                <a:spcPct val="0"/>
              </a:spcAft>
              <a:buClrTx/>
              <a:buSzTx/>
              <a:buFont typeface="Wingdings" pitchFamily="2" charset="2"/>
              <a:buChar char="Ø"/>
              <a:tabLst/>
              <a:defRPr/>
            </a:pPr>
            <a:r>
              <a:rPr kumimoji="0" lang="de-DE" altLang="de-DE" sz="2400" b="1" i="0" u="none" strike="noStrike" kern="1200" cap="none" spc="0" normalizeH="0" baseline="0" noProof="0" dirty="0">
                <a:ln>
                  <a:noFill/>
                </a:ln>
                <a:solidFill>
                  <a:srgbClr val="000000"/>
                </a:solidFill>
                <a:effectLst/>
                <a:uLnTx/>
                <a:uFillTx/>
                <a:latin typeface="Arial" charset="0"/>
                <a:ea typeface="+mn-ea"/>
                <a:cs typeface="+mn-cs"/>
              </a:rPr>
              <a:t>Modelling </a:t>
            </a:r>
            <a:r>
              <a:rPr kumimoji="0" lang="de-DE" altLang="de-DE" sz="2400" b="1" i="0" u="none" strike="noStrike" kern="1200" cap="none" spc="0" normalizeH="0" baseline="0" noProof="0" dirty="0" err="1">
                <a:ln>
                  <a:noFill/>
                </a:ln>
                <a:solidFill>
                  <a:srgbClr val="000000"/>
                </a:solidFill>
                <a:effectLst/>
                <a:uLnTx/>
                <a:uFillTx/>
                <a:latin typeface="Arial" charset="0"/>
                <a:ea typeface="+mn-ea"/>
                <a:cs typeface="+mn-cs"/>
              </a:rPr>
              <a:t>of</a:t>
            </a:r>
            <a:r>
              <a:rPr kumimoji="0" lang="de-DE" altLang="de-DE" sz="2400" b="1" i="0" u="none" strike="noStrike" kern="1200" cap="none" spc="0" normalizeH="0" baseline="0" noProof="0" dirty="0">
                <a:ln>
                  <a:noFill/>
                </a:ln>
                <a:solidFill>
                  <a:srgbClr val="000000"/>
                </a:solidFill>
                <a:effectLst/>
                <a:uLnTx/>
                <a:uFillTx/>
                <a:latin typeface="Arial" charset="0"/>
                <a:ea typeface="+mn-ea"/>
                <a:cs typeface="+mn-cs"/>
              </a:rPr>
              <a:t> </a:t>
            </a:r>
            <a:r>
              <a:rPr lang="de-DE" altLang="de-DE" sz="2400" noProof="0" dirty="0" err="1">
                <a:solidFill>
                  <a:srgbClr val="000000"/>
                </a:solidFill>
                <a:latin typeface="Arial" charset="0"/>
              </a:rPr>
              <a:t>the</a:t>
            </a:r>
            <a:r>
              <a:rPr kumimoji="0" lang="de-DE" altLang="de-DE" sz="2400" b="1" i="0" u="none" strike="noStrike" kern="1200" cap="none" spc="0" normalizeH="0" baseline="0" noProof="0" dirty="0">
                <a:ln>
                  <a:noFill/>
                </a:ln>
                <a:solidFill>
                  <a:srgbClr val="000000"/>
                </a:solidFill>
                <a:effectLst/>
                <a:uLnTx/>
                <a:uFillTx/>
                <a:latin typeface="Arial" charset="0"/>
                <a:ea typeface="+mn-ea"/>
                <a:cs typeface="+mn-cs"/>
              </a:rPr>
              <a:t> Horizontal </a:t>
            </a:r>
            <a:r>
              <a:rPr kumimoji="0" lang="de-DE" altLang="de-DE" sz="2400" b="1" i="0" u="none" strike="noStrike" kern="1200" cap="none" spc="0" normalizeH="0" baseline="0" noProof="0" dirty="0" err="1">
                <a:ln>
                  <a:noFill/>
                </a:ln>
                <a:solidFill>
                  <a:srgbClr val="000000"/>
                </a:solidFill>
                <a:effectLst/>
                <a:uLnTx/>
                <a:uFillTx/>
                <a:latin typeface="Arial" charset="0"/>
                <a:ea typeface="+mn-ea"/>
                <a:cs typeface="+mn-cs"/>
              </a:rPr>
              <a:t>Feedwater</a:t>
            </a:r>
            <a:r>
              <a:rPr kumimoji="0" lang="de-DE" altLang="de-DE" sz="2400" b="1" i="0" u="none" strike="noStrike" kern="1200" cap="none" spc="0" normalizeH="0" baseline="0" noProof="0" dirty="0">
                <a:ln>
                  <a:noFill/>
                </a:ln>
                <a:solidFill>
                  <a:srgbClr val="000000"/>
                </a:solidFill>
                <a:effectLst/>
                <a:uLnTx/>
                <a:uFillTx/>
                <a:latin typeface="Arial" charset="0"/>
                <a:ea typeface="+mn-ea"/>
                <a:cs typeface="+mn-cs"/>
              </a:rPr>
              <a:t> Pump </a:t>
            </a:r>
            <a:r>
              <a:rPr kumimoji="0" lang="de-DE" altLang="de-DE" sz="2400" b="1" i="0" u="none" strike="noStrike" kern="1200" cap="none" spc="0" normalizeH="0" baseline="0" noProof="0" dirty="0" err="1">
                <a:ln>
                  <a:noFill/>
                </a:ln>
                <a:solidFill>
                  <a:srgbClr val="000000"/>
                </a:solidFill>
                <a:effectLst/>
                <a:uLnTx/>
                <a:uFillTx/>
                <a:latin typeface="Arial" charset="0"/>
                <a:ea typeface="+mn-ea"/>
                <a:cs typeface="+mn-cs"/>
              </a:rPr>
              <a:t>with</a:t>
            </a:r>
            <a:r>
              <a:rPr kumimoji="0" lang="de-DE" altLang="de-DE" sz="2400" b="1" i="0" u="none" strike="noStrike" kern="1200" cap="none" spc="0" normalizeH="0" baseline="0" noProof="0" dirty="0">
                <a:ln>
                  <a:noFill/>
                </a:ln>
                <a:solidFill>
                  <a:srgbClr val="000000"/>
                </a:solidFill>
                <a:effectLst/>
                <a:uLnTx/>
                <a:uFillTx/>
                <a:latin typeface="Arial" charset="0"/>
                <a:ea typeface="+mn-ea"/>
                <a:cs typeface="+mn-cs"/>
              </a:rPr>
              <a:t> Interactions</a:t>
            </a:r>
          </a:p>
          <a:p>
            <a:pPr marL="0" marR="0" lvl="0" indent="0" algn="l" defTabSz="914400" rtl="0" eaLnBrk="1" fontAlgn="base" latinLnBrk="0" hangingPunct="1">
              <a:lnSpc>
                <a:spcPct val="100000"/>
              </a:lnSpc>
              <a:spcBef>
                <a:spcPct val="0"/>
              </a:spcBef>
              <a:spcAft>
                <a:spcPct val="0"/>
              </a:spcAft>
              <a:buClrTx/>
              <a:buSzTx/>
              <a:tabLst/>
              <a:defRPr/>
            </a:pPr>
            <a:endParaRPr kumimoji="0" lang="de-DE" altLang="de-DE" sz="2400" b="1" i="0" u="none" strike="noStrike" kern="1200" cap="none" spc="0" normalizeH="0" baseline="0" noProof="0" dirty="0">
              <a:ln>
                <a:noFill/>
              </a:ln>
              <a:solidFill>
                <a:srgbClr val="0000FF"/>
              </a:solidFill>
              <a:effectLst/>
              <a:uLnTx/>
              <a:uFillTx/>
              <a:latin typeface="Arial" charset="0"/>
              <a:ea typeface="+mn-ea"/>
              <a:cs typeface="+mn-cs"/>
            </a:endParaRPr>
          </a:p>
          <a:p>
            <a:pPr marL="361950" marR="0" lvl="0" indent="-361950" algn="l" defTabSz="914400" rtl="0" eaLnBrk="1" fontAlgn="base" latinLnBrk="0" hangingPunct="1">
              <a:lnSpc>
                <a:spcPct val="100000"/>
              </a:lnSpc>
              <a:spcBef>
                <a:spcPct val="0"/>
              </a:spcBef>
              <a:spcAft>
                <a:spcPct val="0"/>
              </a:spcAft>
              <a:buClrTx/>
              <a:buSzTx/>
              <a:buFont typeface="Wingdings" pitchFamily="2" charset="2"/>
              <a:buChar char="Ø"/>
              <a:tabLst/>
              <a:defRPr/>
            </a:pPr>
            <a:r>
              <a:rPr kumimoji="0" lang="de-DE" altLang="de-DE" sz="2400" b="1" i="0" u="none" strike="noStrike" kern="1200" cap="none" spc="0" normalizeH="0" baseline="0" noProof="0" dirty="0">
                <a:ln>
                  <a:noFill/>
                </a:ln>
                <a:solidFill>
                  <a:srgbClr val="0000FF"/>
                </a:solidFill>
                <a:effectLst/>
                <a:uLnTx/>
                <a:uFillTx/>
                <a:latin typeface="Arial" charset="0"/>
                <a:ea typeface="+mn-ea"/>
                <a:cs typeface="+mn-cs"/>
              </a:rPr>
              <a:t>Monitoring </a:t>
            </a:r>
            <a:r>
              <a:rPr kumimoji="0" lang="de-DE" altLang="de-DE" sz="2400" b="1" i="0" u="none" strike="noStrike" kern="1200" cap="none" spc="0" normalizeH="0" baseline="0" noProof="0" dirty="0" err="1">
                <a:ln>
                  <a:noFill/>
                </a:ln>
                <a:solidFill>
                  <a:srgbClr val="0000FF"/>
                </a:solidFill>
                <a:effectLst/>
                <a:uLnTx/>
                <a:uFillTx/>
                <a:latin typeface="Arial" charset="0"/>
                <a:ea typeface="+mn-ea"/>
                <a:cs typeface="+mn-cs"/>
              </a:rPr>
              <a:t>of</a:t>
            </a:r>
            <a:r>
              <a:rPr kumimoji="0" lang="de-DE" altLang="de-DE" sz="2400" b="1" i="0" u="none" strike="noStrike" kern="1200" cap="none" spc="0" normalizeH="0" baseline="0" noProof="0" dirty="0">
                <a:ln>
                  <a:noFill/>
                </a:ln>
                <a:solidFill>
                  <a:srgbClr val="0000FF"/>
                </a:solidFill>
                <a:effectLst/>
                <a:uLnTx/>
                <a:uFillTx/>
                <a:latin typeface="Arial" charset="0"/>
                <a:ea typeface="+mn-ea"/>
                <a:cs typeface="+mn-cs"/>
              </a:rPr>
              <a:t> </a:t>
            </a:r>
            <a:r>
              <a:rPr lang="de-DE" altLang="de-DE" sz="2400" dirty="0" err="1">
                <a:solidFill>
                  <a:srgbClr val="0000FF"/>
                </a:solidFill>
                <a:latin typeface="Arial" charset="0"/>
              </a:rPr>
              <a:t>the</a:t>
            </a:r>
            <a:r>
              <a:rPr kumimoji="0" lang="de-DE" altLang="de-DE" sz="2400" b="1" i="0" u="none" strike="noStrike" kern="1200" cap="none" spc="0" normalizeH="0" baseline="0" noProof="0" dirty="0">
                <a:ln>
                  <a:noFill/>
                </a:ln>
                <a:solidFill>
                  <a:srgbClr val="0000FF"/>
                </a:solidFill>
                <a:effectLst/>
                <a:uLnTx/>
                <a:uFillTx/>
                <a:latin typeface="Arial" charset="0"/>
                <a:ea typeface="+mn-ea"/>
                <a:cs typeface="+mn-cs"/>
              </a:rPr>
              <a:t> Horizontal </a:t>
            </a:r>
            <a:r>
              <a:rPr kumimoji="0" lang="de-DE" altLang="de-DE" sz="2400" b="1" i="0" u="none" strike="noStrike" kern="1200" cap="none" spc="0" normalizeH="0" baseline="0" noProof="0" dirty="0" err="1">
                <a:ln>
                  <a:noFill/>
                </a:ln>
                <a:solidFill>
                  <a:srgbClr val="0000FF"/>
                </a:solidFill>
                <a:effectLst/>
                <a:uLnTx/>
                <a:uFillTx/>
                <a:latin typeface="Arial" charset="0"/>
                <a:ea typeface="+mn-ea"/>
                <a:cs typeface="+mn-cs"/>
              </a:rPr>
              <a:t>Feedwater</a:t>
            </a:r>
            <a:r>
              <a:rPr kumimoji="0" lang="de-DE" altLang="de-DE" sz="2400" b="1" i="0" u="none" strike="noStrike" kern="1200" cap="none" spc="0" normalizeH="0" baseline="0" noProof="0" dirty="0">
                <a:ln>
                  <a:noFill/>
                </a:ln>
                <a:solidFill>
                  <a:srgbClr val="0000FF"/>
                </a:solidFill>
                <a:effectLst/>
                <a:uLnTx/>
                <a:uFillTx/>
                <a:latin typeface="Arial" charset="0"/>
                <a:ea typeface="+mn-ea"/>
                <a:cs typeface="+mn-cs"/>
              </a:rPr>
              <a:t> Pump OL3 </a:t>
            </a:r>
            <a:r>
              <a:rPr kumimoji="0" lang="de-DE" altLang="de-DE" sz="2400" b="1" i="0" u="none" strike="noStrike" kern="1200" cap="none" spc="0" normalizeH="0" baseline="0" noProof="0" dirty="0" err="1">
                <a:ln>
                  <a:noFill/>
                </a:ln>
                <a:solidFill>
                  <a:srgbClr val="0000FF"/>
                </a:solidFill>
                <a:effectLst/>
                <a:uLnTx/>
                <a:uFillTx/>
                <a:latin typeface="Arial" charset="0"/>
                <a:ea typeface="+mn-ea"/>
                <a:cs typeface="+mn-cs"/>
              </a:rPr>
              <a:t>during</a:t>
            </a:r>
            <a:r>
              <a:rPr kumimoji="0" lang="de-DE" altLang="de-DE" sz="2400" b="1" i="0" u="none" strike="noStrike" kern="1200" cap="none" spc="0" normalizeH="0" baseline="0" noProof="0" dirty="0">
                <a:ln>
                  <a:noFill/>
                </a:ln>
                <a:solidFill>
                  <a:srgbClr val="0000FF"/>
                </a:solidFill>
                <a:effectLst/>
                <a:uLnTx/>
                <a:uFillTx/>
                <a:latin typeface="Arial" charset="0"/>
                <a:ea typeface="+mn-ea"/>
                <a:cs typeface="+mn-cs"/>
              </a:rPr>
              <a:t> Operation</a:t>
            </a:r>
          </a:p>
          <a:p>
            <a:pPr marL="0" marR="0" lvl="0" indent="0" algn="l" defTabSz="914400" rtl="0" eaLnBrk="1" fontAlgn="base" latinLnBrk="0" hangingPunct="1">
              <a:lnSpc>
                <a:spcPct val="100000"/>
              </a:lnSpc>
              <a:spcBef>
                <a:spcPct val="0"/>
              </a:spcBef>
              <a:spcAft>
                <a:spcPct val="0"/>
              </a:spcAft>
              <a:buClrTx/>
              <a:buSzTx/>
              <a:tabLst/>
              <a:defRPr/>
            </a:pPr>
            <a:endParaRPr kumimoji="0" lang="de-DE" altLang="de-DE" sz="2400" b="1" i="0" u="none" strike="noStrike" kern="1200" cap="none" spc="0" normalizeH="0" baseline="0" noProof="0" dirty="0">
              <a:ln>
                <a:noFill/>
              </a:ln>
              <a:solidFill>
                <a:srgbClr val="000000"/>
              </a:solidFill>
              <a:effectLst/>
              <a:uLnTx/>
              <a:uFillTx/>
              <a:latin typeface="Arial" charset="0"/>
              <a:ea typeface="+mn-ea"/>
              <a:cs typeface="+mn-cs"/>
            </a:endParaRPr>
          </a:p>
          <a:p>
            <a:pPr marL="361950" marR="0" lvl="0" indent="-361950" algn="l" defTabSz="914400" rtl="0" eaLnBrk="1" fontAlgn="base" latinLnBrk="0" hangingPunct="1">
              <a:lnSpc>
                <a:spcPct val="100000"/>
              </a:lnSpc>
              <a:spcBef>
                <a:spcPct val="0"/>
              </a:spcBef>
              <a:spcAft>
                <a:spcPct val="0"/>
              </a:spcAft>
              <a:buClrTx/>
              <a:buSzTx/>
              <a:buFont typeface="Wingdings" pitchFamily="2" charset="2"/>
              <a:buChar char="Ø"/>
              <a:tabLst/>
              <a:defRPr/>
            </a:pPr>
            <a:r>
              <a:rPr kumimoji="0" lang="de-DE" altLang="de-DE" sz="2400" b="1" i="0" u="none" strike="noStrike" kern="1200" cap="none" spc="0" normalizeH="0" baseline="0" noProof="0" dirty="0">
                <a:ln>
                  <a:noFill/>
                </a:ln>
                <a:solidFill>
                  <a:srgbClr val="000000"/>
                </a:solidFill>
                <a:effectLst/>
                <a:uLnTx/>
                <a:uFillTx/>
                <a:latin typeface="Arial" charset="0"/>
                <a:ea typeface="+mn-ea"/>
                <a:cs typeface="+mn-cs"/>
              </a:rPr>
              <a:t>Vibration</a:t>
            </a:r>
            <a:r>
              <a:rPr kumimoji="0" lang="de-DE" altLang="de-DE" sz="2400" b="1" i="0" u="none" strike="noStrike" kern="1200" cap="none" spc="0" normalizeH="0" noProof="0" dirty="0">
                <a:ln>
                  <a:noFill/>
                </a:ln>
                <a:solidFill>
                  <a:srgbClr val="000000"/>
                </a:solidFill>
                <a:effectLst/>
                <a:uLnTx/>
                <a:uFillTx/>
                <a:latin typeface="Arial" charset="0"/>
                <a:ea typeface="+mn-ea"/>
                <a:cs typeface="+mn-cs"/>
              </a:rPr>
              <a:t> </a:t>
            </a:r>
            <a:r>
              <a:rPr kumimoji="0" lang="de-DE" altLang="de-DE" sz="2400" b="1" i="0" u="none" strike="noStrike" kern="1200" cap="none" spc="0" normalizeH="0" noProof="0" dirty="0" err="1">
                <a:ln>
                  <a:noFill/>
                </a:ln>
                <a:solidFill>
                  <a:srgbClr val="000000"/>
                </a:solidFill>
                <a:effectLst/>
                <a:uLnTx/>
                <a:uFillTx/>
                <a:latin typeface="Arial" charset="0"/>
                <a:ea typeface="+mn-ea"/>
                <a:cs typeface="+mn-cs"/>
              </a:rPr>
              <a:t>Phenomena</a:t>
            </a:r>
            <a:r>
              <a:rPr kumimoji="0" lang="de-DE" altLang="de-DE" sz="2400" b="1" i="0" u="none" strike="noStrike" kern="1200" cap="none" spc="0" normalizeH="0" noProof="0" dirty="0">
                <a:ln>
                  <a:noFill/>
                </a:ln>
                <a:solidFill>
                  <a:srgbClr val="000000"/>
                </a:solidFill>
                <a:effectLst/>
                <a:uLnTx/>
                <a:uFillTx/>
                <a:latin typeface="Arial" charset="0"/>
                <a:ea typeface="+mn-ea"/>
                <a:cs typeface="+mn-cs"/>
              </a:rPr>
              <a:t> </a:t>
            </a:r>
            <a:r>
              <a:rPr kumimoji="0" lang="de-DE" altLang="de-DE" sz="2400" b="1" i="0" u="none" strike="noStrike" kern="1200" cap="none" spc="0" normalizeH="0" noProof="0" dirty="0" err="1">
                <a:ln>
                  <a:noFill/>
                </a:ln>
                <a:solidFill>
                  <a:srgbClr val="000000"/>
                </a:solidFill>
                <a:effectLst/>
                <a:uLnTx/>
                <a:uFillTx/>
                <a:latin typeface="Arial" charset="0"/>
                <a:ea typeface="+mn-ea"/>
                <a:cs typeface="+mn-cs"/>
              </a:rPr>
              <a:t>of</a:t>
            </a:r>
            <a:r>
              <a:rPr kumimoji="0" lang="de-DE" altLang="de-DE" sz="2400" b="1" i="0" u="none" strike="noStrike" kern="1200" cap="none" spc="0" normalizeH="0" noProof="0" dirty="0">
                <a:ln>
                  <a:noFill/>
                </a:ln>
                <a:solidFill>
                  <a:srgbClr val="000000"/>
                </a:solidFill>
                <a:effectLst/>
                <a:uLnTx/>
                <a:uFillTx/>
                <a:latin typeface="Arial" charset="0"/>
                <a:ea typeface="+mn-ea"/>
                <a:cs typeface="+mn-cs"/>
              </a:rPr>
              <a:t> </a:t>
            </a:r>
            <a:r>
              <a:rPr kumimoji="0" lang="de-DE" altLang="de-DE" sz="2400" b="1" i="0" u="none" strike="noStrike" kern="1200" cap="none" spc="0" normalizeH="0" noProof="0" dirty="0" err="1">
                <a:ln>
                  <a:noFill/>
                </a:ln>
                <a:solidFill>
                  <a:srgbClr val="000000"/>
                </a:solidFill>
                <a:effectLst/>
                <a:uLnTx/>
                <a:uFillTx/>
                <a:latin typeface="Arial" charset="0"/>
                <a:ea typeface="+mn-ea"/>
                <a:cs typeface="+mn-cs"/>
              </a:rPr>
              <a:t>the</a:t>
            </a:r>
            <a:r>
              <a:rPr kumimoji="0" lang="de-DE" altLang="de-DE" sz="2400" b="1" i="0" u="none" strike="noStrike" kern="1200" cap="none" spc="0" normalizeH="0" noProof="0" dirty="0">
                <a:ln>
                  <a:noFill/>
                </a:ln>
                <a:solidFill>
                  <a:srgbClr val="000000"/>
                </a:solidFill>
                <a:effectLst/>
                <a:uLnTx/>
                <a:uFillTx/>
                <a:latin typeface="Arial" charset="0"/>
                <a:ea typeface="+mn-ea"/>
                <a:cs typeface="+mn-cs"/>
              </a:rPr>
              <a:t> Horizontal </a:t>
            </a:r>
            <a:r>
              <a:rPr kumimoji="0" lang="de-DE" altLang="de-DE" sz="2400" b="1" i="0" u="none" strike="noStrike" kern="1200" cap="none" spc="0" normalizeH="0" noProof="0" dirty="0" err="1">
                <a:ln>
                  <a:noFill/>
                </a:ln>
                <a:solidFill>
                  <a:srgbClr val="000000"/>
                </a:solidFill>
                <a:effectLst/>
                <a:uLnTx/>
                <a:uFillTx/>
                <a:latin typeface="Arial" charset="0"/>
                <a:ea typeface="+mn-ea"/>
                <a:cs typeface="+mn-cs"/>
              </a:rPr>
              <a:t>Feedwater</a:t>
            </a:r>
            <a:r>
              <a:rPr kumimoji="0" lang="de-DE" altLang="de-DE" sz="2400" b="1" i="0" u="none" strike="noStrike" kern="1200" cap="none" spc="0" normalizeH="0" noProof="0" dirty="0">
                <a:ln>
                  <a:noFill/>
                </a:ln>
                <a:solidFill>
                  <a:srgbClr val="000000"/>
                </a:solidFill>
                <a:effectLst/>
                <a:uLnTx/>
                <a:uFillTx/>
                <a:latin typeface="Arial" charset="0"/>
                <a:ea typeface="+mn-ea"/>
                <a:cs typeface="+mn-cs"/>
              </a:rPr>
              <a:t> Pump OL3</a:t>
            </a:r>
          </a:p>
          <a:p>
            <a:pPr marL="361950" marR="0" lvl="0" indent="-361950" algn="l" defTabSz="914400" rtl="0" eaLnBrk="1" fontAlgn="base" latinLnBrk="0" hangingPunct="1">
              <a:lnSpc>
                <a:spcPct val="100000"/>
              </a:lnSpc>
              <a:spcBef>
                <a:spcPct val="0"/>
              </a:spcBef>
              <a:spcAft>
                <a:spcPct val="0"/>
              </a:spcAft>
              <a:buClrTx/>
              <a:buSzTx/>
              <a:buFont typeface="Wingdings" pitchFamily="2" charset="2"/>
              <a:buChar char="Ø"/>
              <a:tabLst/>
              <a:defRPr/>
            </a:pPr>
            <a:endParaRPr lang="de-DE" altLang="de-DE" sz="2400" dirty="0">
              <a:solidFill>
                <a:srgbClr val="000000"/>
              </a:solidFill>
              <a:latin typeface="Arial" charset="0"/>
            </a:endParaRPr>
          </a:p>
          <a:p>
            <a:pPr marL="361950" marR="0" lvl="0" indent="-361950" algn="l" defTabSz="914400" rtl="0" eaLnBrk="1" fontAlgn="base" latinLnBrk="0" hangingPunct="1">
              <a:lnSpc>
                <a:spcPct val="100000"/>
              </a:lnSpc>
              <a:spcBef>
                <a:spcPct val="0"/>
              </a:spcBef>
              <a:spcAft>
                <a:spcPct val="0"/>
              </a:spcAft>
              <a:buClrTx/>
              <a:buSzTx/>
              <a:buFont typeface="Wingdings" pitchFamily="2" charset="2"/>
              <a:buChar char="Ø"/>
              <a:tabLst/>
              <a:defRPr/>
            </a:pPr>
            <a:r>
              <a:rPr kumimoji="0" lang="de-DE" altLang="de-DE" sz="2400" b="1" i="0" u="none" strike="noStrike" kern="1200" cap="none" spc="0" normalizeH="0" noProof="0" dirty="0" err="1">
                <a:ln>
                  <a:noFill/>
                </a:ln>
                <a:solidFill>
                  <a:srgbClr val="000000"/>
                </a:solidFill>
                <a:effectLst/>
                <a:uLnTx/>
                <a:uFillTx/>
                <a:latin typeface="Arial" charset="0"/>
                <a:ea typeface="+mn-ea"/>
                <a:cs typeface="+mn-cs"/>
              </a:rPr>
              <a:t>Measured</a:t>
            </a:r>
            <a:r>
              <a:rPr kumimoji="0" lang="de-DE" altLang="de-DE" sz="2400" b="1" i="0" u="none" strike="noStrike" kern="1200" cap="none" spc="0" normalizeH="0" noProof="0" dirty="0">
                <a:ln>
                  <a:noFill/>
                </a:ln>
                <a:solidFill>
                  <a:srgbClr val="000000"/>
                </a:solidFill>
                <a:effectLst/>
                <a:uLnTx/>
                <a:uFillTx/>
                <a:latin typeface="Arial" charset="0"/>
                <a:ea typeface="+mn-ea"/>
                <a:cs typeface="+mn-cs"/>
              </a:rPr>
              <a:t> and </a:t>
            </a:r>
            <a:r>
              <a:rPr kumimoji="0" lang="de-DE" altLang="de-DE" sz="2400" b="1" i="0" u="none" strike="noStrike" kern="1200" cap="none" spc="0" normalizeH="0" noProof="0" dirty="0" err="1">
                <a:ln>
                  <a:noFill/>
                </a:ln>
                <a:solidFill>
                  <a:srgbClr val="000000"/>
                </a:solidFill>
                <a:effectLst/>
                <a:uLnTx/>
                <a:uFillTx/>
                <a:latin typeface="Arial" charset="0"/>
                <a:ea typeface="+mn-ea"/>
                <a:cs typeface="+mn-cs"/>
              </a:rPr>
              <a:t>Calculated</a:t>
            </a:r>
            <a:r>
              <a:rPr kumimoji="0" lang="de-DE" altLang="de-DE" sz="2400" b="1" i="0" u="none" strike="noStrike" kern="1200" cap="none" spc="0" normalizeH="0" noProof="0" dirty="0">
                <a:ln>
                  <a:noFill/>
                </a:ln>
                <a:solidFill>
                  <a:srgbClr val="000000"/>
                </a:solidFill>
                <a:effectLst/>
                <a:uLnTx/>
                <a:uFillTx/>
                <a:latin typeface="Arial" charset="0"/>
                <a:ea typeface="+mn-ea"/>
                <a:cs typeface="+mn-cs"/>
              </a:rPr>
              <a:t> </a:t>
            </a:r>
            <a:r>
              <a:rPr kumimoji="0" lang="de-DE" altLang="de-DE" sz="2400" b="1" i="0" u="none" strike="noStrike" kern="1200" cap="none" spc="0" normalizeH="0" noProof="0" dirty="0" err="1">
                <a:ln>
                  <a:noFill/>
                </a:ln>
                <a:solidFill>
                  <a:srgbClr val="000000"/>
                </a:solidFill>
                <a:effectLst/>
                <a:uLnTx/>
                <a:uFillTx/>
                <a:latin typeface="Arial" charset="0"/>
                <a:ea typeface="+mn-ea"/>
                <a:cs typeface="+mn-cs"/>
              </a:rPr>
              <a:t>Vibrations</a:t>
            </a:r>
            <a:r>
              <a:rPr kumimoji="0" lang="de-DE" altLang="de-DE" sz="2400" b="1" i="0" u="none" strike="noStrike" kern="1200" cap="none" spc="0" normalizeH="0" noProof="0" dirty="0">
                <a:ln>
                  <a:noFill/>
                </a:ln>
                <a:solidFill>
                  <a:srgbClr val="000000"/>
                </a:solidFill>
                <a:effectLst/>
                <a:uLnTx/>
                <a:uFillTx/>
                <a:latin typeface="Arial" charset="0"/>
                <a:ea typeface="+mn-ea"/>
                <a:cs typeface="+mn-cs"/>
              </a:rPr>
              <a:t> </a:t>
            </a:r>
            <a:r>
              <a:rPr kumimoji="0" lang="de-DE" altLang="de-DE" sz="2400" b="1" i="0" u="none" strike="noStrike" kern="1200" cap="none" spc="0" normalizeH="0" noProof="0" dirty="0" err="1">
                <a:ln>
                  <a:noFill/>
                </a:ln>
                <a:solidFill>
                  <a:srgbClr val="000000"/>
                </a:solidFill>
                <a:effectLst/>
                <a:uLnTx/>
                <a:uFillTx/>
                <a:latin typeface="Arial" charset="0"/>
                <a:ea typeface="+mn-ea"/>
                <a:cs typeface="+mn-cs"/>
              </a:rPr>
              <a:t>of</a:t>
            </a:r>
            <a:r>
              <a:rPr kumimoji="0" lang="de-DE" altLang="de-DE" sz="2400" b="1" i="0" u="none" strike="noStrike" kern="1200" cap="none" spc="0" normalizeH="0" noProof="0" dirty="0">
                <a:ln>
                  <a:noFill/>
                </a:ln>
                <a:solidFill>
                  <a:srgbClr val="000000"/>
                </a:solidFill>
                <a:effectLst/>
                <a:uLnTx/>
                <a:uFillTx/>
                <a:latin typeface="Arial" charset="0"/>
                <a:ea typeface="+mn-ea"/>
                <a:cs typeface="+mn-cs"/>
              </a:rPr>
              <a:t> </a:t>
            </a:r>
            <a:r>
              <a:rPr kumimoji="0" lang="de-DE" altLang="de-DE" sz="2400" b="1" i="0" u="none" strike="noStrike" kern="1200" cap="none" spc="0" normalizeH="0" noProof="0" dirty="0" err="1">
                <a:ln>
                  <a:noFill/>
                </a:ln>
                <a:solidFill>
                  <a:srgbClr val="000000"/>
                </a:solidFill>
                <a:effectLst/>
                <a:uLnTx/>
                <a:uFillTx/>
                <a:latin typeface="Arial" charset="0"/>
                <a:ea typeface="+mn-ea"/>
                <a:cs typeface="+mn-cs"/>
              </a:rPr>
              <a:t>the</a:t>
            </a:r>
            <a:r>
              <a:rPr kumimoji="0" lang="de-DE" altLang="de-DE" sz="2400" b="1" i="0" u="none" strike="noStrike" kern="1200" cap="none" spc="0" normalizeH="0" noProof="0" dirty="0">
                <a:ln>
                  <a:noFill/>
                </a:ln>
                <a:solidFill>
                  <a:srgbClr val="000000"/>
                </a:solidFill>
                <a:effectLst/>
                <a:uLnTx/>
                <a:uFillTx/>
                <a:latin typeface="Arial" charset="0"/>
                <a:ea typeface="+mn-ea"/>
                <a:cs typeface="+mn-cs"/>
              </a:rPr>
              <a:t> </a:t>
            </a:r>
            <a:r>
              <a:rPr kumimoji="0" lang="de-DE" altLang="de-DE" sz="2400" b="1" i="0" u="none" strike="noStrike" kern="1200" cap="none" spc="0" normalizeH="0" noProof="0" dirty="0" err="1">
                <a:ln>
                  <a:noFill/>
                </a:ln>
                <a:solidFill>
                  <a:srgbClr val="000000"/>
                </a:solidFill>
                <a:effectLst/>
                <a:uLnTx/>
                <a:uFillTx/>
                <a:latin typeface="Arial" charset="0"/>
                <a:ea typeface="+mn-ea"/>
                <a:cs typeface="+mn-cs"/>
              </a:rPr>
              <a:t>Feedwater</a:t>
            </a:r>
            <a:r>
              <a:rPr kumimoji="0" lang="de-DE" altLang="de-DE" sz="2400" b="1" i="0" u="none" strike="noStrike" kern="1200" cap="none" spc="0" normalizeH="0" noProof="0" dirty="0">
                <a:ln>
                  <a:noFill/>
                </a:ln>
                <a:solidFill>
                  <a:srgbClr val="000000"/>
                </a:solidFill>
                <a:effectLst/>
                <a:uLnTx/>
                <a:uFillTx/>
                <a:latin typeface="Arial" charset="0"/>
                <a:ea typeface="+mn-ea"/>
                <a:cs typeface="+mn-cs"/>
              </a:rPr>
              <a:t> Pump OL3</a:t>
            </a:r>
          </a:p>
        </p:txBody>
      </p:sp>
      <p:sp>
        <p:nvSpPr>
          <p:cNvPr id="47108" name="Rechteck 1">
            <a:extLst>
              <a:ext uri="{FF2B5EF4-FFF2-40B4-BE49-F238E27FC236}">
                <a16:creationId xmlns:a16="http://schemas.microsoft.com/office/drawing/2014/main" id="{73D62BC3-6968-894E-0025-EA65A3EC0C0F}"/>
              </a:ext>
            </a:extLst>
          </p:cNvPr>
          <p:cNvSpPr>
            <a:spLocks noChangeArrowheads="1"/>
          </p:cNvSpPr>
          <p:nvPr/>
        </p:nvSpPr>
        <p:spPr bwMode="auto">
          <a:xfrm>
            <a:off x="688208" y="266785"/>
            <a:ext cx="10815584" cy="4893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b="1">
                <a:solidFill>
                  <a:schemeClr val="tx1"/>
                </a:solidFill>
                <a:latin typeface="Verdana" panose="020B0604030504040204" pitchFamily="34" charset="0"/>
              </a:defRPr>
            </a:lvl1pPr>
            <a:lvl2pPr marL="742950" indent="-285750">
              <a:defRPr b="1">
                <a:solidFill>
                  <a:schemeClr val="tx1"/>
                </a:solidFill>
                <a:latin typeface="Verdana" panose="020B0604030504040204" pitchFamily="34" charset="0"/>
              </a:defRPr>
            </a:lvl2pPr>
            <a:lvl3pPr marL="1143000" indent="-228600">
              <a:defRPr b="1">
                <a:solidFill>
                  <a:schemeClr val="tx1"/>
                </a:solidFill>
                <a:latin typeface="Verdana" panose="020B0604030504040204" pitchFamily="34" charset="0"/>
              </a:defRPr>
            </a:lvl3pPr>
            <a:lvl4pPr marL="1600200" indent="-228600">
              <a:defRPr b="1">
                <a:solidFill>
                  <a:schemeClr val="tx1"/>
                </a:solidFill>
                <a:latin typeface="Verdana" panose="020B0604030504040204" pitchFamily="34" charset="0"/>
              </a:defRPr>
            </a:lvl4pPr>
            <a:lvl5pPr marL="2057400" indent="-228600">
              <a:defRPr b="1">
                <a:solidFill>
                  <a:schemeClr val="tx1"/>
                </a:solidFill>
                <a:latin typeface="Verdana" panose="020B0604030504040204" pitchFamily="34" charset="0"/>
              </a:defRPr>
            </a:lvl5pPr>
            <a:lvl6pPr marL="2514600" indent="-228600" eaLnBrk="0" fontAlgn="base" hangingPunct="0">
              <a:spcBef>
                <a:spcPct val="0"/>
              </a:spcBef>
              <a:spcAft>
                <a:spcPct val="0"/>
              </a:spcAft>
              <a:defRPr b="1">
                <a:solidFill>
                  <a:schemeClr val="tx1"/>
                </a:solidFill>
                <a:latin typeface="Verdana" panose="020B0604030504040204" pitchFamily="34" charset="0"/>
              </a:defRPr>
            </a:lvl6pPr>
            <a:lvl7pPr marL="2971800" indent="-228600" eaLnBrk="0" fontAlgn="base" hangingPunct="0">
              <a:spcBef>
                <a:spcPct val="0"/>
              </a:spcBef>
              <a:spcAft>
                <a:spcPct val="0"/>
              </a:spcAft>
              <a:defRPr b="1">
                <a:solidFill>
                  <a:schemeClr val="tx1"/>
                </a:solidFill>
                <a:latin typeface="Verdana" panose="020B0604030504040204" pitchFamily="34" charset="0"/>
              </a:defRPr>
            </a:lvl7pPr>
            <a:lvl8pPr marL="3429000" indent="-228600" eaLnBrk="0" fontAlgn="base" hangingPunct="0">
              <a:spcBef>
                <a:spcPct val="0"/>
              </a:spcBef>
              <a:spcAft>
                <a:spcPct val="0"/>
              </a:spcAft>
              <a:defRPr b="1">
                <a:solidFill>
                  <a:schemeClr val="tx1"/>
                </a:solidFill>
                <a:latin typeface="Verdana" panose="020B0604030504040204" pitchFamily="34" charset="0"/>
              </a:defRPr>
            </a:lvl8pPr>
            <a:lvl9pPr marL="3886200" indent="-228600" eaLnBrk="0" fontAlgn="base" hangingPunct="0">
              <a:spcBef>
                <a:spcPct val="0"/>
              </a:spcBef>
              <a:spcAft>
                <a:spcPct val="0"/>
              </a:spcAft>
              <a:defRPr b="1">
                <a:solidFill>
                  <a:schemeClr val="tx1"/>
                </a:solidFill>
                <a:latin typeface="Verdana" panose="020B0604030504040204" pitchFamily="34" charset="0"/>
              </a:defRPr>
            </a:lvl9pPr>
          </a:lstStyle>
          <a:p>
            <a:pPr marL="0" marR="0" lvl="0" indent="0" algn="l" defTabSz="914400" rtl="0" eaLnBrk="0" fontAlgn="base" latinLnBrk="0" hangingPunct="0">
              <a:lnSpc>
                <a:spcPct val="107000"/>
              </a:lnSpc>
              <a:spcBef>
                <a:spcPct val="0"/>
              </a:spcBef>
              <a:spcAft>
                <a:spcPts val="800"/>
              </a:spcAft>
              <a:buClrTx/>
              <a:buSzTx/>
              <a:buFont typeface="Wingdings" panose="05000000000000000000" pitchFamily="2" charset="2"/>
              <a:buNone/>
              <a:tabLst/>
              <a:defRPr/>
            </a:pPr>
            <a:r>
              <a:rPr kumimoji="0" lang="de-DE" altLang="de-DE" sz="2600" b="1" i="0" u="none" strike="noStrike" kern="1200" cap="none" spc="0" normalizeH="0" baseline="0" noProof="0" dirty="0" err="1">
                <a:ln>
                  <a:noFill/>
                </a:ln>
                <a:solidFill>
                  <a:srgbClr val="000000"/>
                </a:solidFill>
                <a:effectLst/>
                <a:uLnTx/>
                <a:uFillTx/>
                <a:latin typeface="Arial"/>
                <a:ea typeface="+mn-ea"/>
                <a:cs typeface="+mn-cs"/>
              </a:rPr>
              <a:t>Lecture</a:t>
            </a:r>
            <a:r>
              <a:rPr kumimoji="0" lang="de-DE" altLang="de-DE" sz="2600" b="1" i="0" u="none" strike="noStrike" kern="1200" cap="none" spc="0" normalizeH="0" baseline="0" noProof="0" dirty="0">
                <a:ln>
                  <a:noFill/>
                </a:ln>
                <a:solidFill>
                  <a:srgbClr val="000000"/>
                </a:solidFill>
                <a:effectLst/>
                <a:uLnTx/>
                <a:uFillTx/>
                <a:latin typeface="Arial"/>
                <a:ea typeface="+mn-ea"/>
                <a:cs typeface="+mn-cs"/>
              </a:rPr>
              <a:t> IV  </a:t>
            </a:r>
            <a:r>
              <a:rPr kumimoji="0" lang="de-DE" altLang="de-DE" sz="2600" b="1" i="0" u="none" strike="noStrike" kern="1200" cap="none" spc="0" normalizeH="0" baseline="0" noProof="0" dirty="0" err="1">
                <a:ln>
                  <a:noFill/>
                </a:ln>
                <a:solidFill>
                  <a:srgbClr val="0000FF"/>
                </a:solidFill>
                <a:effectLst/>
                <a:uLnTx/>
                <a:uFillTx/>
                <a:latin typeface="Arial"/>
                <a:ea typeface="+mn-ea"/>
                <a:cs typeface="+mn-cs"/>
              </a:rPr>
              <a:t>Vibrations</a:t>
            </a:r>
            <a:r>
              <a:rPr kumimoji="0" lang="de-DE" altLang="de-DE" sz="2600" b="1" i="0" u="none" strike="noStrike" kern="1200" cap="none" spc="0" normalizeH="0" baseline="0" noProof="0" dirty="0">
                <a:ln>
                  <a:noFill/>
                </a:ln>
                <a:solidFill>
                  <a:srgbClr val="0000FF"/>
                </a:solidFill>
                <a:effectLst/>
                <a:uLnTx/>
                <a:uFillTx/>
                <a:latin typeface="Arial"/>
                <a:ea typeface="+mn-ea"/>
                <a:cs typeface="+mn-cs"/>
              </a:rPr>
              <a:t> </a:t>
            </a:r>
            <a:r>
              <a:rPr kumimoji="0" lang="de-DE" altLang="de-DE" sz="2600" b="1" i="0" u="none" strike="noStrike" kern="1200" cap="none" spc="0" normalizeH="0" baseline="0" noProof="0" dirty="0" err="1">
                <a:ln>
                  <a:noFill/>
                </a:ln>
                <a:solidFill>
                  <a:srgbClr val="0000FF"/>
                </a:solidFill>
                <a:effectLst/>
                <a:uLnTx/>
                <a:uFillTx/>
                <a:latin typeface="Arial"/>
                <a:ea typeface="+mn-ea"/>
                <a:cs typeface="+mn-cs"/>
              </a:rPr>
              <a:t>of</a:t>
            </a:r>
            <a:r>
              <a:rPr kumimoji="0" lang="de-DE" altLang="de-DE" sz="2600" b="1" i="0" u="none" strike="noStrike" kern="1200" cap="none" spc="0" normalizeH="0" baseline="0" noProof="0" dirty="0">
                <a:ln>
                  <a:noFill/>
                </a:ln>
                <a:solidFill>
                  <a:srgbClr val="0000FF"/>
                </a:solidFill>
                <a:effectLst/>
                <a:uLnTx/>
                <a:uFillTx/>
                <a:latin typeface="Arial"/>
                <a:ea typeface="+mn-ea"/>
                <a:cs typeface="+mn-cs"/>
              </a:rPr>
              <a:t> </a:t>
            </a:r>
            <a:r>
              <a:rPr kumimoji="0" lang="de-DE" altLang="de-DE" sz="2600" b="1" i="0" u="none" strike="noStrike" kern="1200" cap="none" spc="0" normalizeH="0" baseline="0" noProof="0" dirty="0" err="1">
                <a:ln>
                  <a:noFill/>
                </a:ln>
                <a:solidFill>
                  <a:srgbClr val="0000FF"/>
                </a:solidFill>
                <a:effectLst/>
                <a:uLnTx/>
                <a:uFillTx/>
                <a:latin typeface="Arial"/>
                <a:ea typeface="+mn-ea"/>
                <a:cs typeface="+mn-cs"/>
              </a:rPr>
              <a:t>Feedwater</a:t>
            </a:r>
            <a:r>
              <a:rPr kumimoji="0" lang="de-DE" altLang="de-DE" sz="2600" b="1" i="0" u="none" strike="noStrike" kern="1200" cap="none" spc="0" normalizeH="0" baseline="0" noProof="0" dirty="0">
                <a:ln>
                  <a:noFill/>
                </a:ln>
                <a:solidFill>
                  <a:srgbClr val="0000FF"/>
                </a:solidFill>
                <a:effectLst/>
                <a:uLnTx/>
                <a:uFillTx/>
                <a:latin typeface="Arial"/>
                <a:ea typeface="+mn-ea"/>
                <a:cs typeface="+mn-cs"/>
              </a:rPr>
              <a:t> Pumps in </a:t>
            </a:r>
            <a:r>
              <a:rPr kumimoji="0" lang="de-DE" altLang="de-DE" sz="2600" b="1" i="0" u="none" strike="noStrike" kern="1200" cap="none" spc="0" normalizeH="0" baseline="0" noProof="0" dirty="0" err="1">
                <a:ln>
                  <a:noFill/>
                </a:ln>
                <a:solidFill>
                  <a:srgbClr val="0000FF"/>
                </a:solidFill>
                <a:effectLst/>
                <a:uLnTx/>
                <a:uFillTx/>
                <a:latin typeface="Arial"/>
                <a:ea typeface="+mn-ea"/>
                <a:cs typeface="+mn-cs"/>
              </a:rPr>
              <a:t>Nuclear</a:t>
            </a:r>
            <a:r>
              <a:rPr kumimoji="0" lang="de-DE" altLang="de-DE" sz="2600" b="1" i="0" u="none" strike="noStrike" kern="1200" cap="none" spc="0" normalizeH="0" baseline="0" noProof="0" dirty="0">
                <a:ln>
                  <a:noFill/>
                </a:ln>
                <a:solidFill>
                  <a:srgbClr val="0000FF"/>
                </a:solidFill>
                <a:effectLst/>
                <a:uLnTx/>
                <a:uFillTx/>
                <a:latin typeface="Arial"/>
                <a:ea typeface="+mn-ea"/>
                <a:cs typeface="+mn-cs"/>
              </a:rPr>
              <a:t> Power Plants</a:t>
            </a:r>
          </a:p>
        </p:txBody>
      </p:sp>
    </p:spTree>
    <p:extLst>
      <p:ext uri="{BB962C8B-B14F-4D97-AF65-F5344CB8AC3E}">
        <p14:creationId xmlns:p14="http://schemas.microsoft.com/office/powerpoint/2010/main" val="1809345156"/>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2" presetClass="entr" presetSubtype="8"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left)">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utoUpdateAnimBg="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Grafik 1">
            <a:extLst>
              <a:ext uri="{FF2B5EF4-FFF2-40B4-BE49-F238E27FC236}">
                <a16:creationId xmlns:a16="http://schemas.microsoft.com/office/drawing/2014/main" id="{C42DEC32-0076-728B-D2B5-B0C124352E50}"/>
              </a:ext>
            </a:extLst>
          </p:cNvPr>
          <p:cNvPicPr>
            <a:picLocks noChangeAspect="1"/>
          </p:cNvPicPr>
          <p:nvPr/>
        </p:nvPicPr>
        <p:blipFill>
          <a:blip r:embed="rId3"/>
          <a:stretch>
            <a:fillRect/>
          </a:stretch>
        </p:blipFill>
        <p:spPr>
          <a:xfrm>
            <a:off x="135709" y="1808032"/>
            <a:ext cx="6487886" cy="4096829"/>
          </a:xfrm>
          <a:prstGeom prst="rect">
            <a:avLst/>
          </a:prstGeom>
        </p:spPr>
      </p:pic>
      <p:pic>
        <p:nvPicPr>
          <p:cNvPr id="3" name="Grafik 2">
            <a:extLst>
              <a:ext uri="{FF2B5EF4-FFF2-40B4-BE49-F238E27FC236}">
                <a16:creationId xmlns:a16="http://schemas.microsoft.com/office/drawing/2014/main" id="{6C841C0D-1546-BB30-A00A-C5CCE0F62D20}"/>
              </a:ext>
            </a:extLst>
          </p:cNvPr>
          <p:cNvPicPr>
            <a:picLocks noChangeAspect="1"/>
          </p:cNvPicPr>
          <p:nvPr/>
        </p:nvPicPr>
        <p:blipFill>
          <a:blip r:embed="rId4"/>
          <a:stretch>
            <a:fillRect/>
          </a:stretch>
        </p:blipFill>
        <p:spPr>
          <a:xfrm>
            <a:off x="6293911" y="1489943"/>
            <a:ext cx="4785775" cy="2859272"/>
          </a:xfrm>
          <a:prstGeom prst="rect">
            <a:avLst/>
          </a:prstGeom>
        </p:spPr>
      </p:pic>
      <p:cxnSp>
        <p:nvCxnSpPr>
          <p:cNvPr id="9" name="Gerade Verbindung mit Pfeil 8">
            <a:extLst>
              <a:ext uri="{FF2B5EF4-FFF2-40B4-BE49-F238E27FC236}">
                <a16:creationId xmlns:a16="http://schemas.microsoft.com/office/drawing/2014/main" id="{3D4A6797-357D-F9A1-3B74-30B904B9DD3D}"/>
              </a:ext>
            </a:extLst>
          </p:cNvPr>
          <p:cNvCxnSpPr>
            <a:cxnSpLocks/>
          </p:cNvCxnSpPr>
          <p:nvPr/>
        </p:nvCxnSpPr>
        <p:spPr>
          <a:xfrm flipV="1">
            <a:off x="5518705" y="2209800"/>
            <a:ext cx="1371952" cy="980440"/>
          </a:xfrm>
          <a:prstGeom prst="straightConnector1">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15" name="Textfeld 14">
                <a:extLst>
                  <a:ext uri="{FF2B5EF4-FFF2-40B4-BE49-F238E27FC236}">
                    <a16:creationId xmlns:a16="http://schemas.microsoft.com/office/drawing/2014/main" id="{6647CBEC-9AA5-38F7-E0DD-B7A7EEC7D72E}"/>
                  </a:ext>
                </a:extLst>
              </p:cNvPr>
              <p:cNvSpPr txBox="1"/>
              <p:nvPr/>
            </p:nvSpPr>
            <p:spPr>
              <a:xfrm>
                <a:off x="5518705" y="4644573"/>
                <a:ext cx="6094176" cy="1077218"/>
              </a:xfrm>
              <a:prstGeom prst="rect">
                <a:avLst/>
              </a:prstGeom>
              <a:noFill/>
            </p:spPr>
            <p:txBody>
              <a:bodyPr wrap="square" rtlCol="0">
                <a:spAutoFit/>
              </a:bodyPr>
              <a:lstStyle/>
              <a:p>
                <a:r>
                  <a:rPr lang="de-DE" sz="2000" dirty="0">
                    <a:solidFill>
                      <a:srgbClr val="0000FF"/>
                    </a:solidFill>
                    <a:latin typeface="+mn-lt"/>
                  </a:rPr>
                  <a:t>Absolute RMS Vibration </a:t>
                </a:r>
                <a:r>
                  <a:rPr lang="de-DE" sz="2000" dirty="0" err="1">
                    <a:solidFill>
                      <a:srgbClr val="0000FF"/>
                    </a:solidFill>
                    <a:latin typeface="+mn-lt"/>
                  </a:rPr>
                  <a:t>velocities</a:t>
                </a:r>
                <a:r>
                  <a:rPr lang="de-DE" sz="2000" dirty="0">
                    <a:solidFill>
                      <a:srgbClr val="0000FF"/>
                    </a:solidFill>
                    <a:latin typeface="+mn-lt"/>
                  </a:rPr>
                  <a:t> </a:t>
                </a:r>
                <a14:m>
                  <m:oMath xmlns:m="http://schemas.openxmlformats.org/officeDocument/2006/math">
                    <m:acc>
                      <m:accPr>
                        <m:chr m:val="̇"/>
                        <m:ctrlPr>
                          <a:rPr lang="de-DE" sz="2400" i="1" smtClean="0">
                            <a:solidFill>
                              <a:srgbClr val="0000FF"/>
                            </a:solidFill>
                            <a:latin typeface="Cambria Math" panose="02040503050406030204" pitchFamily="18" charset="0"/>
                          </a:rPr>
                        </m:ctrlPr>
                      </m:accPr>
                      <m:e>
                        <m:r>
                          <a:rPr lang="de-DE" sz="2400" b="1" i="1" smtClean="0">
                            <a:solidFill>
                              <a:srgbClr val="0000FF"/>
                            </a:solidFill>
                            <a:latin typeface="Cambria Math" panose="02040503050406030204" pitchFamily="18" charset="0"/>
                          </a:rPr>
                          <m:t>𝒙</m:t>
                        </m:r>
                      </m:e>
                    </m:acc>
                  </m:oMath>
                </a14:m>
                <a:r>
                  <a:rPr lang="de-DE" sz="2400" baseline="-25000" dirty="0">
                    <a:solidFill>
                      <a:srgbClr val="0000FF"/>
                    </a:solidFill>
                    <a:latin typeface="+mn-lt"/>
                  </a:rPr>
                  <a:t>RMS</a:t>
                </a:r>
                <a:r>
                  <a:rPr lang="de-DE" sz="2400" dirty="0">
                    <a:solidFill>
                      <a:srgbClr val="0000FF"/>
                    </a:solidFill>
                    <a:latin typeface="+mn-lt"/>
                  </a:rPr>
                  <a:t> </a:t>
                </a:r>
                <a:r>
                  <a:rPr lang="de-DE" sz="2000" b="0" dirty="0" err="1">
                    <a:latin typeface="+mn-lt"/>
                  </a:rPr>
                  <a:t>were</a:t>
                </a:r>
                <a:endParaRPr lang="de-DE" sz="2000" b="0" dirty="0">
                  <a:latin typeface="+mn-lt"/>
                </a:endParaRPr>
              </a:p>
              <a:p>
                <a:r>
                  <a:rPr lang="de-DE" sz="2000" b="0" dirty="0" err="1">
                    <a:latin typeface="+mn-lt"/>
                  </a:rPr>
                  <a:t>determined</a:t>
                </a:r>
                <a:r>
                  <a:rPr lang="de-DE" sz="2000" b="0" dirty="0">
                    <a:latin typeface="+mn-lt"/>
                  </a:rPr>
                  <a:t> at </a:t>
                </a:r>
                <a:r>
                  <a:rPr lang="de-DE" sz="2000" b="0" dirty="0" err="1">
                    <a:latin typeface="+mn-lt"/>
                  </a:rPr>
                  <a:t>the</a:t>
                </a:r>
                <a:r>
                  <a:rPr lang="de-DE" sz="2000" b="0" dirty="0">
                    <a:latin typeface="+mn-lt"/>
                  </a:rPr>
                  <a:t> </a:t>
                </a:r>
                <a:r>
                  <a:rPr lang="de-DE" sz="2000" b="0" dirty="0" err="1">
                    <a:latin typeface="+mn-lt"/>
                  </a:rPr>
                  <a:t>two</a:t>
                </a:r>
                <a:r>
                  <a:rPr lang="de-DE" sz="2000" b="0" dirty="0">
                    <a:latin typeface="+mn-lt"/>
                  </a:rPr>
                  <a:t> </a:t>
                </a:r>
                <a:r>
                  <a:rPr lang="de-DE" sz="2000" dirty="0" err="1">
                    <a:solidFill>
                      <a:srgbClr val="0000FF"/>
                    </a:solidFill>
                    <a:latin typeface="+mn-lt"/>
                  </a:rPr>
                  <a:t>Bearing</a:t>
                </a:r>
                <a:r>
                  <a:rPr lang="de-DE" sz="2000" dirty="0">
                    <a:solidFill>
                      <a:srgbClr val="0000FF"/>
                    </a:solidFill>
                    <a:latin typeface="+mn-lt"/>
                  </a:rPr>
                  <a:t> Housings</a:t>
                </a:r>
                <a:r>
                  <a:rPr lang="de-DE" sz="2000" b="0" dirty="0">
                    <a:latin typeface="+mn-lt"/>
                  </a:rPr>
                  <a:t> (DE, NDE) in</a:t>
                </a:r>
                <a:r>
                  <a:rPr lang="de-DE" sz="2000" dirty="0">
                    <a:latin typeface="+mn-lt"/>
                  </a:rPr>
                  <a:t> </a:t>
                </a:r>
                <a:r>
                  <a:rPr lang="de-DE" sz="2000" b="0" dirty="0">
                    <a:latin typeface="+mn-lt"/>
                  </a:rPr>
                  <a:t>horizontal, </a:t>
                </a:r>
                <a:r>
                  <a:rPr lang="de-DE" sz="2000" b="0" dirty="0" err="1">
                    <a:latin typeface="+mn-lt"/>
                  </a:rPr>
                  <a:t>vertical</a:t>
                </a:r>
                <a:r>
                  <a:rPr lang="de-DE" sz="2000" b="0" dirty="0">
                    <a:latin typeface="+mn-lt"/>
                  </a:rPr>
                  <a:t> and axial </a:t>
                </a:r>
                <a:r>
                  <a:rPr lang="de-DE" sz="2000" b="0" dirty="0" err="1">
                    <a:latin typeface="+mn-lt"/>
                  </a:rPr>
                  <a:t>directions</a:t>
                </a:r>
                <a:endParaRPr lang="de-DE" sz="2000" b="0" dirty="0">
                  <a:latin typeface="+mn-lt"/>
                </a:endParaRPr>
              </a:p>
            </p:txBody>
          </p:sp>
        </mc:Choice>
        <mc:Fallback xmlns="">
          <p:sp>
            <p:nvSpPr>
              <p:cNvPr id="15" name="Textfeld 14">
                <a:extLst>
                  <a:ext uri="{FF2B5EF4-FFF2-40B4-BE49-F238E27FC236}">
                    <a16:creationId xmlns:a16="http://schemas.microsoft.com/office/drawing/2014/main" id="{6647CBEC-9AA5-38F7-E0DD-B7A7EEC7D72E}"/>
                  </a:ext>
                </a:extLst>
              </p:cNvPr>
              <p:cNvSpPr txBox="1">
                <a:spLocks noRot="1" noChangeAspect="1" noMove="1" noResize="1" noEditPoints="1" noAdjustHandles="1" noChangeArrowheads="1" noChangeShapeType="1" noTextEdit="1"/>
              </p:cNvSpPr>
              <p:nvPr/>
            </p:nvSpPr>
            <p:spPr>
              <a:xfrm>
                <a:off x="5518705" y="4644573"/>
                <a:ext cx="6094176" cy="1077218"/>
              </a:xfrm>
              <a:prstGeom prst="rect">
                <a:avLst/>
              </a:prstGeom>
              <a:blipFill>
                <a:blip r:embed="rId5"/>
                <a:stretch>
                  <a:fillRect l="-1000" b="-9605"/>
                </a:stretch>
              </a:blipFill>
            </p:spPr>
            <p:txBody>
              <a:bodyPr/>
              <a:lstStyle/>
              <a:p>
                <a:r>
                  <a:rPr lang="de-DE">
                    <a:noFill/>
                  </a:rPr>
                  <a:t> </a:t>
                </a:r>
              </a:p>
            </p:txBody>
          </p:sp>
        </mc:Fallback>
      </mc:AlternateContent>
      <p:sp>
        <p:nvSpPr>
          <p:cNvPr id="4" name="Textfeld 3">
            <a:extLst>
              <a:ext uri="{FF2B5EF4-FFF2-40B4-BE49-F238E27FC236}">
                <a16:creationId xmlns:a16="http://schemas.microsoft.com/office/drawing/2014/main" id="{4CF4917E-06C2-D4F1-E780-3451B1B72322}"/>
              </a:ext>
            </a:extLst>
          </p:cNvPr>
          <p:cNvSpPr txBox="1"/>
          <p:nvPr/>
        </p:nvSpPr>
        <p:spPr>
          <a:xfrm>
            <a:off x="667804" y="255180"/>
            <a:ext cx="10752036" cy="830997"/>
          </a:xfrm>
          <a:prstGeom prst="rect">
            <a:avLst/>
          </a:prstGeom>
          <a:noFill/>
        </p:spPr>
        <p:txBody>
          <a:bodyPr wrap="square" rtlCol="0">
            <a:spAutoFit/>
          </a:bodyPr>
          <a:lstStyle/>
          <a:p>
            <a:r>
              <a:rPr lang="de-DE" sz="2400" dirty="0">
                <a:solidFill>
                  <a:srgbClr val="0000FF"/>
                </a:solidFill>
                <a:latin typeface="+mn-lt"/>
              </a:rPr>
              <a:t>Monitoring </a:t>
            </a:r>
            <a:r>
              <a:rPr lang="de-DE" sz="2400" dirty="0" err="1">
                <a:solidFill>
                  <a:srgbClr val="0000FF"/>
                </a:solidFill>
                <a:latin typeface="+mn-lt"/>
              </a:rPr>
              <a:t>of</a:t>
            </a:r>
            <a:r>
              <a:rPr lang="de-DE" sz="2400" dirty="0">
                <a:solidFill>
                  <a:srgbClr val="0000FF"/>
                </a:solidFill>
                <a:latin typeface="+mn-lt"/>
              </a:rPr>
              <a:t> </a:t>
            </a:r>
            <a:r>
              <a:rPr lang="de-DE" sz="2400" dirty="0" err="1">
                <a:solidFill>
                  <a:srgbClr val="0000FF"/>
                </a:solidFill>
                <a:latin typeface="+mn-lt"/>
              </a:rPr>
              <a:t>the</a:t>
            </a:r>
            <a:r>
              <a:rPr lang="de-DE" sz="2400" dirty="0">
                <a:solidFill>
                  <a:srgbClr val="0000FF"/>
                </a:solidFill>
                <a:latin typeface="+mn-lt"/>
              </a:rPr>
              <a:t> Horizontal </a:t>
            </a:r>
            <a:r>
              <a:rPr lang="de-DE" sz="2400" dirty="0" err="1">
                <a:solidFill>
                  <a:srgbClr val="0000FF"/>
                </a:solidFill>
                <a:latin typeface="+mn-lt"/>
              </a:rPr>
              <a:t>Feedwater</a:t>
            </a:r>
            <a:r>
              <a:rPr lang="de-DE" sz="2400" dirty="0">
                <a:solidFill>
                  <a:srgbClr val="0000FF"/>
                </a:solidFill>
                <a:latin typeface="+mn-lt"/>
              </a:rPr>
              <a:t> Pump OL3 </a:t>
            </a:r>
            <a:r>
              <a:rPr lang="de-DE" sz="2400" dirty="0" err="1">
                <a:solidFill>
                  <a:srgbClr val="0000FF"/>
                </a:solidFill>
                <a:latin typeface="+mn-lt"/>
              </a:rPr>
              <a:t>during</a:t>
            </a:r>
            <a:r>
              <a:rPr lang="de-DE" sz="2400" dirty="0">
                <a:solidFill>
                  <a:srgbClr val="0000FF"/>
                </a:solidFill>
                <a:latin typeface="+mn-lt"/>
              </a:rPr>
              <a:t> Operation</a:t>
            </a:r>
          </a:p>
          <a:p>
            <a:r>
              <a:rPr lang="de-DE" sz="2400" b="0" dirty="0">
                <a:latin typeface="+mn-lt"/>
              </a:rPr>
              <a:t>Monitoring by </a:t>
            </a:r>
            <a:r>
              <a:rPr lang="de-DE" sz="2400" b="0" dirty="0" err="1">
                <a:latin typeface="+mn-lt"/>
              </a:rPr>
              <a:t>means</a:t>
            </a:r>
            <a:r>
              <a:rPr lang="de-DE" sz="2400" b="0" dirty="0">
                <a:latin typeface="+mn-lt"/>
              </a:rPr>
              <a:t> </a:t>
            </a:r>
            <a:r>
              <a:rPr lang="de-DE" sz="2400" b="0" dirty="0" err="1">
                <a:latin typeface="+mn-lt"/>
              </a:rPr>
              <a:t>of</a:t>
            </a:r>
            <a:r>
              <a:rPr lang="de-DE" sz="2400" b="0" dirty="0">
                <a:latin typeface="+mn-lt"/>
              </a:rPr>
              <a:t> absolute </a:t>
            </a:r>
            <a:r>
              <a:rPr lang="de-DE" sz="2400" b="0" dirty="0" err="1">
                <a:latin typeface="+mn-lt"/>
              </a:rPr>
              <a:t>velocity</a:t>
            </a:r>
            <a:r>
              <a:rPr lang="de-DE" sz="2400" b="0" dirty="0">
                <a:latin typeface="+mn-lt"/>
              </a:rPr>
              <a:t> </a:t>
            </a:r>
            <a:r>
              <a:rPr lang="de-DE" sz="2400" b="0" dirty="0" err="1">
                <a:latin typeface="+mn-lt"/>
              </a:rPr>
              <a:t>measurements</a:t>
            </a:r>
            <a:r>
              <a:rPr lang="de-DE" sz="2400" b="0" dirty="0">
                <a:latin typeface="+mn-lt"/>
              </a:rPr>
              <a:t> at </a:t>
            </a:r>
            <a:r>
              <a:rPr lang="de-DE" sz="2400" b="0" dirty="0" err="1">
                <a:latin typeface="+mn-lt"/>
              </a:rPr>
              <a:t>Bearing</a:t>
            </a:r>
            <a:r>
              <a:rPr lang="de-DE" sz="2400" b="0" dirty="0">
                <a:latin typeface="+mn-lt"/>
              </a:rPr>
              <a:t> Housings</a:t>
            </a:r>
          </a:p>
        </p:txBody>
      </p:sp>
      <p:sp>
        <p:nvSpPr>
          <p:cNvPr id="7" name="Textfeld 6">
            <a:extLst>
              <a:ext uri="{FF2B5EF4-FFF2-40B4-BE49-F238E27FC236}">
                <a16:creationId xmlns:a16="http://schemas.microsoft.com/office/drawing/2014/main" id="{E14A61A3-9775-19D9-57D6-0FED1F1112D4}"/>
              </a:ext>
            </a:extLst>
          </p:cNvPr>
          <p:cNvSpPr txBox="1"/>
          <p:nvPr/>
        </p:nvSpPr>
        <p:spPr>
          <a:xfrm>
            <a:off x="1250227" y="2130538"/>
            <a:ext cx="4267515" cy="400110"/>
          </a:xfrm>
          <a:prstGeom prst="rect">
            <a:avLst/>
          </a:prstGeom>
          <a:noFill/>
        </p:spPr>
        <p:txBody>
          <a:bodyPr wrap="none" rtlCol="0">
            <a:spAutoFit/>
          </a:bodyPr>
          <a:lstStyle/>
          <a:p>
            <a:r>
              <a:rPr lang="de-DE" dirty="0"/>
              <a:t> </a:t>
            </a:r>
            <a:r>
              <a:rPr lang="de-DE" sz="2000" b="0" dirty="0">
                <a:latin typeface="+mn-lt"/>
              </a:rPr>
              <a:t>DE                                            NDE</a:t>
            </a:r>
          </a:p>
        </p:txBody>
      </p:sp>
      <p:sp>
        <p:nvSpPr>
          <p:cNvPr id="8" name="Textfeld 7">
            <a:extLst>
              <a:ext uri="{FF2B5EF4-FFF2-40B4-BE49-F238E27FC236}">
                <a16:creationId xmlns:a16="http://schemas.microsoft.com/office/drawing/2014/main" id="{764531B2-5ED9-8FE2-0CD5-CABAD08EF80B}"/>
              </a:ext>
            </a:extLst>
          </p:cNvPr>
          <p:cNvSpPr txBox="1"/>
          <p:nvPr/>
        </p:nvSpPr>
        <p:spPr>
          <a:xfrm>
            <a:off x="8686798" y="1884317"/>
            <a:ext cx="1813317" cy="646331"/>
          </a:xfrm>
          <a:prstGeom prst="rect">
            <a:avLst/>
          </a:prstGeom>
          <a:noFill/>
        </p:spPr>
        <p:txBody>
          <a:bodyPr wrap="none" rtlCol="0">
            <a:spAutoFit/>
          </a:bodyPr>
          <a:lstStyle/>
          <a:p>
            <a:r>
              <a:rPr lang="de-DE" dirty="0">
                <a:solidFill>
                  <a:schemeClr val="bg1"/>
                </a:solidFill>
              </a:rPr>
              <a:t>NDE </a:t>
            </a:r>
            <a:r>
              <a:rPr lang="de-DE" dirty="0" err="1">
                <a:solidFill>
                  <a:schemeClr val="bg1"/>
                </a:solidFill>
              </a:rPr>
              <a:t>Bearing</a:t>
            </a:r>
            <a:endParaRPr lang="de-DE" dirty="0">
              <a:solidFill>
                <a:schemeClr val="bg1"/>
              </a:solidFill>
            </a:endParaRPr>
          </a:p>
          <a:p>
            <a:r>
              <a:rPr lang="de-DE" dirty="0">
                <a:solidFill>
                  <a:schemeClr val="bg1"/>
                </a:solidFill>
              </a:rPr>
              <a:t>Housing</a:t>
            </a:r>
          </a:p>
        </p:txBody>
      </p:sp>
    </p:spTree>
    <p:extLst>
      <p:ext uri="{BB962C8B-B14F-4D97-AF65-F5344CB8AC3E}">
        <p14:creationId xmlns:p14="http://schemas.microsoft.com/office/powerpoint/2010/main" val="104960235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Grafik 1">
            <a:extLst>
              <a:ext uri="{FF2B5EF4-FFF2-40B4-BE49-F238E27FC236}">
                <a16:creationId xmlns:a16="http://schemas.microsoft.com/office/drawing/2014/main" id="{04EBD807-A531-653C-B2CF-E338950EBC75}"/>
              </a:ext>
            </a:extLst>
          </p:cNvPr>
          <p:cNvPicPr>
            <a:picLocks noChangeAspect="1"/>
          </p:cNvPicPr>
          <p:nvPr/>
        </p:nvPicPr>
        <p:blipFill>
          <a:blip r:embed="rId3"/>
          <a:stretch>
            <a:fillRect/>
          </a:stretch>
        </p:blipFill>
        <p:spPr>
          <a:xfrm>
            <a:off x="751737" y="1665815"/>
            <a:ext cx="5724640" cy="3090940"/>
          </a:xfrm>
          <a:prstGeom prst="rect">
            <a:avLst/>
          </a:prstGeom>
        </p:spPr>
      </p:pic>
      <p:pic>
        <p:nvPicPr>
          <p:cNvPr id="3" name="Grafik 2">
            <a:extLst>
              <a:ext uri="{FF2B5EF4-FFF2-40B4-BE49-F238E27FC236}">
                <a16:creationId xmlns:a16="http://schemas.microsoft.com/office/drawing/2014/main" id="{04112774-DB6B-475C-5F58-4C3FF2A9F143}"/>
              </a:ext>
            </a:extLst>
          </p:cNvPr>
          <p:cNvPicPr>
            <a:picLocks noChangeAspect="1"/>
          </p:cNvPicPr>
          <p:nvPr/>
        </p:nvPicPr>
        <p:blipFill>
          <a:blip r:embed="rId4"/>
          <a:stretch>
            <a:fillRect/>
          </a:stretch>
        </p:blipFill>
        <p:spPr>
          <a:xfrm>
            <a:off x="6569137" y="1665815"/>
            <a:ext cx="4871126" cy="3097036"/>
          </a:xfrm>
          <a:prstGeom prst="rect">
            <a:avLst/>
          </a:prstGeom>
        </p:spPr>
      </p:pic>
      <p:sp>
        <p:nvSpPr>
          <p:cNvPr id="6" name="Textfeld 5">
            <a:extLst>
              <a:ext uri="{FF2B5EF4-FFF2-40B4-BE49-F238E27FC236}">
                <a16:creationId xmlns:a16="http://schemas.microsoft.com/office/drawing/2014/main" id="{FC09D410-5B76-BFA9-A518-5B46BC3F73D5}"/>
              </a:ext>
            </a:extLst>
          </p:cNvPr>
          <p:cNvSpPr txBox="1"/>
          <p:nvPr/>
        </p:nvSpPr>
        <p:spPr>
          <a:xfrm>
            <a:off x="55109" y="4750742"/>
            <a:ext cx="12458860" cy="1292662"/>
          </a:xfrm>
          <a:prstGeom prst="rect">
            <a:avLst/>
          </a:prstGeom>
          <a:noFill/>
        </p:spPr>
        <p:txBody>
          <a:bodyPr wrap="none" rtlCol="0">
            <a:spAutoFit/>
          </a:bodyPr>
          <a:lstStyle/>
          <a:p>
            <a:r>
              <a:rPr lang="de-DE" dirty="0">
                <a:solidFill>
                  <a:srgbClr val="0000FF"/>
                </a:solidFill>
              </a:rPr>
              <a:t>93 Hz   560 Hz   1120 Hz                                93 Hz    560 Hz   1120 Hz             </a:t>
            </a:r>
            <a:r>
              <a:rPr lang="de-DE" dirty="0" err="1">
                <a:solidFill>
                  <a:srgbClr val="0000FF"/>
                </a:solidFill>
              </a:rPr>
              <a:t>Frequency</a:t>
            </a:r>
            <a:r>
              <a:rPr lang="de-DE" dirty="0">
                <a:solidFill>
                  <a:srgbClr val="0000FF"/>
                </a:solidFill>
              </a:rPr>
              <a:t>  Hz</a:t>
            </a:r>
          </a:p>
          <a:p>
            <a:endParaRPr lang="de-DE" dirty="0">
              <a:solidFill>
                <a:srgbClr val="0000FF"/>
              </a:solidFill>
            </a:endParaRPr>
          </a:p>
          <a:p>
            <a:endParaRPr lang="de-DE" dirty="0">
              <a:solidFill>
                <a:srgbClr val="0000FF"/>
              </a:solidFill>
            </a:endParaRPr>
          </a:p>
          <a:p>
            <a:r>
              <a:rPr lang="de-DE" sz="2400" b="0" dirty="0" err="1">
                <a:latin typeface="+mn-lt"/>
              </a:rPr>
              <a:t>How</a:t>
            </a:r>
            <a:r>
              <a:rPr lang="de-DE" sz="2400" b="0" dirty="0">
                <a:latin typeface="+mn-lt"/>
              </a:rPr>
              <a:t> </a:t>
            </a:r>
            <a:r>
              <a:rPr lang="de-DE" sz="2400" b="0" dirty="0" err="1">
                <a:latin typeface="+mn-lt"/>
              </a:rPr>
              <a:t>can</a:t>
            </a:r>
            <a:r>
              <a:rPr lang="de-DE" sz="2400" b="0" dirty="0">
                <a:latin typeface="+mn-lt"/>
              </a:rPr>
              <a:t> </a:t>
            </a:r>
            <a:r>
              <a:rPr lang="de-DE" sz="2400" b="0" dirty="0" err="1">
                <a:latin typeface="+mn-lt"/>
              </a:rPr>
              <a:t>the</a:t>
            </a:r>
            <a:r>
              <a:rPr lang="de-DE" sz="2400" b="0" dirty="0">
                <a:latin typeface="+mn-lt"/>
              </a:rPr>
              <a:t> </a:t>
            </a:r>
            <a:r>
              <a:rPr lang="de-DE" sz="2400" dirty="0" err="1">
                <a:solidFill>
                  <a:srgbClr val="0000FF"/>
                </a:solidFill>
                <a:latin typeface="+mn-lt"/>
              </a:rPr>
              <a:t>vibrations</a:t>
            </a:r>
            <a:r>
              <a:rPr lang="de-DE" sz="2400" dirty="0">
                <a:solidFill>
                  <a:srgbClr val="0000FF"/>
                </a:solidFill>
                <a:latin typeface="+mn-lt"/>
              </a:rPr>
              <a:t> </a:t>
            </a:r>
            <a:r>
              <a:rPr lang="de-DE" sz="2400" b="0" dirty="0">
                <a:latin typeface="+mn-lt"/>
              </a:rPr>
              <a:t>at</a:t>
            </a:r>
            <a:r>
              <a:rPr lang="de-DE" sz="2400" dirty="0">
                <a:solidFill>
                  <a:srgbClr val="0000FF"/>
                </a:solidFill>
                <a:latin typeface="+mn-lt"/>
              </a:rPr>
              <a:t> </a:t>
            </a:r>
            <a:r>
              <a:rPr lang="de-DE" sz="2400" dirty="0" err="1">
                <a:solidFill>
                  <a:srgbClr val="0000FF"/>
                </a:solidFill>
                <a:latin typeface="+mn-lt"/>
              </a:rPr>
              <a:t>frequencies</a:t>
            </a:r>
            <a:r>
              <a:rPr lang="de-DE" sz="2400" dirty="0">
                <a:solidFill>
                  <a:srgbClr val="0000FF"/>
                </a:solidFill>
                <a:latin typeface="+mn-lt"/>
              </a:rPr>
              <a:t> 93 Hz, 560 Hz </a:t>
            </a:r>
            <a:r>
              <a:rPr lang="de-DE" sz="2400" b="0" dirty="0">
                <a:solidFill>
                  <a:srgbClr val="0000FF"/>
                </a:solidFill>
                <a:latin typeface="+mn-lt"/>
              </a:rPr>
              <a:t>&amp; </a:t>
            </a:r>
            <a:r>
              <a:rPr lang="de-DE" sz="2400" dirty="0">
                <a:solidFill>
                  <a:srgbClr val="0000FF"/>
                </a:solidFill>
                <a:latin typeface="+mn-lt"/>
              </a:rPr>
              <a:t>1120 Hz </a:t>
            </a:r>
            <a:r>
              <a:rPr lang="de-DE" sz="2400" b="0" dirty="0" err="1">
                <a:latin typeface="+mn-lt"/>
              </a:rPr>
              <a:t>be</a:t>
            </a:r>
            <a:r>
              <a:rPr lang="de-DE" sz="2400" b="0" dirty="0">
                <a:latin typeface="+mn-lt"/>
              </a:rPr>
              <a:t> </a:t>
            </a:r>
            <a:r>
              <a:rPr lang="de-DE" sz="2400" b="0" dirty="0" err="1">
                <a:latin typeface="+mn-lt"/>
              </a:rPr>
              <a:t>explained</a:t>
            </a:r>
            <a:r>
              <a:rPr lang="de-DE" sz="2400" b="0" dirty="0">
                <a:latin typeface="+mn-lt"/>
              </a:rPr>
              <a:t> </a:t>
            </a:r>
            <a:r>
              <a:rPr lang="de-DE" sz="2400" dirty="0">
                <a:solidFill>
                  <a:srgbClr val="0000FF"/>
                </a:solidFill>
                <a:latin typeface="+mn-lt"/>
              </a:rPr>
              <a:t>?</a:t>
            </a:r>
          </a:p>
        </p:txBody>
      </p:sp>
      <p:sp>
        <p:nvSpPr>
          <p:cNvPr id="7" name="Rechteck 6">
            <a:extLst>
              <a:ext uri="{FF2B5EF4-FFF2-40B4-BE49-F238E27FC236}">
                <a16:creationId xmlns:a16="http://schemas.microsoft.com/office/drawing/2014/main" id="{C17878F3-5E3B-0663-0BF7-A215D03A7BCA}"/>
              </a:ext>
            </a:extLst>
          </p:cNvPr>
          <p:cNvSpPr/>
          <p:nvPr/>
        </p:nvSpPr>
        <p:spPr>
          <a:xfrm>
            <a:off x="5167086" y="3875314"/>
            <a:ext cx="1146628" cy="319315"/>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Rechteck 7">
            <a:extLst>
              <a:ext uri="{FF2B5EF4-FFF2-40B4-BE49-F238E27FC236}">
                <a16:creationId xmlns:a16="http://schemas.microsoft.com/office/drawing/2014/main" id="{0EBE7A74-BA52-304C-0C71-76DBB1893002}"/>
              </a:ext>
            </a:extLst>
          </p:cNvPr>
          <p:cNvSpPr/>
          <p:nvPr/>
        </p:nvSpPr>
        <p:spPr>
          <a:xfrm>
            <a:off x="10271863" y="3875314"/>
            <a:ext cx="914400" cy="319315"/>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9" name="Textfeld 8">
            <a:extLst>
              <a:ext uri="{FF2B5EF4-FFF2-40B4-BE49-F238E27FC236}">
                <a16:creationId xmlns:a16="http://schemas.microsoft.com/office/drawing/2014/main" id="{C5B74CA8-19B4-27AB-89A9-8876378C0C2C}"/>
              </a:ext>
            </a:extLst>
          </p:cNvPr>
          <p:cNvSpPr txBox="1"/>
          <p:nvPr/>
        </p:nvSpPr>
        <p:spPr>
          <a:xfrm>
            <a:off x="4984206" y="3753957"/>
            <a:ext cx="6766596" cy="400110"/>
          </a:xfrm>
          <a:prstGeom prst="rect">
            <a:avLst/>
          </a:prstGeom>
          <a:noFill/>
        </p:spPr>
        <p:txBody>
          <a:bodyPr wrap="none" rtlCol="0">
            <a:spAutoFit/>
          </a:bodyPr>
          <a:lstStyle/>
          <a:p>
            <a:r>
              <a:rPr lang="de-DE" sz="2000" dirty="0">
                <a:solidFill>
                  <a:srgbClr val="0000FF"/>
                </a:solidFill>
                <a:latin typeface="+mn-lt"/>
              </a:rPr>
              <a:t>Flow Rate                                                         Flow Rate</a:t>
            </a:r>
          </a:p>
        </p:txBody>
      </p:sp>
      <p:sp>
        <p:nvSpPr>
          <p:cNvPr id="10" name="Rechteck 9">
            <a:extLst>
              <a:ext uri="{FF2B5EF4-FFF2-40B4-BE49-F238E27FC236}">
                <a16:creationId xmlns:a16="http://schemas.microsoft.com/office/drawing/2014/main" id="{8DE911B7-4612-E72B-4A83-91C46590F081}"/>
              </a:ext>
            </a:extLst>
          </p:cNvPr>
          <p:cNvSpPr/>
          <p:nvPr/>
        </p:nvSpPr>
        <p:spPr>
          <a:xfrm>
            <a:off x="3236686" y="1793309"/>
            <a:ext cx="1103086" cy="914400"/>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2" name="Textfeld 11">
            <a:extLst>
              <a:ext uri="{FF2B5EF4-FFF2-40B4-BE49-F238E27FC236}">
                <a16:creationId xmlns:a16="http://schemas.microsoft.com/office/drawing/2014/main" id="{CF5E8489-650B-CBDF-1AA0-3F6D956EB89A}"/>
              </a:ext>
            </a:extLst>
          </p:cNvPr>
          <p:cNvSpPr txBox="1"/>
          <p:nvPr/>
        </p:nvSpPr>
        <p:spPr>
          <a:xfrm>
            <a:off x="5341257" y="1793309"/>
            <a:ext cx="184731" cy="369332"/>
          </a:xfrm>
          <a:prstGeom prst="rect">
            <a:avLst/>
          </a:prstGeom>
          <a:noFill/>
        </p:spPr>
        <p:txBody>
          <a:bodyPr wrap="none" rtlCol="0">
            <a:spAutoFit/>
          </a:bodyPr>
          <a:lstStyle/>
          <a:p>
            <a:endParaRPr lang="de-DE"/>
          </a:p>
        </p:txBody>
      </p:sp>
      <p:cxnSp>
        <p:nvCxnSpPr>
          <p:cNvPr id="13" name="Gerade Verbindung mit Pfeil 12">
            <a:extLst>
              <a:ext uri="{FF2B5EF4-FFF2-40B4-BE49-F238E27FC236}">
                <a16:creationId xmlns:a16="http://schemas.microsoft.com/office/drawing/2014/main" id="{4F3EA241-DD34-5046-E3A7-FC268803C200}"/>
              </a:ext>
            </a:extLst>
          </p:cNvPr>
          <p:cNvCxnSpPr>
            <a:cxnSpLocks/>
          </p:cNvCxnSpPr>
          <p:nvPr/>
        </p:nvCxnSpPr>
        <p:spPr>
          <a:xfrm>
            <a:off x="9270275" y="4956629"/>
            <a:ext cx="449943" cy="0"/>
          </a:xfrm>
          <a:prstGeom prst="straightConnector1">
            <a:avLst/>
          </a:prstGeom>
          <a:ln w="57150">
            <a:solidFill>
              <a:srgbClr val="0000FF"/>
            </a:solidFill>
            <a:tailEnd type="triangle"/>
          </a:ln>
        </p:spPr>
        <p:style>
          <a:lnRef idx="1">
            <a:schemeClr val="accent1"/>
          </a:lnRef>
          <a:fillRef idx="0">
            <a:schemeClr val="accent1"/>
          </a:fillRef>
          <a:effectRef idx="0">
            <a:schemeClr val="accent1"/>
          </a:effectRef>
          <a:fontRef idx="minor">
            <a:schemeClr val="tx1"/>
          </a:fontRef>
        </p:style>
      </p:cxnSp>
      <p:cxnSp>
        <p:nvCxnSpPr>
          <p:cNvPr id="14" name="Gerade Verbindung mit Pfeil 13">
            <a:extLst>
              <a:ext uri="{FF2B5EF4-FFF2-40B4-BE49-F238E27FC236}">
                <a16:creationId xmlns:a16="http://schemas.microsoft.com/office/drawing/2014/main" id="{31D85D1C-3BF8-2145-FD7B-67C0BB604472}"/>
              </a:ext>
            </a:extLst>
          </p:cNvPr>
          <p:cNvCxnSpPr>
            <a:cxnSpLocks/>
          </p:cNvCxnSpPr>
          <p:nvPr/>
        </p:nvCxnSpPr>
        <p:spPr>
          <a:xfrm>
            <a:off x="9477829" y="5046618"/>
            <a:ext cx="420915"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17" name="Rechteck 16">
                <a:extLst>
                  <a:ext uri="{FF2B5EF4-FFF2-40B4-BE49-F238E27FC236}">
                    <a16:creationId xmlns:a16="http://schemas.microsoft.com/office/drawing/2014/main" id="{698B2BD4-7746-1668-260F-FEF9154FD3C4}"/>
                  </a:ext>
                </a:extLst>
              </p:cNvPr>
              <p:cNvSpPr/>
              <p:nvPr/>
            </p:nvSpPr>
            <p:spPr>
              <a:xfrm>
                <a:off x="8752115" y="1877016"/>
                <a:ext cx="928914" cy="914400"/>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acc>
                        <m:accPr>
                          <m:chr m:val="̇"/>
                          <m:ctrlPr>
                            <a:rPr lang="de-DE" i="1">
                              <a:solidFill>
                                <a:srgbClr val="0000FF"/>
                              </a:solidFill>
                              <a:latin typeface="Cambria Math" panose="02040503050406030204" pitchFamily="18" charset="0"/>
                            </a:rPr>
                          </m:ctrlPr>
                        </m:accPr>
                        <m:e>
                          <m:acc>
                            <m:accPr>
                              <m:chr m:val="̇"/>
                              <m:ctrlPr>
                                <a:rPr lang="de-DE" i="1">
                                  <a:solidFill>
                                    <a:srgbClr val="0000FF"/>
                                  </a:solidFill>
                                  <a:latin typeface="Cambria Math" panose="02040503050406030204" pitchFamily="18" charset="0"/>
                                </a:rPr>
                              </m:ctrlPr>
                            </m:accPr>
                            <m:e>
                              <m:r>
                                <a:rPr lang="de-DE" i="1">
                                  <a:solidFill>
                                    <a:srgbClr val="0000FF"/>
                                  </a:solidFill>
                                  <a:latin typeface="Cambria Math" panose="02040503050406030204" pitchFamily="18" charset="0"/>
                                </a:rPr>
                                <m:t>𝒙</m:t>
                              </m:r>
                            </m:e>
                          </m:acc>
                          <m:r>
                            <m:rPr>
                              <m:nor/>
                            </m:rPr>
                            <a:rPr lang="de-DE" baseline="-25000" dirty="0">
                              <a:solidFill>
                                <a:srgbClr val="0000FF"/>
                              </a:solidFill>
                            </a:rPr>
                            <m:t>RMS</m:t>
                          </m:r>
                        </m:e>
                      </m:acc>
                    </m:oMath>
                  </m:oMathPara>
                </a14:m>
                <a:endParaRPr lang="de-DE" dirty="0"/>
              </a:p>
            </p:txBody>
          </p:sp>
        </mc:Choice>
        <mc:Fallback xmlns="">
          <p:sp>
            <p:nvSpPr>
              <p:cNvPr id="17" name="Rechteck 16">
                <a:extLst>
                  <a:ext uri="{FF2B5EF4-FFF2-40B4-BE49-F238E27FC236}">
                    <a16:creationId xmlns:a16="http://schemas.microsoft.com/office/drawing/2014/main" id="{698B2BD4-7746-1668-260F-FEF9154FD3C4}"/>
                  </a:ext>
                </a:extLst>
              </p:cNvPr>
              <p:cNvSpPr>
                <a:spLocks noRot="1" noChangeAspect="1" noMove="1" noResize="1" noEditPoints="1" noAdjustHandles="1" noChangeArrowheads="1" noChangeShapeType="1" noTextEdit="1"/>
              </p:cNvSpPr>
              <p:nvPr/>
            </p:nvSpPr>
            <p:spPr>
              <a:xfrm>
                <a:off x="8752115" y="1877016"/>
                <a:ext cx="928914" cy="914400"/>
              </a:xfrm>
              <a:prstGeom prst="rect">
                <a:avLst/>
              </a:prstGeom>
              <a:blipFill>
                <a:blip r:embed="rId5"/>
                <a:stretch>
                  <a:fillRect/>
                </a:stretch>
              </a:blipFill>
              <a:ln>
                <a:solidFill>
                  <a:schemeClr val="bg1"/>
                </a:solidFill>
              </a:ln>
            </p:spPr>
            <p:txBody>
              <a:bodyPr/>
              <a:lstStyle/>
              <a:p>
                <a:r>
                  <a:rPr lang="de-DE">
                    <a:noFill/>
                  </a:rPr>
                  <a:t> </a:t>
                </a:r>
              </a:p>
            </p:txBody>
          </p:sp>
        </mc:Fallback>
      </mc:AlternateContent>
      <p:sp>
        <p:nvSpPr>
          <p:cNvPr id="4" name="Textfeld 3">
            <a:extLst>
              <a:ext uri="{FF2B5EF4-FFF2-40B4-BE49-F238E27FC236}">
                <a16:creationId xmlns:a16="http://schemas.microsoft.com/office/drawing/2014/main" id="{4513458F-A664-CDA7-9939-10B4E7721D7F}"/>
              </a:ext>
            </a:extLst>
          </p:cNvPr>
          <p:cNvSpPr txBox="1"/>
          <p:nvPr/>
        </p:nvSpPr>
        <p:spPr>
          <a:xfrm>
            <a:off x="751737" y="65278"/>
            <a:ext cx="10552761" cy="830997"/>
          </a:xfrm>
          <a:prstGeom prst="rect">
            <a:avLst/>
          </a:prstGeom>
          <a:noFill/>
        </p:spPr>
        <p:txBody>
          <a:bodyPr wrap="none" rtlCol="0">
            <a:spAutoFit/>
          </a:bodyPr>
          <a:lstStyle/>
          <a:p>
            <a:r>
              <a:rPr lang="de-DE" sz="2400" dirty="0">
                <a:solidFill>
                  <a:srgbClr val="0000FF"/>
                </a:solidFill>
                <a:latin typeface="+mn-lt"/>
              </a:rPr>
              <a:t>Monitoring </a:t>
            </a:r>
            <a:r>
              <a:rPr lang="de-DE" sz="2400" dirty="0" err="1">
                <a:solidFill>
                  <a:srgbClr val="0000FF"/>
                </a:solidFill>
                <a:latin typeface="+mn-lt"/>
              </a:rPr>
              <a:t>of</a:t>
            </a:r>
            <a:r>
              <a:rPr lang="de-DE" sz="2400" dirty="0">
                <a:solidFill>
                  <a:srgbClr val="0000FF"/>
                </a:solidFill>
                <a:latin typeface="+mn-lt"/>
              </a:rPr>
              <a:t> </a:t>
            </a:r>
            <a:r>
              <a:rPr lang="de-DE" sz="2400" dirty="0" err="1">
                <a:solidFill>
                  <a:srgbClr val="0000FF"/>
                </a:solidFill>
                <a:latin typeface="+mn-lt"/>
              </a:rPr>
              <a:t>the</a:t>
            </a:r>
            <a:r>
              <a:rPr lang="de-DE" sz="2400" dirty="0">
                <a:solidFill>
                  <a:srgbClr val="0000FF"/>
                </a:solidFill>
                <a:latin typeface="+mn-lt"/>
              </a:rPr>
              <a:t> Horizontal </a:t>
            </a:r>
            <a:r>
              <a:rPr lang="de-DE" sz="2400" dirty="0" err="1">
                <a:solidFill>
                  <a:srgbClr val="0000FF"/>
                </a:solidFill>
                <a:latin typeface="+mn-lt"/>
              </a:rPr>
              <a:t>Feedwater</a:t>
            </a:r>
            <a:r>
              <a:rPr lang="de-DE" sz="2400" dirty="0">
                <a:solidFill>
                  <a:srgbClr val="0000FF"/>
                </a:solidFill>
                <a:latin typeface="+mn-lt"/>
              </a:rPr>
              <a:t> Pump OL3 </a:t>
            </a:r>
            <a:r>
              <a:rPr lang="de-DE" sz="2400" dirty="0" err="1">
                <a:solidFill>
                  <a:srgbClr val="0000FF"/>
                </a:solidFill>
                <a:latin typeface="+mn-lt"/>
              </a:rPr>
              <a:t>during</a:t>
            </a:r>
            <a:r>
              <a:rPr lang="de-DE" sz="2400" dirty="0">
                <a:solidFill>
                  <a:srgbClr val="0000FF"/>
                </a:solidFill>
                <a:latin typeface="+mn-lt"/>
              </a:rPr>
              <a:t> Operation</a:t>
            </a:r>
          </a:p>
          <a:p>
            <a:r>
              <a:rPr lang="de-DE" sz="2400" b="0" dirty="0">
                <a:latin typeface="+mn-lt"/>
              </a:rPr>
              <a:t>Absolute RMS </a:t>
            </a:r>
            <a:r>
              <a:rPr lang="de-DE" sz="2400" b="0" dirty="0" err="1">
                <a:latin typeface="+mn-lt"/>
              </a:rPr>
              <a:t>Bearing</a:t>
            </a:r>
            <a:r>
              <a:rPr lang="de-DE" sz="2400" b="0" dirty="0">
                <a:latin typeface="+mn-lt"/>
              </a:rPr>
              <a:t> Vibration </a:t>
            </a:r>
            <a:r>
              <a:rPr lang="de-DE" sz="2400" b="0" dirty="0" err="1">
                <a:latin typeface="+mn-lt"/>
              </a:rPr>
              <a:t>Velocities</a:t>
            </a:r>
            <a:r>
              <a:rPr lang="de-DE" sz="2400" b="0" dirty="0">
                <a:latin typeface="+mn-lt"/>
              </a:rPr>
              <a:t> (mm/s) at NDE </a:t>
            </a:r>
            <a:r>
              <a:rPr lang="de-DE" sz="2400" b="0" dirty="0" err="1">
                <a:latin typeface="+mn-lt"/>
              </a:rPr>
              <a:t>Bearing</a:t>
            </a:r>
            <a:r>
              <a:rPr lang="de-DE" sz="2400" b="0" dirty="0">
                <a:latin typeface="+mn-lt"/>
              </a:rPr>
              <a:t> Housing</a:t>
            </a:r>
          </a:p>
        </p:txBody>
      </p:sp>
      <mc:AlternateContent xmlns:mc="http://schemas.openxmlformats.org/markup-compatibility/2006" xmlns:a14="http://schemas.microsoft.com/office/drawing/2010/main">
        <mc:Choice Requires="a14">
          <p:sp>
            <p:nvSpPr>
              <p:cNvPr id="16" name="Textfeld 15">
                <a:extLst>
                  <a:ext uri="{FF2B5EF4-FFF2-40B4-BE49-F238E27FC236}">
                    <a16:creationId xmlns:a16="http://schemas.microsoft.com/office/drawing/2014/main" id="{FA287046-F181-ADFD-9127-36A02F70B9A8}"/>
                  </a:ext>
                </a:extLst>
              </p:cNvPr>
              <p:cNvSpPr txBox="1"/>
              <p:nvPr/>
            </p:nvSpPr>
            <p:spPr>
              <a:xfrm>
                <a:off x="711198" y="1034058"/>
                <a:ext cx="5119015" cy="461665"/>
              </a:xfrm>
              <a:prstGeom prst="rect">
                <a:avLst/>
              </a:prstGeom>
              <a:noFill/>
            </p:spPr>
            <p:txBody>
              <a:bodyPr wrap="square" rtlCol="0">
                <a:spAutoFit/>
              </a:bodyPr>
              <a:lstStyle/>
              <a:p>
                <a:r>
                  <a:rPr lang="de-DE" dirty="0">
                    <a:solidFill>
                      <a:srgbClr val="0000FF"/>
                    </a:solidFill>
                  </a:rPr>
                  <a:t> NDE </a:t>
                </a:r>
                <a:r>
                  <a:rPr lang="de-DE" dirty="0" err="1">
                    <a:solidFill>
                      <a:srgbClr val="0000FF"/>
                    </a:solidFill>
                  </a:rPr>
                  <a:t>Bearing</a:t>
                </a:r>
                <a:r>
                  <a:rPr lang="de-DE" dirty="0">
                    <a:solidFill>
                      <a:srgbClr val="0000FF"/>
                    </a:solidFill>
                  </a:rPr>
                  <a:t> </a:t>
                </a:r>
                <a:r>
                  <a:rPr lang="de-DE" dirty="0">
                    <a:solidFill>
                      <a:srgbClr val="FF0000"/>
                    </a:solidFill>
                  </a:rPr>
                  <a:t>horizontal</a:t>
                </a:r>
                <a:r>
                  <a:rPr lang="de-DE" sz="2400" dirty="0">
                    <a:solidFill>
                      <a:srgbClr val="0000FF"/>
                    </a:solidFill>
                  </a:rPr>
                  <a:t> </a:t>
                </a:r>
                <a14:m>
                  <m:oMath xmlns:m="http://schemas.openxmlformats.org/officeDocument/2006/math">
                    <m:acc>
                      <m:accPr>
                        <m:chr m:val="̇"/>
                        <m:ctrlPr>
                          <a:rPr lang="de-DE" sz="2400" i="1" smtClean="0">
                            <a:solidFill>
                              <a:srgbClr val="0000FF"/>
                            </a:solidFill>
                            <a:latin typeface="Cambria Math" panose="02040503050406030204" pitchFamily="18" charset="0"/>
                          </a:rPr>
                        </m:ctrlPr>
                      </m:accPr>
                      <m:e>
                        <m:r>
                          <a:rPr lang="de-DE" sz="2400" b="1" i="1" smtClean="0">
                            <a:solidFill>
                              <a:srgbClr val="0000FF"/>
                            </a:solidFill>
                            <a:latin typeface="Cambria Math" panose="02040503050406030204" pitchFamily="18" charset="0"/>
                          </a:rPr>
                          <m:t>𝒙</m:t>
                        </m:r>
                      </m:e>
                    </m:acc>
                  </m:oMath>
                </a14:m>
                <a:r>
                  <a:rPr lang="de-DE" sz="2400" baseline="-25000" dirty="0">
                    <a:solidFill>
                      <a:srgbClr val="0000FF"/>
                    </a:solidFill>
                  </a:rPr>
                  <a:t>RMS</a:t>
                </a:r>
                <a:r>
                  <a:rPr lang="de-DE" sz="2400" dirty="0">
                    <a:solidFill>
                      <a:srgbClr val="0000FF"/>
                    </a:solidFill>
                  </a:rPr>
                  <a:t> </a:t>
                </a:r>
                <a:r>
                  <a:rPr lang="de-DE" b="0" dirty="0"/>
                  <a:t>(mm/s)               </a:t>
                </a:r>
              </a:p>
            </p:txBody>
          </p:sp>
        </mc:Choice>
        <mc:Fallback xmlns="">
          <p:sp>
            <p:nvSpPr>
              <p:cNvPr id="16" name="Textfeld 15">
                <a:extLst>
                  <a:ext uri="{FF2B5EF4-FFF2-40B4-BE49-F238E27FC236}">
                    <a16:creationId xmlns:a16="http://schemas.microsoft.com/office/drawing/2014/main" id="{FA287046-F181-ADFD-9127-36A02F70B9A8}"/>
                  </a:ext>
                </a:extLst>
              </p:cNvPr>
              <p:cNvSpPr txBox="1">
                <a:spLocks noRot="1" noChangeAspect="1" noMove="1" noResize="1" noEditPoints="1" noAdjustHandles="1" noChangeArrowheads="1" noChangeShapeType="1" noTextEdit="1"/>
              </p:cNvSpPr>
              <p:nvPr/>
            </p:nvSpPr>
            <p:spPr>
              <a:xfrm>
                <a:off x="711198" y="1034058"/>
                <a:ext cx="5119015" cy="461665"/>
              </a:xfrm>
              <a:prstGeom prst="rect">
                <a:avLst/>
              </a:prstGeom>
              <a:blipFill>
                <a:blip r:embed="rId6"/>
                <a:stretch>
                  <a:fillRect b="-28000"/>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19" name="Textfeld 18">
                <a:extLst>
                  <a:ext uri="{FF2B5EF4-FFF2-40B4-BE49-F238E27FC236}">
                    <a16:creationId xmlns:a16="http://schemas.microsoft.com/office/drawing/2014/main" id="{CA89ECE2-3F96-DD31-86BC-D3861A1028A5}"/>
                  </a:ext>
                </a:extLst>
              </p:cNvPr>
              <p:cNvSpPr txBox="1"/>
              <p:nvPr/>
            </p:nvSpPr>
            <p:spPr>
              <a:xfrm>
                <a:off x="6235700" y="1061978"/>
                <a:ext cx="5578348" cy="461665"/>
              </a:xfrm>
              <a:prstGeom prst="rect">
                <a:avLst/>
              </a:prstGeom>
              <a:noFill/>
            </p:spPr>
            <p:txBody>
              <a:bodyPr wrap="square" rtlCol="0">
                <a:spAutoFit/>
              </a:bodyPr>
              <a:lstStyle/>
              <a:p>
                <a:r>
                  <a:rPr lang="de-DE" dirty="0">
                    <a:solidFill>
                      <a:srgbClr val="0000FF"/>
                    </a:solidFill>
                  </a:rPr>
                  <a:t> NDE </a:t>
                </a:r>
                <a:r>
                  <a:rPr lang="de-DE" dirty="0" err="1">
                    <a:solidFill>
                      <a:srgbClr val="0000FF"/>
                    </a:solidFill>
                  </a:rPr>
                  <a:t>Bearing</a:t>
                </a:r>
                <a:r>
                  <a:rPr lang="de-DE" dirty="0">
                    <a:solidFill>
                      <a:srgbClr val="0000FF"/>
                    </a:solidFill>
                  </a:rPr>
                  <a:t> </a:t>
                </a:r>
                <a:r>
                  <a:rPr lang="de-DE" dirty="0" err="1">
                    <a:solidFill>
                      <a:srgbClr val="FF0000"/>
                    </a:solidFill>
                  </a:rPr>
                  <a:t>vertical</a:t>
                </a:r>
                <a:r>
                  <a:rPr lang="de-DE" sz="2400" dirty="0">
                    <a:solidFill>
                      <a:srgbClr val="0000FF"/>
                    </a:solidFill>
                  </a:rPr>
                  <a:t> </a:t>
                </a:r>
                <a14:m>
                  <m:oMath xmlns:m="http://schemas.openxmlformats.org/officeDocument/2006/math">
                    <m:acc>
                      <m:accPr>
                        <m:chr m:val="̇"/>
                        <m:ctrlPr>
                          <a:rPr lang="de-DE" sz="2400" i="1" smtClean="0">
                            <a:solidFill>
                              <a:srgbClr val="0000FF"/>
                            </a:solidFill>
                            <a:latin typeface="Cambria Math" panose="02040503050406030204" pitchFamily="18" charset="0"/>
                          </a:rPr>
                        </m:ctrlPr>
                      </m:accPr>
                      <m:e>
                        <m:r>
                          <a:rPr lang="de-DE" sz="2400" b="1" i="1" smtClean="0">
                            <a:solidFill>
                              <a:srgbClr val="0000FF"/>
                            </a:solidFill>
                            <a:latin typeface="Cambria Math" panose="02040503050406030204" pitchFamily="18" charset="0"/>
                          </a:rPr>
                          <m:t>𝒙</m:t>
                        </m:r>
                      </m:e>
                    </m:acc>
                  </m:oMath>
                </a14:m>
                <a:r>
                  <a:rPr lang="de-DE" sz="2400" baseline="-25000" dirty="0">
                    <a:solidFill>
                      <a:srgbClr val="0000FF"/>
                    </a:solidFill>
                  </a:rPr>
                  <a:t>RMS </a:t>
                </a:r>
                <a:r>
                  <a:rPr lang="de-DE" sz="2400" dirty="0">
                    <a:solidFill>
                      <a:srgbClr val="0000FF"/>
                    </a:solidFill>
                  </a:rPr>
                  <a:t> </a:t>
                </a:r>
                <a:r>
                  <a:rPr lang="de-DE" b="0" dirty="0"/>
                  <a:t>(mm/s)</a:t>
                </a:r>
              </a:p>
            </p:txBody>
          </p:sp>
        </mc:Choice>
        <mc:Fallback xmlns="">
          <p:sp>
            <p:nvSpPr>
              <p:cNvPr id="19" name="Textfeld 18">
                <a:extLst>
                  <a:ext uri="{FF2B5EF4-FFF2-40B4-BE49-F238E27FC236}">
                    <a16:creationId xmlns:a16="http://schemas.microsoft.com/office/drawing/2014/main" id="{CA89ECE2-3F96-DD31-86BC-D3861A1028A5}"/>
                  </a:ext>
                </a:extLst>
              </p:cNvPr>
              <p:cNvSpPr txBox="1">
                <a:spLocks noRot="1" noChangeAspect="1" noMove="1" noResize="1" noEditPoints="1" noAdjustHandles="1" noChangeArrowheads="1" noChangeShapeType="1" noTextEdit="1"/>
              </p:cNvSpPr>
              <p:nvPr/>
            </p:nvSpPr>
            <p:spPr>
              <a:xfrm>
                <a:off x="6235700" y="1061978"/>
                <a:ext cx="5578348" cy="461665"/>
              </a:xfrm>
              <a:prstGeom prst="rect">
                <a:avLst/>
              </a:prstGeom>
              <a:blipFill>
                <a:blip r:embed="rId7"/>
                <a:stretch>
                  <a:fillRect b="-26316"/>
                </a:stretch>
              </a:blipFill>
            </p:spPr>
            <p:txBody>
              <a:bodyPr/>
              <a:lstStyle/>
              <a:p>
                <a:r>
                  <a:rPr lang="de-DE">
                    <a:noFill/>
                  </a:rPr>
                  <a:t> </a:t>
                </a:r>
              </a:p>
            </p:txBody>
          </p:sp>
        </mc:Fallback>
      </mc:AlternateContent>
    </p:spTree>
    <p:extLst>
      <p:ext uri="{BB962C8B-B14F-4D97-AF65-F5344CB8AC3E}">
        <p14:creationId xmlns:p14="http://schemas.microsoft.com/office/powerpoint/2010/main" val="204987875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el 3">
            <a:extLst>
              <a:ext uri="{FF2B5EF4-FFF2-40B4-BE49-F238E27FC236}">
                <a16:creationId xmlns:a16="http://schemas.microsoft.com/office/drawing/2014/main" id="{8EC3160C-2A66-E772-1B65-C360C8E9B60A}"/>
              </a:ext>
            </a:extLst>
          </p:cNvPr>
          <p:cNvSpPr txBox="1">
            <a:spLocks/>
          </p:cNvSpPr>
          <p:nvPr/>
        </p:nvSpPr>
        <p:spPr bwMode="auto">
          <a:xfrm>
            <a:off x="1893888" y="2555875"/>
            <a:ext cx="6877050" cy="838200"/>
          </a:xfrm>
          <a:prstGeom prst="rect">
            <a:avLst/>
          </a:prstGeom>
          <a:noFill/>
          <a:ln w="9525">
            <a:noFill/>
            <a:miter lim="800000"/>
            <a:headEnd/>
            <a:tailEnd/>
          </a:ln>
          <a:effectLst/>
        </p:spPr>
        <p:txBody>
          <a:bodyPr lIns="0" tIns="0" rIns="0" bIns="0"/>
          <a:lstStyle/>
          <a:p>
            <a:pPr marL="0" marR="0" lvl="0" indent="0" algn="l" defTabSz="914400" rtl="0" eaLnBrk="1" fontAlgn="base" latinLnBrk="0" hangingPunct="1">
              <a:lnSpc>
                <a:spcPct val="100000"/>
              </a:lnSpc>
              <a:spcBef>
                <a:spcPct val="0"/>
              </a:spcBef>
              <a:spcAft>
                <a:spcPct val="0"/>
              </a:spcAft>
              <a:buClrTx/>
              <a:buSzTx/>
              <a:buFontTx/>
              <a:buNone/>
              <a:tabLst/>
              <a:defRPr/>
            </a:pPr>
            <a:br>
              <a:rPr kumimoji="0" lang="de-DE" sz="2000" b="1" i="0" u="none" strike="noStrike" kern="0" cap="none" spc="0" normalizeH="0" baseline="0" noProof="0" dirty="0">
                <a:ln>
                  <a:noFill/>
                </a:ln>
                <a:solidFill>
                  <a:srgbClr val="000000"/>
                </a:solidFill>
                <a:effectLst/>
                <a:uLnTx/>
                <a:uFillTx/>
                <a:latin typeface="Arial"/>
                <a:ea typeface="+mn-ea"/>
                <a:cs typeface="+mn-cs"/>
              </a:rPr>
            </a:br>
            <a:r>
              <a:rPr kumimoji="0" lang="de-DE" sz="2000" b="1" i="0" u="none" strike="noStrike" kern="0" cap="none" spc="0" normalizeH="0" baseline="0" noProof="0" dirty="0">
                <a:ln>
                  <a:noFill/>
                </a:ln>
                <a:solidFill>
                  <a:srgbClr val="000000"/>
                </a:solidFill>
                <a:effectLst/>
                <a:uLnTx/>
                <a:uFillTx/>
                <a:latin typeface="Arial"/>
                <a:ea typeface="+mn-ea"/>
                <a:cs typeface="+mn-cs"/>
              </a:rPr>
              <a:t>		</a:t>
            </a:r>
          </a:p>
        </p:txBody>
      </p:sp>
      <p:sp>
        <p:nvSpPr>
          <p:cNvPr id="5" name="Textfeld 4">
            <a:extLst>
              <a:ext uri="{FF2B5EF4-FFF2-40B4-BE49-F238E27FC236}">
                <a16:creationId xmlns:a16="http://schemas.microsoft.com/office/drawing/2014/main" id="{07240E44-DC61-FF18-3D6B-E62916EA6331}"/>
              </a:ext>
            </a:extLst>
          </p:cNvPr>
          <p:cNvSpPr txBox="1">
            <a:spLocks noChangeArrowheads="1"/>
          </p:cNvSpPr>
          <p:nvPr/>
        </p:nvSpPr>
        <p:spPr bwMode="auto">
          <a:xfrm>
            <a:off x="785348" y="1097895"/>
            <a:ext cx="11020572" cy="5940088"/>
          </a:xfrm>
          <a:prstGeom prst="rect">
            <a:avLst/>
          </a:prstGeom>
          <a:noFill/>
          <a:ln>
            <a:noFill/>
          </a:ln>
        </p:spPr>
        <p:txBody>
          <a:bodyPr wrap="square">
            <a:spAutoFit/>
          </a:bodyPr>
          <a:lstStyle>
            <a:lvl1pPr marL="361950" indent="-361950" eaLnBrk="0" hangingPunct="0">
              <a:defRPr b="1">
                <a:solidFill>
                  <a:schemeClr val="tx1"/>
                </a:solidFill>
                <a:latin typeface="Verdana" pitchFamily="34" charset="0"/>
              </a:defRPr>
            </a:lvl1pPr>
            <a:lvl2pPr marL="742950" indent="-285750" eaLnBrk="0" hangingPunct="0">
              <a:defRPr b="1">
                <a:solidFill>
                  <a:schemeClr val="tx1"/>
                </a:solidFill>
                <a:latin typeface="Verdana" pitchFamily="34" charset="0"/>
              </a:defRPr>
            </a:lvl2pPr>
            <a:lvl3pPr marL="1143000" indent="-228600" eaLnBrk="0" hangingPunct="0">
              <a:defRPr b="1">
                <a:solidFill>
                  <a:schemeClr val="tx1"/>
                </a:solidFill>
                <a:latin typeface="Verdana" pitchFamily="34" charset="0"/>
              </a:defRPr>
            </a:lvl3pPr>
            <a:lvl4pPr marL="1600200" indent="-228600" eaLnBrk="0" hangingPunct="0">
              <a:defRPr b="1">
                <a:solidFill>
                  <a:schemeClr val="tx1"/>
                </a:solidFill>
                <a:latin typeface="Verdana" pitchFamily="34" charset="0"/>
              </a:defRPr>
            </a:lvl4pPr>
            <a:lvl5pPr marL="2057400" indent="-228600" eaLnBrk="0" hangingPunct="0">
              <a:defRPr b="1">
                <a:solidFill>
                  <a:schemeClr val="tx1"/>
                </a:solidFill>
                <a:latin typeface="Verdana" pitchFamily="34" charset="0"/>
              </a:defRPr>
            </a:lvl5pPr>
            <a:lvl6pPr marL="2514600" indent="-228600" eaLnBrk="0" fontAlgn="base" hangingPunct="0">
              <a:spcBef>
                <a:spcPct val="0"/>
              </a:spcBef>
              <a:spcAft>
                <a:spcPct val="0"/>
              </a:spcAft>
              <a:defRPr b="1">
                <a:solidFill>
                  <a:schemeClr val="tx1"/>
                </a:solidFill>
                <a:latin typeface="Verdana" pitchFamily="34" charset="0"/>
              </a:defRPr>
            </a:lvl6pPr>
            <a:lvl7pPr marL="2971800" indent="-228600" eaLnBrk="0" fontAlgn="base" hangingPunct="0">
              <a:spcBef>
                <a:spcPct val="0"/>
              </a:spcBef>
              <a:spcAft>
                <a:spcPct val="0"/>
              </a:spcAft>
              <a:defRPr b="1">
                <a:solidFill>
                  <a:schemeClr val="tx1"/>
                </a:solidFill>
                <a:latin typeface="Verdana" pitchFamily="34" charset="0"/>
              </a:defRPr>
            </a:lvl7pPr>
            <a:lvl8pPr marL="3429000" indent="-228600" eaLnBrk="0" fontAlgn="base" hangingPunct="0">
              <a:spcBef>
                <a:spcPct val="0"/>
              </a:spcBef>
              <a:spcAft>
                <a:spcPct val="0"/>
              </a:spcAft>
              <a:defRPr b="1">
                <a:solidFill>
                  <a:schemeClr val="tx1"/>
                </a:solidFill>
                <a:latin typeface="Verdana" pitchFamily="34" charset="0"/>
              </a:defRPr>
            </a:lvl8pPr>
            <a:lvl9pPr marL="3886200" indent="-228600" eaLnBrk="0" fontAlgn="base" hangingPunct="0">
              <a:spcBef>
                <a:spcPct val="0"/>
              </a:spcBef>
              <a:spcAft>
                <a:spcPct val="0"/>
              </a:spcAft>
              <a:defRPr b="1">
                <a:solidFill>
                  <a:schemeClr val="tx1"/>
                </a:solidFill>
                <a:latin typeface="Verdana"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de-DE" altLang="de-DE" sz="2000" b="1" i="0" u="none" strike="noStrike" kern="1200" cap="none" spc="0" normalizeH="0" baseline="0" noProof="0" dirty="0">
              <a:ln>
                <a:noFill/>
              </a:ln>
              <a:solidFill>
                <a:srgbClr val="000000"/>
              </a:solidFill>
              <a:effectLst/>
              <a:uLnTx/>
              <a:uFillTx/>
              <a:latin typeface="Arial" charset="0"/>
              <a:ea typeface="+mn-ea"/>
              <a:cs typeface="+mn-cs"/>
            </a:endParaRPr>
          </a:p>
          <a:p>
            <a:pPr marL="361950" marR="0" lvl="0" indent="-361950" algn="l" defTabSz="914400" rtl="0" eaLnBrk="1" fontAlgn="base" latinLnBrk="0" hangingPunct="1">
              <a:lnSpc>
                <a:spcPct val="100000"/>
              </a:lnSpc>
              <a:spcBef>
                <a:spcPct val="0"/>
              </a:spcBef>
              <a:spcAft>
                <a:spcPct val="0"/>
              </a:spcAft>
              <a:buClrTx/>
              <a:buSzTx/>
              <a:buFont typeface="Wingdings" pitchFamily="2" charset="2"/>
              <a:buChar char="Ø"/>
              <a:tabLst/>
              <a:defRPr/>
            </a:pPr>
            <a:r>
              <a:rPr kumimoji="0" lang="de-DE" altLang="de-DE" sz="2400" b="1" i="0" u="none" strike="noStrike" kern="1200" cap="none" spc="0" normalizeH="0" baseline="0" noProof="0" dirty="0" err="1">
                <a:ln>
                  <a:noFill/>
                </a:ln>
                <a:solidFill>
                  <a:srgbClr val="0000FF"/>
                </a:solidFill>
                <a:effectLst/>
                <a:uLnTx/>
                <a:uFillTx/>
                <a:latin typeface="Arial" charset="0"/>
                <a:ea typeface="+mn-ea"/>
                <a:cs typeface="+mn-cs"/>
              </a:rPr>
              <a:t>Vertical</a:t>
            </a:r>
            <a:r>
              <a:rPr kumimoji="0" lang="de-DE" altLang="de-DE" sz="2400" b="1" i="0" u="none" strike="noStrike" kern="1200" cap="none" spc="0" normalizeH="0" baseline="0" noProof="0" dirty="0">
                <a:ln>
                  <a:noFill/>
                </a:ln>
                <a:solidFill>
                  <a:srgbClr val="0000FF"/>
                </a:solidFill>
                <a:effectLst/>
                <a:uLnTx/>
                <a:uFillTx/>
                <a:latin typeface="Arial" charset="0"/>
                <a:ea typeface="+mn-ea"/>
                <a:cs typeface="+mn-cs"/>
              </a:rPr>
              <a:t> and Horizontal Pump</a:t>
            </a:r>
            <a:r>
              <a:rPr kumimoji="0" lang="de-DE" altLang="de-DE" sz="2400" b="1" i="0" u="none" strike="noStrike" kern="1200" cap="none" spc="0" normalizeH="0" noProof="0" dirty="0">
                <a:ln>
                  <a:noFill/>
                </a:ln>
                <a:solidFill>
                  <a:srgbClr val="0000FF"/>
                </a:solidFill>
                <a:effectLst/>
                <a:uLnTx/>
                <a:uFillTx/>
                <a:latin typeface="Arial" charset="0"/>
                <a:ea typeface="+mn-ea"/>
                <a:cs typeface="+mn-cs"/>
              </a:rPr>
              <a:t> Systems in </a:t>
            </a:r>
            <a:r>
              <a:rPr kumimoji="0" lang="de-DE" altLang="de-DE" sz="2400" b="1" i="0" u="none" strike="noStrike" kern="1200" cap="none" spc="0" normalizeH="0" noProof="0" dirty="0" err="1">
                <a:ln>
                  <a:noFill/>
                </a:ln>
                <a:solidFill>
                  <a:srgbClr val="0000FF"/>
                </a:solidFill>
                <a:effectLst/>
                <a:uLnTx/>
                <a:uFillTx/>
                <a:latin typeface="Arial" charset="0"/>
                <a:ea typeface="+mn-ea"/>
                <a:cs typeface="+mn-cs"/>
              </a:rPr>
              <a:t>Nuclear</a:t>
            </a:r>
            <a:r>
              <a:rPr kumimoji="0" lang="de-DE" altLang="de-DE" sz="2400" b="1" i="0" u="none" strike="noStrike" kern="1200" cap="none" spc="0" normalizeH="0" noProof="0" dirty="0">
                <a:ln>
                  <a:noFill/>
                </a:ln>
                <a:solidFill>
                  <a:srgbClr val="0000FF"/>
                </a:solidFill>
                <a:effectLst/>
                <a:uLnTx/>
                <a:uFillTx/>
                <a:latin typeface="Arial" charset="0"/>
                <a:ea typeface="+mn-ea"/>
                <a:cs typeface="+mn-cs"/>
              </a:rPr>
              <a:t> Power Plants</a:t>
            </a:r>
            <a:endParaRPr kumimoji="0" lang="de-DE" altLang="de-DE" sz="2400" b="1" i="0" u="none" strike="noStrike" kern="1200" cap="none" spc="0" normalizeH="0" baseline="0" noProof="0" dirty="0">
              <a:ln>
                <a:noFill/>
              </a:ln>
              <a:solidFill>
                <a:srgbClr val="0000FF"/>
              </a:solidFill>
              <a:effectLst/>
              <a:uLnTx/>
              <a:uFillTx/>
              <a:latin typeface="Arial" charset="0"/>
              <a:ea typeface="+mn-ea"/>
              <a:cs typeface="+mn-cs"/>
            </a:endParaRPr>
          </a:p>
          <a:p>
            <a:pPr marL="361950" marR="0" lvl="0" indent="-361950" algn="l" defTabSz="914400" rtl="0" eaLnBrk="1" fontAlgn="base" latinLnBrk="0" hangingPunct="1">
              <a:lnSpc>
                <a:spcPct val="100000"/>
              </a:lnSpc>
              <a:spcBef>
                <a:spcPct val="0"/>
              </a:spcBef>
              <a:spcAft>
                <a:spcPct val="0"/>
              </a:spcAft>
              <a:buClrTx/>
              <a:buSzTx/>
              <a:buFont typeface="Wingdings" pitchFamily="2" charset="2"/>
              <a:buChar char="Ø"/>
              <a:tabLst/>
              <a:defRPr/>
            </a:pPr>
            <a:endParaRPr kumimoji="0" lang="de-DE" altLang="de-DE" sz="2400" b="1" i="0" u="none" strike="noStrike" kern="1200" cap="none" spc="0" normalizeH="0" baseline="0" noProof="0" dirty="0">
              <a:ln>
                <a:noFill/>
              </a:ln>
              <a:solidFill>
                <a:srgbClr val="000000"/>
              </a:solidFill>
              <a:effectLst/>
              <a:uLnTx/>
              <a:uFillTx/>
              <a:latin typeface="Arial" charset="0"/>
              <a:ea typeface="+mn-ea"/>
              <a:cs typeface="+mn-cs"/>
            </a:endParaRPr>
          </a:p>
          <a:p>
            <a:pPr marL="361950" marR="0" lvl="0" indent="-361950" algn="l" defTabSz="914400" rtl="0" eaLnBrk="1" fontAlgn="base" latinLnBrk="0" hangingPunct="1">
              <a:lnSpc>
                <a:spcPct val="100000"/>
              </a:lnSpc>
              <a:spcBef>
                <a:spcPct val="0"/>
              </a:spcBef>
              <a:spcAft>
                <a:spcPct val="0"/>
              </a:spcAft>
              <a:buClrTx/>
              <a:buSzTx/>
              <a:buFont typeface="Wingdings" pitchFamily="2" charset="2"/>
              <a:buChar char="Ø"/>
              <a:tabLst/>
              <a:defRPr/>
            </a:pPr>
            <a:r>
              <a:rPr kumimoji="0" lang="de-DE" altLang="de-DE" sz="2400" b="1" i="0" u="none" strike="noStrike" kern="1200" cap="none" spc="0" normalizeH="0" baseline="0" noProof="0" dirty="0">
                <a:ln>
                  <a:noFill/>
                </a:ln>
                <a:effectLst/>
                <a:uLnTx/>
                <a:uFillTx/>
                <a:latin typeface="Arial" charset="0"/>
                <a:ea typeface="+mn-ea"/>
                <a:cs typeface="+mn-cs"/>
              </a:rPr>
              <a:t>A </a:t>
            </a:r>
            <a:r>
              <a:rPr kumimoji="0" lang="de-DE" altLang="de-DE" sz="2400" b="1" i="0" u="none" strike="noStrike" kern="1200" cap="none" spc="0" normalizeH="0" baseline="0" noProof="0" dirty="0" err="1">
                <a:ln>
                  <a:noFill/>
                </a:ln>
                <a:effectLst/>
                <a:uLnTx/>
                <a:uFillTx/>
                <a:latin typeface="Arial" charset="0"/>
                <a:ea typeface="+mn-ea"/>
                <a:cs typeface="+mn-cs"/>
              </a:rPr>
              <a:t>typical</a:t>
            </a:r>
            <a:r>
              <a:rPr kumimoji="0" lang="de-DE" altLang="de-DE" sz="2400" b="1" i="0" u="none" strike="noStrike" kern="1200" cap="none" spc="0" normalizeH="0" baseline="0" noProof="0" dirty="0">
                <a:ln>
                  <a:noFill/>
                </a:ln>
                <a:effectLst/>
                <a:uLnTx/>
                <a:uFillTx/>
                <a:latin typeface="Arial" charset="0"/>
                <a:ea typeface="+mn-ea"/>
                <a:cs typeface="+mn-cs"/>
              </a:rPr>
              <a:t>  Horizontal </a:t>
            </a:r>
            <a:r>
              <a:rPr kumimoji="0" lang="de-DE" altLang="de-DE" sz="2400" b="1" i="0" u="none" strike="noStrike" kern="1200" cap="none" spc="0" normalizeH="0" baseline="0" noProof="0" dirty="0" err="1">
                <a:ln>
                  <a:noFill/>
                </a:ln>
                <a:effectLst/>
                <a:uLnTx/>
                <a:uFillTx/>
                <a:latin typeface="Arial" charset="0"/>
                <a:ea typeface="+mn-ea"/>
                <a:cs typeface="+mn-cs"/>
              </a:rPr>
              <a:t>Feedwater</a:t>
            </a:r>
            <a:r>
              <a:rPr kumimoji="0" lang="de-DE" altLang="de-DE" sz="2400" b="1" i="0" u="none" strike="noStrike" kern="1200" cap="none" spc="0" normalizeH="0" baseline="0" noProof="0" dirty="0">
                <a:ln>
                  <a:noFill/>
                </a:ln>
                <a:effectLst/>
                <a:uLnTx/>
                <a:uFillTx/>
                <a:latin typeface="Arial" charset="0"/>
                <a:ea typeface="+mn-ea"/>
                <a:cs typeface="+mn-cs"/>
              </a:rPr>
              <a:t> Pump</a:t>
            </a:r>
          </a:p>
          <a:p>
            <a:pPr marL="0" marR="0" lvl="0" indent="0" algn="l" defTabSz="914400" rtl="0" eaLnBrk="1" fontAlgn="base" latinLnBrk="0" hangingPunct="1">
              <a:lnSpc>
                <a:spcPct val="100000"/>
              </a:lnSpc>
              <a:spcBef>
                <a:spcPct val="0"/>
              </a:spcBef>
              <a:spcAft>
                <a:spcPct val="0"/>
              </a:spcAft>
              <a:buClrTx/>
              <a:buSzTx/>
              <a:tabLst/>
              <a:defRPr/>
            </a:pPr>
            <a:endParaRPr kumimoji="0" lang="de-DE" altLang="de-DE" sz="2400" b="1" i="0" u="none" strike="noStrike" kern="1200" cap="none" spc="0" normalizeH="0" baseline="0" noProof="0" dirty="0">
              <a:ln>
                <a:noFill/>
              </a:ln>
              <a:solidFill>
                <a:srgbClr val="0000FF"/>
              </a:solidFill>
              <a:effectLst/>
              <a:uLnTx/>
              <a:uFillTx/>
              <a:latin typeface="Arial" charset="0"/>
              <a:ea typeface="+mn-ea"/>
              <a:cs typeface="+mn-cs"/>
            </a:endParaRPr>
          </a:p>
          <a:p>
            <a:pPr marL="361950" marR="0" lvl="0" indent="-361950" algn="l" defTabSz="914400" rtl="0" eaLnBrk="1" fontAlgn="base" latinLnBrk="0" hangingPunct="1">
              <a:lnSpc>
                <a:spcPct val="100000"/>
              </a:lnSpc>
              <a:spcBef>
                <a:spcPct val="0"/>
              </a:spcBef>
              <a:spcAft>
                <a:spcPct val="0"/>
              </a:spcAft>
              <a:buClrTx/>
              <a:buSzTx/>
              <a:buFont typeface="Wingdings" pitchFamily="2" charset="2"/>
              <a:buChar char="Ø"/>
              <a:tabLst/>
              <a:defRPr/>
            </a:pPr>
            <a:r>
              <a:rPr kumimoji="0" lang="de-DE" altLang="de-DE" sz="2400" b="1" i="0" u="none" strike="noStrike" kern="1200" cap="none" spc="0" normalizeH="0" baseline="0" noProof="0" dirty="0">
                <a:ln>
                  <a:noFill/>
                </a:ln>
                <a:solidFill>
                  <a:srgbClr val="000000"/>
                </a:solidFill>
                <a:effectLst/>
                <a:uLnTx/>
                <a:uFillTx/>
                <a:latin typeface="Arial" charset="0"/>
                <a:ea typeface="+mn-ea"/>
                <a:cs typeface="+mn-cs"/>
              </a:rPr>
              <a:t>Lateral </a:t>
            </a:r>
            <a:r>
              <a:rPr kumimoji="0" lang="de-DE" altLang="de-DE" sz="2400" b="1" i="0" u="none" strike="noStrike" kern="1200" cap="none" spc="0" normalizeH="0" baseline="0" noProof="0" dirty="0" err="1">
                <a:ln>
                  <a:noFill/>
                </a:ln>
                <a:solidFill>
                  <a:srgbClr val="000000"/>
                </a:solidFill>
                <a:effectLst/>
                <a:uLnTx/>
                <a:uFillTx/>
                <a:latin typeface="Arial" charset="0"/>
                <a:ea typeface="+mn-ea"/>
                <a:cs typeface="+mn-cs"/>
              </a:rPr>
              <a:t>Vibrations</a:t>
            </a:r>
            <a:r>
              <a:rPr kumimoji="0" lang="de-DE" altLang="de-DE" sz="2400" b="1" i="0" u="none" strike="noStrike" kern="1200" cap="none" spc="0" normalizeH="0" baseline="0" noProof="0" dirty="0">
                <a:ln>
                  <a:noFill/>
                </a:ln>
                <a:solidFill>
                  <a:srgbClr val="000000"/>
                </a:solidFill>
                <a:effectLst/>
                <a:uLnTx/>
                <a:uFillTx/>
                <a:latin typeface="Arial" charset="0"/>
                <a:ea typeface="+mn-ea"/>
                <a:cs typeface="+mn-cs"/>
              </a:rPr>
              <a:t> </a:t>
            </a:r>
            <a:r>
              <a:rPr kumimoji="0" lang="de-DE" altLang="de-DE" sz="2400" b="1" i="0" u="none" strike="noStrike" kern="1200" cap="none" spc="0" normalizeH="0" baseline="0" noProof="0" dirty="0" err="1">
                <a:ln>
                  <a:noFill/>
                </a:ln>
                <a:solidFill>
                  <a:srgbClr val="000000"/>
                </a:solidFill>
                <a:effectLst/>
                <a:uLnTx/>
                <a:uFillTx/>
                <a:latin typeface="Arial" charset="0"/>
                <a:ea typeface="+mn-ea"/>
                <a:cs typeface="+mn-cs"/>
              </a:rPr>
              <a:t>of</a:t>
            </a:r>
            <a:r>
              <a:rPr kumimoji="0" lang="de-DE" altLang="de-DE" sz="2400" b="1" i="0" u="none" strike="noStrike" kern="1200" cap="none" spc="0" normalizeH="0" baseline="0" noProof="0" dirty="0">
                <a:ln>
                  <a:noFill/>
                </a:ln>
                <a:solidFill>
                  <a:srgbClr val="000000"/>
                </a:solidFill>
                <a:effectLst/>
                <a:uLnTx/>
                <a:uFillTx/>
                <a:latin typeface="Arial" charset="0"/>
                <a:ea typeface="+mn-ea"/>
                <a:cs typeface="+mn-cs"/>
              </a:rPr>
              <a:t> </a:t>
            </a:r>
            <a:r>
              <a:rPr kumimoji="0" lang="de-DE" altLang="de-DE" sz="2400" b="1" i="0" u="none" strike="noStrike" kern="1200" cap="none" spc="0" normalizeH="0" baseline="0" noProof="0" dirty="0" err="1">
                <a:ln>
                  <a:noFill/>
                </a:ln>
                <a:solidFill>
                  <a:srgbClr val="000000"/>
                </a:solidFill>
                <a:effectLst/>
                <a:uLnTx/>
                <a:uFillTx/>
                <a:latin typeface="Arial" charset="0"/>
                <a:ea typeface="+mn-ea"/>
                <a:cs typeface="+mn-cs"/>
              </a:rPr>
              <a:t>the</a:t>
            </a:r>
            <a:r>
              <a:rPr kumimoji="0" lang="de-DE" altLang="de-DE" sz="2400" b="1" i="0" u="none" strike="noStrike" kern="1200" cap="none" spc="0" normalizeH="0" baseline="0" noProof="0" dirty="0">
                <a:ln>
                  <a:noFill/>
                </a:ln>
                <a:solidFill>
                  <a:srgbClr val="000000"/>
                </a:solidFill>
                <a:effectLst/>
                <a:uLnTx/>
                <a:uFillTx/>
                <a:latin typeface="Arial" charset="0"/>
                <a:ea typeface="+mn-ea"/>
                <a:cs typeface="+mn-cs"/>
              </a:rPr>
              <a:t> Horizontal </a:t>
            </a:r>
            <a:r>
              <a:rPr kumimoji="0" lang="de-DE" altLang="de-DE" sz="2400" b="1" i="0" u="none" strike="noStrike" kern="1200" cap="none" spc="0" normalizeH="0" baseline="0" noProof="0" dirty="0" err="1">
                <a:ln>
                  <a:noFill/>
                </a:ln>
                <a:solidFill>
                  <a:srgbClr val="000000"/>
                </a:solidFill>
                <a:effectLst/>
                <a:uLnTx/>
                <a:uFillTx/>
                <a:latin typeface="Arial" charset="0"/>
                <a:ea typeface="+mn-ea"/>
                <a:cs typeface="+mn-cs"/>
              </a:rPr>
              <a:t>Feedwater</a:t>
            </a:r>
            <a:r>
              <a:rPr kumimoji="0" lang="de-DE" altLang="de-DE" sz="2400" b="1" i="0" u="none" strike="noStrike" kern="1200" cap="none" spc="0" normalizeH="0" baseline="0" noProof="0" dirty="0">
                <a:ln>
                  <a:noFill/>
                </a:ln>
                <a:solidFill>
                  <a:srgbClr val="000000"/>
                </a:solidFill>
                <a:effectLst/>
                <a:uLnTx/>
                <a:uFillTx/>
                <a:latin typeface="Arial" charset="0"/>
                <a:ea typeface="+mn-ea"/>
                <a:cs typeface="+mn-cs"/>
              </a:rPr>
              <a:t> Pump</a:t>
            </a:r>
          </a:p>
          <a:p>
            <a:pPr marL="361950" marR="0" lvl="0" indent="-361950" algn="l" defTabSz="914400" rtl="0" eaLnBrk="1" fontAlgn="base" latinLnBrk="0" hangingPunct="1">
              <a:lnSpc>
                <a:spcPct val="100000"/>
              </a:lnSpc>
              <a:spcBef>
                <a:spcPct val="0"/>
              </a:spcBef>
              <a:spcAft>
                <a:spcPct val="0"/>
              </a:spcAft>
              <a:buClrTx/>
              <a:buSzTx/>
              <a:buFont typeface="Wingdings" pitchFamily="2" charset="2"/>
              <a:buChar char="Ø"/>
              <a:tabLst/>
              <a:defRPr/>
            </a:pPr>
            <a:endParaRPr kumimoji="0" lang="de-DE" altLang="de-DE" sz="2400" b="1" i="0" u="none" strike="noStrike" kern="1200" cap="none" spc="0" normalizeH="0" baseline="0" noProof="0" dirty="0">
              <a:ln>
                <a:noFill/>
              </a:ln>
              <a:solidFill>
                <a:srgbClr val="000000"/>
              </a:solidFill>
              <a:effectLst/>
              <a:uLnTx/>
              <a:uFillTx/>
              <a:latin typeface="Arial" charset="0"/>
              <a:ea typeface="+mn-ea"/>
              <a:cs typeface="+mn-cs"/>
            </a:endParaRPr>
          </a:p>
          <a:p>
            <a:pPr marL="361950" marR="0" lvl="0" indent="-361950" algn="l" defTabSz="914400" rtl="0" eaLnBrk="1" fontAlgn="base" latinLnBrk="0" hangingPunct="1">
              <a:lnSpc>
                <a:spcPct val="100000"/>
              </a:lnSpc>
              <a:spcBef>
                <a:spcPct val="0"/>
              </a:spcBef>
              <a:spcAft>
                <a:spcPct val="0"/>
              </a:spcAft>
              <a:buClrTx/>
              <a:buSzTx/>
              <a:buFont typeface="Wingdings" pitchFamily="2" charset="2"/>
              <a:buChar char="Ø"/>
              <a:tabLst/>
              <a:defRPr/>
            </a:pPr>
            <a:r>
              <a:rPr kumimoji="0" lang="de-DE" altLang="de-DE" sz="2400" b="1" i="0" u="none" strike="noStrike" kern="1200" cap="none" spc="0" normalizeH="0" baseline="0" noProof="0" dirty="0">
                <a:ln>
                  <a:noFill/>
                </a:ln>
                <a:solidFill>
                  <a:srgbClr val="000000"/>
                </a:solidFill>
                <a:effectLst/>
                <a:uLnTx/>
                <a:uFillTx/>
                <a:latin typeface="Arial" charset="0"/>
                <a:ea typeface="+mn-ea"/>
                <a:cs typeface="+mn-cs"/>
              </a:rPr>
              <a:t>Modelling </a:t>
            </a:r>
            <a:r>
              <a:rPr kumimoji="0" lang="de-DE" altLang="de-DE" sz="2400" b="1" i="0" u="none" strike="noStrike" kern="1200" cap="none" spc="0" normalizeH="0" baseline="0" noProof="0" dirty="0" err="1">
                <a:ln>
                  <a:noFill/>
                </a:ln>
                <a:solidFill>
                  <a:srgbClr val="000000"/>
                </a:solidFill>
                <a:effectLst/>
                <a:uLnTx/>
                <a:uFillTx/>
                <a:latin typeface="Arial" charset="0"/>
                <a:ea typeface="+mn-ea"/>
                <a:cs typeface="+mn-cs"/>
              </a:rPr>
              <a:t>of</a:t>
            </a:r>
            <a:r>
              <a:rPr kumimoji="0" lang="de-DE" altLang="de-DE" sz="2400" b="1" i="0" u="none" strike="noStrike" kern="1200" cap="none" spc="0" normalizeH="0" baseline="0" noProof="0" dirty="0">
                <a:ln>
                  <a:noFill/>
                </a:ln>
                <a:solidFill>
                  <a:srgbClr val="000000"/>
                </a:solidFill>
                <a:effectLst/>
                <a:uLnTx/>
                <a:uFillTx/>
                <a:latin typeface="Arial" charset="0"/>
                <a:ea typeface="+mn-ea"/>
                <a:cs typeface="+mn-cs"/>
              </a:rPr>
              <a:t> </a:t>
            </a:r>
            <a:r>
              <a:rPr lang="de-DE" altLang="de-DE" sz="2400" noProof="0" dirty="0" err="1">
                <a:solidFill>
                  <a:srgbClr val="000000"/>
                </a:solidFill>
                <a:latin typeface="Arial" charset="0"/>
              </a:rPr>
              <a:t>the</a:t>
            </a:r>
            <a:r>
              <a:rPr kumimoji="0" lang="de-DE" altLang="de-DE" sz="2400" b="1" i="0" u="none" strike="noStrike" kern="1200" cap="none" spc="0" normalizeH="0" baseline="0" noProof="0" dirty="0">
                <a:ln>
                  <a:noFill/>
                </a:ln>
                <a:solidFill>
                  <a:srgbClr val="000000"/>
                </a:solidFill>
                <a:effectLst/>
                <a:uLnTx/>
                <a:uFillTx/>
                <a:latin typeface="Arial" charset="0"/>
                <a:ea typeface="+mn-ea"/>
                <a:cs typeface="+mn-cs"/>
              </a:rPr>
              <a:t> Horizontal </a:t>
            </a:r>
            <a:r>
              <a:rPr kumimoji="0" lang="de-DE" altLang="de-DE" sz="2400" b="1" i="0" u="none" strike="noStrike" kern="1200" cap="none" spc="0" normalizeH="0" baseline="0" noProof="0" dirty="0" err="1">
                <a:ln>
                  <a:noFill/>
                </a:ln>
                <a:solidFill>
                  <a:srgbClr val="000000"/>
                </a:solidFill>
                <a:effectLst/>
                <a:uLnTx/>
                <a:uFillTx/>
                <a:latin typeface="Arial" charset="0"/>
                <a:ea typeface="+mn-ea"/>
                <a:cs typeface="+mn-cs"/>
              </a:rPr>
              <a:t>Feedwater</a:t>
            </a:r>
            <a:r>
              <a:rPr kumimoji="0" lang="de-DE" altLang="de-DE" sz="2400" b="1" i="0" u="none" strike="noStrike" kern="1200" cap="none" spc="0" normalizeH="0" baseline="0" noProof="0" dirty="0">
                <a:ln>
                  <a:noFill/>
                </a:ln>
                <a:solidFill>
                  <a:srgbClr val="000000"/>
                </a:solidFill>
                <a:effectLst/>
                <a:uLnTx/>
                <a:uFillTx/>
                <a:latin typeface="Arial" charset="0"/>
                <a:ea typeface="+mn-ea"/>
                <a:cs typeface="+mn-cs"/>
              </a:rPr>
              <a:t> Pump </a:t>
            </a:r>
            <a:r>
              <a:rPr kumimoji="0" lang="de-DE" altLang="de-DE" sz="2400" b="1" i="0" u="none" strike="noStrike" kern="1200" cap="none" spc="0" normalizeH="0" baseline="0" noProof="0" dirty="0" err="1">
                <a:ln>
                  <a:noFill/>
                </a:ln>
                <a:solidFill>
                  <a:srgbClr val="000000"/>
                </a:solidFill>
                <a:effectLst/>
                <a:uLnTx/>
                <a:uFillTx/>
                <a:latin typeface="Arial" charset="0"/>
                <a:ea typeface="+mn-ea"/>
                <a:cs typeface="+mn-cs"/>
              </a:rPr>
              <a:t>with</a:t>
            </a:r>
            <a:r>
              <a:rPr kumimoji="0" lang="de-DE" altLang="de-DE" sz="2400" b="1" i="0" u="none" strike="noStrike" kern="1200" cap="none" spc="0" normalizeH="0" baseline="0" noProof="0" dirty="0">
                <a:ln>
                  <a:noFill/>
                </a:ln>
                <a:solidFill>
                  <a:srgbClr val="000000"/>
                </a:solidFill>
                <a:effectLst/>
                <a:uLnTx/>
                <a:uFillTx/>
                <a:latin typeface="Arial" charset="0"/>
                <a:ea typeface="+mn-ea"/>
                <a:cs typeface="+mn-cs"/>
              </a:rPr>
              <a:t> Interactions</a:t>
            </a:r>
          </a:p>
          <a:p>
            <a:pPr marL="0" marR="0" lvl="0" indent="0" algn="l" defTabSz="914400" rtl="0" eaLnBrk="1" fontAlgn="base" latinLnBrk="0" hangingPunct="1">
              <a:lnSpc>
                <a:spcPct val="100000"/>
              </a:lnSpc>
              <a:spcBef>
                <a:spcPct val="0"/>
              </a:spcBef>
              <a:spcAft>
                <a:spcPct val="0"/>
              </a:spcAft>
              <a:buClrTx/>
              <a:buSzTx/>
              <a:tabLst/>
              <a:defRPr/>
            </a:pPr>
            <a:endParaRPr kumimoji="0" lang="de-DE" altLang="de-DE" sz="2400" b="1" i="0" u="none" strike="noStrike" kern="1200" cap="none" spc="0" normalizeH="0" baseline="0" noProof="0" dirty="0">
              <a:ln>
                <a:noFill/>
              </a:ln>
              <a:solidFill>
                <a:srgbClr val="000000"/>
              </a:solidFill>
              <a:effectLst/>
              <a:uLnTx/>
              <a:uFillTx/>
              <a:latin typeface="Arial" charset="0"/>
              <a:ea typeface="+mn-ea"/>
              <a:cs typeface="+mn-cs"/>
            </a:endParaRPr>
          </a:p>
          <a:p>
            <a:pPr marL="361950" marR="0" lvl="0" indent="-361950" algn="l" defTabSz="914400" rtl="0" eaLnBrk="1" fontAlgn="base" latinLnBrk="0" hangingPunct="1">
              <a:lnSpc>
                <a:spcPct val="100000"/>
              </a:lnSpc>
              <a:spcBef>
                <a:spcPct val="0"/>
              </a:spcBef>
              <a:spcAft>
                <a:spcPct val="0"/>
              </a:spcAft>
              <a:buClrTx/>
              <a:buSzTx/>
              <a:buFont typeface="Wingdings" pitchFamily="2" charset="2"/>
              <a:buChar char="Ø"/>
              <a:tabLst/>
              <a:defRPr/>
            </a:pPr>
            <a:r>
              <a:rPr kumimoji="0" lang="de-DE" altLang="de-DE" sz="2400" b="1" i="0" u="none" strike="noStrike" kern="1200" cap="none" spc="0" normalizeH="0" baseline="0" noProof="0" dirty="0">
                <a:ln>
                  <a:noFill/>
                </a:ln>
                <a:solidFill>
                  <a:srgbClr val="000000"/>
                </a:solidFill>
                <a:effectLst/>
                <a:uLnTx/>
                <a:uFillTx/>
                <a:latin typeface="Arial" charset="0"/>
                <a:ea typeface="+mn-ea"/>
                <a:cs typeface="+mn-cs"/>
              </a:rPr>
              <a:t>Monitoring </a:t>
            </a:r>
            <a:r>
              <a:rPr kumimoji="0" lang="de-DE" altLang="de-DE" sz="2400" b="1" i="0" u="none" strike="noStrike" kern="1200" cap="none" spc="0" normalizeH="0" baseline="0" noProof="0" dirty="0" err="1">
                <a:ln>
                  <a:noFill/>
                </a:ln>
                <a:solidFill>
                  <a:srgbClr val="000000"/>
                </a:solidFill>
                <a:effectLst/>
                <a:uLnTx/>
                <a:uFillTx/>
                <a:latin typeface="Arial" charset="0"/>
                <a:ea typeface="+mn-ea"/>
                <a:cs typeface="+mn-cs"/>
              </a:rPr>
              <a:t>of</a:t>
            </a:r>
            <a:r>
              <a:rPr kumimoji="0" lang="de-DE" altLang="de-DE" sz="2400" b="1" i="0" u="none" strike="noStrike" kern="1200" cap="none" spc="0" normalizeH="0" baseline="0" noProof="0" dirty="0">
                <a:ln>
                  <a:noFill/>
                </a:ln>
                <a:solidFill>
                  <a:srgbClr val="000000"/>
                </a:solidFill>
                <a:effectLst/>
                <a:uLnTx/>
                <a:uFillTx/>
                <a:latin typeface="Arial" charset="0"/>
                <a:ea typeface="+mn-ea"/>
                <a:cs typeface="+mn-cs"/>
              </a:rPr>
              <a:t> </a:t>
            </a:r>
            <a:r>
              <a:rPr lang="de-DE" altLang="de-DE" sz="2400" dirty="0" err="1">
                <a:solidFill>
                  <a:srgbClr val="000000"/>
                </a:solidFill>
                <a:latin typeface="Arial" charset="0"/>
              </a:rPr>
              <a:t>the</a:t>
            </a:r>
            <a:r>
              <a:rPr kumimoji="0" lang="de-DE" altLang="de-DE" sz="2400" b="1" i="0" u="none" strike="noStrike" kern="1200" cap="none" spc="0" normalizeH="0" baseline="0" noProof="0" dirty="0">
                <a:ln>
                  <a:noFill/>
                </a:ln>
                <a:solidFill>
                  <a:srgbClr val="000000"/>
                </a:solidFill>
                <a:effectLst/>
                <a:uLnTx/>
                <a:uFillTx/>
                <a:latin typeface="Arial" charset="0"/>
                <a:ea typeface="+mn-ea"/>
                <a:cs typeface="+mn-cs"/>
              </a:rPr>
              <a:t> Horizontal </a:t>
            </a:r>
            <a:r>
              <a:rPr kumimoji="0" lang="de-DE" altLang="de-DE" sz="2400" b="1" i="0" u="none" strike="noStrike" kern="1200" cap="none" spc="0" normalizeH="0" baseline="0" noProof="0" dirty="0" err="1">
                <a:ln>
                  <a:noFill/>
                </a:ln>
                <a:solidFill>
                  <a:srgbClr val="000000"/>
                </a:solidFill>
                <a:effectLst/>
                <a:uLnTx/>
                <a:uFillTx/>
                <a:latin typeface="Arial" charset="0"/>
                <a:ea typeface="+mn-ea"/>
                <a:cs typeface="+mn-cs"/>
              </a:rPr>
              <a:t>Feedwater</a:t>
            </a:r>
            <a:r>
              <a:rPr kumimoji="0" lang="de-DE" altLang="de-DE" sz="2400" b="1" i="0" u="none" strike="noStrike" kern="1200" cap="none" spc="0" normalizeH="0" baseline="0" noProof="0" dirty="0">
                <a:ln>
                  <a:noFill/>
                </a:ln>
                <a:solidFill>
                  <a:srgbClr val="000000"/>
                </a:solidFill>
                <a:effectLst/>
                <a:uLnTx/>
                <a:uFillTx/>
                <a:latin typeface="Arial" charset="0"/>
                <a:ea typeface="+mn-ea"/>
                <a:cs typeface="+mn-cs"/>
              </a:rPr>
              <a:t> Pump OL3 </a:t>
            </a:r>
            <a:r>
              <a:rPr kumimoji="0" lang="de-DE" altLang="de-DE" sz="2400" b="1" i="0" u="none" strike="noStrike" kern="1200" cap="none" spc="0" normalizeH="0" baseline="0" noProof="0" dirty="0" err="1">
                <a:ln>
                  <a:noFill/>
                </a:ln>
                <a:solidFill>
                  <a:srgbClr val="000000"/>
                </a:solidFill>
                <a:effectLst/>
                <a:uLnTx/>
                <a:uFillTx/>
                <a:latin typeface="Arial" charset="0"/>
                <a:ea typeface="+mn-ea"/>
                <a:cs typeface="+mn-cs"/>
              </a:rPr>
              <a:t>during</a:t>
            </a:r>
            <a:r>
              <a:rPr kumimoji="0" lang="de-DE" altLang="de-DE" sz="2400" b="1" i="0" u="none" strike="noStrike" kern="1200" cap="none" spc="0" normalizeH="0" baseline="0" noProof="0" dirty="0">
                <a:ln>
                  <a:noFill/>
                </a:ln>
                <a:solidFill>
                  <a:srgbClr val="000000"/>
                </a:solidFill>
                <a:effectLst/>
                <a:uLnTx/>
                <a:uFillTx/>
                <a:latin typeface="Arial" charset="0"/>
                <a:ea typeface="+mn-ea"/>
                <a:cs typeface="+mn-cs"/>
              </a:rPr>
              <a:t> Operation</a:t>
            </a:r>
          </a:p>
          <a:p>
            <a:pPr marL="0" marR="0" lvl="0" indent="0" algn="l" defTabSz="914400" rtl="0" eaLnBrk="1" fontAlgn="base" latinLnBrk="0" hangingPunct="1">
              <a:lnSpc>
                <a:spcPct val="100000"/>
              </a:lnSpc>
              <a:spcBef>
                <a:spcPct val="0"/>
              </a:spcBef>
              <a:spcAft>
                <a:spcPct val="0"/>
              </a:spcAft>
              <a:buClrTx/>
              <a:buSzTx/>
              <a:tabLst/>
              <a:defRPr/>
            </a:pPr>
            <a:endParaRPr kumimoji="0" lang="de-DE" altLang="de-DE" sz="2400" b="1" i="0" u="none" strike="noStrike" kern="1200" cap="none" spc="0" normalizeH="0" baseline="0" noProof="0" dirty="0">
              <a:ln>
                <a:noFill/>
              </a:ln>
              <a:solidFill>
                <a:srgbClr val="000000"/>
              </a:solidFill>
              <a:effectLst/>
              <a:uLnTx/>
              <a:uFillTx/>
              <a:latin typeface="Arial" charset="0"/>
              <a:ea typeface="+mn-ea"/>
              <a:cs typeface="+mn-cs"/>
            </a:endParaRPr>
          </a:p>
          <a:p>
            <a:pPr marL="361950" marR="0" lvl="0" indent="-361950" algn="l" defTabSz="914400" rtl="0" eaLnBrk="1" fontAlgn="base" latinLnBrk="0" hangingPunct="1">
              <a:lnSpc>
                <a:spcPct val="100000"/>
              </a:lnSpc>
              <a:spcBef>
                <a:spcPct val="0"/>
              </a:spcBef>
              <a:spcAft>
                <a:spcPct val="0"/>
              </a:spcAft>
              <a:buClrTx/>
              <a:buSzTx/>
              <a:buFont typeface="Wingdings" pitchFamily="2" charset="2"/>
              <a:buChar char="Ø"/>
              <a:tabLst/>
              <a:defRPr/>
            </a:pPr>
            <a:r>
              <a:rPr kumimoji="0" lang="de-DE" altLang="de-DE" sz="2400" b="1" i="0" u="none" strike="noStrike" kern="1200" cap="none" spc="0" normalizeH="0" baseline="0" noProof="0" dirty="0">
                <a:ln>
                  <a:noFill/>
                </a:ln>
                <a:solidFill>
                  <a:srgbClr val="000000"/>
                </a:solidFill>
                <a:effectLst/>
                <a:uLnTx/>
                <a:uFillTx/>
                <a:latin typeface="Arial" charset="0"/>
                <a:ea typeface="+mn-ea"/>
                <a:cs typeface="+mn-cs"/>
              </a:rPr>
              <a:t>Vibration</a:t>
            </a:r>
            <a:r>
              <a:rPr kumimoji="0" lang="de-DE" altLang="de-DE" sz="2400" b="1" i="0" u="none" strike="noStrike" kern="1200" cap="none" spc="0" normalizeH="0" noProof="0" dirty="0">
                <a:ln>
                  <a:noFill/>
                </a:ln>
                <a:solidFill>
                  <a:srgbClr val="000000"/>
                </a:solidFill>
                <a:effectLst/>
                <a:uLnTx/>
                <a:uFillTx/>
                <a:latin typeface="Arial" charset="0"/>
                <a:ea typeface="+mn-ea"/>
                <a:cs typeface="+mn-cs"/>
              </a:rPr>
              <a:t> </a:t>
            </a:r>
            <a:r>
              <a:rPr kumimoji="0" lang="de-DE" altLang="de-DE" sz="2400" b="1" i="0" u="none" strike="noStrike" kern="1200" cap="none" spc="0" normalizeH="0" noProof="0" dirty="0" err="1">
                <a:ln>
                  <a:noFill/>
                </a:ln>
                <a:solidFill>
                  <a:srgbClr val="000000"/>
                </a:solidFill>
                <a:effectLst/>
                <a:uLnTx/>
                <a:uFillTx/>
                <a:latin typeface="Arial" charset="0"/>
                <a:ea typeface="+mn-ea"/>
                <a:cs typeface="+mn-cs"/>
              </a:rPr>
              <a:t>Phenomena</a:t>
            </a:r>
            <a:r>
              <a:rPr kumimoji="0" lang="de-DE" altLang="de-DE" sz="2400" b="1" i="0" u="none" strike="noStrike" kern="1200" cap="none" spc="0" normalizeH="0" noProof="0" dirty="0">
                <a:ln>
                  <a:noFill/>
                </a:ln>
                <a:solidFill>
                  <a:srgbClr val="000000"/>
                </a:solidFill>
                <a:effectLst/>
                <a:uLnTx/>
                <a:uFillTx/>
                <a:latin typeface="Arial" charset="0"/>
                <a:ea typeface="+mn-ea"/>
                <a:cs typeface="+mn-cs"/>
              </a:rPr>
              <a:t> </a:t>
            </a:r>
            <a:r>
              <a:rPr kumimoji="0" lang="de-DE" altLang="de-DE" sz="2400" b="1" i="0" u="none" strike="noStrike" kern="1200" cap="none" spc="0" normalizeH="0" noProof="0" dirty="0" err="1">
                <a:ln>
                  <a:noFill/>
                </a:ln>
                <a:solidFill>
                  <a:srgbClr val="000000"/>
                </a:solidFill>
                <a:effectLst/>
                <a:uLnTx/>
                <a:uFillTx/>
                <a:latin typeface="Arial" charset="0"/>
                <a:ea typeface="+mn-ea"/>
                <a:cs typeface="+mn-cs"/>
              </a:rPr>
              <a:t>of</a:t>
            </a:r>
            <a:r>
              <a:rPr kumimoji="0" lang="de-DE" altLang="de-DE" sz="2400" b="1" i="0" u="none" strike="noStrike" kern="1200" cap="none" spc="0" normalizeH="0" noProof="0" dirty="0">
                <a:ln>
                  <a:noFill/>
                </a:ln>
                <a:solidFill>
                  <a:srgbClr val="000000"/>
                </a:solidFill>
                <a:effectLst/>
                <a:uLnTx/>
                <a:uFillTx/>
                <a:latin typeface="Arial" charset="0"/>
                <a:ea typeface="+mn-ea"/>
                <a:cs typeface="+mn-cs"/>
              </a:rPr>
              <a:t> </a:t>
            </a:r>
            <a:r>
              <a:rPr kumimoji="0" lang="de-DE" altLang="de-DE" sz="2400" b="1" i="0" u="none" strike="noStrike" kern="1200" cap="none" spc="0" normalizeH="0" noProof="0" dirty="0" err="1">
                <a:ln>
                  <a:noFill/>
                </a:ln>
                <a:solidFill>
                  <a:srgbClr val="000000"/>
                </a:solidFill>
                <a:effectLst/>
                <a:uLnTx/>
                <a:uFillTx/>
                <a:latin typeface="Arial" charset="0"/>
                <a:ea typeface="+mn-ea"/>
                <a:cs typeface="+mn-cs"/>
              </a:rPr>
              <a:t>the</a:t>
            </a:r>
            <a:r>
              <a:rPr kumimoji="0" lang="de-DE" altLang="de-DE" sz="2400" b="1" i="0" u="none" strike="noStrike" kern="1200" cap="none" spc="0" normalizeH="0" noProof="0" dirty="0">
                <a:ln>
                  <a:noFill/>
                </a:ln>
                <a:solidFill>
                  <a:srgbClr val="000000"/>
                </a:solidFill>
                <a:effectLst/>
                <a:uLnTx/>
                <a:uFillTx/>
                <a:latin typeface="Arial" charset="0"/>
                <a:ea typeface="+mn-ea"/>
                <a:cs typeface="+mn-cs"/>
              </a:rPr>
              <a:t> Horizontal </a:t>
            </a:r>
            <a:r>
              <a:rPr kumimoji="0" lang="de-DE" altLang="de-DE" sz="2400" b="1" i="0" u="none" strike="noStrike" kern="1200" cap="none" spc="0" normalizeH="0" noProof="0" dirty="0" err="1">
                <a:ln>
                  <a:noFill/>
                </a:ln>
                <a:solidFill>
                  <a:srgbClr val="000000"/>
                </a:solidFill>
                <a:effectLst/>
                <a:uLnTx/>
                <a:uFillTx/>
                <a:latin typeface="Arial" charset="0"/>
                <a:ea typeface="+mn-ea"/>
                <a:cs typeface="+mn-cs"/>
              </a:rPr>
              <a:t>Feedwater</a:t>
            </a:r>
            <a:r>
              <a:rPr kumimoji="0" lang="de-DE" altLang="de-DE" sz="2400" b="1" i="0" u="none" strike="noStrike" kern="1200" cap="none" spc="0" normalizeH="0" noProof="0" dirty="0">
                <a:ln>
                  <a:noFill/>
                </a:ln>
                <a:solidFill>
                  <a:srgbClr val="000000"/>
                </a:solidFill>
                <a:effectLst/>
                <a:uLnTx/>
                <a:uFillTx/>
                <a:latin typeface="Arial" charset="0"/>
                <a:ea typeface="+mn-ea"/>
                <a:cs typeface="+mn-cs"/>
              </a:rPr>
              <a:t> Pump OL3</a:t>
            </a:r>
          </a:p>
          <a:p>
            <a:pPr marL="361950" marR="0" lvl="0" indent="-361950" algn="l" defTabSz="914400" rtl="0" eaLnBrk="1" fontAlgn="base" latinLnBrk="0" hangingPunct="1">
              <a:lnSpc>
                <a:spcPct val="100000"/>
              </a:lnSpc>
              <a:spcBef>
                <a:spcPct val="0"/>
              </a:spcBef>
              <a:spcAft>
                <a:spcPct val="0"/>
              </a:spcAft>
              <a:buClrTx/>
              <a:buSzTx/>
              <a:buFont typeface="Wingdings" pitchFamily="2" charset="2"/>
              <a:buChar char="Ø"/>
              <a:tabLst/>
              <a:defRPr/>
            </a:pPr>
            <a:endParaRPr lang="de-DE" altLang="de-DE" sz="2400" dirty="0">
              <a:solidFill>
                <a:srgbClr val="000000"/>
              </a:solidFill>
              <a:latin typeface="Arial" charset="0"/>
            </a:endParaRPr>
          </a:p>
          <a:p>
            <a:pPr marL="361950" marR="0" lvl="0" indent="-361950" algn="l" defTabSz="914400" rtl="0" eaLnBrk="1" fontAlgn="base" latinLnBrk="0" hangingPunct="1">
              <a:lnSpc>
                <a:spcPct val="100000"/>
              </a:lnSpc>
              <a:spcBef>
                <a:spcPct val="0"/>
              </a:spcBef>
              <a:spcAft>
                <a:spcPct val="0"/>
              </a:spcAft>
              <a:buClrTx/>
              <a:buSzTx/>
              <a:buFont typeface="Wingdings" pitchFamily="2" charset="2"/>
              <a:buChar char="Ø"/>
              <a:tabLst/>
              <a:defRPr/>
            </a:pPr>
            <a:r>
              <a:rPr kumimoji="0" lang="de-DE" altLang="de-DE" sz="2400" b="1" i="0" u="none" strike="noStrike" kern="1200" cap="none" spc="0" normalizeH="0" noProof="0" dirty="0" err="1">
                <a:ln>
                  <a:noFill/>
                </a:ln>
                <a:solidFill>
                  <a:srgbClr val="000000"/>
                </a:solidFill>
                <a:effectLst/>
                <a:uLnTx/>
                <a:uFillTx/>
                <a:latin typeface="Arial" charset="0"/>
                <a:ea typeface="+mn-ea"/>
                <a:cs typeface="+mn-cs"/>
              </a:rPr>
              <a:t>Measured</a:t>
            </a:r>
            <a:r>
              <a:rPr kumimoji="0" lang="de-DE" altLang="de-DE" sz="2400" b="1" i="0" u="none" strike="noStrike" kern="1200" cap="none" spc="0" normalizeH="0" noProof="0" dirty="0">
                <a:ln>
                  <a:noFill/>
                </a:ln>
                <a:solidFill>
                  <a:srgbClr val="000000"/>
                </a:solidFill>
                <a:effectLst/>
                <a:uLnTx/>
                <a:uFillTx/>
                <a:latin typeface="Arial" charset="0"/>
                <a:ea typeface="+mn-ea"/>
                <a:cs typeface="+mn-cs"/>
              </a:rPr>
              <a:t> and </a:t>
            </a:r>
            <a:r>
              <a:rPr kumimoji="0" lang="de-DE" altLang="de-DE" sz="2400" b="1" i="0" u="none" strike="noStrike" kern="1200" cap="none" spc="0" normalizeH="0" noProof="0" dirty="0" err="1">
                <a:ln>
                  <a:noFill/>
                </a:ln>
                <a:solidFill>
                  <a:srgbClr val="000000"/>
                </a:solidFill>
                <a:effectLst/>
                <a:uLnTx/>
                <a:uFillTx/>
                <a:latin typeface="Arial" charset="0"/>
                <a:ea typeface="+mn-ea"/>
                <a:cs typeface="+mn-cs"/>
              </a:rPr>
              <a:t>Calculated</a:t>
            </a:r>
            <a:r>
              <a:rPr kumimoji="0" lang="de-DE" altLang="de-DE" sz="2400" b="1" i="0" u="none" strike="noStrike" kern="1200" cap="none" spc="0" normalizeH="0" noProof="0" dirty="0">
                <a:ln>
                  <a:noFill/>
                </a:ln>
                <a:solidFill>
                  <a:srgbClr val="000000"/>
                </a:solidFill>
                <a:effectLst/>
                <a:uLnTx/>
                <a:uFillTx/>
                <a:latin typeface="Arial" charset="0"/>
                <a:ea typeface="+mn-ea"/>
                <a:cs typeface="+mn-cs"/>
              </a:rPr>
              <a:t> </a:t>
            </a:r>
            <a:r>
              <a:rPr kumimoji="0" lang="de-DE" altLang="de-DE" sz="2400" b="1" i="0" u="none" strike="noStrike" kern="1200" cap="none" spc="0" normalizeH="0" noProof="0" dirty="0" err="1">
                <a:ln>
                  <a:noFill/>
                </a:ln>
                <a:solidFill>
                  <a:srgbClr val="000000"/>
                </a:solidFill>
                <a:effectLst/>
                <a:uLnTx/>
                <a:uFillTx/>
                <a:latin typeface="Arial" charset="0"/>
                <a:ea typeface="+mn-ea"/>
                <a:cs typeface="+mn-cs"/>
              </a:rPr>
              <a:t>Vibrations</a:t>
            </a:r>
            <a:r>
              <a:rPr kumimoji="0" lang="de-DE" altLang="de-DE" sz="2400" b="1" i="0" u="none" strike="noStrike" kern="1200" cap="none" spc="0" normalizeH="0" noProof="0" dirty="0">
                <a:ln>
                  <a:noFill/>
                </a:ln>
                <a:solidFill>
                  <a:srgbClr val="000000"/>
                </a:solidFill>
                <a:effectLst/>
                <a:uLnTx/>
                <a:uFillTx/>
                <a:latin typeface="Arial" charset="0"/>
                <a:ea typeface="+mn-ea"/>
                <a:cs typeface="+mn-cs"/>
              </a:rPr>
              <a:t> </a:t>
            </a:r>
            <a:r>
              <a:rPr kumimoji="0" lang="de-DE" altLang="de-DE" sz="2400" b="1" i="0" u="none" strike="noStrike" kern="1200" cap="none" spc="0" normalizeH="0" noProof="0" dirty="0" err="1">
                <a:ln>
                  <a:noFill/>
                </a:ln>
                <a:solidFill>
                  <a:srgbClr val="000000"/>
                </a:solidFill>
                <a:effectLst/>
                <a:uLnTx/>
                <a:uFillTx/>
                <a:latin typeface="Arial" charset="0"/>
                <a:ea typeface="+mn-ea"/>
                <a:cs typeface="+mn-cs"/>
              </a:rPr>
              <a:t>of</a:t>
            </a:r>
            <a:r>
              <a:rPr kumimoji="0" lang="de-DE" altLang="de-DE" sz="2400" b="1" i="0" u="none" strike="noStrike" kern="1200" cap="none" spc="0" normalizeH="0" noProof="0" dirty="0">
                <a:ln>
                  <a:noFill/>
                </a:ln>
                <a:solidFill>
                  <a:srgbClr val="000000"/>
                </a:solidFill>
                <a:effectLst/>
                <a:uLnTx/>
                <a:uFillTx/>
                <a:latin typeface="Arial" charset="0"/>
                <a:ea typeface="+mn-ea"/>
                <a:cs typeface="+mn-cs"/>
              </a:rPr>
              <a:t> </a:t>
            </a:r>
            <a:r>
              <a:rPr kumimoji="0" lang="de-DE" altLang="de-DE" sz="2400" b="1" i="0" u="none" strike="noStrike" kern="1200" cap="none" spc="0" normalizeH="0" noProof="0" dirty="0" err="1">
                <a:ln>
                  <a:noFill/>
                </a:ln>
                <a:solidFill>
                  <a:srgbClr val="000000"/>
                </a:solidFill>
                <a:effectLst/>
                <a:uLnTx/>
                <a:uFillTx/>
                <a:latin typeface="Arial" charset="0"/>
                <a:ea typeface="+mn-ea"/>
                <a:cs typeface="+mn-cs"/>
              </a:rPr>
              <a:t>the</a:t>
            </a:r>
            <a:r>
              <a:rPr kumimoji="0" lang="de-DE" altLang="de-DE" sz="2400" b="1" i="0" u="none" strike="noStrike" kern="1200" cap="none" spc="0" normalizeH="0" noProof="0" dirty="0">
                <a:ln>
                  <a:noFill/>
                </a:ln>
                <a:solidFill>
                  <a:srgbClr val="000000"/>
                </a:solidFill>
                <a:effectLst/>
                <a:uLnTx/>
                <a:uFillTx/>
                <a:latin typeface="Arial" charset="0"/>
                <a:ea typeface="+mn-ea"/>
                <a:cs typeface="+mn-cs"/>
              </a:rPr>
              <a:t> </a:t>
            </a:r>
            <a:r>
              <a:rPr kumimoji="0" lang="de-DE" altLang="de-DE" sz="2400" b="1" i="0" u="none" strike="noStrike" kern="1200" cap="none" spc="0" normalizeH="0" noProof="0" dirty="0" err="1">
                <a:ln>
                  <a:noFill/>
                </a:ln>
                <a:solidFill>
                  <a:srgbClr val="000000"/>
                </a:solidFill>
                <a:effectLst/>
                <a:uLnTx/>
                <a:uFillTx/>
                <a:latin typeface="Arial" charset="0"/>
                <a:ea typeface="+mn-ea"/>
                <a:cs typeface="+mn-cs"/>
              </a:rPr>
              <a:t>Feedwater</a:t>
            </a:r>
            <a:r>
              <a:rPr kumimoji="0" lang="de-DE" altLang="de-DE" sz="2400" b="1" i="0" u="none" strike="noStrike" kern="1200" cap="none" spc="0" normalizeH="0" noProof="0" dirty="0">
                <a:ln>
                  <a:noFill/>
                </a:ln>
                <a:solidFill>
                  <a:srgbClr val="000000"/>
                </a:solidFill>
                <a:effectLst/>
                <a:uLnTx/>
                <a:uFillTx/>
                <a:latin typeface="Arial" charset="0"/>
                <a:ea typeface="+mn-ea"/>
                <a:cs typeface="+mn-cs"/>
              </a:rPr>
              <a:t> Pump OL3</a:t>
            </a:r>
          </a:p>
          <a:p>
            <a:pPr marL="361950" marR="0" lvl="0" indent="-361950" algn="l" defTabSz="914400" rtl="0" eaLnBrk="1" fontAlgn="base" latinLnBrk="0" hangingPunct="1">
              <a:lnSpc>
                <a:spcPct val="100000"/>
              </a:lnSpc>
              <a:spcBef>
                <a:spcPct val="0"/>
              </a:spcBef>
              <a:spcAft>
                <a:spcPct val="0"/>
              </a:spcAft>
              <a:buClrTx/>
              <a:buSzTx/>
              <a:buFont typeface="Wingdings" pitchFamily="2" charset="2"/>
              <a:buChar char="Ø"/>
              <a:tabLst/>
              <a:defRPr/>
            </a:pPr>
            <a:endParaRPr lang="de-DE" altLang="de-DE" sz="2400" baseline="0" dirty="0">
              <a:solidFill>
                <a:srgbClr val="000000"/>
              </a:solidFill>
              <a:latin typeface="Arial" charset="0"/>
            </a:endParaRPr>
          </a:p>
          <a:p>
            <a:pPr marL="0" marR="0" lvl="0" indent="0" algn="l" defTabSz="914400" rtl="0" eaLnBrk="1" fontAlgn="base" latinLnBrk="0" hangingPunct="1">
              <a:lnSpc>
                <a:spcPct val="100000"/>
              </a:lnSpc>
              <a:spcBef>
                <a:spcPct val="0"/>
              </a:spcBef>
              <a:spcAft>
                <a:spcPct val="0"/>
              </a:spcAft>
              <a:buClrTx/>
              <a:buSzTx/>
              <a:tabLst/>
              <a:defRPr/>
            </a:pPr>
            <a:endParaRPr lang="de-DE" altLang="de-DE" sz="2400" baseline="0" dirty="0">
              <a:solidFill>
                <a:srgbClr val="000000"/>
              </a:solidFill>
              <a:latin typeface="Arial" charset="0"/>
            </a:endParaRPr>
          </a:p>
        </p:txBody>
      </p:sp>
      <p:sp>
        <p:nvSpPr>
          <p:cNvPr id="47108" name="Rechteck 1">
            <a:extLst>
              <a:ext uri="{FF2B5EF4-FFF2-40B4-BE49-F238E27FC236}">
                <a16:creationId xmlns:a16="http://schemas.microsoft.com/office/drawing/2014/main" id="{73D62BC3-6968-894E-0025-EA65A3EC0C0F}"/>
              </a:ext>
            </a:extLst>
          </p:cNvPr>
          <p:cNvSpPr>
            <a:spLocks noChangeArrowheads="1"/>
          </p:cNvSpPr>
          <p:nvPr/>
        </p:nvSpPr>
        <p:spPr bwMode="auto">
          <a:xfrm>
            <a:off x="688208" y="266785"/>
            <a:ext cx="10815584" cy="4893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b="1">
                <a:solidFill>
                  <a:schemeClr val="tx1"/>
                </a:solidFill>
                <a:latin typeface="Verdana" panose="020B0604030504040204" pitchFamily="34" charset="0"/>
              </a:defRPr>
            </a:lvl1pPr>
            <a:lvl2pPr marL="742950" indent="-285750">
              <a:defRPr b="1">
                <a:solidFill>
                  <a:schemeClr val="tx1"/>
                </a:solidFill>
                <a:latin typeface="Verdana" panose="020B0604030504040204" pitchFamily="34" charset="0"/>
              </a:defRPr>
            </a:lvl2pPr>
            <a:lvl3pPr marL="1143000" indent="-228600">
              <a:defRPr b="1">
                <a:solidFill>
                  <a:schemeClr val="tx1"/>
                </a:solidFill>
                <a:latin typeface="Verdana" panose="020B0604030504040204" pitchFamily="34" charset="0"/>
              </a:defRPr>
            </a:lvl3pPr>
            <a:lvl4pPr marL="1600200" indent="-228600">
              <a:defRPr b="1">
                <a:solidFill>
                  <a:schemeClr val="tx1"/>
                </a:solidFill>
                <a:latin typeface="Verdana" panose="020B0604030504040204" pitchFamily="34" charset="0"/>
              </a:defRPr>
            </a:lvl4pPr>
            <a:lvl5pPr marL="2057400" indent="-228600">
              <a:defRPr b="1">
                <a:solidFill>
                  <a:schemeClr val="tx1"/>
                </a:solidFill>
                <a:latin typeface="Verdana" panose="020B0604030504040204" pitchFamily="34" charset="0"/>
              </a:defRPr>
            </a:lvl5pPr>
            <a:lvl6pPr marL="2514600" indent="-228600" eaLnBrk="0" fontAlgn="base" hangingPunct="0">
              <a:spcBef>
                <a:spcPct val="0"/>
              </a:spcBef>
              <a:spcAft>
                <a:spcPct val="0"/>
              </a:spcAft>
              <a:defRPr b="1">
                <a:solidFill>
                  <a:schemeClr val="tx1"/>
                </a:solidFill>
                <a:latin typeface="Verdana" panose="020B0604030504040204" pitchFamily="34" charset="0"/>
              </a:defRPr>
            </a:lvl6pPr>
            <a:lvl7pPr marL="2971800" indent="-228600" eaLnBrk="0" fontAlgn="base" hangingPunct="0">
              <a:spcBef>
                <a:spcPct val="0"/>
              </a:spcBef>
              <a:spcAft>
                <a:spcPct val="0"/>
              </a:spcAft>
              <a:defRPr b="1">
                <a:solidFill>
                  <a:schemeClr val="tx1"/>
                </a:solidFill>
                <a:latin typeface="Verdana" panose="020B0604030504040204" pitchFamily="34" charset="0"/>
              </a:defRPr>
            </a:lvl7pPr>
            <a:lvl8pPr marL="3429000" indent="-228600" eaLnBrk="0" fontAlgn="base" hangingPunct="0">
              <a:spcBef>
                <a:spcPct val="0"/>
              </a:spcBef>
              <a:spcAft>
                <a:spcPct val="0"/>
              </a:spcAft>
              <a:defRPr b="1">
                <a:solidFill>
                  <a:schemeClr val="tx1"/>
                </a:solidFill>
                <a:latin typeface="Verdana" panose="020B0604030504040204" pitchFamily="34" charset="0"/>
              </a:defRPr>
            </a:lvl8pPr>
            <a:lvl9pPr marL="3886200" indent="-228600" eaLnBrk="0" fontAlgn="base" hangingPunct="0">
              <a:spcBef>
                <a:spcPct val="0"/>
              </a:spcBef>
              <a:spcAft>
                <a:spcPct val="0"/>
              </a:spcAft>
              <a:defRPr b="1">
                <a:solidFill>
                  <a:schemeClr val="tx1"/>
                </a:solidFill>
                <a:latin typeface="Verdana" panose="020B0604030504040204" pitchFamily="34" charset="0"/>
              </a:defRPr>
            </a:lvl9pPr>
          </a:lstStyle>
          <a:p>
            <a:pPr marL="0" marR="0" lvl="0" indent="0" algn="l" defTabSz="914400" rtl="0" eaLnBrk="0" fontAlgn="base" latinLnBrk="0" hangingPunct="0">
              <a:lnSpc>
                <a:spcPct val="107000"/>
              </a:lnSpc>
              <a:spcBef>
                <a:spcPct val="0"/>
              </a:spcBef>
              <a:spcAft>
                <a:spcPts val="800"/>
              </a:spcAft>
              <a:buClrTx/>
              <a:buSzTx/>
              <a:buFont typeface="Wingdings" panose="05000000000000000000" pitchFamily="2" charset="2"/>
              <a:buNone/>
              <a:tabLst/>
              <a:defRPr/>
            </a:pPr>
            <a:r>
              <a:rPr kumimoji="0" lang="de-DE" altLang="de-DE" sz="2600" b="1" i="0" u="none" strike="noStrike" kern="1200" cap="none" spc="0" normalizeH="0" baseline="0" noProof="0" dirty="0" err="1">
                <a:ln>
                  <a:noFill/>
                </a:ln>
                <a:solidFill>
                  <a:srgbClr val="000000"/>
                </a:solidFill>
                <a:effectLst/>
                <a:uLnTx/>
                <a:uFillTx/>
                <a:latin typeface="Arial"/>
                <a:ea typeface="+mn-ea"/>
                <a:cs typeface="+mn-cs"/>
              </a:rPr>
              <a:t>Lecture</a:t>
            </a:r>
            <a:r>
              <a:rPr kumimoji="0" lang="de-DE" altLang="de-DE" sz="2600" b="1" i="0" u="none" strike="noStrike" kern="1200" cap="none" spc="0" normalizeH="0" baseline="0" noProof="0" dirty="0">
                <a:ln>
                  <a:noFill/>
                </a:ln>
                <a:solidFill>
                  <a:srgbClr val="000000"/>
                </a:solidFill>
                <a:effectLst/>
                <a:uLnTx/>
                <a:uFillTx/>
                <a:latin typeface="Arial"/>
                <a:ea typeface="+mn-ea"/>
                <a:cs typeface="+mn-cs"/>
              </a:rPr>
              <a:t> IV  </a:t>
            </a:r>
            <a:r>
              <a:rPr kumimoji="0" lang="de-DE" altLang="de-DE" sz="2600" b="1" i="0" u="none" strike="noStrike" kern="1200" cap="none" spc="0" normalizeH="0" baseline="0" noProof="0" dirty="0" err="1">
                <a:ln>
                  <a:noFill/>
                </a:ln>
                <a:solidFill>
                  <a:srgbClr val="0000FF"/>
                </a:solidFill>
                <a:effectLst/>
                <a:uLnTx/>
                <a:uFillTx/>
                <a:latin typeface="Arial"/>
                <a:ea typeface="+mn-ea"/>
                <a:cs typeface="+mn-cs"/>
              </a:rPr>
              <a:t>Vibrations</a:t>
            </a:r>
            <a:r>
              <a:rPr kumimoji="0" lang="de-DE" altLang="de-DE" sz="2600" b="1" i="0" u="none" strike="noStrike" kern="1200" cap="none" spc="0" normalizeH="0" baseline="0" noProof="0" dirty="0">
                <a:ln>
                  <a:noFill/>
                </a:ln>
                <a:solidFill>
                  <a:srgbClr val="0000FF"/>
                </a:solidFill>
                <a:effectLst/>
                <a:uLnTx/>
                <a:uFillTx/>
                <a:latin typeface="Arial"/>
                <a:ea typeface="+mn-ea"/>
                <a:cs typeface="+mn-cs"/>
              </a:rPr>
              <a:t> </a:t>
            </a:r>
            <a:r>
              <a:rPr kumimoji="0" lang="de-DE" altLang="de-DE" sz="2600" b="1" i="0" u="none" strike="noStrike" kern="1200" cap="none" spc="0" normalizeH="0" baseline="0" noProof="0" dirty="0" err="1">
                <a:ln>
                  <a:noFill/>
                </a:ln>
                <a:solidFill>
                  <a:srgbClr val="0000FF"/>
                </a:solidFill>
                <a:effectLst/>
                <a:uLnTx/>
                <a:uFillTx/>
                <a:latin typeface="Arial"/>
                <a:ea typeface="+mn-ea"/>
                <a:cs typeface="+mn-cs"/>
              </a:rPr>
              <a:t>of</a:t>
            </a:r>
            <a:r>
              <a:rPr kumimoji="0" lang="de-DE" altLang="de-DE" sz="2600" b="1" i="0" u="none" strike="noStrike" kern="1200" cap="none" spc="0" normalizeH="0" baseline="0" noProof="0" dirty="0">
                <a:ln>
                  <a:noFill/>
                </a:ln>
                <a:solidFill>
                  <a:srgbClr val="0000FF"/>
                </a:solidFill>
                <a:effectLst/>
                <a:uLnTx/>
                <a:uFillTx/>
                <a:latin typeface="Arial"/>
                <a:ea typeface="+mn-ea"/>
                <a:cs typeface="+mn-cs"/>
              </a:rPr>
              <a:t> </a:t>
            </a:r>
            <a:r>
              <a:rPr kumimoji="0" lang="de-DE" altLang="de-DE" sz="2600" b="1" i="0" u="none" strike="noStrike" kern="1200" cap="none" spc="0" normalizeH="0" baseline="0" noProof="0" dirty="0" err="1">
                <a:ln>
                  <a:noFill/>
                </a:ln>
                <a:solidFill>
                  <a:srgbClr val="0000FF"/>
                </a:solidFill>
                <a:effectLst/>
                <a:uLnTx/>
                <a:uFillTx/>
                <a:latin typeface="Arial"/>
                <a:ea typeface="+mn-ea"/>
                <a:cs typeface="+mn-cs"/>
              </a:rPr>
              <a:t>Feedwater</a:t>
            </a:r>
            <a:r>
              <a:rPr kumimoji="0" lang="de-DE" altLang="de-DE" sz="2600" b="1" i="0" u="none" strike="noStrike" kern="1200" cap="none" spc="0" normalizeH="0" baseline="0" noProof="0" dirty="0">
                <a:ln>
                  <a:noFill/>
                </a:ln>
                <a:solidFill>
                  <a:srgbClr val="0000FF"/>
                </a:solidFill>
                <a:effectLst/>
                <a:uLnTx/>
                <a:uFillTx/>
                <a:latin typeface="Arial"/>
                <a:ea typeface="+mn-ea"/>
                <a:cs typeface="+mn-cs"/>
              </a:rPr>
              <a:t> Pumps in </a:t>
            </a:r>
            <a:r>
              <a:rPr kumimoji="0" lang="de-DE" altLang="de-DE" sz="2600" b="1" i="0" u="none" strike="noStrike" kern="1200" cap="none" spc="0" normalizeH="0" baseline="0" noProof="0" dirty="0" err="1">
                <a:ln>
                  <a:noFill/>
                </a:ln>
                <a:solidFill>
                  <a:srgbClr val="0000FF"/>
                </a:solidFill>
                <a:effectLst/>
                <a:uLnTx/>
                <a:uFillTx/>
                <a:latin typeface="Arial"/>
                <a:ea typeface="+mn-ea"/>
                <a:cs typeface="+mn-cs"/>
              </a:rPr>
              <a:t>Nuclear</a:t>
            </a:r>
            <a:r>
              <a:rPr kumimoji="0" lang="de-DE" altLang="de-DE" sz="2600" b="1" i="0" u="none" strike="noStrike" kern="1200" cap="none" spc="0" normalizeH="0" baseline="0" noProof="0" dirty="0">
                <a:ln>
                  <a:noFill/>
                </a:ln>
                <a:solidFill>
                  <a:srgbClr val="0000FF"/>
                </a:solidFill>
                <a:effectLst/>
                <a:uLnTx/>
                <a:uFillTx/>
                <a:latin typeface="Arial"/>
                <a:ea typeface="+mn-ea"/>
                <a:cs typeface="+mn-cs"/>
              </a:rPr>
              <a:t> Power Plants</a:t>
            </a:r>
          </a:p>
        </p:txBody>
      </p:sp>
    </p:spTree>
    <p:extLst>
      <p:ext uri="{BB962C8B-B14F-4D97-AF65-F5344CB8AC3E}">
        <p14:creationId xmlns:p14="http://schemas.microsoft.com/office/powerpoint/2010/main" val="3018141193"/>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2" presetClass="entr" presetSubtype="8"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left)">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utoUpdateAnimBg="0"/>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Grafik 1">
            <a:extLst>
              <a:ext uri="{FF2B5EF4-FFF2-40B4-BE49-F238E27FC236}">
                <a16:creationId xmlns:a16="http://schemas.microsoft.com/office/drawing/2014/main" id="{04EBD807-A531-653C-B2CF-E338950EBC75}"/>
              </a:ext>
            </a:extLst>
          </p:cNvPr>
          <p:cNvPicPr>
            <a:picLocks noChangeAspect="1"/>
          </p:cNvPicPr>
          <p:nvPr/>
        </p:nvPicPr>
        <p:blipFill>
          <a:blip r:embed="rId3"/>
          <a:stretch>
            <a:fillRect/>
          </a:stretch>
        </p:blipFill>
        <p:spPr>
          <a:xfrm>
            <a:off x="821304" y="1659802"/>
            <a:ext cx="5724640" cy="3090940"/>
          </a:xfrm>
          <a:prstGeom prst="rect">
            <a:avLst/>
          </a:prstGeom>
        </p:spPr>
      </p:pic>
      <mc:AlternateContent xmlns:mc="http://schemas.openxmlformats.org/markup-compatibility/2006" xmlns:a14="http://schemas.microsoft.com/office/drawing/2010/main">
        <mc:Choice Requires="a14">
          <p:sp>
            <p:nvSpPr>
              <p:cNvPr id="5" name="Textfeld 4">
                <a:extLst>
                  <a:ext uri="{FF2B5EF4-FFF2-40B4-BE49-F238E27FC236}">
                    <a16:creationId xmlns:a16="http://schemas.microsoft.com/office/drawing/2014/main" id="{DE3B8991-DFAA-A652-DB4F-4B9EB885A29F}"/>
                  </a:ext>
                </a:extLst>
              </p:cNvPr>
              <p:cNvSpPr txBox="1"/>
              <p:nvPr/>
            </p:nvSpPr>
            <p:spPr>
              <a:xfrm>
                <a:off x="711199" y="1034058"/>
                <a:ext cx="4590869" cy="461665"/>
              </a:xfrm>
              <a:prstGeom prst="rect">
                <a:avLst/>
              </a:prstGeom>
              <a:noFill/>
            </p:spPr>
            <p:txBody>
              <a:bodyPr wrap="square" rtlCol="0">
                <a:spAutoFit/>
              </a:bodyPr>
              <a:lstStyle/>
              <a:p>
                <a:r>
                  <a:rPr lang="de-DE" dirty="0">
                    <a:solidFill>
                      <a:srgbClr val="0000FF"/>
                    </a:solidFill>
                  </a:rPr>
                  <a:t>     NDE </a:t>
                </a:r>
                <a:r>
                  <a:rPr lang="de-DE" dirty="0" err="1">
                    <a:solidFill>
                      <a:srgbClr val="0000FF"/>
                    </a:solidFill>
                  </a:rPr>
                  <a:t>Bearing</a:t>
                </a:r>
                <a:r>
                  <a:rPr lang="de-DE" dirty="0">
                    <a:solidFill>
                      <a:srgbClr val="0000FF"/>
                    </a:solidFill>
                  </a:rPr>
                  <a:t> </a:t>
                </a:r>
                <a:r>
                  <a:rPr lang="de-DE" dirty="0">
                    <a:solidFill>
                      <a:srgbClr val="FF0000"/>
                    </a:solidFill>
                  </a:rPr>
                  <a:t>horizontal</a:t>
                </a:r>
                <a:r>
                  <a:rPr lang="de-DE" sz="2400" dirty="0">
                    <a:solidFill>
                      <a:srgbClr val="0000FF"/>
                    </a:solidFill>
                  </a:rPr>
                  <a:t> </a:t>
                </a:r>
                <a14:m>
                  <m:oMath xmlns:m="http://schemas.openxmlformats.org/officeDocument/2006/math">
                    <m:acc>
                      <m:accPr>
                        <m:chr m:val="̇"/>
                        <m:ctrlPr>
                          <a:rPr lang="de-DE" sz="2400" i="1" smtClean="0">
                            <a:solidFill>
                              <a:srgbClr val="0000FF"/>
                            </a:solidFill>
                            <a:latin typeface="Cambria Math" panose="02040503050406030204" pitchFamily="18" charset="0"/>
                          </a:rPr>
                        </m:ctrlPr>
                      </m:accPr>
                      <m:e>
                        <m:r>
                          <a:rPr lang="de-DE" sz="2400" b="1" i="1" smtClean="0">
                            <a:solidFill>
                              <a:srgbClr val="0000FF"/>
                            </a:solidFill>
                            <a:latin typeface="Cambria Math" panose="02040503050406030204" pitchFamily="18" charset="0"/>
                          </a:rPr>
                          <m:t>𝒙</m:t>
                        </m:r>
                      </m:e>
                    </m:acc>
                  </m:oMath>
                </a14:m>
                <a:r>
                  <a:rPr lang="de-DE" sz="2400" baseline="-25000" dirty="0">
                    <a:solidFill>
                      <a:srgbClr val="0000FF"/>
                    </a:solidFill>
                  </a:rPr>
                  <a:t>RMS        </a:t>
                </a:r>
                <a:r>
                  <a:rPr lang="de-DE" sz="2400" dirty="0">
                    <a:solidFill>
                      <a:srgbClr val="0000FF"/>
                    </a:solidFill>
                  </a:rPr>
                  <a:t>               </a:t>
                </a:r>
              </a:p>
            </p:txBody>
          </p:sp>
        </mc:Choice>
        <mc:Fallback xmlns="">
          <p:sp>
            <p:nvSpPr>
              <p:cNvPr id="5" name="Textfeld 4">
                <a:extLst>
                  <a:ext uri="{FF2B5EF4-FFF2-40B4-BE49-F238E27FC236}">
                    <a16:creationId xmlns:a16="http://schemas.microsoft.com/office/drawing/2014/main" id="{DE3B8991-DFAA-A652-DB4F-4B9EB885A29F}"/>
                  </a:ext>
                </a:extLst>
              </p:cNvPr>
              <p:cNvSpPr txBox="1">
                <a:spLocks noRot="1" noChangeAspect="1" noMove="1" noResize="1" noEditPoints="1" noAdjustHandles="1" noChangeArrowheads="1" noChangeShapeType="1" noTextEdit="1"/>
              </p:cNvSpPr>
              <p:nvPr/>
            </p:nvSpPr>
            <p:spPr>
              <a:xfrm>
                <a:off x="711199" y="1034058"/>
                <a:ext cx="4590869" cy="461665"/>
              </a:xfrm>
              <a:prstGeom prst="rect">
                <a:avLst/>
              </a:prstGeom>
              <a:blipFill>
                <a:blip r:embed="rId4"/>
                <a:stretch>
                  <a:fillRect b="-28000"/>
                </a:stretch>
              </a:blipFill>
            </p:spPr>
            <p:txBody>
              <a:bodyPr/>
              <a:lstStyle/>
              <a:p>
                <a:r>
                  <a:rPr lang="de-DE">
                    <a:noFill/>
                  </a:rPr>
                  <a:t> </a:t>
                </a:r>
              </a:p>
            </p:txBody>
          </p:sp>
        </mc:Fallback>
      </mc:AlternateContent>
      <p:sp>
        <p:nvSpPr>
          <p:cNvPr id="6" name="Textfeld 5">
            <a:extLst>
              <a:ext uri="{FF2B5EF4-FFF2-40B4-BE49-F238E27FC236}">
                <a16:creationId xmlns:a16="http://schemas.microsoft.com/office/drawing/2014/main" id="{FC09D410-5B76-BFA9-A518-5B46BC3F73D5}"/>
              </a:ext>
            </a:extLst>
          </p:cNvPr>
          <p:cNvSpPr txBox="1"/>
          <p:nvPr/>
        </p:nvSpPr>
        <p:spPr>
          <a:xfrm>
            <a:off x="0" y="5195296"/>
            <a:ext cx="5631926" cy="400110"/>
          </a:xfrm>
          <a:prstGeom prst="rect">
            <a:avLst/>
          </a:prstGeom>
          <a:noFill/>
        </p:spPr>
        <p:txBody>
          <a:bodyPr wrap="none" rtlCol="0">
            <a:spAutoFit/>
          </a:bodyPr>
          <a:lstStyle/>
          <a:p>
            <a:r>
              <a:rPr lang="de-DE" sz="2000" dirty="0">
                <a:solidFill>
                  <a:srgbClr val="FF0000"/>
                </a:solidFill>
                <a:latin typeface="+mn-lt"/>
              </a:rPr>
              <a:t>93 Hz   </a:t>
            </a:r>
            <a:r>
              <a:rPr lang="de-DE" sz="2000" dirty="0">
                <a:solidFill>
                  <a:srgbClr val="00B050"/>
                </a:solidFill>
                <a:latin typeface="+mn-lt"/>
              </a:rPr>
              <a:t>560 Hz   </a:t>
            </a:r>
            <a:r>
              <a:rPr lang="de-DE" sz="2000" dirty="0">
                <a:solidFill>
                  <a:srgbClr val="0000FF"/>
                </a:solidFill>
                <a:latin typeface="+mn-lt"/>
              </a:rPr>
              <a:t>1120 Hz            </a:t>
            </a:r>
            <a:r>
              <a:rPr lang="de-DE" sz="2000" dirty="0" err="1">
                <a:solidFill>
                  <a:srgbClr val="0000FF"/>
                </a:solidFill>
                <a:latin typeface="+mn-lt"/>
              </a:rPr>
              <a:t>Frequency</a:t>
            </a:r>
            <a:r>
              <a:rPr lang="de-DE" sz="2000" dirty="0">
                <a:solidFill>
                  <a:srgbClr val="0000FF"/>
                </a:solidFill>
                <a:latin typeface="+mn-lt"/>
              </a:rPr>
              <a:t>  Hz</a:t>
            </a:r>
          </a:p>
        </p:txBody>
      </p:sp>
      <p:sp>
        <p:nvSpPr>
          <p:cNvPr id="7" name="Rechteck 6">
            <a:extLst>
              <a:ext uri="{FF2B5EF4-FFF2-40B4-BE49-F238E27FC236}">
                <a16:creationId xmlns:a16="http://schemas.microsoft.com/office/drawing/2014/main" id="{C17878F3-5E3B-0663-0BF7-A215D03A7BCA}"/>
              </a:ext>
            </a:extLst>
          </p:cNvPr>
          <p:cNvSpPr/>
          <p:nvPr/>
        </p:nvSpPr>
        <p:spPr>
          <a:xfrm>
            <a:off x="5167086" y="3875314"/>
            <a:ext cx="1146628" cy="319315"/>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Rechteck 7">
            <a:extLst>
              <a:ext uri="{FF2B5EF4-FFF2-40B4-BE49-F238E27FC236}">
                <a16:creationId xmlns:a16="http://schemas.microsoft.com/office/drawing/2014/main" id="{0EBE7A74-BA52-304C-0C71-76DBB1893002}"/>
              </a:ext>
            </a:extLst>
          </p:cNvPr>
          <p:cNvSpPr/>
          <p:nvPr/>
        </p:nvSpPr>
        <p:spPr>
          <a:xfrm>
            <a:off x="10271863" y="3875314"/>
            <a:ext cx="914400" cy="319315"/>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9" name="Textfeld 8">
            <a:extLst>
              <a:ext uri="{FF2B5EF4-FFF2-40B4-BE49-F238E27FC236}">
                <a16:creationId xmlns:a16="http://schemas.microsoft.com/office/drawing/2014/main" id="{C5B74CA8-19B4-27AB-89A9-8876378C0C2C}"/>
              </a:ext>
            </a:extLst>
          </p:cNvPr>
          <p:cNvSpPr txBox="1"/>
          <p:nvPr/>
        </p:nvSpPr>
        <p:spPr>
          <a:xfrm>
            <a:off x="5071291" y="3765699"/>
            <a:ext cx="1535998" cy="400110"/>
          </a:xfrm>
          <a:prstGeom prst="rect">
            <a:avLst/>
          </a:prstGeom>
          <a:noFill/>
        </p:spPr>
        <p:txBody>
          <a:bodyPr wrap="none" rtlCol="0">
            <a:spAutoFit/>
          </a:bodyPr>
          <a:lstStyle/>
          <a:p>
            <a:r>
              <a:rPr lang="de-DE" sz="2000" dirty="0">
                <a:solidFill>
                  <a:srgbClr val="0000FF"/>
                </a:solidFill>
                <a:latin typeface="+mn-lt"/>
              </a:rPr>
              <a:t> Flow Rate </a:t>
            </a:r>
          </a:p>
        </p:txBody>
      </p:sp>
      <p:sp>
        <p:nvSpPr>
          <p:cNvPr id="10" name="Rechteck 9">
            <a:extLst>
              <a:ext uri="{FF2B5EF4-FFF2-40B4-BE49-F238E27FC236}">
                <a16:creationId xmlns:a16="http://schemas.microsoft.com/office/drawing/2014/main" id="{8DE911B7-4612-E72B-4A83-91C46590F081}"/>
              </a:ext>
            </a:extLst>
          </p:cNvPr>
          <p:cNvSpPr/>
          <p:nvPr/>
        </p:nvSpPr>
        <p:spPr>
          <a:xfrm>
            <a:off x="3236686" y="1793309"/>
            <a:ext cx="1103086" cy="914400"/>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2" name="Textfeld 11">
            <a:extLst>
              <a:ext uri="{FF2B5EF4-FFF2-40B4-BE49-F238E27FC236}">
                <a16:creationId xmlns:a16="http://schemas.microsoft.com/office/drawing/2014/main" id="{CF5E8489-650B-CBDF-1AA0-3F6D956EB89A}"/>
              </a:ext>
            </a:extLst>
          </p:cNvPr>
          <p:cNvSpPr txBox="1"/>
          <p:nvPr/>
        </p:nvSpPr>
        <p:spPr>
          <a:xfrm>
            <a:off x="5341257" y="1793309"/>
            <a:ext cx="184731" cy="369332"/>
          </a:xfrm>
          <a:prstGeom prst="rect">
            <a:avLst/>
          </a:prstGeom>
          <a:noFill/>
        </p:spPr>
        <p:txBody>
          <a:bodyPr wrap="none" rtlCol="0">
            <a:spAutoFit/>
          </a:bodyPr>
          <a:lstStyle/>
          <a:p>
            <a:endParaRPr lang="de-DE"/>
          </a:p>
        </p:txBody>
      </p:sp>
      <p:cxnSp>
        <p:nvCxnSpPr>
          <p:cNvPr id="13" name="Gerade Verbindung mit Pfeil 12">
            <a:extLst>
              <a:ext uri="{FF2B5EF4-FFF2-40B4-BE49-F238E27FC236}">
                <a16:creationId xmlns:a16="http://schemas.microsoft.com/office/drawing/2014/main" id="{4F3EA241-DD34-5046-E3A7-FC268803C200}"/>
              </a:ext>
            </a:extLst>
          </p:cNvPr>
          <p:cNvCxnSpPr>
            <a:cxnSpLocks/>
          </p:cNvCxnSpPr>
          <p:nvPr/>
        </p:nvCxnSpPr>
        <p:spPr>
          <a:xfrm>
            <a:off x="3156131" y="5395351"/>
            <a:ext cx="449943" cy="0"/>
          </a:xfrm>
          <a:prstGeom prst="straightConnector1">
            <a:avLst/>
          </a:prstGeom>
          <a:ln w="57150">
            <a:solidFill>
              <a:srgbClr val="0000FF"/>
            </a:solidFill>
            <a:tailEnd type="triangle"/>
          </a:ln>
        </p:spPr>
        <p:style>
          <a:lnRef idx="1">
            <a:schemeClr val="accent1"/>
          </a:lnRef>
          <a:fillRef idx="0">
            <a:schemeClr val="accent1"/>
          </a:fillRef>
          <a:effectRef idx="0">
            <a:schemeClr val="accent1"/>
          </a:effectRef>
          <a:fontRef idx="minor">
            <a:schemeClr val="tx1"/>
          </a:fontRef>
        </p:style>
      </p:cxnSp>
      <p:cxnSp>
        <p:nvCxnSpPr>
          <p:cNvPr id="14" name="Gerade Verbindung mit Pfeil 13">
            <a:extLst>
              <a:ext uri="{FF2B5EF4-FFF2-40B4-BE49-F238E27FC236}">
                <a16:creationId xmlns:a16="http://schemas.microsoft.com/office/drawing/2014/main" id="{31D85D1C-3BF8-2145-FD7B-67C0BB604472}"/>
              </a:ext>
            </a:extLst>
          </p:cNvPr>
          <p:cNvCxnSpPr>
            <a:cxnSpLocks/>
          </p:cNvCxnSpPr>
          <p:nvPr/>
        </p:nvCxnSpPr>
        <p:spPr>
          <a:xfrm>
            <a:off x="9477829" y="5046618"/>
            <a:ext cx="420915"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7" name="Rechteck 16">
            <a:extLst>
              <a:ext uri="{FF2B5EF4-FFF2-40B4-BE49-F238E27FC236}">
                <a16:creationId xmlns:a16="http://schemas.microsoft.com/office/drawing/2014/main" id="{698B2BD4-7746-1668-260F-FEF9154FD3C4}"/>
              </a:ext>
            </a:extLst>
          </p:cNvPr>
          <p:cNvSpPr/>
          <p:nvPr/>
        </p:nvSpPr>
        <p:spPr>
          <a:xfrm>
            <a:off x="8752115" y="1877016"/>
            <a:ext cx="928914" cy="914400"/>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 name="Textfeld 3">
            <a:extLst>
              <a:ext uri="{FF2B5EF4-FFF2-40B4-BE49-F238E27FC236}">
                <a16:creationId xmlns:a16="http://schemas.microsoft.com/office/drawing/2014/main" id="{4513458F-A664-CDA7-9939-10B4E7721D7F}"/>
              </a:ext>
            </a:extLst>
          </p:cNvPr>
          <p:cNvSpPr txBox="1"/>
          <p:nvPr/>
        </p:nvSpPr>
        <p:spPr>
          <a:xfrm>
            <a:off x="751737" y="65278"/>
            <a:ext cx="10552761" cy="830997"/>
          </a:xfrm>
          <a:prstGeom prst="rect">
            <a:avLst/>
          </a:prstGeom>
          <a:noFill/>
        </p:spPr>
        <p:txBody>
          <a:bodyPr wrap="none" rtlCol="0">
            <a:spAutoFit/>
          </a:bodyPr>
          <a:lstStyle/>
          <a:p>
            <a:r>
              <a:rPr lang="de-DE" sz="2400" dirty="0">
                <a:solidFill>
                  <a:srgbClr val="0000FF"/>
                </a:solidFill>
                <a:latin typeface="+mn-lt"/>
              </a:rPr>
              <a:t>Monitoring </a:t>
            </a:r>
            <a:r>
              <a:rPr lang="de-DE" sz="2400" dirty="0" err="1">
                <a:solidFill>
                  <a:srgbClr val="0000FF"/>
                </a:solidFill>
                <a:latin typeface="+mn-lt"/>
              </a:rPr>
              <a:t>of</a:t>
            </a:r>
            <a:r>
              <a:rPr lang="de-DE" sz="2400" dirty="0">
                <a:solidFill>
                  <a:srgbClr val="0000FF"/>
                </a:solidFill>
                <a:latin typeface="+mn-lt"/>
              </a:rPr>
              <a:t> </a:t>
            </a:r>
            <a:r>
              <a:rPr lang="de-DE" sz="2400" dirty="0" err="1">
                <a:solidFill>
                  <a:srgbClr val="0000FF"/>
                </a:solidFill>
                <a:latin typeface="+mn-lt"/>
              </a:rPr>
              <a:t>the</a:t>
            </a:r>
            <a:r>
              <a:rPr lang="de-DE" sz="2400" dirty="0">
                <a:solidFill>
                  <a:srgbClr val="0000FF"/>
                </a:solidFill>
                <a:latin typeface="+mn-lt"/>
              </a:rPr>
              <a:t> Horizontal </a:t>
            </a:r>
            <a:r>
              <a:rPr lang="de-DE" sz="2400" dirty="0" err="1">
                <a:solidFill>
                  <a:srgbClr val="0000FF"/>
                </a:solidFill>
                <a:latin typeface="+mn-lt"/>
              </a:rPr>
              <a:t>Feedwater</a:t>
            </a:r>
            <a:r>
              <a:rPr lang="de-DE" sz="2400" dirty="0">
                <a:solidFill>
                  <a:srgbClr val="0000FF"/>
                </a:solidFill>
                <a:latin typeface="+mn-lt"/>
              </a:rPr>
              <a:t> Pump OL3 </a:t>
            </a:r>
            <a:r>
              <a:rPr lang="de-DE" sz="2400" dirty="0" err="1">
                <a:solidFill>
                  <a:srgbClr val="0000FF"/>
                </a:solidFill>
                <a:latin typeface="+mn-lt"/>
              </a:rPr>
              <a:t>during</a:t>
            </a:r>
            <a:r>
              <a:rPr lang="de-DE" sz="2400" dirty="0">
                <a:solidFill>
                  <a:srgbClr val="0000FF"/>
                </a:solidFill>
                <a:latin typeface="+mn-lt"/>
              </a:rPr>
              <a:t> Operation</a:t>
            </a:r>
          </a:p>
          <a:p>
            <a:r>
              <a:rPr lang="de-DE" sz="2400" b="0" dirty="0">
                <a:latin typeface="+mn-lt"/>
              </a:rPr>
              <a:t>Absolute RMS </a:t>
            </a:r>
            <a:r>
              <a:rPr lang="de-DE" sz="2400" b="0" dirty="0" err="1">
                <a:latin typeface="+mn-lt"/>
              </a:rPr>
              <a:t>Bearing</a:t>
            </a:r>
            <a:r>
              <a:rPr lang="de-DE" sz="2400" b="0" dirty="0">
                <a:latin typeface="+mn-lt"/>
              </a:rPr>
              <a:t> Vibration </a:t>
            </a:r>
            <a:r>
              <a:rPr lang="de-DE" sz="2400" b="0" dirty="0" err="1">
                <a:latin typeface="+mn-lt"/>
              </a:rPr>
              <a:t>Velocities</a:t>
            </a:r>
            <a:r>
              <a:rPr lang="de-DE" sz="2400" b="0" dirty="0">
                <a:latin typeface="+mn-lt"/>
              </a:rPr>
              <a:t> (mm/s) at NDE </a:t>
            </a:r>
            <a:r>
              <a:rPr lang="de-DE" sz="2400" b="0" dirty="0" err="1">
                <a:latin typeface="+mn-lt"/>
              </a:rPr>
              <a:t>Bearing</a:t>
            </a:r>
            <a:r>
              <a:rPr lang="de-DE" sz="2400" b="0" dirty="0">
                <a:latin typeface="+mn-lt"/>
              </a:rPr>
              <a:t> Housing</a:t>
            </a:r>
          </a:p>
        </p:txBody>
      </p:sp>
      <p:cxnSp>
        <p:nvCxnSpPr>
          <p:cNvPr id="15" name="Gerader Verbinder 14">
            <a:extLst>
              <a:ext uri="{FF2B5EF4-FFF2-40B4-BE49-F238E27FC236}">
                <a16:creationId xmlns:a16="http://schemas.microsoft.com/office/drawing/2014/main" id="{E47A2E63-2318-1C05-FD3E-35266C907812}"/>
              </a:ext>
            </a:extLst>
          </p:cNvPr>
          <p:cNvCxnSpPr>
            <a:cxnSpLocks/>
          </p:cNvCxnSpPr>
          <p:nvPr/>
        </p:nvCxnSpPr>
        <p:spPr>
          <a:xfrm flipV="1">
            <a:off x="1838960" y="2250509"/>
            <a:ext cx="0" cy="858451"/>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9" name="Gerader Verbinder 18">
            <a:extLst>
              <a:ext uri="{FF2B5EF4-FFF2-40B4-BE49-F238E27FC236}">
                <a16:creationId xmlns:a16="http://schemas.microsoft.com/office/drawing/2014/main" id="{02ED838B-55E9-3078-B729-5D209D9FC7F1}"/>
              </a:ext>
            </a:extLst>
          </p:cNvPr>
          <p:cNvCxnSpPr>
            <a:cxnSpLocks/>
          </p:cNvCxnSpPr>
          <p:nvPr/>
        </p:nvCxnSpPr>
        <p:spPr>
          <a:xfrm flipV="1">
            <a:off x="1240971" y="3429000"/>
            <a:ext cx="0" cy="405916"/>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23" name="Gerader Verbinder 22">
            <a:extLst>
              <a:ext uri="{FF2B5EF4-FFF2-40B4-BE49-F238E27FC236}">
                <a16:creationId xmlns:a16="http://schemas.microsoft.com/office/drawing/2014/main" id="{A7168500-AE71-3E2C-E76B-EA186121844C}"/>
              </a:ext>
            </a:extLst>
          </p:cNvPr>
          <p:cNvCxnSpPr>
            <a:cxnSpLocks/>
          </p:cNvCxnSpPr>
          <p:nvPr/>
        </p:nvCxnSpPr>
        <p:spPr>
          <a:xfrm flipV="1">
            <a:off x="3742887" y="2707709"/>
            <a:ext cx="0" cy="401251"/>
          </a:xfrm>
          <a:prstGeom prst="line">
            <a:avLst/>
          </a:prstGeom>
          <a:ln w="38100">
            <a:solidFill>
              <a:srgbClr val="0000FF"/>
            </a:solidFill>
          </a:ln>
        </p:spPr>
        <p:style>
          <a:lnRef idx="1">
            <a:schemeClr val="accent1"/>
          </a:lnRef>
          <a:fillRef idx="0">
            <a:schemeClr val="accent1"/>
          </a:fillRef>
          <a:effectRef idx="0">
            <a:schemeClr val="accent1"/>
          </a:effectRef>
          <a:fontRef idx="minor">
            <a:schemeClr val="tx1"/>
          </a:fontRef>
        </p:style>
      </p:cxnSp>
      <p:cxnSp>
        <p:nvCxnSpPr>
          <p:cNvPr id="26" name="Gerader Verbinder 25">
            <a:extLst>
              <a:ext uri="{FF2B5EF4-FFF2-40B4-BE49-F238E27FC236}">
                <a16:creationId xmlns:a16="http://schemas.microsoft.com/office/drawing/2014/main" id="{EF05A996-046A-4ED1-D8FB-42828265EC76}"/>
              </a:ext>
            </a:extLst>
          </p:cNvPr>
          <p:cNvCxnSpPr>
            <a:cxnSpLocks/>
          </p:cNvCxnSpPr>
          <p:nvPr/>
        </p:nvCxnSpPr>
        <p:spPr>
          <a:xfrm flipV="1">
            <a:off x="3156131" y="3429000"/>
            <a:ext cx="0" cy="405916"/>
          </a:xfrm>
          <a:prstGeom prst="line">
            <a:avLst/>
          </a:prstGeom>
          <a:ln w="38100">
            <a:solidFill>
              <a:srgbClr val="0000FF"/>
            </a:solidFill>
          </a:ln>
        </p:spPr>
        <p:style>
          <a:lnRef idx="1">
            <a:schemeClr val="accent1"/>
          </a:lnRef>
          <a:fillRef idx="0">
            <a:schemeClr val="accent1"/>
          </a:fillRef>
          <a:effectRef idx="0">
            <a:schemeClr val="accent1"/>
          </a:effectRef>
          <a:fontRef idx="minor">
            <a:schemeClr val="tx1"/>
          </a:fontRef>
        </p:style>
      </p:cxnSp>
      <p:cxnSp>
        <p:nvCxnSpPr>
          <p:cNvPr id="29" name="Gerader Verbinder 28">
            <a:extLst>
              <a:ext uri="{FF2B5EF4-FFF2-40B4-BE49-F238E27FC236}">
                <a16:creationId xmlns:a16="http://schemas.microsoft.com/office/drawing/2014/main" id="{E92344E6-4FE3-DC3D-9458-50A9B594C31F}"/>
              </a:ext>
            </a:extLst>
          </p:cNvPr>
          <p:cNvCxnSpPr>
            <a:cxnSpLocks/>
          </p:cNvCxnSpPr>
          <p:nvPr/>
        </p:nvCxnSpPr>
        <p:spPr>
          <a:xfrm flipV="1">
            <a:off x="2692400" y="2908334"/>
            <a:ext cx="0" cy="200626"/>
          </a:xfrm>
          <a:prstGeom prst="line">
            <a:avLst/>
          </a:prstGeom>
          <a:ln w="38100">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32" name="Gerader Verbinder 31">
            <a:extLst>
              <a:ext uri="{FF2B5EF4-FFF2-40B4-BE49-F238E27FC236}">
                <a16:creationId xmlns:a16="http://schemas.microsoft.com/office/drawing/2014/main" id="{568EC6B0-7ED0-181B-90AD-8ABA783118D0}"/>
              </a:ext>
            </a:extLst>
          </p:cNvPr>
          <p:cNvCxnSpPr>
            <a:cxnSpLocks/>
          </p:cNvCxnSpPr>
          <p:nvPr/>
        </p:nvCxnSpPr>
        <p:spPr>
          <a:xfrm flipV="1">
            <a:off x="2113280" y="3525520"/>
            <a:ext cx="0" cy="309396"/>
          </a:xfrm>
          <a:prstGeom prst="line">
            <a:avLst/>
          </a:prstGeom>
          <a:ln w="38100">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36" name="Gerader Verbinder 35">
            <a:extLst>
              <a:ext uri="{FF2B5EF4-FFF2-40B4-BE49-F238E27FC236}">
                <a16:creationId xmlns:a16="http://schemas.microsoft.com/office/drawing/2014/main" id="{DA875F46-2955-C7EE-960E-5852BA78535D}"/>
              </a:ext>
            </a:extLst>
          </p:cNvPr>
          <p:cNvCxnSpPr>
            <a:cxnSpLocks/>
          </p:cNvCxnSpPr>
          <p:nvPr/>
        </p:nvCxnSpPr>
        <p:spPr>
          <a:xfrm>
            <a:off x="2580640" y="4034971"/>
            <a:ext cx="0" cy="486229"/>
          </a:xfrm>
          <a:prstGeom prst="line">
            <a:avLst/>
          </a:prstGeom>
          <a:ln w="38100">
            <a:solidFill>
              <a:srgbClr val="0000FF"/>
            </a:solidFill>
          </a:ln>
        </p:spPr>
        <p:style>
          <a:lnRef idx="1">
            <a:schemeClr val="accent1"/>
          </a:lnRef>
          <a:fillRef idx="0">
            <a:schemeClr val="accent1"/>
          </a:fillRef>
          <a:effectRef idx="0">
            <a:schemeClr val="accent1"/>
          </a:effectRef>
          <a:fontRef idx="minor">
            <a:schemeClr val="tx1"/>
          </a:fontRef>
        </p:style>
      </p:cxnSp>
      <p:cxnSp>
        <p:nvCxnSpPr>
          <p:cNvPr id="42" name="Gerader Verbinder 41">
            <a:extLst>
              <a:ext uri="{FF2B5EF4-FFF2-40B4-BE49-F238E27FC236}">
                <a16:creationId xmlns:a16="http://schemas.microsoft.com/office/drawing/2014/main" id="{0AE76EC8-960A-6C1C-BD84-7494751EA676}"/>
              </a:ext>
            </a:extLst>
          </p:cNvPr>
          <p:cNvCxnSpPr>
            <a:cxnSpLocks/>
          </p:cNvCxnSpPr>
          <p:nvPr/>
        </p:nvCxnSpPr>
        <p:spPr>
          <a:xfrm flipV="1">
            <a:off x="1544320" y="4278085"/>
            <a:ext cx="0" cy="243115"/>
          </a:xfrm>
          <a:prstGeom prst="line">
            <a:avLst/>
          </a:prstGeom>
          <a:ln w="38100">
            <a:solidFill>
              <a:srgbClr val="00B050"/>
            </a:solidFill>
          </a:ln>
        </p:spPr>
        <p:style>
          <a:lnRef idx="1">
            <a:schemeClr val="accent1"/>
          </a:lnRef>
          <a:fillRef idx="0">
            <a:schemeClr val="accent1"/>
          </a:fillRef>
          <a:effectRef idx="0">
            <a:schemeClr val="accent1"/>
          </a:effectRef>
          <a:fontRef idx="minor">
            <a:schemeClr val="tx1"/>
          </a:fontRef>
        </p:style>
      </p:cxnSp>
      <p:sp>
        <p:nvSpPr>
          <p:cNvPr id="44" name="Textfeld 43">
            <a:extLst>
              <a:ext uri="{FF2B5EF4-FFF2-40B4-BE49-F238E27FC236}">
                <a16:creationId xmlns:a16="http://schemas.microsoft.com/office/drawing/2014/main" id="{793F8A23-8B69-0158-A2B9-8F79ADB81D1E}"/>
              </a:ext>
            </a:extLst>
          </p:cNvPr>
          <p:cNvSpPr txBox="1"/>
          <p:nvPr/>
        </p:nvSpPr>
        <p:spPr>
          <a:xfrm>
            <a:off x="6580642" y="1328053"/>
            <a:ext cx="5553380" cy="5078313"/>
          </a:xfrm>
          <a:prstGeom prst="rect">
            <a:avLst/>
          </a:prstGeom>
          <a:noFill/>
        </p:spPr>
        <p:txBody>
          <a:bodyPr wrap="none" rtlCol="0">
            <a:spAutoFit/>
          </a:bodyPr>
          <a:lstStyle/>
          <a:p>
            <a:r>
              <a:rPr lang="de-DE" sz="2000" b="0" dirty="0" err="1">
                <a:latin typeface="+mn-lt"/>
              </a:rPr>
              <a:t>How</a:t>
            </a:r>
            <a:r>
              <a:rPr lang="de-DE" sz="2000" b="0" dirty="0">
                <a:latin typeface="+mn-lt"/>
              </a:rPr>
              <a:t> </a:t>
            </a:r>
            <a:r>
              <a:rPr lang="de-DE" sz="2000" b="0" dirty="0" err="1">
                <a:latin typeface="+mn-lt"/>
              </a:rPr>
              <a:t>can</a:t>
            </a:r>
            <a:r>
              <a:rPr lang="de-DE" sz="2000" b="0" dirty="0">
                <a:latin typeface="+mn-lt"/>
              </a:rPr>
              <a:t> </a:t>
            </a:r>
            <a:r>
              <a:rPr lang="de-DE" sz="2000" b="0" dirty="0" err="1">
                <a:latin typeface="+mn-lt"/>
              </a:rPr>
              <a:t>the</a:t>
            </a:r>
            <a:r>
              <a:rPr lang="de-DE" sz="2000" b="0" dirty="0">
                <a:latin typeface="+mn-lt"/>
              </a:rPr>
              <a:t> </a:t>
            </a:r>
            <a:r>
              <a:rPr lang="de-DE" sz="2000" dirty="0" err="1">
                <a:solidFill>
                  <a:srgbClr val="0000FF"/>
                </a:solidFill>
                <a:latin typeface="+mn-lt"/>
              </a:rPr>
              <a:t>vibrations</a:t>
            </a:r>
            <a:r>
              <a:rPr lang="de-DE" sz="2000" dirty="0">
                <a:solidFill>
                  <a:srgbClr val="0000FF"/>
                </a:solidFill>
                <a:latin typeface="+mn-lt"/>
              </a:rPr>
              <a:t> </a:t>
            </a:r>
            <a:r>
              <a:rPr lang="de-DE" sz="2000" b="0" dirty="0">
                <a:latin typeface="+mn-lt"/>
              </a:rPr>
              <a:t>at</a:t>
            </a:r>
            <a:r>
              <a:rPr lang="de-DE" sz="2000" dirty="0">
                <a:solidFill>
                  <a:srgbClr val="0000FF"/>
                </a:solidFill>
                <a:latin typeface="+mn-lt"/>
              </a:rPr>
              <a:t> </a:t>
            </a:r>
            <a:r>
              <a:rPr lang="de-DE" sz="2000" dirty="0" err="1">
                <a:solidFill>
                  <a:srgbClr val="0000FF"/>
                </a:solidFill>
                <a:latin typeface="+mn-lt"/>
              </a:rPr>
              <a:t>frequencies</a:t>
            </a:r>
            <a:r>
              <a:rPr lang="de-DE" sz="2000" dirty="0">
                <a:solidFill>
                  <a:srgbClr val="0000FF"/>
                </a:solidFill>
                <a:latin typeface="+mn-lt"/>
              </a:rPr>
              <a:t> </a:t>
            </a:r>
          </a:p>
          <a:p>
            <a:r>
              <a:rPr lang="de-DE" sz="2000" dirty="0">
                <a:solidFill>
                  <a:srgbClr val="0000FF"/>
                </a:solidFill>
                <a:latin typeface="+mn-lt"/>
              </a:rPr>
              <a:t>93 Hz, 560 Hz </a:t>
            </a:r>
            <a:r>
              <a:rPr lang="de-DE" sz="2000" b="0" dirty="0">
                <a:solidFill>
                  <a:srgbClr val="0000FF"/>
                </a:solidFill>
                <a:latin typeface="+mn-lt"/>
              </a:rPr>
              <a:t>&amp; </a:t>
            </a:r>
            <a:r>
              <a:rPr lang="de-DE" sz="2000" dirty="0">
                <a:solidFill>
                  <a:srgbClr val="0000FF"/>
                </a:solidFill>
                <a:latin typeface="+mn-lt"/>
              </a:rPr>
              <a:t>1120 Hz </a:t>
            </a:r>
            <a:r>
              <a:rPr lang="de-DE" sz="2000" b="0" dirty="0" err="1">
                <a:latin typeface="+mn-lt"/>
              </a:rPr>
              <a:t>be</a:t>
            </a:r>
            <a:r>
              <a:rPr lang="de-DE" sz="2000" b="0" dirty="0">
                <a:latin typeface="+mn-lt"/>
              </a:rPr>
              <a:t> </a:t>
            </a:r>
            <a:r>
              <a:rPr lang="de-DE" sz="2000" b="0" dirty="0" err="1">
                <a:latin typeface="+mn-lt"/>
              </a:rPr>
              <a:t>explained</a:t>
            </a:r>
            <a:r>
              <a:rPr lang="de-DE" sz="2000" b="0" dirty="0">
                <a:latin typeface="+mn-lt"/>
              </a:rPr>
              <a:t> </a:t>
            </a:r>
            <a:r>
              <a:rPr lang="de-DE" sz="2000" dirty="0">
                <a:solidFill>
                  <a:srgbClr val="0000FF"/>
                </a:solidFill>
                <a:latin typeface="+mn-lt"/>
              </a:rPr>
              <a:t>?</a:t>
            </a:r>
          </a:p>
          <a:p>
            <a:endParaRPr lang="de-DE" sz="2000" dirty="0">
              <a:solidFill>
                <a:srgbClr val="0000FF"/>
              </a:solidFill>
              <a:latin typeface="+mn-lt"/>
            </a:endParaRPr>
          </a:p>
          <a:p>
            <a:endParaRPr lang="de-DE" sz="2000" dirty="0">
              <a:solidFill>
                <a:srgbClr val="0000FF"/>
              </a:solidFill>
              <a:latin typeface="+mn-lt"/>
            </a:endParaRPr>
          </a:p>
          <a:p>
            <a:r>
              <a:rPr lang="de-DE" sz="2000" dirty="0">
                <a:solidFill>
                  <a:srgbClr val="0000FF"/>
                </a:solidFill>
                <a:latin typeface="+mn-lt"/>
              </a:rPr>
              <a:t>-     </a:t>
            </a:r>
            <a:r>
              <a:rPr lang="de-DE" sz="2000" dirty="0">
                <a:solidFill>
                  <a:srgbClr val="FF0000"/>
                </a:solidFill>
                <a:latin typeface="+mn-lt"/>
              </a:rPr>
              <a:t>93  Hz :  </a:t>
            </a:r>
            <a:r>
              <a:rPr lang="de-DE" sz="2000" b="0" dirty="0" err="1">
                <a:latin typeface="+mn-lt"/>
              </a:rPr>
              <a:t>Vibrations</a:t>
            </a:r>
            <a:r>
              <a:rPr lang="de-DE" sz="2000" b="0" dirty="0">
                <a:latin typeface="+mn-lt"/>
              </a:rPr>
              <a:t> due </a:t>
            </a:r>
            <a:r>
              <a:rPr lang="de-DE" sz="2000" b="0" dirty="0" err="1">
                <a:latin typeface="+mn-lt"/>
              </a:rPr>
              <a:t>to</a:t>
            </a:r>
            <a:r>
              <a:rPr lang="de-DE" sz="2000" b="0" dirty="0">
                <a:latin typeface="+mn-lt"/>
              </a:rPr>
              <a:t> </a:t>
            </a:r>
            <a:r>
              <a:rPr lang="de-DE" sz="2000" dirty="0">
                <a:solidFill>
                  <a:srgbClr val="0000FF"/>
                </a:solidFill>
                <a:latin typeface="+mn-lt"/>
              </a:rPr>
              <a:t>Mech. &amp;</a:t>
            </a:r>
          </a:p>
          <a:p>
            <a:r>
              <a:rPr lang="de-DE" sz="2000" dirty="0">
                <a:solidFill>
                  <a:srgbClr val="0000FF"/>
                </a:solidFill>
                <a:latin typeface="+mn-lt"/>
              </a:rPr>
              <a:t>                     </a:t>
            </a:r>
            <a:r>
              <a:rPr lang="de-DE" sz="2000" dirty="0" err="1">
                <a:solidFill>
                  <a:srgbClr val="0000FF"/>
                </a:solidFill>
                <a:latin typeface="+mn-lt"/>
              </a:rPr>
              <a:t>Hydr</a:t>
            </a:r>
            <a:r>
              <a:rPr lang="de-DE" sz="2000" dirty="0">
                <a:solidFill>
                  <a:srgbClr val="0000FF"/>
                </a:solidFill>
                <a:latin typeface="+mn-lt"/>
              </a:rPr>
              <a:t>. </a:t>
            </a:r>
            <a:r>
              <a:rPr lang="de-DE" sz="2000" dirty="0" err="1">
                <a:solidFill>
                  <a:srgbClr val="0000FF"/>
                </a:solidFill>
                <a:latin typeface="+mn-lt"/>
              </a:rPr>
              <a:t>Unbalance</a:t>
            </a:r>
            <a:r>
              <a:rPr lang="de-DE" sz="2000" dirty="0">
                <a:solidFill>
                  <a:srgbClr val="0000FF"/>
                </a:solidFill>
                <a:latin typeface="+mn-lt"/>
              </a:rPr>
              <a:t> </a:t>
            </a:r>
            <a:r>
              <a:rPr lang="de-DE" sz="2000" dirty="0" err="1">
                <a:solidFill>
                  <a:srgbClr val="0000FF"/>
                </a:solidFill>
                <a:latin typeface="+mn-lt"/>
              </a:rPr>
              <a:t>Excitation</a:t>
            </a:r>
            <a:r>
              <a:rPr lang="de-DE" sz="2000" dirty="0">
                <a:solidFill>
                  <a:srgbClr val="0000FF"/>
                </a:solidFill>
                <a:latin typeface="+mn-lt"/>
              </a:rPr>
              <a:t> </a:t>
            </a:r>
            <a:r>
              <a:rPr lang="de-DE" sz="2000" dirty="0" err="1">
                <a:solidFill>
                  <a:srgbClr val="0000FF"/>
                </a:solidFill>
                <a:latin typeface="+mn-lt"/>
              </a:rPr>
              <a:t>with</a:t>
            </a:r>
            <a:endParaRPr lang="de-DE" sz="2000" dirty="0">
              <a:solidFill>
                <a:srgbClr val="0000FF"/>
              </a:solidFill>
              <a:latin typeface="+mn-lt"/>
            </a:endParaRPr>
          </a:p>
          <a:p>
            <a:r>
              <a:rPr lang="de-DE" sz="2000" b="0" dirty="0">
                <a:solidFill>
                  <a:srgbClr val="0000FF"/>
                </a:solidFill>
                <a:latin typeface="+mn-lt"/>
              </a:rPr>
              <a:t>                     </a:t>
            </a:r>
            <a:r>
              <a:rPr lang="de-DE" sz="2000" b="0" dirty="0" err="1">
                <a:latin typeface="+mn-lt"/>
              </a:rPr>
              <a:t>Rotational</a:t>
            </a:r>
            <a:r>
              <a:rPr lang="de-DE" sz="2000" b="0" dirty="0">
                <a:latin typeface="+mn-lt"/>
              </a:rPr>
              <a:t> </a:t>
            </a:r>
            <a:r>
              <a:rPr lang="de-DE" sz="2000" b="0" dirty="0" err="1">
                <a:latin typeface="+mn-lt"/>
              </a:rPr>
              <a:t>Frequency</a:t>
            </a:r>
            <a:r>
              <a:rPr lang="de-DE" sz="2000" b="0" dirty="0">
                <a:latin typeface="+mn-lt"/>
              </a:rPr>
              <a:t> </a:t>
            </a:r>
            <a:r>
              <a:rPr lang="el-GR" sz="2000" b="0" dirty="0">
                <a:latin typeface="+mn-lt"/>
              </a:rPr>
              <a:t>Ω</a:t>
            </a:r>
            <a:endParaRPr lang="de-DE" sz="2000" b="0" dirty="0">
              <a:latin typeface="+mn-lt"/>
            </a:endParaRPr>
          </a:p>
          <a:p>
            <a:endParaRPr lang="de-DE" sz="2000" dirty="0">
              <a:solidFill>
                <a:srgbClr val="0000FF"/>
              </a:solidFill>
              <a:latin typeface="+mn-lt"/>
            </a:endParaRPr>
          </a:p>
          <a:p>
            <a:endParaRPr lang="de-DE" sz="2000" dirty="0">
              <a:solidFill>
                <a:srgbClr val="0000FF"/>
              </a:solidFill>
              <a:latin typeface="+mn-lt"/>
            </a:endParaRPr>
          </a:p>
          <a:p>
            <a:r>
              <a:rPr lang="de-DE" sz="2000" dirty="0">
                <a:solidFill>
                  <a:srgbClr val="0000FF"/>
                </a:solidFill>
                <a:latin typeface="+mn-lt"/>
              </a:rPr>
              <a:t>-   </a:t>
            </a:r>
            <a:r>
              <a:rPr lang="de-DE" sz="2000" dirty="0">
                <a:solidFill>
                  <a:srgbClr val="00B050"/>
                </a:solidFill>
                <a:latin typeface="+mn-lt"/>
              </a:rPr>
              <a:t>560  Hz :  </a:t>
            </a:r>
            <a:r>
              <a:rPr lang="de-DE" sz="2000" b="0" dirty="0" err="1">
                <a:latin typeface="+mn-lt"/>
              </a:rPr>
              <a:t>Vibrations</a:t>
            </a:r>
            <a:r>
              <a:rPr lang="de-DE" sz="2000" b="0" dirty="0">
                <a:latin typeface="+mn-lt"/>
              </a:rPr>
              <a:t> due </a:t>
            </a:r>
            <a:r>
              <a:rPr lang="de-DE" sz="2000" b="0" dirty="0" err="1">
                <a:latin typeface="+mn-lt"/>
              </a:rPr>
              <a:t>to</a:t>
            </a:r>
            <a:r>
              <a:rPr lang="de-DE" sz="2000" b="0" dirty="0">
                <a:latin typeface="+mn-lt"/>
              </a:rPr>
              <a:t> </a:t>
            </a:r>
            <a:r>
              <a:rPr lang="de-DE" sz="2000" dirty="0">
                <a:solidFill>
                  <a:srgbClr val="0000FF"/>
                </a:solidFill>
                <a:latin typeface="+mn-lt"/>
              </a:rPr>
              <a:t>Vane Pass </a:t>
            </a:r>
          </a:p>
          <a:p>
            <a:r>
              <a:rPr lang="de-DE" sz="2000" dirty="0">
                <a:solidFill>
                  <a:srgbClr val="0000FF"/>
                </a:solidFill>
                <a:latin typeface="+mn-lt"/>
              </a:rPr>
              <a:t>                     </a:t>
            </a:r>
            <a:r>
              <a:rPr lang="de-DE" sz="2000" dirty="0" err="1">
                <a:solidFill>
                  <a:srgbClr val="0000FF"/>
                </a:solidFill>
                <a:latin typeface="+mn-lt"/>
              </a:rPr>
              <a:t>Frequency</a:t>
            </a:r>
            <a:r>
              <a:rPr lang="de-DE" sz="2000" dirty="0">
                <a:solidFill>
                  <a:srgbClr val="0000FF"/>
                </a:solidFill>
                <a:latin typeface="+mn-lt"/>
              </a:rPr>
              <a:t> </a:t>
            </a:r>
            <a:r>
              <a:rPr lang="de-DE" sz="2000" dirty="0" err="1">
                <a:solidFill>
                  <a:srgbClr val="0000FF"/>
                </a:solidFill>
                <a:latin typeface="+mn-lt"/>
              </a:rPr>
              <a:t>Excitation</a:t>
            </a:r>
            <a:r>
              <a:rPr lang="de-DE" sz="2000" dirty="0">
                <a:solidFill>
                  <a:srgbClr val="0000FF"/>
                </a:solidFill>
                <a:latin typeface="+mn-lt"/>
              </a:rPr>
              <a:t> (1. </a:t>
            </a:r>
            <a:r>
              <a:rPr lang="de-DE" sz="2000" dirty="0" err="1">
                <a:solidFill>
                  <a:srgbClr val="0000FF"/>
                </a:solidFill>
                <a:latin typeface="+mn-lt"/>
              </a:rPr>
              <a:t>order</a:t>
            </a:r>
            <a:r>
              <a:rPr lang="de-DE" sz="2000" dirty="0">
                <a:solidFill>
                  <a:srgbClr val="0000FF"/>
                </a:solidFill>
                <a:latin typeface="+mn-lt"/>
              </a:rPr>
              <a:t>)</a:t>
            </a:r>
          </a:p>
          <a:p>
            <a:endParaRPr lang="de-DE" sz="2000" dirty="0">
              <a:solidFill>
                <a:srgbClr val="0000FF"/>
              </a:solidFill>
              <a:latin typeface="+mn-lt"/>
            </a:endParaRPr>
          </a:p>
          <a:p>
            <a:endParaRPr lang="de-DE" sz="2000" dirty="0">
              <a:solidFill>
                <a:srgbClr val="0000FF"/>
              </a:solidFill>
              <a:latin typeface="+mn-lt"/>
            </a:endParaRPr>
          </a:p>
          <a:p>
            <a:r>
              <a:rPr lang="de-DE" sz="2000" dirty="0">
                <a:solidFill>
                  <a:srgbClr val="0000FF"/>
                </a:solidFill>
                <a:latin typeface="+mn-lt"/>
              </a:rPr>
              <a:t>- 1120  Hz :  </a:t>
            </a:r>
            <a:r>
              <a:rPr lang="de-DE" sz="2000" b="0" dirty="0" err="1">
                <a:latin typeface="+mn-lt"/>
              </a:rPr>
              <a:t>Vibrations</a:t>
            </a:r>
            <a:r>
              <a:rPr lang="de-DE" sz="2000" b="0" dirty="0">
                <a:latin typeface="+mn-lt"/>
              </a:rPr>
              <a:t> due </a:t>
            </a:r>
            <a:r>
              <a:rPr lang="de-DE" sz="2000" b="0" dirty="0" err="1">
                <a:latin typeface="+mn-lt"/>
              </a:rPr>
              <a:t>to</a:t>
            </a:r>
            <a:r>
              <a:rPr lang="de-DE" sz="2000" b="0" dirty="0">
                <a:latin typeface="+mn-lt"/>
              </a:rPr>
              <a:t> </a:t>
            </a:r>
            <a:r>
              <a:rPr lang="de-DE" sz="2000" dirty="0">
                <a:solidFill>
                  <a:srgbClr val="0000FF"/>
                </a:solidFill>
                <a:latin typeface="+mn-lt"/>
              </a:rPr>
              <a:t>Vane Pass</a:t>
            </a:r>
          </a:p>
          <a:p>
            <a:r>
              <a:rPr lang="de-DE" sz="2000" dirty="0">
                <a:solidFill>
                  <a:srgbClr val="0000FF"/>
                </a:solidFill>
                <a:latin typeface="+mn-lt"/>
              </a:rPr>
              <a:t>                     </a:t>
            </a:r>
            <a:r>
              <a:rPr lang="de-DE" sz="2000" dirty="0" err="1">
                <a:solidFill>
                  <a:srgbClr val="0000FF"/>
                </a:solidFill>
                <a:latin typeface="+mn-lt"/>
              </a:rPr>
              <a:t>Frequency</a:t>
            </a:r>
            <a:r>
              <a:rPr lang="de-DE" sz="2000" dirty="0">
                <a:solidFill>
                  <a:srgbClr val="0000FF"/>
                </a:solidFill>
                <a:latin typeface="+mn-lt"/>
              </a:rPr>
              <a:t> </a:t>
            </a:r>
            <a:r>
              <a:rPr lang="de-DE" sz="2000" dirty="0" err="1">
                <a:solidFill>
                  <a:srgbClr val="0000FF"/>
                </a:solidFill>
                <a:latin typeface="+mn-lt"/>
              </a:rPr>
              <a:t>Excitation</a:t>
            </a:r>
            <a:r>
              <a:rPr lang="de-DE" sz="2000" dirty="0">
                <a:solidFill>
                  <a:srgbClr val="0000FF"/>
                </a:solidFill>
                <a:latin typeface="+mn-lt"/>
              </a:rPr>
              <a:t> (2. </a:t>
            </a:r>
            <a:r>
              <a:rPr lang="de-DE" sz="2000" dirty="0" err="1">
                <a:solidFill>
                  <a:srgbClr val="0000FF"/>
                </a:solidFill>
                <a:latin typeface="+mn-lt"/>
              </a:rPr>
              <a:t>order</a:t>
            </a:r>
            <a:r>
              <a:rPr lang="de-DE" sz="2000" dirty="0">
                <a:solidFill>
                  <a:srgbClr val="0000FF"/>
                </a:solidFill>
                <a:latin typeface="+mn-lt"/>
              </a:rPr>
              <a:t>)</a:t>
            </a:r>
          </a:p>
          <a:p>
            <a:endParaRPr lang="de-DE" sz="2400" dirty="0">
              <a:solidFill>
                <a:srgbClr val="0000FF"/>
              </a:solidFill>
              <a:latin typeface="+mn-lt"/>
            </a:endParaRPr>
          </a:p>
        </p:txBody>
      </p:sp>
    </p:spTree>
    <p:extLst>
      <p:ext uri="{BB962C8B-B14F-4D97-AF65-F5344CB8AC3E}">
        <p14:creationId xmlns:p14="http://schemas.microsoft.com/office/powerpoint/2010/main" val="409097975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Grafik 1">
            <a:extLst>
              <a:ext uri="{FF2B5EF4-FFF2-40B4-BE49-F238E27FC236}">
                <a16:creationId xmlns:a16="http://schemas.microsoft.com/office/drawing/2014/main" id="{81918B27-5BD4-490B-6E05-AD1AE97AEE8D}"/>
              </a:ext>
            </a:extLst>
          </p:cNvPr>
          <p:cNvPicPr>
            <a:picLocks noChangeAspect="1"/>
          </p:cNvPicPr>
          <p:nvPr/>
        </p:nvPicPr>
        <p:blipFill rotWithShape="1">
          <a:blip r:embed="rId3"/>
          <a:srcRect l="34366" t="24085" r="44802" b="35645"/>
          <a:stretch/>
        </p:blipFill>
        <p:spPr>
          <a:xfrm>
            <a:off x="4536440" y="1127760"/>
            <a:ext cx="3119120" cy="2956560"/>
          </a:xfrm>
          <a:prstGeom prst="rect">
            <a:avLst/>
          </a:prstGeom>
        </p:spPr>
      </p:pic>
      <p:pic>
        <p:nvPicPr>
          <p:cNvPr id="3" name="Grafik 2">
            <a:extLst>
              <a:ext uri="{FF2B5EF4-FFF2-40B4-BE49-F238E27FC236}">
                <a16:creationId xmlns:a16="http://schemas.microsoft.com/office/drawing/2014/main" id="{37848DE7-8678-C967-F13D-FEFF8DEC2DD0}"/>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bwMode="auto">
          <a:xfrm>
            <a:off x="355600" y="3566161"/>
            <a:ext cx="5161280" cy="2865120"/>
          </a:xfrm>
          <a:prstGeom prst="rect">
            <a:avLst/>
          </a:prstGeom>
          <a:noFill/>
          <a:ln>
            <a:noFill/>
          </a:ln>
        </p:spPr>
      </p:pic>
      <p:pic>
        <p:nvPicPr>
          <p:cNvPr id="4" name="Grafik 3">
            <a:extLst>
              <a:ext uri="{FF2B5EF4-FFF2-40B4-BE49-F238E27FC236}">
                <a16:creationId xmlns:a16="http://schemas.microsoft.com/office/drawing/2014/main" id="{5DBCC1BD-D174-B019-F28E-AB017D5095B8}"/>
              </a:ext>
            </a:extLst>
          </p:cNvPr>
          <p:cNvPicPr>
            <a:picLocks noChangeAspect="1"/>
          </p:cNvPicPr>
          <p:nvPr/>
        </p:nvPicPr>
        <p:blipFill>
          <a:blip r:embed="rId5"/>
          <a:stretch>
            <a:fillRect/>
          </a:stretch>
        </p:blipFill>
        <p:spPr>
          <a:xfrm>
            <a:off x="5730240" y="3647441"/>
            <a:ext cx="5872480" cy="2783840"/>
          </a:xfrm>
          <a:prstGeom prst="rect">
            <a:avLst/>
          </a:prstGeom>
        </p:spPr>
      </p:pic>
      <p:sp>
        <p:nvSpPr>
          <p:cNvPr id="5" name="Textfeld 4">
            <a:extLst>
              <a:ext uri="{FF2B5EF4-FFF2-40B4-BE49-F238E27FC236}">
                <a16:creationId xmlns:a16="http://schemas.microsoft.com/office/drawing/2014/main" id="{81D1F168-F611-2A75-82A6-3B44262882E1}"/>
              </a:ext>
            </a:extLst>
          </p:cNvPr>
          <p:cNvSpPr txBox="1"/>
          <p:nvPr/>
        </p:nvSpPr>
        <p:spPr>
          <a:xfrm>
            <a:off x="751737" y="65278"/>
            <a:ext cx="10009471" cy="830997"/>
          </a:xfrm>
          <a:prstGeom prst="rect">
            <a:avLst/>
          </a:prstGeom>
          <a:noFill/>
        </p:spPr>
        <p:txBody>
          <a:bodyPr wrap="none" rtlCol="0">
            <a:spAutoFit/>
          </a:bodyPr>
          <a:lstStyle/>
          <a:p>
            <a:r>
              <a:rPr lang="de-DE" sz="2400" dirty="0">
                <a:solidFill>
                  <a:srgbClr val="0000FF"/>
                </a:solidFill>
                <a:latin typeface="+mn-lt"/>
              </a:rPr>
              <a:t>Monitoring </a:t>
            </a:r>
            <a:r>
              <a:rPr lang="de-DE" sz="2400" dirty="0" err="1">
                <a:solidFill>
                  <a:srgbClr val="0000FF"/>
                </a:solidFill>
                <a:latin typeface="+mn-lt"/>
              </a:rPr>
              <a:t>of</a:t>
            </a:r>
            <a:r>
              <a:rPr lang="de-DE" sz="2400" dirty="0">
                <a:solidFill>
                  <a:srgbClr val="0000FF"/>
                </a:solidFill>
                <a:latin typeface="+mn-lt"/>
              </a:rPr>
              <a:t> </a:t>
            </a:r>
            <a:r>
              <a:rPr lang="de-DE" sz="2400" dirty="0" err="1">
                <a:solidFill>
                  <a:srgbClr val="0000FF"/>
                </a:solidFill>
                <a:latin typeface="+mn-lt"/>
              </a:rPr>
              <a:t>the</a:t>
            </a:r>
            <a:r>
              <a:rPr lang="de-DE" sz="2400" dirty="0">
                <a:solidFill>
                  <a:srgbClr val="0000FF"/>
                </a:solidFill>
                <a:latin typeface="+mn-lt"/>
              </a:rPr>
              <a:t> Horizontal </a:t>
            </a:r>
            <a:r>
              <a:rPr lang="de-DE" sz="2400" dirty="0" err="1">
                <a:solidFill>
                  <a:srgbClr val="0000FF"/>
                </a:solidFill>
                <a:latin typeface="+mn-lt"/>
              </a:rPr>
              <a:t>Feedwater</a:t>
            </a:r>
            <a:r>
              <a:rPr lang="de-DE" sz="2400" dirty="0">
                <a:solidFill>
                  <a:srgbClr val="0000FF"/>
                </a:solidFill>
                <a:latin typeface="+mn-lt"/>
              </a:rPr>
              <a:t> Pump OL3 </a:t>
            </a:r>
            <a:r>
              <a:rPr lang="de-DE" sz="2400" dirty="0" err="1">
                <a:solidFill>
                  <a:srgbClr val="0000FF"/>
                </a:solidFill>
                <a:latin typeface="+mn-lt"/>
              </a:rPr>
              <a:t>during</a:t>
            </a:r>
            <a:r>
              <a:rPr lang="de-DE" sz="2400" dirty="0">
                <a:solidFill>
                  <a:srgbClr val="0000FF"/>
                </a:solidFill>
                <a:latin typeface="+mn-lt"/>
              </a:rPr>
              <a:t> Operation</a:t>
            </a:r>
          </a:p>
          <a:p>
            <a:r>
              <a:rPr lang="de-DE" sz="2400" b="0" dirty="0">
                <a:latin typeface="+mn-lt"/>
              </a:rPr>
              <a:t>Observation: Cracks in </a:t>
            </a:r>
            <a:r>
              <a:rPr lang="de-DE" sz="2400" b="0" dirty="0" err="1">
                <a:latin typeface="+mn-lt"/>
              </a:rPr>
              <a:t>the</a:t>
            </a:r>
            <a:r>
              <a:rPr lang="de-DE" sz="2400" b="0" dirty="0">
                <a:latin typeface="+mn-lt"/>
              </a:rPr>
              <a:t> Impeller at </a:t>
            </a:r>
            <a:r>
              <a:rPr lang="de-DE" sz="2400" b="0" dirty="0" err="1">
                <a:latin typeface="+mn-lt"/>
              </a:rPr>
              <a:t>the</a:t>
            </a:r>
            <a:r>
              <a:rPr lang="de-DE" sz="2400" b="0" dirty="0">
                <a:latin typeface="+mn-lt"/>
              </a:rPr>
              <a:t> sharp </a:t>
            </a:r>
            <a:r>
              <a:rPr lang="de-DE" sz="2400" b="0" dirty="0" err="1">
                <a:latin typeface="+mn-lt"/>
              </a:rPr>
              <a:t>nose</a:t>
            </a:r>
            <a:r>
              <a:rPr lang="de-DE" sz="2400" b="0" dirty="0">
                <a:latin typeface="+mn-lt"/>
              </a:rPr>
              <a:t> </a:t>
            </a:r>
            <a:r>
              <a:rPr lang="de-DE" sz="2400" b="0" dirty="0" err="1">
                <a:latin typeface="+mn-lt"/>
              </a:rPr>
              <a:t>below</a:t>
            </a:r>
            <a:r>
              <a:rPr lang="de-DE" sz="2400" b="0" dirty="0">
                <a:latin typeface="+mn-lt"/>
              </a:rPr>
              <a:t> </a:t>
            </a:r>
            <a:r>
              <a:rPr lang="de-DE" sz="2400" b="0" dirty="0" err="1">
                <a:latin typeface="+mn-lt"/>
              </a:rPr>
              <a:t>the</a:t>
            </a:r>
            <a:r>
              <a:rPr lang="de-DE" sz="2400" b="0" dirty="0">
                <a:latin typeface="+mn-lt"/>
              </a:rPr>
              <a:t> </a:t>
            </a:r>
            <a:r>
              <a:rPr lang="de-DE" sz="2400" b="0" dirty="0" err="1">
                <a:latin typeface="+mn-lt"/>
              </a:rPr>
              <a:t>junction</a:t>
            </a:r>
            <a:endParaRPr lang="de-DE" sz="2400" b="0" dirty="0">
              <a:latin typeface="+mn-lt"/>
            </a:endParaRPr>
          </a:p>
        </p:txBody>
      </p:sp>
      <p:sp>
        <p:nvSpPr>
          <p:cNvPr id="6" name="Stern: 7 Zacken 5">
            <a:extLst>
              <a:ext uri="{FF2B5EF4-FFF2-40B4-BE49-F238E27FC236}">
                <a16:creationId xmlns:a16="http://schemas.microsoft.com/office/drawing/2014/main" id="{048E1529-B2E3-6B37-E8C4-3FC4485D70C7}"/>
              </a:ext>
            </a:extLst>
          </p:cNvPr>
          <p:cNvSpPr/>
          <p:nvPr/>
        </p:nvSpPr>
        <p:spPr>
          <a:xfrm>
            <a:off x="6096000" y="1894637"/>
            <a:ext cx="195072" cy="185970"/>
          </a:xfrm>
          <a:prstGeom prst="star7">
            <a:avLst/>
          </a:prstGeom>
          <a:solidFill>
            <a:srgbClr val="FF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8" name="Gerader Verbinder 7">
            <a:extLst>
              <a:ext uri="{FF2B5EF4-FFF2-40B4-BE49-F238E27FC236}">
                <a16:creationId xmlns:a16="http://schemas.microsoft.com/office/drawing/2014/main" id="{2B4A5BBA-ED17-7250-0A27-3E11AD6184BF}"/>
              </a:ext>
            </a:extLst>
          </p:cNvPr>
          <p:cNvCxnSpPr>
            <a:cxnSpLocks/>
          </p:cNvCxnSpPr>
          <p:nvPr/>
        </p:nvCxnSpPr>
        <p:spPr>
          <a:xfrm>
            <a:off x="6228080" y="1991360"/>
            <a:ext cx="2344420" cy="2873086"/>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1" name="Gerader Verbinder 10">
            <a:extLst>
              <a:ext uri="{FF2B5EF4-FFF2-40B4-BE49-F238E27FC236}">
                <a16:creationId xmlns:a16="http://schemas.microsoft.com/office/drawing/2014/main" id="{4361EDB8-5AA4-741E-4C79-99E1356FA389}"/>
              </a:ext>
            </a:extLst>
          </p:cNvPr>
          <p:cNvCxnSpPr>
            <a:cxnSpLocks/>
          </p:cNvCxnSpPr>
          <p:nvPr/>
        </p:nvCxnSpPr>
        <p:spPr>
          <a:xfrm flipH="1">
            <a:off x="4124960" y="1991360"/>
            <a:ext cx="2103120" cy="3129280"/>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sp>
        <p:nvSpPr>
          <p:cNvPr id="15" name="Textfeld 14">
            <a:extLst>
              <a:ext uri="{FF2B5EF4-FFF2-40B4-BE49-F238E27FC236}">
                <a16:creationId xmlns:a16="http://schemas.microsoft.com/office/drawing/2014/main" id="{C2E9AB72-4ED4-2FAB-9646-A31019B2C4B0}"/>
              </a:ext>
            </a:extLst>
          </p:cNvPr>
          <p:cNvSpPr txBox="1"/>
          <p:nvPr/>
        </p:nvSpPr>
        <p:spPr>
          <a:xfrm>
            <a:off x="166795" y="1623983"/>
            <a:ext cx="4158511" cy="1477328"/>
          </a:xfrm>
          <a:prstGeom prst="rect">
            <a:avLst/>
          </a:prstGeom>
          <a:noFill/>
        </p:spPr>
        <p:txBody>
          <a:bodyPr wrap="none" rtlCol="0">
            <a:spAutoFit/>
          </a:bodyPr>
          <a:lstStyle/>
          <a:p>
            <a:r>
              <a:rPr lang="de-DE" sz="2200" dirty="0" err="1">
                <a:solidFill>
                  <a:srgbClr val="0000FF"/>
                </a:solidFill>
                <a:latin typeface="+mn-lt"/>
              </a:rPr>
              <a:t>Confirmation</a:t>
            </a:r>
            <a:r>
              <a:rPr lang="de-DE" sz="2200" b="0" dirty="0">
                <a:latin typeface="+mn-lt"/>
              </a:rPr>
              <a:t> </a:t>
            </a:r>
            <a:r>
              <a:rPr lang="de-DE" sz="2200" b="0" dirty="0" err="1">
                <a:latin typeface="+mn-lt"/>
              </a:rPr>
              <a:t>of</a:t>
            </a:r>
            <a:r>
              <a:rPr lang="de-DE" sz="2200" b="0" dirty="0">
                <a:latin typeface="+mn-lt"/>
              </a:rPr>
              <a:t> </a:t>
            </a:r>
            <a:r>
              <a:rPr lang="de-DE" sz="2200" dirty="0">
                <a:solidFill>
                  <a:srgbClr val="0000FF"/>
                </a:solidFill>
                <a:latin typeface="+mn-lt"/>
              </a:rPr>
              <a:t>high </a:t>
            </a:r>
            <a:r>
              <a:rPr lang="de-DE" sz="2200" dirty="0" err="1">
                <a:solidFill>
                  <a:srgbClr val="0000FF"/>
                </a:solidFill>
                <a:latin typeface="+mn-lt"/>
              </a:rPr>
              <a:t>stresses</a:t>
            </a:r>
            <a:endParaRPr lang="de-DE" sz="2200" dirty="0">
              <a:solidFill>
                <a:srgbClr val="0000FF"/>
              </a:solidFill>
              <a:latin typeface="+mn-lt"/>
            </a:endParaRPr>
          </a:p>
          <a:p>
            <a:r>
              <a:rPr lang="de-DE" sz="2200" b="0" dirty="0">
                <a:latin typeface="+mn-lt"/>
              </a:rPr>
              <a:t>at </a:t>
            </a:r>
            <a:r>
              <a:rPr lang="de-DE" sz="2200" b="0" dirty="0" err="1">
                <a:latin typeface="+mn-lt"/>
              </a:rPr>
              <a:t>the</a:t>
            </a:r>
            <a:r>
              <a:rPr lang="de-DE" sz="2200" b="0" dirty="0">
                <a:latin typeface="+mn-lt"/>
              </a:rPr>
              <a:t> </a:t>
            </a:r>
            <a:r>
              <a:rPr lang="de-DE" sz="2200" dirty="0">
                <a:solidFill>
                  <a:srgbClr val="0000FF"/>
                </a:solidFill>
                <a:latin typeface="+mn-lt"/>
              </a:rPr>
              <a:t>sharp</a:t>
            </a:r>
            <a:r>
              <a:rPr lang="de-DE" sz="2200" b="0" dirty="0">
                <a:solidFill>
                  <a:srgbClr val="0000FF"/>
                </a:solidFill>
                <a:latin typeface="+mn-lt"/>
              </a:rPr>
              <a:t> </a:t>
            </a:r>
            <a:r>
              <a:rPr lang="de-DE" sz="2200" dirty="0" err="1">
                <a:solidFill>
                  <a:srgbClr val="0000FF"/>
                </a:solidFill>
                <a:latin typeface="+mn-lt"/>
              </a:rPr>
              <a:t>nose</a:t>
            </a:r>
            <a:r>
              <a:rPr lang="de-DE" sz="2200" b="0" dirty="0">
                <a:solidFill>
                  <a:srgbClr val="0000FF"/>
                </a:solidFill>
                <a:latin typeface="+mn-lt"/>
              </a:rPr>
              <a:t> </a:t>
            </a:r>
            <a:r>
              <a:rPr lang="de-DE" sz="2200" b="0" dirty="0" err="1">
                <a:latin typeface="+mn-lt"/>
              </a:rPr>
              <a:t>below</a:t>
            </a:r>
            <a:r>
              <a:rPr lang="de-DE" sz="2200" b="0" dirty="0">
                <a:latin typeface="+mn-lt"/>
              </a:rPr>
              <a:t> </a:t>
            </a:r>
            <a:r>
              <a:rPr lang="de-DE" sz="2200" b="0" dirty="0" err="1">
                <a:latin typeface="+mn-lt"/>
              </a:rPr>
              <a:t>the</a:t>
            </a:r>
            <a:r>
              <a:rPr lang="de-DE" sz="2200" b="0" dirty="0">
                <a:latin typeface="+mn-lt"/>
              </a:rPr>
              <a:t> </a:t>
            </a:r>
          </a:p>
          <a:p>
            <a:r>
              <a:rPr lang="de-DE" sz="2200" b="0" dirty="0" err="1">
                <a:latin typeface="+mn-lt"/>
              </a:rPr>
              <a:t>junction</a:t>
            </a:r>
            <a:r>
              <a:rPr lang="de-DE" sz="2200" b="0" dirty="0">
                <a:latin typeface="+mn-lt"/>
              </a:rPr>
              <a:t> </a:t>
            </a:r>
            <a:r>
              <a:rPr lang="de-DE" sz="2200" b="0" dirty="0" err="1">
                <a:latin typeface="+mn-lt"/>
              </a:rPr>
              <a:t>of</a:t>
            </a:r>
            <a:r>
              <a:rPr lang="de-DE" sz="2200" b="0" dirty="0">
                <a:latin typeface="+mn-lt"/>
              </a:rPr>
              <a:t> </a:t>
            </a:r>
            <a:r>
              <a:rPr lang="de-DE" sz="2200" b="0" dirty="0" err="1">
                <a:latin typeface="+mn-lt"/>
              </a:rPr>
              <a:t>the</a:t>
            </a:r>
            <a:r>
              <a:rPr lang="de-DE" sz="2200" b="0" dirty="0">
                <a:latin typeface="+mn-lt"/>
              </a:rPr>
              <a:t> tangential blade</a:t>
            </a:r>
          </a:p>
          <a:p>
            <a:r>
              <a:rPr lang="de-DE" sz="2200" b="0" dirty="0">
                <a:latin typeface="+mn-lt"/>
              </a:rPr>
              <a:t>and </a:t>
            </a:r>
            <a:r>
              <a:rPr lang="de-DE" sz="2200" b="0" dirty="0" err="1">
                <a:latin typeface="+mn-lt"/>
              </a:rPr>
              <a:t>the</a:t>
            </a:r>
            <a:r>
              <a:rPr lang="de-DE" sz="2200" b="0" dirty="0">
                <a:latin typeface="+mn-lt"/>
              </a:rPr>
              <a:t> radial fin by </a:t>
            </a:r>
            <a:r>
              <a:rPr lang="de-DE" sz="2200" dirty="0">
                <a:solidFill>
                  <a:srgbClr val="0000FF"/>
                </a:solidFill>
                <a:latin typeface="+mn-lt"/>
              </a:rPr>
              <a:t>FE </a:t>
            </a:r>
            <a:r>
              <a:rPr lang="de-DE" sz="2200" dirty="0" err="1">
                <a:solidFill>
                  <a:srgbClr val="0000FF"/>
                </a:solidFill>
                <a:latin typeface="+mn-lt"/>
              </a:rPr>
              <a:t>calcul</a:t>
            </a:r>
            <a:r>
              <a:rPr lang="de-DE" sz="2400" b="0" dirty="0">
                <a:solidFill>
                  <a:srgbClr val="0000FF"/>
                </a:solidFill>
                <a:latin typeface="+mn-lt"/>
              </a:rPr>
              <a:t>.</a:t>
            </a:r>
          </a:p>
        </p:txBody>
      </p:sp>
      <p:sp>
        <p:nvSpPr>
          <p:cNvPr id="16" name="Textfeld 15">
            <a:extLst>
              <a:ext uri="{FF2B5EF4-FFF2-40B4-BE49-F238E27FC236}">
                <a16:creationId xmlns:a16="http://schemas.microsoft.com/office/drawing/2014/main" id="{A1CB15E2-A0C2-32A2-1DAA-DBCA46FD1804}"/>
              </a:ext>
            </a:extLst>
          </p:cNvPr>
          <p:cNvSpPr txBox="1"/>
          <p:nvPr/>
        </p:nvSpPr>
        <p:spPr>
          <a:xfrm>
            <a:off x="7787640" y="1623983"/>
            <a:ext cx="4163319" cy="1477328"/>
          </a:xfrm>
          <a:prstGeom prst="rect">
            <a:avLst/>
          </a:prstGeom>
          <a:noFill/>
        </p:spPr>
        <p:txBody>
          <a:bodyPr wrap="none" rtlCol="0">
            <a:spAutoFit/>
          </a:bodyPr>
          <a:lstStyle/>
          <a:p>
            <a:r>
              <a:rPr lang="de-DE" sz="2200" dirty="0">
                <a:solidFill>
                  <a:srgbClr val="0000FF"/>
                </a:solidFill>
                <a:latin typeface="+mn-lt"/>
              </a:rPr>
              <a:t>Observation </a:t>
            </a:r>
            <a:r>
              <a:rPr lang="de-DE" sz="2200" dirty="0" err="1">
                <a:solidFill>
                  <a:srgbClr val="0000FF"/>
                </a:solidFill>
                <a:latin typeface="+mn-lt"/>
              </a:rPr>
              <a:t>of</a:t>
            </a:r>
            <a:r>
              <a:rPr lang="de-DE" sz="2200" dirty="0">
                <a:solidFill>
                  <a:srgbClr val="0000FF"/>
                </a:solidFill>
                <a:latin typeface="+mn-lt"/>
              </a:rPr>
              <a:t> </a:t>
            </a:r>
            <a:r>
              <a:rPr lang="de-DE" sz="2200" dirty="0" err="1">
                <a:solidFill>
                  <a:srgbClr val="0000FF"/>
                </a:solidFill>
                <a:latin typeface="+mn-lt"/>
              </a:rPr>
              <a:t>cracks</a:t>
            </a:r>
            <a:r>
              <a:rPr lang="de-DE" sz="2200" dirty="0">
                <a:solidFill>
                  <a:srgbClr val="0000FF"/>
                </a:solidFill>
                <a:latin typeface="+mn-lt"/>
              </a:rPr>
              <a:t> </a:t>
            </a:r>
            <a:r>
              <a:rPr lang="de-DE" sz="2200" b="0" dirty="0">
                <a:latin typeface="+mn-lt"/>
              </a:rPr>
              <a:t>in </a:t>
            </a:r>
            <a:r>
              <a:rPr lang="de-DE" sz="2200" b="0" dirty="0" err="1">
                <a:latin typeface="+mn-lt"/>
              </a:rPr>
              <a:t>the</a:t>
            </a:r>
            <a:r>
              <a:rPr lang="de-DE" sz="2200" b="0" dirty="0">
                <a:latin typeface="+mn-lt"/>
              </a:rPr>
              <a:t> </a:t>
            </a:r>
          </a:p>
          <a:p>
            <a:r>
              <a:rPr lang="de-DE" sz="2200" b="0" dirty="0">
                <a:latin typeface="+mn-lt"/>
              </a:rPr>
              <a:t>Impeller </a:t>
            </a:r>
            <a:r>
              <a:rPr lang="de-DE" sz="2200" b="0" dirty="0" err="1">
                <a:latin typeface="+mn-lt"/>
              </a:rPr>
              <a:t>during</a:t>
            </a:r>
            <a:r>
              <a:rPr lang="de-DE" sz="2200" b="0" dirty="0">
                <a:latin typeface="+mn-lt"/>
              </a:rPr>
              <a:t> an </a:t>
            </a:r>
            <a:r>
              <a:rPr lang="de-DE" sz="2200" b="0" dirty="0" err="1">
                <a:latin typeface="+mn-lt"/>
              </a:rPr>
              <a:t>inspection</a:t>
            </a:r>
            <a:endParaRPr lang="de-DE" sz="2200" b="0" dirty="0">
              <a:latin typeface="+mn-lt"/>
            </a:endParaRPr>
          </a:p>
          <a:p>
            <a:r>
              <a:rPr lang="de-DE" sz="2200" b="0" dirty="0" err="1">
                <a:latin typeface="+mn-lt"/>
              </a:rPr>
              <a:t>of</a:t>
            </a:r>
            <a:r>
              <a:rPr lang="de-DE" sz="2200" b="0" dirty="0">
                <a:latin typeface="+mn-lt"/>
              </a:rPr>
              <a:t> </a:t>
            </a:r>
            <a:r>
              <a:rPr lang="de-DE" sz="2200" b="0" dirty="0" err="1">
                <a:latin typeface="+mn-lt"/>
              </a:rPr>
              <a:t>the</a:t>
            </a:r>
            <a:r>
              <a:rPr lang="de-DE" sz="2200" b="0" dirty="0">
                <a:latin typeface="+mn-lt"/>
              </a:rPr>
              <a:t> </a:t>
            </a:r>
            <a:r>
              <a:rPr lang="de-DE" sz="2200" b="0" dirty="0" err="1">
                <a:latin typeface="+mn-lt"/>
              </a:rPr>
              <a:t>Boilerfeed</a:t>
            </a:r>
            <a:r>
              <a:rPr lang="de-DE" sz="2200" b="0" dirty="0">
                <a:latin typeface="+mn-lt"/>
              </a:rPr>
              <a:t> pump in </a:t>
            </a:r>
            <a:r>
              <a:rPr lang="de-DE" sz="2200" b="0" dirty="0" err="1">
                <a:latin typeface="+mn-lt"/>
              </a:rPr>
              <a:t>the</a:t>
            </a:r>
            <a:r>
              <a:rPr lang="de-DE" sz="2200" b="0" dirty="0">
                <a:latin typeface="+mn-lt"/>
              </a:rPr>
              <a:t> </a:t>
            </a:r>
          </a:p>
          <a:p>
            <a:r>
              <a:rPr lang="de-DE" sz="2200" dirty="0" err="1">
                <a:solidFill>
                  <a:srgbClr val="0000FF"/>
                </a:solidFill>
                <a:latin typeface="+mn-lt"/>
              </a:rPr>
              <a:t>Commissioning</a:t>
            </a:r>
            <a:r>
              <a:rPr lang="de-DE" sz="2200" dirty="0">
                <a:solidFill>
                  <a:srgbClr val="0000FF"/>
                </a:solidFill>
                <a:latin typeface="+mn-lt"/>
              </a:rPr>
              <a:t> </a:t>
            </a:r>
            <a:r>
              <a:rPr lang="de-DE" sz="2200" b="0" dirty="0" err="1">
                <a:latin typeface="+mn-lt"/>
              </a:rPr>
              <a:t>phase</a:t>
            </a:r>
            <a:r>
              <a:rPr lang="de-DE" sz="2200" b="0" dirty="0">
                <a:latin typeface="+mn-lt"/>
              </a:rPr>
              <a:t> </a:t>
            </a:r>
            <a:r>
              <a:rPr lang="de-DE" sz="2200" b="0" dirty="0" err="1">
                <a:latin typeface="+mn-lt"/>
              </a:rPr>
              <a:t>of</a:t>
            </a:r>
            <a:r>
              <a:rPr lang="de-DE" sz="2200" b="0" dirty="0">
                <a:latin typeface="+mn-lt"/>
              </a:rPr>
              <a:t> OL3</a:t>
            </a:r>
            <a:r>
              <a:rPr lang="de-DE" sz="2400" b="0" dirty="0">
                <a:latin typeface="+mn-lt"/>
              </a:rPr>
              <a:t>.</a:t>
            </a:r>
          </a:p>
        </p:txBody>
      </p:sp>
    </p:spTree>
    <p:extLst>
      <p:ext uri="{BB962C8B-B14F-4D97-AF65-F5344CB8AC3E}">
        <p14:creationId xmlns:p14="http://schemas.microsoft.com/office/powerpoint/2010/main" val="136358040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Grafik 2">
            <a:extLst>
              <a:ext uri="{FF2B5EF4-FFF2-40B4-BE49-F238E27FC236}">
                <a16:creationId xmlns:a16="http://schemas.microsoft.com/office/drawing/2014/main" id="{7D71937D-510E-ACA0-F6B7-6418AEAB634D}"/>
              </a:ext>
            </a:extLst>
          </p:cNvPr>
          <p:cNvPicPr>
            <a:picLocks noChangeAspect="1"/>
          </p:cNvPicPr>
          <p:nvPr/>
        </p:nvPicPr>
        <p:blipFill>
          <a:blip r:embed="rId3"/>
          <a:stretch>
            <a:fillRect/>
          </a:stretch>
        </p:blipFill>
        <p:spPr>
          <a:xfrm>
            <a:off x="853440" y="1239521"/>
            <a:ext cx="10159999" cy="5161280"/>
          </a:xfrm>
          <a:prstGeom prst="rect">
            <a:avLst/>
          </a:prstGeom>
        </p:spPr>
      </p:pic>
      <p:sp>
        <p:nvSpPr>
          <p:cNvPr id="2" name="Textfeld 1">
            <a:extLst>
              <a:ext uri="{FF2B5EF4-FFF2-40B4-BE49-F238E27FC236}">
                <a16:creationId xmlns:a16="http://schemas.microsoft.com/office/drawing/2014/main" id="{AB5FE5EA-E442-1441-AC1E-BDD12E053B39}"/>
              </a:ext>
            </a:extLst>
          </p:cNvPr>
          <p:cNvSpPr txBox="1"/>
          <p:nvPr/>
        </p:nvSpPr>
        <p:spPr>
          <a:xfrm>
            <a:off x="751737" y="65278"/>
            <a:ext cx="11225189" cy="830997"/>
          </a:xfrm>
          <a:prstGeom prst="rect">
            <a:avLst/>
          </a:prstGeom>
          <a:noFill/>
        </p:spPr>
        <p:txBody>
          <a:bodyPr wrap="none" rtlCol="0">
            <a:spAutoFit/>
          </a:bodyPr>
          <a:lstStyle/>
          <a:p>
            <a:r>
              <a:rPr lang="de-DE" sz="2400" dirty="0">
                <a:solidFill>
                  <a:srgbClr val="0000FF"/>
                </a:solidFill>
                <a:latin typeface="+mn-lt"/>
              </a:rPr>
              <a:t>Monitoring </a:t>
            </a:r>
            <a:r>
              <a:rPr lang="de-DE" sz="2400" dirty="0" err="1">
                <a:solidFill>
                  <a:srgbClr val="0000FF"/>
                </a:solidFill>
                <a:latin typeface="+mn-lt"/>
              </a:rPr>
              <a:t>of</a:t>
            </a:r>
            <a:r>
              <a:rPr lang="de-DE" sz="2400" dirty="0">
                <a:solidFill>
                  <a:srgbClr val="0000FF"/>
                </a:solidFill>
                <a:latin typeface="+mn-lt"/>
              </a:rPr>
              <a:t> </a:t>
            </a:r>
            <a:r>
              <a:rPr lang="de-DE" sz="2400" dirty="0" err="1">
                <a:solidFill>
                  <a:srgbClr val="0000FF"/>
                </a:solidFill>
                <a:latin typeface="+mn-lt"/>
              </a:rPr>
              <a:t>the</a:t>
            </a:r>
            <a:r>
              <a:rPr lang="de-DE" sz="2400" dirty="0">
                <a:solidFill>
                  <a:srgbClr val="0000FF"/>
                </a:solidFill>
                <a:latin typeface="+mn-lt"/>
              </a:rPr>
              <a:t> Horizontal </a:t>
            </a:r>
            <a:r>
              <a:rPr lang="de-DE" sz="2400" dirty="0" err="1">
                <a:solidFill>
                  <a:srgbClr val="0000FF"/>
                </a:solidFill>
                <a:latin typeface="+mn-lt"/>
              </a:rPr>
              <a:t>Feedwater</a:t>
            </a:r>
            <a:r>
              <a:rPr lang="de-DE" sz="2400" dirty="0">
                <a:solidFill>
                  <a:srgbClr val="0000FF"/>
                </a:solidFill>
                <a:latin typeface="+mn-lt"/>
              </a:rPr>
              <a:t> Pump OL3 </a:t>
            </a:r>
            <a:r>
              <a:rPr lang="de-DE" sz="2400" dirty="0" err="1">
                <a:solidFill>
                  <a:srgbClr val="0000FF"/>
                </a:solidFill>
                <a:latin typeface="+mn-lt"/>
              </a:rPr>
              <a:t>during</a:t>
            </a:r>
            <a:r>
              <a:rPr lang="de-DE" sz="2400" dirty="0">
                <a:solidFill>
                  <a:srgbClr val="0000FF"/>
                </a:solidFill>
                <a:latin typeface="+mn-lt"/>
              </a:rPr>
              <a:t> Operation</a:t>
            </a:r>
          </a:p>
          <a:p>
            <a:r>
              <a:rPr lang="de-DE" sz="2400" b="0" dirty="0">
                <a:latin typeface="+mn-lt"/>
              </a:rPr>
              <a:t>Observation: Cracks in </a:t>
            </a:r>
            <a:r>
              <a:rPr lang="de-DE" sz="2400" b="0" dirty="0" err="1">
                <a:latin typeface="+mn-lt"/>
              </a:rPr>
              <a:t>the</a:t>
            </a:r>
            <a:r>
              <a:rPr lang="de-DE" sz="2400" b="0" dirty="0">
                <a:latin typeface="+mn-lt"/>
              </a:rPr>
              <a:t> Impeller, </a:t>
            </a:r>
            <a:r>
              <a:rPr lang="de-DE" sz="2400" b="0" dirty="0" err="1">
                <a:latin typeface="+mn-lt"/>
              </a:rPr>
              <a:t>initiated</a:t>
            </a:r>
            <a:r>
              <a:rPr lang="de-DE" sz="2400" b="0" dirty="0">
                <a:latin typeface="+mn-lt"/>
              </a:rPr>
              <a:t> at </a:t>
            </a:r>
            <a:r>
              <a:rPr lang="de-DE" sz="2400" b="0" dirty="0" err="1">
                <a:latin typeface="+mn-lt"/>
              </a:rPr>
              <a:t>the</a:t>
            </a:r>
            <a:r>
              <a:rPr lang="de-DE" sz="2400" b="0" dirty="0">
                <a:latin typeface="+mn-lt"/>
              </a:rPr>
              <a:t> sharp </a:t>
            </a:r>
            <a:r>
              <a:rPr lang="de-DE" sz="2400" b="0" dirty="0" err="1">
                <a:latin typeface="+mn-lt"/>
              </a:rPr>
              <a:t>nose</a:t>
            </a:r>
            <a:r>
              <a:rPr lang="de-DE" sz="2400" b="0" dirty="0">
                <a:latin typeface="+mn-lt"/>
              </a:rPr>
              <a:t> </a:t>
            </a:r>
            <a:r>
              <a:rPr lang="de-DE" sz="2400" b="0" dirty="0" err="1">
                <a:latin typeface="+mn-lt"/>
              </a:rPr>
              <a:t>below</a:t>
            </a:r>
            <a:r>
              <a:rPr lang="de-DE" sz="2400" b="0" dirty="0">
                <a:latin typeface="+mn-lt"/>
              </a:rPr>
              <a:t> </a:t>
            </a:r>
            <a:r>
              <a:rPr lang="de-DE" sz="2400" b="0" dirty="0" err="1">
                <a:latin typeface="+mn-lt"/>
              </a:rPr>
              <a:t>the</a:t>
            </a:r>
            <a:r>
              <a:rPr lang="de-DE" sz="2400" b="0" dirty="0">
                <a:latin typeface="+mn-lt"/>
              </a:rPr>
              <a:t> </a:t>
            </a:r>
            <a:r>
              <a:rPr lang="de-DE" sz="2400" b="0" dirty="0" err="1">
                <a:latin typeface="+mn-lt"/>
              </a:rPr>
              <a:t>junction</a:t>
            </a:r>
            <a:endParaRPr lang="de-DE" sz="2400" b="0" dirty="0">
              <a:latin typeface="+mn-lt"/>
            </a:endParaRPr>
          </a:p>
        </p:txBody>
      </p:sp>
      <p:sp>
        <p:nvSpPr>
          <p:cNvPr id="4" name="Textfeld 3">
            <a:extLst>
              <a:ext uri="{FF2B5EF4-FFF2-40B4-BE49-F238E27FC236}">
                <a16:creationId xmlns:a16="http://schemas.microsoft.com/office/drawing/2014/main" id="{CAD897E5-8E24-D6E6-6C12-963305F7D38B}"/>
              </a:ext>
            </a:extLst>
          </p:cNvPr>
          <p:cNvSpPr txBox="1"/>
          <p:nvPr/>
        </p:nvSpPr>
        <p:spPr>
          <a:xfrm>
            <a:off x="7717537" y="2611527"/>
            <a:ext cx="1853392" cy="369332"/>
          </a:xfrm>
          <a:prstGeom prst="rect">
            <a:avLst/>
          </a:prstGeom>
          <a:noFill/>
        </p:spPr>
        <p:txBody>
          <a:bodyPr wrap="none" rtlCol="0">
            <a:spAutoFit/>
          </a:bodyPr>
          <a:lstStyle/>
          <a:p>
            <a:r>
              <a:rPr lang="de-DE" dirty="0">
                <a:solidFill>
                  <a:schemeClr val="bg1"/>
                </a:solidFill>
              </a:rPr>
              <a:t>Beach </a:t>
            </a:r>
            <a:r>
              <a:rPr lang="de-DE" dirty="0" err="1">
                <a:solidFill>
                  <a:schemeClr val="bg1"/>
                </a:solidFill>
              </a:rPr>
              <a:t>marks</a:t>
            </a:r>
            <a:endParaRPr lang="de-DE" dirty="0">
              <a:solidFill>
                <a:schemeClr val="bg1"/>
              </a:solidFill>
            </a:endParaRPr>
          </a:p>
        </p:txBody>
      </p:sp>
      <p:cxnSp>
        <p:nvCxnSpPr>
          <p:cNvPr id="6" name="Gerade Verbindung mit Pfeil 5">
            <a:extLst>
              <a:ext uri="{FF2B5EF4-FFF2-40B4-BE49-F238E27FC236}">
                <a16:creationId xmlns:a16="http://schemas.microsoft.com/office/drawing/2014/main" id="{C6C74F3D-A8C9-CC9E-F65B-7338CD94931B}"/>
              </a:ext>
            </a:extLst>
          </p:cNvPr>
          <p:cNvCxnSpPr/>
          <p:nvPr/>
        </p:nvCxnSpPr>
        <p:spPr>
          <a:xfrm flipH="1">
            <a:off x="8266176" y="3065069"/>
            <a:ext cx="563270" cy="416966"/>
          </a:xfrm>
          <a:prstGeom prst="straightConnector1">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5043784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Grafik 1">
            <a:extLst>
              <a:ext uri="{FF2B5EF4-FFF2-40B4-BE49-F238E27FC236}">
                <a16:creationId xmlns:a16="http://schemas.microsoft.com/office/drawing/2014/main" id="{706232E9-09A2-BB1D-890C-3B0A822D1795}"/>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auto">
          <a:xfrm>
            <a:off x="2032000" y="1727200"/>
            <a:ext cx="8117840" cy="4236720"/>
          </a:xfrm>
          <a:prstGeom prst="rect">
            <a:avLst/>
          </a:prstGeom>
          <a:noFill/>
          <a:ln>
            <a:noFill/>
          </a:ln>
        </p:spPr>
      </p:pic>
      <p:sp>
        <p:nvSpPr>
          <p:cNvPr id="3" name="Textfeld 2">
            <a:extLst>
              <a:ext uri="{FF2B5EF4-FFF2-40B4-BE49-F238E27FC236}">
                <a16:creationId xmlns:a16="http://schemas.microsoft.com/office/drawing/2014/main" id="{63EE7371-4F20-8577-CB6A-87354265CAA8}"/>
              </a:ext>
            </a:extLst>
          </p:cNvPr>
          <p:cNvSpPr txBox="1"/>
          <p:nvPr/>
        </p:nvSpPr>
        <p:spPr>
          <a:xfrm>
            <a:off x="605325" y="85598"/>
            <a:ext cx="10863871" cy="830997"/>
          </a:xfrm>
          <a:prstGeom prst="rect">
            <a:avLst/>
          </a:prstGeom>
          <a:noFill/>
        </p:spPr>
        <p:txBody>
          <a:bodyPr wrap="none" rtlCol="0">
            <a:spAutoFit/>
          </a:bodyPr>
          <a:lstStyle/>
          <a:p>
            <a:r>
              <a:rPr lang="de-DE" sz="2400" dirty="0">
                <a:solidFill>
                  <a:srgbClr val="0000FF"/>
                </a:solidFill>
                <a:latin typeface="+mn-lt"/>
              </a:rPr>
              <a:t>Monitoring </a:t>
            </a:r>
            <a:r>
              <a:rPr lang="de-DE" sz="2400" dirty="0" err="1">
                <a:solidFill>
                  <a:srgbClr val="0000FF"/>
                </a:solidFill>
                <a:latin typeface="+mn-lt"/>
              </a:rPr>
              <a:t>of</a:t>
            </a:r>
            <a:r>
              <a:rPr lang="de-DE" sz="2400" dirty="0">
                <a:solidFill>
                  <a:srgbClr val="0000FF"/>
                </a:solidFill>
                <a:latin typeface="+mn-lt"/>
              </a:rPr>
              <a:t> </a:t>
            </a:r>
            <a:r>
              <a:rPr lang="de-DE" sz="2400" dirty="0" err="1">
                <a:solidFill>
                  <a:srgbClr val="0000FF"/>
                </a:solidFill>
                <a:latin typeface="+mn-lt"/>
              </a:rPr>
              <a:t>the</a:t>
            </a:r>
            <a:r>
              <a:rPr lang="de-DE" sz="2400" dirty="0">
                <a:solidFill>
                  <a:srgbClr val="0000FF"/>
                </a:solidFill>
                <a:latin typeface="+mn-lt"/>
              </a:rPr>
              <a:t> Horizontal </a:t>
            </a:r>
            <a:r>
              <a:rPr lang="de-DE" sz="2400" dirty="0" err="1">
                <a:solidFill>
                  <a:srgbClr val="0000FF"/>
                </a:solidFill>
                <a:latin typeface="+mn-lt"/>
              </a:rPr>
              <a:t>Feedwater</a:t>
            </a:r>
            <a:r>
              <a:rPr lang="de-DE" sz="2400" dirty="0">
                <a:solidFill>
                  <a:srgbClr val="0000FF"/>
                </a:solidFill>
                <a:latin typeface="+mn-lt"/>
              </a:rPr>
              <a:t> Pump OL3 </a:t>
            </a:r>
            <a:r>
              <a:rPr lang="de-DE" sz="2400" dirty="0" err="1">
                <a:solidFill>
                  <a:srgbClr val="0000FF"/>
                </a:solidFill>
                <a:latin typeface="+mn-lt"/>
              </a:rPr>
              <a:t>during</a:t>
            </a:r>
            <a:r>
              <a:rPr lang="de-DE" sz="2400" dirty="0">
                <a:solidFill>
                  <a:srgbClr val="0000FF"/>
                </a:solidFill>
                <a:latin typeface="+mn-lt"/>
              </a:rPr>
              <a:t> Operation</a:t>
            </a:r>
          </a:p>
          <a:p>
            <a:r>
              <a:rPr lang="de-DE" sz="2400" b="0" dirty="0">
                <a:latin typeface="+mn-lt"/>
              </a:rPr>
              <a:t>FE </a:t>
            </a:r>
            <a:r>
              <a:rPr lang="de-DE" sz="2400" b="0" dirty="0" err="1">
                <a:latin typeface="+mn-lt"/>
              </a:rPr>
              <a:t>Calculation</a:t>
            </a:r>
            <a:r>
              <a:rPr lang="de-DE" sz="2400" b="0" dirty="0">
                <a:latin typeface="+mn-lt"/>
              </a:rPr>
              <a:t>: </a:t>
            </a:r>
            <a:r>
              <a:rPr lang="de-DE" sz="2400" b="0" dirty="0" err="1">
                <a:latin typeface="+mn-lt"/>
              </a:rPr>
              <a:t>Confirmation</a:t>
            </a:r>
            <a:r>
              <a:rPr lang="de-DE" sz="2400" b="0" dirty="0">
                <a:latin typeface="+mn-lt"/>
              </a:rPr>
              <a:t> </a:t>
            </a:r>
            <a:r>
              <a:rPr lang="de-DE" sz="2400" b="0" dirty="0" err="1">
                <a:latin typeface="+mn-lt"/>
              </a:rPr>
              <a:t>of</a:t>
            </a:r>
            <a:r>
              <a:rPr lang="de-DE" sz="2400" b="0" dirty="0">
                <a:latin typeface="+mn-lt"/>
              </a:rPr>
              <a:t> high Stresses at </a:t>
            </a:r>
            <a:r>
              <a:rPr lang="de-DE" sz="2400" b="0" dirty="0" err="1">
                <a:latin typeface="+mn-lt"/>
              </a:rPr>
              <a:t>the</a:t>
            </a:r>
            <a:r>
              <a:rPr lang="de-DE" sz="2400" b="0" dirty="0">
                <a:latin typeface="+mn-lt"/>
              </a:rPr>
              <a:t> </a:t>
            </a:r>
            <a:r>
              <a:rPr lang="de-DE" sz="2400" b="0" dirty="0" err="1">
                <a:latin typeface="+mn-lt"/>
              </a:rPr>
              <a:t>location</a:t>
            </a:r>
            <a:r>
              <a:rPr lang="de-DE" sz="2400" b="0" dirty="0">
                <a:latin typeface="+mn-lt"/>
              </a:rPr>
              <a:t> </a:t>
            </a:r>
            <a:r>
              <a:rPr lang="de-DE" sz="2400" b="0" dirty="0" err="1">
                <a:latin typeface="+mn-lt"/>
              </a:rPr>
              <a:t>of</a:t>
            </a:r>
            <a:r>
              <a:rPr lang="de-DE" sz="2400" b="0" dirty="0">
                <a:latin typeface="+mn-lt"/>
              </a:rPr>
              <a:t> </a:t>
            </a:r>
            <a:r>
              <a:rPr lang="de-DE" sz="2400" b="0" dirty="0" err="1">
                <a:latin typeface="+mn-lt"/>
              </a:rPr>
              <a:t>the</a:t>
            </a:r>
            <a:r>
              <a:rPr lang="de-DE" sz="2400" b="0" dirty="0">
                <a:latin typeface="+mn-lt"/>
              </a:rPr>
              <a:t> sharp </a:t>
            </a:r>
            <a:r>
              <a:rPr lang="de-DE" sz="2400" b="0" dirty="0" err="1">
                <a:latin typeface="+mn-lt"/>
              </a:rPr>
              <a:t>nose</a:t>
            </a:r>
            <a:endParaRPr lang="de-DE" sz="2400" b="0" dirty="0">
              <a:latin typeface="+mn-lt"/>
            </a:endParaRPr>
          </a:p>
        </p:txBody>
      </p:sp>
    </p:spTree>
    <p:extLst>
      <p:ext uri="{BB962C8B-B14F-4D97-AF65-F5344CB8AC3E}">
        <p14:creationId xmlns:p14="http://schemas.microsoft.com/office/powerpoint/2010/main" val="70294652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el 3">
            <a:extLst>
              <a:ext uri="{FF2B5EF4-FFF2-40B4-BE49-F238E27FC236}">
                <a16:creationId xmlns:a16="http://schemas.microsoft.com/office/drawing/2014/main" id="{8EC3160C-2A66-E772-1B65-C360C8E9B60A}"/>
              </a:ext>
            </a:extLst>
          </p:cNvPr>
          <p:cNvSpPr txBox="1">
            <a:spLocks/>
          </p:cNvSpPr>
          <p:nvPr/>
        </p:nvSpPr>
        <p:spPr bwMode="auto">
          <a:xfrm>
            <a:off x="1893888" y="2555875"/>
            <a:ext cx="6877050" cy="838200"/>
          </a:xfrm>
          <a:prstGeom prst="rect">
            <a:avLst/>
          </a:prstGeom>
          <a:noFill/>
          <a:ln w="9525">
            <a:noFill/>
            <a:miter lim="800000"/>
            <a:headEnd/>
            <a:tailEnd/>
          </a:ln>
          <a:effectLst/>
        </p:spPr>
        <p:txBody>
          <a:bodyPr lIns="0" tIns="0" rIns="0" bIns="0"/>
          <a:lstStyle/>
          <a:p>
            <a:pPr marL="0" marR="0" lvl="0" indent="0" algn="l" defTabSz="914400" rtl="0" eaLnBrk="1" fontAlgn="base" latinLnBrk="0" hangingPunct="1">
              <a:lnSpc>
                <a:spcPct val="100000"/>
              </a:lnSpc>
              <a:spcBef>
                <a:spcPct val="0"/>
              </a:spcBef>
              <a:spcAft>
                <a:spcPct val="0"/>
              </a:spcAft>
              <a:buClrTx/>
              <a:buSzTx/>
              <a:buFontTx/>
              <a:buNone/>
              <a:tabLst/>
              <a:defRPr/>
            </a:pPr>
            <a:br>
              <a:rPr kumimoji="0" lang="de-DE" sz="2000" b="1" i="0" u="none" strike="noStrike" kern="0" cap="none" spc="0" normalizeH="0" baseline="0" noProof="0" dirty="0">
                <a:ln>
                  <a:noFill/>
                </a:ln>
                <a:solidFill>
                  <a:srgbClr val="000000"/>
                </a:solidFill>
                <a:effectLst/>
                <a:uLnTx/>
                <a:uFillTx/>
                <a:latin typeface="Arial"/>
                <a:ea typeface="+mn-ea"/>
                <a:cs typeface="+mn-cs"/>
              </a:rPr>
            </a:br>
            <a:r>
              <a:rPr kumimoji="0" lang="de-DE" sz="2000" b="1" i="0" u="none" strike="noStrike" kern="0" cap="none" spc="0" normalizeH="0" baseline="0" noProof="0" dirty="0">
                <a:ln>
                  <a:noFill/>
                </a:ln>
                <a:solidFill>
                  <a:srgbClr val="000000"/>
                </a:solidFill>
                <a:effectLst/>
                <a:uLnTx/>
                <a:uFillTx/>
                <a:latin typeface="Arial"/>
                <a:ea typeface="+mn-ea"/>
                <a:cs typeface="+mn-cs"/>
              </a:rPr>
              <a:t>		</a:t>
            </a:r>
          </a:p>
        </p:txBody>
      </p:sp>
      <p:sp>
        <p:nvSpPr>
          <p:cNvPr id="5" name="Textfeld 4">
            <a:extLst>
              <a:ext uri="{FF2B5EF4-FFF2-40B4-BE49-F238E27FC236}">
                <a16:creationId xmlns:a16="http://schemas.microsoft.com/office/drawing/2014/main" id="{07240E44-DC61-FF18-3D6B-E62916EA6331}"/>
              </a:ext>
            </a:extLst>
          </p:cNvPr>
          <p:cNvSpPr txBox="1">
            <a:spLocks noChangeArrowheads="1"/>
          </p:cNvSpPr>
          <p:nvPr/>
        </p:nvSpPr>
        <p:spPr bwMode="auto">
          <a:xfrm>
            <a:off x="765028" y="1067415"/>
            <a:ext cx="11020572" cy="5940088"/>
          </a:xfrm>
          <a:prstGeom prst="rect">
            <a:avLst/>
          </a:prstGeom>
          <a:noFill/>
          <a:ln>
            <a:noFill/>
          </a:ln>
        </p:spPr>
        <p:txBody>
          <a:bodyPr wrap="square">
            <a:spAutoFit/>
          </a:bodyPr>
          <a:lstStyle>
            <a:lvl1pPr marL="361950" indent="-361950" eaLnBrk="0" hangingPunct="0">
              <a:defRPr b="1">
                <a:solidFill>
                  <a:schemeClr val="tx1"/>
                </a:solidFill>
                <a:latin typeface="Verdana" pitchFamily="34" charset="0"/>
              </a:defRPr>
            </a:lvl1pPr>
            <a:lvl2pPr marL="742950" indent="-285750" eaLnBrk="0" hangingPunct="0">
              <a:defRPr b="1">
                <a:solidFill>
                  <a:schemeClr val="tx1"/>
                </a:solidFill>
                <a:latin typeface="Verdana" pitchFamily="34" charset="0"/>
              </a:defRPr>
            </a:lvl2pPr>
            <a:lvl3pPr marL="1143000" indent="-228600" eaLnBrk="0" hangingPunct="0">
              <a:defRPr b="1">
                <a:solidFill>
                  <a:schemeClr val="tx1"/>
                </a:solidFill>
                <a:latin typeface="Verdana" pitchFamily="34" charset="0"/>
              </a:defRPr>
            </a:lvl3pPr>
            <a:lvl4pPr marL="1600200" indent="-228600" eaLnBrk="0" hangingPunct="0">
              <a:defRPr b="1">
                <a:solidFill>
                  <a:schemeClr val="tx1"/>
                </a:solidFill>
                <a:latin typeface="Verdana" pitchFamily="34" charset="0"/>
              </a:defRPr>
            </a:lvl4pPr>
            <a:lvl5pPr marL="2057400" indent="-228600" eaLnBrk="0" hangingPunct="0">
              <a:defRPr b="1">
                <a:solidFill>
                  <a:schemeClr val="tx1"/>
                </a:solidFill>
                <a:latin typeface="Verdana" pitchFamily="34" charset="0"/>
              </a:defRPr>
            </a:lvl5pPr>
            <a:lvl6pPr marL="2514600" indent="-228600" eaLnBrk="0" fontAlgn="base" hangingPunct="0">
              <a:spcBef>
                <a:spcPct val="0"/>
              </a:spcBef>
              <a:spcAft>
                <a:spcPct val="0"/>
              </a:spcAft>
              <a:defRPr b="1">
                <a:solidFill>
                  <a:schemeClr val="tx1"/>
                </a:solidFill>
                <a:latin typeface="Verdana" pitchFamily="34" charset="0"/>
              </a:defRPr>
            </a:lvl6pPr>
            <a:lvl7pPr marL="2971800" indent="-228600" eaLnBrk="0" fontAlgn="base" hangingPunct="0">
              <a:spcBef>
                <a:spcPct val="0"/>
              </a:spcBef>
              <a:spcAft>
                <a:spcPct val="0"/>
              </a:spcAft>
              <a:defRPr b="1">
                <a:solidFill>
                  <a:schemeClr val="tx1"/>
                </a:solidFill>
                <a:latin typeface="Verdana" pitchFamily="34" charset="0"/>
              </a:defRPr>
            </a:lvl7pPr>
            <a:lvl8pPr marL="3429000" indent="-228600" eaLnBrk="0" fontAlgn="base" hangingPunct="0">
              <a:spcBef>
                <a:spcPct val="0"/>
              </a:spcBef>
              <a:spcAft>
                <a:spcPct val="0"/>
              </a:spcAft>
              <a:defRPr b="1">
                <a:solidFill>
                  <a:schemeClr val="tx1"/>
                </a:solidFill>
                <a:latin typeface="Verdana" pitchFamily="34" charset="0"/>
              </a:defRPr>
            </a:lvl8pPr>
            <a:lvl9pPr marL="3886200" indent="-228600" eaLnBrk="0" fontAlgn="base" hangingPunct="0">
              <a:spcBef>
                <a:spcPct val="0"/>
              </a:spcBef>
              <a:spcAft>
                <a:spcPct val="0"/>
              </a:spcAft>
              <a:defRPr b="1">
                <a:solidFill>
                  <a:schemeClr val="tx1"/>
                </a:solidFill>
                <a:latin typeface="Verdana"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de-DE" altLang="de-DE" sz="2000" b="1" i="0" u="none" strike="noStrike" kern="1200" cap="none" spc="0" normalizeH="0" baseline="0" noProof="0" dirty="0">
              <a:ln>
                <a:noFill/>
              </a:ln>
              <a:solidFill>
                <a:srgbClr val="000000"/>
              </a:solidFill>
              <a:effectLst/>
              <a:uLnTx/>
              <a:uFillTx/>
              <a:latin typeface="Arial" charset="0"/>
              <a:ea typeface="+mn-ea"/>
              <a:cs typeface="+mn-cs"/>
            </a:endParaRPr>
          </a:p>
          <a:p>
            <a:pPr marL="361950" marR="0" lvl="0" indent="-361950" algn="l" defTabSz="914400" rtl="0" eaLnBrk="1" fontAlgn="base" latinLnBrk="0" hangingPunct="1">
              <a:lnSpc>
                <a:spcPct val="100000"/>
              </a:lnSpc>
              <a:spcBef>
                <a:spcPct val="0"/>
              </a:spcBef>
              <a:spcAft>
                <a:spcPct val="0"/>
              </a:spcAft>
              <a:buClrTx/>
              <a:buSzTx/>
              <a:buFont typeface="Wingdings" pitchFamily="2" charset="2"/>
              <a:buChar char="Ø"/>
              <a:tabLst/>
              <a:defRPr/>
            </a:pPr>
            <a:r>
              <a:rPr kumimoji="0" lang="de-DE" altLang="de-DE" sz="2400" b="1" i="0" u="none" strike="noStrike" kern="1200" cap="none" spc="0" normalizeH="0" baseline="0" noProof="0" dirty="0" err="1">
                <a:ln>
                  <a:noFill/>
                </a:ln>
                <a:effectLst/>
                <a:uLnTx/>
                <a:uFillTx/>
                <a:latin typeface="Arial" charset="0"/>
                <a:ea typeface="+mn-ea"/>
                <a:cs typeface="+mn-cs"/>
              </a:rPr>
              <a:t>Vertical</a:t>
            </a:r>
            <a:r>
              <a:rPr kumimoji="0" lang="de-DE" altLang="de-DE" sz="2400" b="1" i="0" u="none" strike="noStrike" kern="1200" cap="none" spc="0" normalizeH="0" baseline="0" noProof="0" dirty="0">
                <a:ln>
                  <a:noFill/>
                </a:ln>
                <a:effectLst/>
                <a:uLnTx/>
                <a:uFillTx/>
                <a:latin typeface="Arial" charset="0"/>
                <a:ea typeface="+mn-ea"/>
                <a:cs typeface="+mn-cs"/>
              </a:rPr>
              <a:t> and Horizontal Pump</a:t>
            </a:r>
            <a:r>
              <a:rPr kumimoji="0" lang="de-DE" altLang="de-DE" sz="2400" b="1" i="0" u="none" strike="noStrike" kern="1200" cap="none" spc="0" normalizeH="0" noProof="0" dirty="0">
                <a:ln>
                  <a:noFill/>
                </a:ln>
                <a:effectLst/>
                <a:uLnTx/>
                <a:uFillTx/>
                <a:latin typeface="Arial" charset="0"/>
                <a:ea typeface="+mn-ea"/>
                <a:cs typeface="+mn-cs"/>
              </a:rPr>
              <a:t> Systems in </a:t>
            </a:r>
            <a:r>
              <a:rPr kumimoji="0" lang="de-DE" altLang="de-DE" sz="2400" b="1" i="0" u="none" strike="noStrike" kern="1200" cap="none" spc="0" normalizeH="0" noProof="0" dirty="0" err="1">
                <a:ln>
                  <a:noFill/>
                </a:ln>
                <a:effectLst/>
                <a:uLnTx/>
                <a:uFillTx/>
                <a:latin typeface="Arial" charset="0"/>
                <a:ea typeface="+mn-ea"/>
                <a:cs typeface="+mn-cs"/>
              </a:rPr>
              <a:t>Nuclear</a:t>
            </a:r>
            <a:r>
              <a:rPr kumimoji="0" lang="de-DE" altLang="de-DE" sz="2400" b="1" i="0" u="none" strike="noStrike" kern="1200" cap="none" spc="0" normalizeH="0" noProof="0" dirty="0">
                <a:ln>
                  <a:noFill/>
                </a:ln>
                <a:effectLst/>
                <a:uLnTx/>
                <a:uFillTx/>
                <a:latin typeface="Arial" charset="0"/>
                <a:ea typeface="+mn-ea"/>
                <a:cs typeface="+mn-cs"/>
              </a:rPr>
              <a:t> Power Plants</a:t>
            </a:r>
            <a:endParaRPr kumimoji="0" lang="de-DE" altLang="de-DE" sz="2400" b="1" i="0" u="none" strike="noStrike" kern="1200" cap="none" spc="0" normalizeH="0" baseline="0" noProof="0" dirty="0">
              <a:ln>
                <a:noFill/>
              </a:ln>
              <a:effectLst/>
              <a:uLnTx/>
              <a:uFillTx/>
              <a:latin typeface="Arial" charset="0"/>
              <a:ea typeface="+mn-ea"/>
              <a:cs typeface="+mn-cs"/>
            </a:endParaRPr>
          </a:p>
          <a:p>
            <a:pPr marL="361950" marR="0" lvl="0" indent="-361950" algn="l" defTabSz="914400" rtl="0" eaLnBrk="1" fontAlgn="base" latinLnBrk="0" hangingPunct="1">
              <a:lnSpc>
                <a:spcPct val="100000"/>
              </a:lnSpc>
              <a:spcBef>
                <a:spcPct val="0"/>
              </a:spcBef>
              <a:spcAft>
                <a:spcPct val="0"/>
              </a:spcAft>
              <a:buClrTx/>
              <a:buSzTx/>
              <a:buFont typeface="Wingdings" pitchFamily="2" charset="2"/>
              <a:buChar char="Ø"/>
              <a:tabLst/>
              <a:defRPr/>
            </a:pPr>
            <a:endParaRPr kumimoji="0" lang="de-DE" altLang="de-DE" sz="2400" b="1" i="0" u="none" strike="noStrike" kern="1200" cap="none" spc="0" normalizeH="0" baseline="0" noProof="0" dirty="0">
              <a:ln>
                <a:noFill/>
              </a:ln>
              <a:solidFill>
                <a:srgbClr val="000000"/>
              </a:solidFill>
              <a:effectLst/>
              <a:uLnTx/>
              <a:uFillTx/>
              <a:latin typeface="Arial" charset="0"/>
              <a:ea typeface="+mn-ea"/>
              <a:cs typeface="+mn-cs"/>
            </a:endParaRPr>
          </a:p>
          <a:p>
            <a:pPr marL="361950" marR="0" lvl="0" indent="-361950" algn="l" defTabSz="914400" rtl="0" eaLnBrk="1" fontAlgn="base" latinLnBrk="0" hangingPunct="1">
              <a:lnSpc>
                <a:spcPct val="100000"/>
              </a:lnSpc>
              <a:spcBef>
                <a:spcPct val="0"/>
              </a:spcBef>
              <a:spcAft>
                <a:spcPct val="0"/>
              </a:spcAft>
              <a:buClrTx/>
              <a:buSzTx/>
              <a:buFont typeface="Wingdings" pitchFamily="2" charset="2"/>
              <a:buChar char="Ø"/>
              <a:tabLst/>
              <a:defRPr/>
            </a:pPr>
            <a:r>
              <a:rPr kumimoji="0" lang="de-DE" altLang="de-DE" sz="2400" b="1" i="0" u="none" strike="noStrike" kern="1200" cap="none" spc="0" normalizeH="0" baseline="0" noProof="0" dirty="0">
                <a:ln>
                  <a:noFill/>
                </a:ln>
                <a:effectLst/>
                <a:uLnTx/>
                <a:uFillTx/>
                <a:latin typeface="Arial" charset="0"/>
                <a:ea typeface="+mn-ea"/>
                <a:cs typeface="+mn-cs"/>
              </a:rPr>
              <a:t>A </a:t>
            </a:r>
            <a:r>
              <a:rPr kumimoji="0" lang="de-DE" altLang="de-DE" sz="2400" b="1" i="0" u="none" strike="noStrike" kern="1200" cap="none" spc="0" normalizeH="0" baseline="0" noProof="0" dirty="0" err="1">
                <a:ln>
                  <a:noFill/>
                </a:ln>
                <a:effectLst/>
                <a:uLnTx/>
                <a:uFillTx/>
                <a:latin typeface="Arial" charset="0"/>
                <a:ea typeface="+mn-ea"/>
                <a:cs typeface="+mn-cs"/>
              </a:rPr>
              <a:t>typical</a:t>
            </a:r>
            <a:r>
              <a:rPr kumimoji="0" lang="de-DE" altLang="de-DE" sz="2400" b="1" i="0" u="none" strike="noStrike" kern="1200" cap="none" spc="0" normalizeH="0" baseline="0" noProof="0" dirty="0">
                <a:ln>
                  <a:noFill/>
                </a:ln>
                <a:effectLst/>
                <a:uLnTx/>
                <a:uFillTx/>
                <a:latin typeface="Arial" charset="0"/>
                <a:ea typeface="+mn-ea"/>
                <a:cs typeface="+mn-cs"/>
              </a:rPr>
              <a:t>  Horizontal </a:t>
            </a:r>
            <a:r>
              <a:rPr kumimoji="0" lang="de-DE" altLang="de-DE" sz="2400" b="1" i="0" u="none" strike="noStrike" kern="1200" cap="none" spc="0" normalizeH="0" baseline="0" noProof="0" dirty="0" err="1">
                <a:ln>
                  <a:noFill/>
                </a:ln>
                <a:effectLst/>
                <a:uLnTx/>
                <a:uFillTx/>
                <a:latin typeface="Arial" charset="0"/>
                <a:ea typeface="+mn-ea"/>
                <a:cs typeface="+mn-cs"/>
              </a:rPr>
              <a:t>Feedwater</a:t>
            </a:r>
            <a:r>
              <a:rPr kumimoji="0" lang="de-DE" altLang="de-DE" sz="2400" b="1" i="0" u="none" strike="noStrike" kern="1200" cap="none" spc="0" normalizeH="0" baseline="0" noProof="0" dirty="0">
                <a:ln>
                  <a:noFill/>
                </a:ln>
                <a:effectLst/>
                <a:uLnTx/>
                <a:uFillTx/>
                <a:latin typeface="Arial" charset="0"/>
                <a:ea typeface="+mn-ea"/>
                <a:cs typeface="+mn-cs"/>
              </a:rPr>
              <a:t> Pump</a:t>
            </a:r>
          </a:p>
          <a:p>
            <a:pPr marL="0" marR="0" lvl="0" indent="0" algn="l" defTabSz="914400" rtl="0" eaLnBrk="1" fontAlgn="base" latinLnBrk="0" hangingPunct="1">
              <a:lnSpc>
                <a:spcPct val="100000"/>
              </a:lnSpc>
              <a:spcBef>
                <a:spcPct val="0"/>
              </a:spcBef>
              <a:spcAft>
                <a:spcPct val="0"/>
              </a:spcAft>
              <a:buClrTx/>
              <a:buSzTx/>
              <a:tabLst/>
              <a:defRPr/>
            </a:pPr>
            <a:endParaRPr kumimoji="0" lang="de-DE" altLang="de-DE" sz="2400" b="1" i="0" u="none" strike="noStrike" kern="1200" cap="none" spc="0" normalizeH="0" baseline="0" noProof="0" dirty="0">
              <a:ln>
                <a:noFill/>
              </a:ln>
              <a:solidFill>
                <a:srgbClr val="0000FF"/>
              </a:solidFill>
              <a:effectLst/>
              <a:uLnTx/>
              <a:uFillTx/>
              <a:latin typeface="Arial" charset="0"/>
              <a:ea typeface="+mn-ea"/>
              <a:cs typeface="+mn-cs"/>
            </a:endParaRPr>
          </a:p>
          <a:p>
            <a:pPr marL="361950" marR="0" lvl="0" indent="-361950" algn="l" defTabSz="914400" rtl="0" eaLnBrk="1" fontAlgn="base" latinLnBrk="0" hangingPunct="1">
              <a:lnSpc>
                <a:spcPct val="100000"/>
              </a:lnSpc>
              <a:spcBef>
                <a:spcPct val="0"/>
              </a:spcBef>
              <a:spcAft>
                <a:spcPct val="0"/>
              </a:spcAft>
              <a:buClrTx/>
              <a:buSzTx/>
              <a:buFont typeface="Wingdings" pitchFamily="2" charset="2"/>
              <a:buChar char="Ø"/>
              <a:tabLst/>
              <a:defRPr/>
            </a:pPr>
            <a:r>
              <a:rPr kumimoji="0" lang="de-DE" altLang="de-DE" sz="2400" b="1" i="0" u="none" strike="noStrike" kern="1200" cap="none" spc="0" normalizeH="0" baseline="0" noProof="0" dirty="0">
                <a:ln>
                  <a:noFill/>
                </a:ln>
                <a:solidFill>
                  <a:srgbClr val="000000"/>
                </a:solidFill>
                <a:effectLst/>
                <a:uLnTx/>
                <a:uFillTx/>
                <a:latin typeface="Arial" charset="0"/>
                <a:ea typeface="+mn-ea"/>
                <a:cs typeface="+mn-cs"/>
              </a:rPr>
              <a:t>Lateral </a:t>
            </a:r>
            <a:r>
              <a:rPr kumimoji="0" lang="de-DE" altLang="de-DE" sz="2400" b="1" i="0" u="none" strike="noStrike" kern="1200" cap="none" spc="0" normalizeH="0" baseline="0" noProof="0" dirty="0" err="1">
                <a:ln>
                  <a:noFill/>
                </a:ln>
                <a:solidFill>
                  <a:srgbClr val="000000"/>
                </a:solidFill>
                <a:effectLst/>
                <a:uLnTx/>
                <a:uFillTx/>
                <a:latin typeface="Arial" charset="0"/>
                <a:ea typeface="+mn-ea"/>
                <a:cs typeface="+mn-cs"/>
              </a:rPr>
              <a:t>Vibrations</a:t>
            </a:r>
            <a:r>
              <a:rPr kumimoji="0" lang="de-DE" altLang="de-DE" sz="2400" b="1" i="0" u="none" strike="noStrike" kern="1200" cap="none" spc="0" normalizeH="0" baseline="0" noProof="0" dirty="0">
                <a:ln>
                  <a:noFill/>
                </a:ln>
                <a:solidFill>
                  <a:srgbClr val="000000"/>
                </a:solidFill>
                <a:effectLst/>
                <a:uLnTx/>
                <a:uFillTx/>
                <a:latin typeface="Arial" charset="0"/>
                <a:ea typeface="+mn-ea"/>
                <a:cs typeface="+mn-cs"/>
              </a:rPr>
              <a:t> </a:t>
            </a:r>
            <a:r>
              <a:rPr kumimoji="0" lang="de-DE" altLang="de-DE" sz="2400" b="1" i="0" u="none" strike="noStrike" kern="1200" cap="none" spc="0" normalizeH="0" baseline="0" noProof="0" dirty="0" err="1">
                <a:ln>
                  <a:noFill/>
                </a:ln>
                <a:solidFill>
                  <a:srgbClr val="000000"/>
                </a:solidFill>
                <a:effectLst/>
                <a:uLnTx/>
                <a:uFillTx/>
                <a:latin typeface="Arial" charset="0"/>
                <a:ea typeface="+mn-ea"/>
                <a:cs typeface="+mn-cs"/>
              </a:rPr>
              <a:t>of</a:t>
            </a:r>
            <a:r>
              <a:rPr kumimoji="0" lang="de-DE" altLang="de-DE" sz="2400" b="1" i="0" u="none" strike="noStrike" kern="1200" cap="none" spc="0" normalizeH="0" baseline="0" noProof="0" dirty="0">
                <a:ln>
                  <a:noFill/>
                </a:ln>
                <a:solidFill>
                  <a:srgbClr val="000000"/>
                </a:solidFill>
                <a:effectLst/>
                <a:uLnTx/>
                <a:uFillTx/>
                <a:latin typeface="Arial" charset="0"/>
                <a:ea typeface="+mn-ea"/>
                <a:cs typeface="+mn-cs"/>
              </a:rPr>
              <a:t> </a:t>
            </a:r>
            <a:r>
              <a:rPr kumimoji="0" lang="de-DE" altLang="de-DE" sz="2400" b="1" i="0" u="none" strike="noStrike" kern="1200" cap="none" spc="0" normalizeH="0" baseline="0" noProof="0" dirty="0" err="1">
                <a:ln>
                  <a:noFill/>
                </a:ln>
                <a:solidFill>
                  <a:srgbClr val="000000"/>
                </a:solidFill>
                <a:effectLst/>
                <a:uLnTx/>
                <a:uFillTx/>
                <a:latin typeface="Arial" charset="0"/>
                <a:ea typeface="+mn-ea"/>
                <a:cs typeface="+mn-cs"/>
              </a:rPr>
              <a:t>the</a:t>
            </a:r>
            <a:r>
              <a:rPr kumimoji="0" lang="de-DE" altLang="de-DE" sz="2400" b="1" i="0" u="none" strike="noStrike" kern="1200" cap="none" spc="0" normalizeH="0" baseline="0" noProof="0" dirty="0">
                <a:ln>
                  <a:noFill/>
                </a:ln>
                <a:solidFill>
                  <a:srgbClr val="000000"/>
                </a:solidFill>
                <a:effectLst/>
                <a:uLnTx/>
                <a:uFillTx/>
                <a:latin typeface="Arial" charset="0"/>
                <a:ea typeface="+mn-ea"/>
                <a:cs typeface="+mn-cs"/>
              </a:rPr>
              <a:t> Horizontal </a:t>
            </a:r>
            <a:r>
              <a:rPr kumimoji="0" lang="de-DE" altLang="de-DE" sz="2400" b="1" i="0" u="none" strike="noStrike" kern="1200" cap="none" spc="0" normalizeH="0" baseline="0" noProof="0" dirty="0" err="1">
                <a:ln>
                  <a:noFill/>
                </a:ln>
                <a:solidFill>
                  <a:srgbClr val="000000"/>
                </a:solidFill>
                <a:effectLst/>
                <a:uLnTx/>
                <a:uFillTx/>
                <a:latin typeface="Arial" charset="0"/>
                <a:ea typeface="+mn-ea"/>
                <a:cs typeface="+mn-cs"/>
              </a:rPr>
              <a:t>Feedwater</a:t>
            </a:r>
            <a:r>
              <a:rPr kumimoji="0" lang="de-DE" altLang="de-DE" sz="2400" b="1" i="0" u="none" strike="noStrike" kern="1200" cap="none" spc="0" normalizeH="0" baseline="0" noProof="0" dirty="0">
                <a:ln>
                  <a:noFill/>
                </a:ln>
                <a:solidFill>
                  <a:srgbClr val="000000"/>
                </a:solidFill>
                <a:effectLst/>
                <a:uLnTx/>
                <a:uFillTx/>
                <a:latin typeface="Arial" charset="0"/>
                <a:ea typeface="+mn-ea"/>
                <a:cs typeface="+mn-cs"/>
              </a:rPr>
              <a:t> Pump</a:t>
            </a:r>
          </a:p>
          <a:p>
            <a:pPr marL="361950" marR="0" lvl="0" indent="-361950" algn="l" defTabSz="914400" rtl="0" eaLnBrk="1" fontAlgn="base" latinLnBrk="0" hangingPunct="1">
              <a:lnSpc>
                <a:spcPct val="100000"/>
              </a:lnSpc>
              <a:spcBef>
                <a:spcPct val="0"/>
              </a:spcBef>
              <a:spcAft>
                <a:spcPct val="0"/>
              </a:spcAft>
              <a:buClrTx/>
              <a:buSzTx/>
              <a:buFont typeface="Wingdings" pitchFamily="2" charset="2"/>
              <a:buChar char="Ø"/>
              <a:tabLst/>
              <a:defRPr/>
            </a:pPr>
            <a:endParaRPr kumimoji="0" lang="de-DE" altLang="de-DE" sz="2400" b="1" i="0" u="none" strike="noStrike" kern="1200" cap="none" spc="0" normalizeH="0" baseline="0" noProof="0" dirty="0">
              <a:ln>
                <a:noFill/>
              </a:ln>
              <a:solidFill>
                <a:srgbClr val="000000"/>
              </a:solidFill>
              <a:effectLst/>
              <a:uLnTx/>
              <a:uFillTx/>
              <a:latin typeface="Arial" charset="0"/>
              <a:ea typeface="+mn-ea"/>
              <a:cs typeface="+mn-cs"/>
            </a:endParaRPr>
          </a:p>
          <a:p>
            <a:pPr marL="361950" marR="0" lvl="0" indent="-361950" algn="l" defTabSz="914400" rtl="0" eaLnBrk="1" fontAlgn="base" latinLnBrk="0" hangingPunct="1">
              <a:lnSpc>
                <a:spcPct val="100000"/>
              </a:lnSpc>
              <a:spcBef>
                <a:spcPct val="0"/>
              </a:spcBef>
              <a:spcAft>
                <a:spcPct val="0"/>
              </a:spcAft>
              <a:buClrTx/>
              <a:buSzTx/>
              <a:buFont typeface="Wingdings" pitchFamily="2" charset="2"/>
              <a:buChar char="Ø"/>
              <a:tabLst/>
              <a:defRPr/>
            </a:pPr>
            <a:r>
              <a:rPr kumimoji="0" lang="de-DE" altLang="de-DE" sz="2400" b="1" i="0" u="none" strike="noStrike" kern="1200" cap="none" spc="0" normalizeH="0" baseline="0" noProof="0" dirty="0">
                <a:ln>
                  <a:noFill/>
                </a:ln>
                <a:solidFill>
                  <a:srgbClr val="000000"/>
                </a:solidFill>
                <a:effectLst/>
                <a:uLnTx/>
                <a:uFillTx/>
                <a:latin typeface="Arial" charset="0"/>
                <a:ea typeface="+mn-ea"/>
                <a:cs typeface="+mn-cs"/>
              </a:rPr>
              <a:t>Modelling </a:t>
            </a:r>
            <a:r>
              <a:rPr kumimoji="0" lang="de-DE" altLang="de-DE" sz="2400" b="1" i="0" u="none" strike="noStrike" kern="1200" cap="none" spc="0" normalizeH="0" baseline="0" noProof="0" dirty="0" err="1">
                <a:ln>
                  <a:noFill/>
                </a:ln>
                <a:solidFill>
                  <a:srgbClr val="000000"/>
                </a:solidFill>
                <a:effectLst/>
                <a:uLnTx/>
                <a:uFillTx/>
                <a:latin typeface="Arial" charset="0"/>
                <a:ea typeface="+mn-ea"/>
                <a:cs typeface="+mn-cs"/>
              </a:rPr>
              <a:t>of</a:t>
            </a:r>
            <a:r>
              <a:rPr kumimoji="0" lang="de-DE" altLang="de-DE" sz="2400" b="1" i="0" u="none" strike="noStrike" kern="1200" cap="none" spc="0" normalizeH="0" baseline="0" noProof="0" dirty="0">
                <a:ln>
                  <a:noFill/>
                </a:ln>
                <a:solidFill>
                  <a:srgbClr val="000000"/>
                </a:solidFill>
                <a:effectLst/>
                <a:uLnTx/>
                <a:uFillTx/>
                <a:latin typeface="Arial" charset="0"/>
                <a:ea typeface="+mn-ea"/>
                <a:cs typeface="+mn-cs"/>
              </a:rPr>
              <a:t> </a:t>
            </a:r>
            <a:r>
              <a:rPr lang="de-DE" altLang="de-DE" sz="2400" noProof="0" dirty="0" err="1">
                <a:solidFill>
                  <a:srgbClr val="000000"/>
                </a:solidFill>
                <a:latin typeface="Arial" charset="0"/>
              </a:rPr>
              <a:t>the</a:t>
            </a:r>
            <a:r>
              <a:rPr kumimoji="0" lang="de-DE" altLang="de-DE" sz="2400" b="1" i="0" u="none" strike="noStrike" kern="1200" cap="none" spc="0" normalizeH="0" baseline="0" noProof="0" dirty="0">
                <a:ln>
                  <a:noFill/>
                </a:ln>
                <a:solidFill>
                  <a:srgbClr val="000000"/>
                </a:solidFill>
                <a:effectLst/>
                <a:uLnTx/>
                <a:uFillTx/>
                <a:latin typeface="Arial" charset="0"/>
                <a:ea typeface="+mn-ea"/>
                <a:cs typeface="+mn-cs"/>
              </a:rPr>
              <a:t> Horizontal </a:t>
            </a:r>
            <a:r>
              <a:rPr kumimoji="0" lang="de-DE" altLang="de-DE" sz="2400" b="1" i="0" u="none" strike="noStrike" kern="1200" cap="none" spc="0" normalizeH="0" baseline="0" noProof="0" dirty="0" err="1">
                <a:ln>
                  <a:noFill/>
                </a:ln>
                <a:solidFill>
                  <a:srgbClr val="000000"/>
                </a:solidFill>
                <a:effectLst/>
                <a:uLnTx/>
                <a:uFillTx/>
                <a:latin typeface="Arial" charset="0"/>
                <a:ea typeface="+mn-ea"/>
                <a:cs typeface="+mn-cs"/>
              </a:rPr>
              <a:t>Feedwater</a:t>
            </a:r>
            <a:r>
              <a:rPr kumimoji="0" lang="de-DE" altLang="de-DE" sz="2400" b="1" i="0" u="none" strike="noStrike" kern="1200" cap="none" spc="0" normalizeH="0" baseline="0" noProof="0" dirty="0">
                <a:ln>
                  <a:noFill/>
                </a:ln>
                <a:solidFill>
                  <a:srgbClr val="000000"/>
                </a:solidFill>
                <a:effectLst/>
                <a:uLnTx/>
                <a:uFillTx/>
                <a:latin typeface="Arial" charset="0"/>
                <a:ea typeface="+mn-ea"/>
                <a:cs typeface="+mn-cs"/>
              </a:rPr>
              <a:t> Pump </a:t>
            </a:r>
            <a:r>
              <a:rPr kumimoji="0" lang="de-DE" altLang="de-DE" sz="2400" b="1" i="0" u="none" strike="noStrike" kern="1200" cap="none" spc="0" normalizeH="0" baseline="0" noProof="0" dirty="0" err="1">
                <a:ln>
                  <a:noFill/>
                </a:ln>
                <a:solidFill>
                  <a:srgbClr val="000000"/>
                </a:solidFill>
                <a:effectLst/>
                <a:uLnTx/>
                <a:uFillTx/>
                <a:latin typeface="Arial" charset="0"/>
                <a:ea typeface="+mn-ea"/>
                <a:cs typeface="+mn-cs"/>
              </a:rPr>
              <a:t>with</a:t>
            </a:r>
            <a:r>
              <a:rPr kumimoji="0" lang="de-DE" altLang="de-DE" sz="2400" b="1" i="0" u="none" strike="noStrike" kern="1200" cap="none" spc="0" normalizeH="0" baseline="0" noProof="0" dirty="0">
                <a:ln>
                  <a:noFill/>
                </a:ln>
                <a:solidFill>
                  <a:srgbClr val="000000"/>
                </a:solidFill>
                <a:effectLst/>
                <a:uLnTx/>
                <a:uFillTx/>
                <a:latin typeface="Arial" charset="0"/>
                <a:ea typeface="+mn-ea"/>
                <a:cs typeface="+mn-cs"/>
              </a:rPr>
              <a:t> Interactions</a:t>
            </a:r>
          </a:p>
          <a:p>
            <a:pPr marL="0" marR="0" lvl="0" indent="0" algn="l" defTabSz="914400" rtl="0" eaLnBrk="1" fontAlgn="base" latinLnBrk="0" hangingPunct="1">
              <a:lnSpc>
                <a:spcPct val="100000"/>
              </a:lnSpc>
              <a:spcBef>
                <a:spcPct val="0"/>
              </a:spcBef>
              <a:spcAft>
                <a:spcPct val="0"/>
              </a:spcAft>
              <a:buClrTx/>
              <a:buSzTx/>
              <a:tabLst/>
              <a:defRPr/>
            </a:pPr>
            <a:endParaRPr kumimoji="0" lang="de-DE" altLang="de-DE" sz="2400" b="1" i="0" u="none" strike="noStrike" kern="1200" cap="none" spc="0" normalizeH="0" baseline="0" noProof="0" dirty="0">
              <a:ln>
                <a:noFill/>
              </a:ln>
              <a:solidFill>
                <a:srgbClr val="000000"/>
              </a:solidFill>
              <a:effectLst/>
              <a:uLnTx/>
              <a:uFillTx/>
              <a:latin typeface="Arial" charset="0"/>
              <a:ea typeface="+mn-ea"/>
              <a:cs typeface="+mn-cs"/>
            </a:endParaRPr>
          </a:p>
          <a:p>
            <a:pPr marL="361950" marR="0" lvl="0" indent="-361950" algn="l" defTabSz="914400" rtl="0" eaLnBrk="1" fontAlgn="base" latinLnBrk="0" hangingPunct="1">
              <a:lnSpc>
                <a:spcPct val="100000"/>
              </a:lnSpc>
              <a:spcBef>
                <a:spcPct val="0"/>
              </a:spcBef>
              <a:spcAft>
                <a:spcPct val="0"/>
              </a:spcAft>
              <a:buClrTx/>
              <a:buSzTx/>
              <a:buFont typeface="Wingdings" pitchFamily="2" charset="2"/>
              <a:buChar char="Ø"/>
              <a:tabLst/>
              <a:defRPr/>
            </a:pPr>
            <a:r>
              <a:rPr kumimoji="0" lang="de-DE" altLang="de-DE" sz="2400" b="1" i="0" u="none" strike="noStrike" kern="1200" cap="none" spc="0" normalizeH="0" baseline="0" noProof="0" dirty="0">
                <a:ln>
                  <a:noFill/>
                </a:ln>
                <a:solidFill>
                  <a:srgbClr val="000000"/>
                </a:solidFill>
                <a:effectLst/>
                <a:uLnTx/>
                <a:uFillTx/>
                <a:latin typeface="Arial" charset="0"/>
                <a:ea typeface="+mn-ea"/>
                <a:cs typeface="+mn-cs"/>
              </a:rPr>
              <a:t>Monitoring </a:t>
            </a:r>
            <a:r>
              <a:rPr kumimoji="0" lang="de-DE" altLang="de-DE" sz="2400" b="1" i="0" u="none" strike="noStrike" kern="1200" cap="none" spc="0" normalizeH="0" baseline="0" noProof="0" dirty="0" err="1">
                <a:ln>
                  <a:noFill/>
                </a:ln>
                <a:solidFill>
                  <a:srgbClr val="000000"/>
                </a:solidFill>
                <a:effectLst/>
                <a:uLnTx/>
                <a:uFillTx/>
                <a:latin typeface="Arial" charset="0"/>
                <a:ea typeface="+mn-ea"/>
                <a:cs typeface="+mn-cs"/>
              </a:rPr>
              <a:t>of</a:t>
            </a:r>
            <a:r>
              <a:rPr kumimoji="0" lang="de-DE" altLang="de-DE" sz="2400" b="1" i="0" u="none" strike="noStrike" kern="1200" cap="none" spc="0" normalizeH="0" baseline="0" noProof="0" dirty="0">
                <a:ln>
                  <a:noFill/>
                </a:ln>
                <a:solidFill>
                  <a:srgbClr val="000000"/>
                </a:solidFill>
                <a:effectLst/>
                <a:uLnTx/>
                <a:uFillTx/>
                <a:latin typeface="Arial" charset="0"/>
                <a:ea typeface="+mn-ea"/>
                <a:cs typeface="+mn-cs"/>
              </a:rPr>
              <a:t> </a:t>
            </a:r>
            <a:r>
              <a:rPr lang="de-DE" altLang="de-DE" sz="2400" dirty="0" err="1">
                <a:solidFill>
                  <a:srgbClr val="000000"/>
                </a:solidFill>
                <a:latin typeface="Arial" charset="0"/>
              </a:rPr>
              <a:t>the</a:t>
            </a:r>
            <a:r>
              <a:rPr kumimoji="0" lang="de-DE" altLang="de-DE" sz="2400" b="1" i="0" u="none" strike="noStrike" kern="1200" cap="none" spc="0" normalizeH="0" baseline="0" noProof="0" dirty="0">
                <a:ln>
                  <a:noFill/>
                </a:ln>
                <a:solidFill>
                  <a:srgbClr val="000000"/>
                </a:solidFill>
                <a:effectLst/>
                <a:uLnTx/>
                <a:uFillTx/>
                <a:latin typeface="Arial" charset="0"/>
                <a:ea typeface="+mn-ea"/>
                <a:cs typeface="+mn-cs"/>
              </a:rPr>
              <a:t> Horizontal </a:t>
            </a:r>
            <a:r>
              <a:rPr kumimoji="0" lang="de-DE" altLang="de-DE" sz="2400" b="1" i="0" u="none" strike="noStrike" kern="1200" cap="none" spc="0" normalizeH="0" baseline="0" noProof="0" dirty="0" err="1">
                <a:ln>
                  <a:noFill/>
                </a:ln>
                <a:solidFill>
                  <a:srgbClr val="000000"/>
                </a:solidFill>
                <a:effectLst/>
                <a:uLnTx/>
                <a:uFillTx/>
                <a:latin typeface="Arial" charset="0"/>
                <a:ea typeface="+mn-ea"/>
                <a:cs typeface="+mn-cs"/>
              </a:rPr>
              <a:t>Feedwater</a:t>
            </a:r>
            <a:r>
              <a:rPr kumimoji="0" lang="de-DE" altLang="de-DE" sz="2400" b="1" i="0" u="none" strike="noStrike" kern="1200" cap="none" spc="0" normalizeH="0" baseline="0" noProof="0" dirty="0">
                <a:ln>
                  <a:noFill/>
                </a:ln>
                <a:solidFill>
                  <a:srgbClr val="000000"/>
                </a:solidFill>
                <a:effectLst/>
                <a:uLnTx/>
                <a:uFillTx/>
                <a:latin typeface="Arial" charset="0"/>
                <a:ea typeface="+mn-ea"/>
                <a:cs typeface="+mn-cs"/>
              </a:rPr>
              <a:t> Pump OL3 </a:t>
            </a:r>
            <a:r>
              <a:rPr kumimoji="0" lang="de-DE" altLang="de-DE" sz="2400" b="1" i="0" u="none" strike="noStrike" kern="1200" cap="none" spc="0" normalizeH="0" baseline="0" noProof="0" dirty="0" err="1">
                <a:ln>
                  <a:noFill/>
                </a:ln>
                <a:solidFill>
                  <a:srgbClr val="000000"/>
                </a:solidFill>
                <a:effectLst/>
                <a:uLnTx/>
                <a:uFillTx/>
                <a:latin typeface="Arial" charset="0"/>
                <a:ea typeface="+mn-ea"/>
                <a:cs typeface="+mn-cs"/>
              </a:rPr>
              <a:t>during</a:t>
            </a:r>
            <a:r>
              <a:rPr kumimoji="0" lang="de-DE" altLang="de-DE" sz="2400" b="1" i="0" u="none" strike="noStrike" kern="1200" cap="none" spc="0" normalizeH="0" baseline="0" noProof="0" dirty="0">
                <a:ln>
                  <a:noFill/>
                </a:ln>
                <a:solidFill>
                  <a:srgbClr val="000000"/>
                </a:solidFill>
                <a:effectLst/>
                <a:uLnTx/>
                <a:uFillTx/>
                <a:latin typeface="Arial" charset="0"/>
                <a:ea typeface="+mn-ea"/>
                <a:cs typeface="+mn-cs"/>
              </a:rPr>
              <a:t> Operation</a:t>
            </a:r>
          </a:p>
          <a:p>
            <a:pPr marL="0" marR="0" lvl="0" indent="0" algn="l" defTabSz="914400" rtl="0" eaLnBrk="1" fontAlgn="base" latinLnBrk="0" hangingPunct="1">
              <a:lnSpc>
                <a:spcPct val="100000"/>
              </a:lnSpc>
              <a:spcBef>
                <a:spcPct val="0"/>
              </a:spcBef>
              <a:spcAft>
                <a:spcPct val="0"/>
              </a:spcAft>
              <a:buClrTx/>
              <a:buSzTx/>
              <a:tabLst/>
              <a:defRPr/>
            </a:pPr>
            <a:endParaRPr kumimoji="0" lang="de-DE" altLang="de-DE" sz="2400" b="1" i="0" u="none" strike="noStrike" kern="1200" cap="none" spc="0" normalizeH="0" baseline="0" noProof="0" dirty="0">
              <a:ln>
                <a:noFill/>
              </a:ln>
              <a:solidFill>
                <a:srgbClr val="000000"/>
              </a:solidFill>
              <a:effectLst/>
              <a:uLnTx/>
              <a:uFillTx/>
              <a:latin typeface="Arial" charset="0"/>
              <a:ea typeface="+mn-ea"/>
              <a:cs typeface="+mn-cs"/>
            </a:endParaRPr>
          </a:p>
          <a:p>
            <a:pPr marL="361950" marR="0" lvl="0" indent="-361950" algn="l" defTabSz="914400" rtl="0" eaLnBrk="1" fontAlgn="base" latinLnBrk="0" hangingPunct="1">
              <a:lnSpc>
                <a:spcPct val="100000"/>
              </a:lnSpc>
              <a:spcBef>
                <a:spcPct val="0"/>
              </a:spcBef>
              <a:spcAft>
                <a:spcPct val="0"/>
              </a:spcAft>
              <a:buClrTx/>
              <a:buSzTx/>
              <a:buFont typeface="Wingdings" pitchFamily="2" charset="2"/>
              <a:buChar char="Ø"/>
              <a:tabLst/>
              <a:defRPr/>
            </a:pPr>
            <a:r>
              <a:rPr kumimoji="0" lang="de-DE" altLang="de-DE" sz="2400" b="1" i="0" u="none" strike="noStrike" kern="1200" cap="none" spc="0" normalizeH="0" baseline="0" noProof="0" dirty="0">
                <a:ln>
                  <a:noFill/>
                </a:ln>
                <a:solidFill>
                  <a:srgbClr val="0000FF"/>
                </a:solidFill>
                <a:effectLst/>
                <a:uLnTx/>
                <a:uFillTx/>
                <a:latin typeface="Arial" charset="0"/>
                <a:ea typeface="+mn-ea"/>
                <a:cs typeface="+mn-cs"/>
              </a:rPr>
              <a:t>Vibration</a:t>
            </a:r>
            <a:r>
              <a:rPr kumimoji="0" lang="de-DE" altLang="de-DE" sz="2400" b="1" i="0" u="none" strike="noStrike" kern="1200" cap="none" spc="0" normalizeH="0" noProof="0" dirty="0">
                <a:ln>
                  <a:noFill/>
                </a:ln>
                <a:solidFill>
                  <a:srgbClr val="0000FF"/>
                </a:solidFill>
                <a:effectLst/>
                <a:uLnTx/>
                <a:uFillTx/>
                <a:latin typeface="Arial" charset="0"/>
                <a:ea typeface="+mn-ea"/>
                <a:cs typeface="+mn-cs"/>
              </a:rPr>
              <a:t> </a:t>
            </a:r>
            <a:r>
              <a:rPr kumimoji="0" lang="de-DE" altLang="de-DE" sz="2400" b="1" i="0" u="none" strike="noStrike" kern="1200" cap="none" spc="0" normalizeH="0" noProof="0" dirty="0" err="1">
                <a:ln>
                  <a:noFill/>
                </a:ln>
                <a:solidFill>
                  <a:srgbClr val="0000FF"/>
                </a:solidFill>
                <a:effectLst/>
                <a:uLnTx/>
                <a:uFillTx/>
                <a:latin typeface="Arial" charset="0"/>
                <a:ea typeface="+mn-ea"/>
                <a:cs typeface="+mn-cs"/>
              </a:rPr>
              <a:t>Phenomena</a:t>
            </a:r>
            <a:r>
              <a:rPr kumimoji="0" lang="de-DE" altLang="de-DE" sz="2400" b="1" i="0" u="none" strike="noStrike" kern="1200" cap="none" spc="0" normalizeH="0" noProof="0" dirty="0">
                <a:ln>
                  <a:noFill/>
                </a:ln>
                <a:solidFill>
                  <a:srgbClr val="0000FF"/>
                </a:solidFill>
                <a:effectLst/>
                <a:uLnTx/>
                <a:uFillTx/>
                <a:latin typeface="Arial" charset="0"/>
                <a:ea typeface="+mn-ea"/>
                <a:cs typeface="+mn-cs"/>
              </a:rPr>
              <a:t> </a:t>
            </a:r>
            <a:r>
              <a:rPr kumimoji="0" lang="de-DE" altLang="de-DE" sz="2400" b="1" i="0" u="none" strike="noStrike" kern="1200" cap="none" spc="0" normalizeH="0" noProof="0" dirty="0" err="1">
                <a:ln>
                  <a:noFill/>
                </a:ln>
                <a:solidFill>
                  <a:srgbClr val="0000FF"/>
                </a:solidFill>
                <a:effectLst/>
                <a:uLnTx/>
                <a:uFillTx/>
                <a:latin typeface="Arial" charset="0"/>
                <a:ea typeface="+mn-ea"/>
                <a:cs typeface="+mn-cs"/>
              </a:rPr>
              <a:t>of</a:t>
            </a:r>
            <a:r>
              <a:rPr kumimoji="0" lang="de-DE" altLang="de-DE" sz="2400" b="1" i="0" u="none" strike="noStrike" kern="1200" cap="none" spc="0" normalizeH="0" noProof="0" dirty="0">
                <a:ln>
                  <a:noFill/>
                </a:ln>
                <a:solidFill>
                  <a:srgbClr val="0000FF"/>
                </a:solidFill>
                <a:effectLst/>
                <a:uLnTx/>
                <a:uFillTx/>
                <a:latin typeface="Arial" charset="0"/>
                <a:ea typeface="+mn-ea"/>
                <a:cs typeface="+mn-cs"/>
              </a:rPr>
              <a:t> </a:t>
            </a:r>
            <a:r>
              <a:rPr kumimoji="0" lang="de-DE" altLang="de-DE" sz="2400" b="1" i="0" u="none" strike="noStrike" kern="1200" cap="none" spc="0" normalizeH="0" noProof="0" dirty="0" err="1">
                <a:ln>
                  <a:noFill/>
                </a:ln>
                <a:solidFill>
                  <a:srgbClr val="0000FF"/>
                </a:solidFill>
                <a:effectLst/>
                <a:uLnTx/>
                <a:uFillTx/>
                <a:latin typeface="Arial" charset="0"/>
                <a:ea typeface="+mn-ea"/>
                <a:cs typeface="+mn-cs"/>
              </a:rPr>
              <a:t>the</a:t>
            </a:r>
            <a:r>
              <a:rPr kumimoji="0" lang="de-DE" altLang="de-DE" sz="2400" b="1" i="0" u="none" strike="noStrike" kern="1200" cap="none" spc="0" normalizeH="0" noProof="0" dirty="0">
                <a:ln>
                  <a:noFill/>
                </a:ln>
                <a:solidFill>
                  <a:srgbClr val="0000FF"/>
                </a:solidFill>
                <a:effectLst/>
                <a:uLnTx/>
                <a:uFillTx/>
                <a:latin typeface="Arial" charset="0"/>
                <a:ea typeface="+mn-ea"/>
                <a:cs typeface="+mn-cs"/>
              </a:rPr>
              <a:t> Horizontal </a:t>
            </a:r>
            <a:r>
              <a:rPr kumimoji="0" lang="de-DE" altLang="de-DE" sz="2400" b="1" i="0" u="none" strike="noStrike" kern="1200" cap="none" spc="0" normalizeH="0" noProof="0" dirty="0" err="1">
                <a:ln>
                  <a:noFill/>
                </a:ln>
                <a:solidFill>
                  <a:srgbClr val="0000FF"/>
                </a:solidFill>
                <a:effectLst/>
                <a:uLnTx/>
                <a:uFillTx/>
                <a:latin typeface="Arial" charset="0"/>
                <a:ea typeface="+mn-ea"/>
                <a:cs typeface="+mn-cs"/>
              </a:rPr>
              <a:t>Feedwater</a:t>
            </a:r>
            <a:r>
              <a:rPr kumimoji="0" lang="de-DE" altLang="de-DE" sz="2400" b="1" i="0" u="none" strike="noStrike" kern="1200" cap="none" spc="0" normalizeH="0" noProof="0" dirty="0">
                <a:ln>
                  <a:noFill/>
                </a:ln>
                <a:solidFill>
                  <a:srgbClr val="0000FF"/>
                </a:solidFill>
                <a:effectLst/>
                <a:uLnTx/>
                <a:uFillTx/>
                <a:latin typeface="Arial" charset="0"/>
                <a:ea typeface="+mn-ea"/>
                <a:cs typeface="+mn-cs"/>
              </a:rPr>
              <a:t> Pump OL3</a:t>
            </a:r>
          </a:p>
          <a:p>
            <a:pPr marL="361950" marR="0" lvl="0" indent="-361950" algn="l" defTabSz="914400" rtl="0" eaLnBrk="1" fontAlgn="base" latinLnBrk="0" hangingPunct="1">
              <a:lnSpc>
                <a:spcPct val="100000"/>
              </a:lnSpc>
              <a:spcBef>
                <a:spcPct val="0"/>
              </a:spcBef>
              <a:spcAft>
                <a:spcPct val="0"/>
              </a:spcAft>
              <a:buClrTx/>
              <a:buSzTx/>
              <a:buFont typeface="Wingdings" pitchFamily="2" charset="2"/>
              <a:buChar char="Ø"/>
              <a:tabLst/>
              <a:defRPr/>
            </a:pPr>
            <a:endParaRPr lang="de-DE" altLang="de-DE" sz="2400" dirty="0">
              <a:solidFill>
                <a:srgbClr val="000000"/>
              </a:solidFill>
              <a:latin typeface="Arial" charset="0"/>
            </a:endParaRPr>
          </a:p>
          <a:p>
            <a:pPr marL="361950" marR="0" lvl="0" indent="-361950" algn="l" defTabSz="914400" rtl="0" eaLnBrk="1" fontAlgn="base" latinLnBrk="0" hangingPunct="1">
              <a:lnSpc>
                <a:spcPct val="100000"/>
              </a:lnSpc>
              <a:spcBef>
                <a:spcPct val="0"/>
              </a:spcBef>
              <a:spcAft>
                <a:spcPct val="0"/>
              </a:spcAft>
              <a:buClrTx/>
              <a:buSzTx/>
              <a:buFont typeface="Wingdings" pitchFamily="2" charset="2"/>
              <a:buChar char="Ø"/>
              <a:tabLst/>
              <a:defRPr/>
            </a:pPr>
            <a:r>
              <a:rPr kumimoji="0" lang="de-DE" altLang="de-DE" sz="2400" b="1" i="0" u="none" strike="noStrike" kern="1200" cap="none" spc="0" normalizeH="0" noProof="0" dirty="0" err="1">
                <a:ln>
                  <a:noFill/>
                </a:ln>
                <a:solidFill>
                  <a:srgbClr val="000000"/>
                </a:solidFill>
                <a:effectLst/>
                <a:uLnTx/>
                <a:uFillTx/>
                <a:latin typeface="Arial" charset="0"/>
                <a:ea typeface="+mn-ea"/>
                <a:cs typeface="+mn-cs"/>
              </a:rPr>
              <a:t>Measured</a:t>
            </a:r>
            <a:r>
              <a:rPr kumimoji="0" lang="de-DE" altLang="de-DE" sz="2400" b="1" i="0" u="none" strike="noStrike" kern="1200" cap="none" spc="0" normalizeH="0" noProof="0" dirty="0">
                <a:ln>
                  <a:noFill/>
                </a:ln>
                <a:solidFill>
                  <a:srgbClr val="000000"/>
                </a:solidFill>
                <a:effectLst/>
                <a:uLnTx/>
                <a:uFillTx/>
                <a:latin typeface="Arial" charset="0"/>
                <a:ea typeface="+mn-ea"/>
                <a:cs typeface="+mn-cs"/>
              </a:rPr>
              <a:t> and </a:t>
            </a:r>
            <a:r>
              <a:rPr kumimoji="0" lang="de-DE" altLang="de-DE" sz="2400" b="1" i="0" u="none" strike="noStrike" kern="1200" cap="none" spc="0" normalizeH="0" noProof="0" dirty="0" err="1">
                <a:ln>
                  <a:noFill/>
                </a:ln>
                <a:solidFill>
                  <a:srgbClr val="000000"/>
                </a:solidFill>
                <a:effectLst/>
                <a:uLnTx/>
                <a:uFillTx/>
                <a:latin typeface="Arial" charset="0"/>
                <a:ea typeface="+mn-ea"/>
                <a:cs typeface="+mn-cs"/>
              </a:rPr>
              <a:t>Calculated</a:t>
            </a:r>
            <a:r>
              <a:rPr kumimoji="0" lang="de-DE" altLang="de-DE" sz="2400" b="1" i="0" u="none" strike="noStrike" kern="1200" cap="none" spc="0" normalizeH="0" noProof="0" dirty="0">
                <a:ln>
                  <a:noFill/>
                </a:ln>
                <a:solidFill>
                  <a:srgbClr val="000000"/>
                </a:solidFill>
                <a:effectLst/>
                <a:uLnTx/>
                <a:uFillTx/>
                <a:latin typeface="Arial" charset="0"/>
                <a:ea typeface="+mn-ea"/>
                <a:cs typeface="+mn-cs"/>
              </a:rPr>
              <a:t> </a:t>
            </a:r>
            <a:r>
              <a:rPr kumimoji="0" lang="de-DE" altLang="de-DE" sz="2400" b="1" i="0" u="none" strike="noStrike" kern="1200" cap="none" spc="0" normalizeH="0" noProof="0" dirty="0" err="1">
                <a:ln>
                  <a:noFill/>
                </a:ln>
                <a:solidFill>
                  <a:srgbClr val="000000"/>
                </a:solidFill>
                <a:effectLst/>
                <a:uLnTx/>
                <a:uFillTx/>
                <a:latin typeface="Arial" charset="0"/>
                <a:ea typeface="+mn-ea"/>
                <a:cs typeface="+mn-cs"/>
              </a:rPr>
              <a:t>Vibrations</a:t>
            </a:r>
            <a:r>
              <a:rPr kumimoji="0" lang="de-DE" altLang="de-DE" sz="2400" b="1" i="0" u="none" strike="noStrike" kern="1200" cap="none" spc="0" normalizeH="0" noProof="0" dirty="0">
                <a:ln>
                  <a:noFill/>
                </a:ln>
                <a:solidFill>
                  <a:srgbClr val="000000"/>
                </a:solidFill>
                <a:effectLst/>
                <a:uLnTx/>
                <a:uFillTx/>
                <a:latin typeface="Arial" charset="0"/>
                <a:ea typeface="+mn-ea"/>
                <a:cs typeface="+mn-cs"/>
              </a:rPr>
              <a:t> </a:t>
            </a:r>
            <a:r>
              <a:rPr kumimoji="0" lang="de-DE" altLang="de-DE" sz="2400" b="1" i="0" u="none" strike="noStrike" kern="1200" cap="none" spc="0" normalizeH="0" noProof="0" dirty="0" err="1">
                <a:ln>
                  <a:noFill/>
                </a:ln>
                <a:solidFill>
                  <a:srgbClr val="000000"/>
                </a:solidFill>
                <a:effectLst/>
                <a:uLnTx/>
                <a:uFillTx/>
                <a:latin typeface="Arial" charset="0"/>
                <a:ea typeface="+mn-ea"/>
                <a:cs typeface="+mn-cs"/>
              </a:rPr>
              <a:t>of</a:t>
            </a:r>
            <a:r>
              <a:rPr kumimoji="0" lang="de-DE" altLang="de-DE" sz="2400" b="1" i="0" u="none" strike="noStrike" kern="1200" cap="none" spc="0" normalizeH="0" noProof="0" dirty="0">
                <a:ln>
                  <a:noFill/>
                </a:ln>
                <a:solidFill>
                  <a:srgbClr val="000000"/>
                </a:solidFill>
                <a:effectLst/>
                <a:uLnTx/>
                <a:uFillTx/>
                <a:latin typeface="Arial" charset="0"/>
                <a:ea typeface="+mn-ea"/>
                <a:cs typeface="+mn-cs"/>
              </a:rPr>
              <a:t> </a:t>
            </a:r>
            <a:r>
              <a:rPr kumimoji="0" lang="de-DE" altLang="de-DE" sz="2400" b="1" i="0" u="none" strike="noStrike" kern="1200" cap="none" spc="0" normalizeH="0" noProof="0" dirty="0" err="1">
                <a:ln>
                  <a:noFill/>
                </a:ln>
                <a:solidFill>
                  <a:srgbClr val="000000"/>
                </a:solidFill>
                <a:effectLst/>
                <a:uLnTx/>
                <a:uFillTx/>
                <a:latin typeface="Arial" charset="0"/>
                <a:ea typeface="+mn-ea"/>
                <a:cs typeface="+mn-cs"/>
              </a:rPr>
              <a:t>the</a:t>
            </a:r>
            <a:r>
              <a:rPr kumimoji="0" lang="de-DE" altLang="de-DE" sz="2400" b="1" i="0" u="none" strike="noStrike" kern="1200" cap="none" spc="0" normalizeH="0" noProof="0" dirty="0">
                <a:ln>
                  <a:noFill/>
                </a:ln>
                <a:solidFill>
                  <a:srgbClr val="000000"/>
                </a:solidFill>
                <a:effectLst/>
                <a:uLnTx/>
                <a:uFillTx/>
                <a:latin typeface="Arial" charset="0"/>
                <a:ea typeface="+mn-ea"/>
                <a:cs typeface="+mn-cs"/>
              </a:rPr>
              <a:t> </a:t>
            </a:r>
            <a:r>
              <a:rPr kumimoji="0" lang="de-DE" altLang="de-DE" sz="2400" b="1" i="0" u="none" strike="noStrike" kern="1200" cap="none" spc="0" normalizeH="0" noProof="0" dirty="0" err="1">
                <a:ln>
                  <a:noFill/>
                </a:ln>
                <a:solidFill>
                  <a:srgbClr val="000000"/>
                </a:solidFill>
                <a:effectLst/>
                <a:uLnTx/>
                <a:uFillTx/>
                <a:latin typeface="Arial" charset="0"/>
                <a:ea typeface="+mn-ea"/>
                <a:cs typeface="+mn-cs"/>
              </a:rPr>
              <a:t>Feedwater</a:t>
            </a:r>
            <a:r>
              <a:rPr kumimoji="0" lang="de-DE" altLang="de-DE" sz="2400" b="1" i="0" u="none" strike="noStrike" kern="1200" cap="none" spc="0" normalizeH="0" noProof="0" dirty="0">
                <a:ln>
                  <a:noFill/>
                </a:ln>
                <a:solidFill>
                  <a:srgbClr val="000000"/>
                </a:solidFill>
                <a:effectLst/>
                <a:uLnTx/>
                <a:uFillTx/>
                <a:latin typeface="Arial" charset="0"/>
                <a:ea typeface="+mn-ea"/>
                <a:cs typeface="+mn-cs"/>
              </a:rPr>
              <a:t> Pump OL3</a:t>
            </a:r>
          </a:p>
          <a:p>
            <a:pPr marL="361950" marR="0" lvl="0" indent="-361950" algn="l" defTabSz="914400" rtl="0" eaLnBrk="1" fontAlgn="base" latinLnBrk="0" hangingPunct="1">
              <a:lnSpc>
                <a:spcPct val="100000"/>
              </a:lnSpc>
              <a:spcBef>
                <a:spcPct val="0"/>
              </a:spcBef>
              <a:spcAft>
                <a:spcPct val="0"/>
              </a:spcAft>
              <a:buClrTx/>
              <a:buSzTx/>
              <a:buFont typeface="Wingdings" pitchFamily="2" charset="2"/>
              <a:buChar char="Ø"/>
              <a:tabLst/>
              <a:defRPr/>
            </a:pPr>
            <a:endParaRPr lang="de-DE" altLang="de-DE" sz="2400" baseline="0" dirty="0">
              <a:solidFill>
                <a:srgbClr val="000000"/>
              </a:solidFill>
              <a:latin typeface="Arial" charset="0"/>
            </a:endParaRPr>
          </a:p>
          <a:p>
            <a:pPr marL="0" marR="0" lvl="0" indent="0" algn="l" defTabSz="914400" rtl="0" eaLnBrk="1" fontAlgn="base" latinLnBrk="0" hangingPunct="1">
              <a:lnSpc>
                <a:spcPct val="100000"/>
              </a:lnSpc>
              <a:spcBef>
                <a:spcPct val="0"/>
              </a:spcBef>
              <a:spcAft>
                <a:spcPct val="0"/>
              </a:spcAft>
              <a:buClrTx/>
              <a:buSzTx/>
              <a:tabLst/>
              <a:defRPr/>
            </a:pPr>
            <a:endParaRPr lang="de-DE" altLang="de-DE" sz="2400" baseline="0" dirty="0">
              <a:solidFill>
                <a:srgbClr val="000000"/>
              </a:solidFill>
              <a:latin typeface="Arial" charset="0"/>
            </a:endParaRPr>
          </a:p>
        </p:txBody>
      </p:sp>
      <p:sp>
        <p:nvSpPr>
          <p:cNvPr id="47108" name="Rechteck 1">
            <a:extLst>
              <a:ext uri="{FF2B5EF4-FFF2-40B4-BE49-F238E27FC236}">
                <a16:creationId xmlns:a16="http://schemas.microsoft.com/office/drawing/2014/main" id="{73D62BC3-6968-894E-0025-EA65A3EC0C0F}"/>
              </a:ext>
            </a:extLst>
          </p:cNvPr>
          <p:cNvSpPr>
            <a:spLocks noChangeArrowheads="1"/>
          </p:cNvSpPr>
          <p:nvPr/>
        </p:nvSpPr>
        <p:spPr bwMode="auto">
          <a:xfrm>
            <a:off x="688208" y="266785"/>
            <a:ext cx="10815584" cy="4893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b="1">
                <a:solidFill>
                  <a:schemeClr val="tx1"/>
                </a:solidFill>
                <a:latin typeface="Verdana" panose="020B0604030504040204" pitchFamily="34" charset="0"/>
              </a:defRPr>
            </a:lvl1pPr>
            <a:lvl2pPr marL="742950" indent="-285750">
              <a:defRPr b="1">
                <a:solidFill>
                  <a:schemeClr val="tx1"/>
                </a:solidFill>
                <a:latin typeface="Verdana" panose="020B0604030504040204" pitchFamily="34" charset="0"/>
              </a:defRPr>
            </a:lvl2pPr>
            <a:lvl3pPr marL="1143000" indent="-228600">
              <a:defRPr b="1">
                <a:solidFill>
                  <a:schemeClr val="tx1"/>
                </a:solidFill>
                <a:latin typeface="Verdana" panose="020B0604030504040204" pitchFamily="34" charset="0"/>
              </a:defRPr>
            </a:lvl3pPr>
            <a:lvl4pPr marL="1600200" indent="-228600">
              <a:defRPr b="1">
                <a:solidFill>
                  <a:schemeClr val="tx1"/>
                </a:solidFill>
                <a:latin typeface="Verdana" panose="020B0604030504040204" pitchFamily="34" charset="0"/>
              </a:defRPr>
            </a:lvl4pPr>
            <a:lvl5pPr marL="2057400" indent="-228600">
              <a:defRPr b="1">
                <a:solidFill>
                  <a:schemeClr val="tx1"/>
                </a:solidFill>
                <a:latin typeface="Verdana" panose="020B0604030504040204" pitchFamily="34" charset="0"/>
              </a:defRPr>
            </a:lvl5pPr>
            <a:lvl6pPr marL="2514600" indent="-228600" eaLnBrk="0" fontAlgn="base" hangingPunct="0">
              <a:spcBef>
                <a:spcPct val="0"/>
              </a:spcBef>
              <a:spcAft>
                <a:spcPct val="0"/>
              </a:spcAft>
              <a:defRPr b="1">
                <a:solidFill>
                  <a:schemeClr val="tx1"/>
                </a:solidFill>
                <a:latin typeface="Verdana" panose="020B0604030504040204" pitchFamily="34" charset="0"/>
              </a:defRPr>
            </a:lvl6pPr>
            <a:lvl7pPr marL="2971800" indent="-228600" eaLnBrk="0" fontAlgn="base" hangingPunct="0">
              <a:spcBef>
                <a:spcPct val="0"/>
              </a:spcBef>
              <a:spcAft>
                <a:spcPct val="0"/>
              </a:spcAft>
              <a:defRPr b="1">
                <a:solidFill>
                  <a:schemeClr val="tx1"/>
                </a:solidFill>
                <a:latin typeface="Verdana" panose="020B0604030504040204" pitchFamily="34" charset="0"/>
              </a:defRPr>
            </a:lvl7pPr>
            <a:lvl8pPr marL="3429000" indent="-228600" eaLnBrk="0" fontAlgn="base" hangingPunct="0">
              <a:spcBef>
                <a:spcPct val="0"/>
              </a:spcBef>
              <a:spcAft>
                <a:spcPct val="0"/>
              </a:spcAft>
              <a:defRPr b="1">
                <a:solidFill>
                  <a:schemeClr val="tx1"/>
                </a:solidFill>
                <a:latin typeface="Verdana" panose="020B0604030504040204" pitchFamily="34" charset="0"/>
              </a:defRPr>
            </a:lvl8pPr>
            <a:lvl9pPr marL="3886200" indent="-228600" eaLnBrk="0" fontAlgn="base" hangingPunct="0">
              <a:spcBef>
                <a:spcPct val="0"/>
              </a:spcBef>
              <a:spcAft>
                <a:spcPct val="0"/>
              </a:spcAft>
              <a:defRPr b="1">
                <a:solidFill>
                  <a:schemeClr val="tx1"/>
                </a:solidFill>
                <a:latin typeface="Verdana" panose="020B0604030504040204" pitchFamily="34" charset="0"/>
              </a:defRPr>
            </a:lvl9pPr>
          </a:lstStyle>
          <a:p>
            <a:pPr marL="0" marR="0" lvl="0" indent="0" algn="l" defTabSz="914400" rtl="0" eaLnBrk="0" fontAlgn="base" latinLnBrk="0" hangingPunct="0">
              <a:lnSpc>
                <a:spcPct val="107000"/>
              </a:lnSpc>
              <a:spcBef>
                <a:spcPct val="0"/>
              </a:spcBef>
              <a:spcAft>
                <a:spcPts val="800"/>
              </a:spcAft>
              <a:buClrTx/>
              <a:buSzTx/>
              <a:buFont typeface="Wingdings" panose="05000000000000000000" pitchFamily="2" charset="2"/>
              <a:buNone/>
              <a:tabLst/>
              <a:defRPr/>
            </a:pPr>
            <a:r>
              <a:rPr kumimoji="0" lang="de-DE" altLang="de-DE" sz="2600" b="1" i="0" u="none" strike="noStrike" kern="1200" cap="none" spc="0" normalizeH="0" baseline="0" noProof="0" dirty="0" err="1">
                <a:ln>
                  <a:noFill/>
                </a:ln>
                <a:solidFill>
                  <a:srgbClr val="000000"/>
                </a:solidFill>
                <a:effectLst/>
                <a:uLnTx/>
                <a:uFillTx/>
                <a:latin typeface="Arial"/>
                <a:ea typeface="+mn-ea"/>
                <a:cs typeface="+mn-cs"/>
              </a:rPr>
              <a:t>Lecture</a:t>
            </a:r>
            <a:r>
              <a:rPr kumimoji="0" lang="de-DE" altLang="de-DE" sz="2600" b="1" i="0" u="none" strike="noStrike" kern="1200" cap="none" spc="0" normalizeH="0" baseline="0" noProof="0" dirty="0">
                <a:ln>
                  <a:noFill/>
                </a:ln>
                <a:solidFill>
                  <a:srgbClr val="000000"/>
                </a:solidFill>
                <a:effectLst/>
                <a:uLnTx/>
                <a:uFillTx/>
                <a:latin typeface="Arial"/>
                <a:ea typeface="+mn-ea"/>
                <a:cs typeface="+mn-cs"/>
              </a:rPr>
              <a:t> IV  </a:t>
            </a:r>
            <a:r>
              <a:rPr kumimoji="0" lang="de-DE" altLang="de-DE" sz="2600" b="1" i="0" u="none" strike="noStrike" kern="1200" cap="none" spc="0" normalizeH="0" baseline="0" noProof="0" dirty="0" err="1">
                <a:ln>
                  <a:noFill/>
                </a:ln>
                <a:solidFill>
                  <a:srgbClr val="0000FF"/>
                </a:solidFill>
                <a:effectLst/>
                <a:uLnTx/>
                <a:uFillTx/>
                <a:latin typeface="Arial"/>
                <a:ea typeface="+mn-ea"/>
                <a:cs typeface="+mn-cs"/>
              </a:rPr>
              <a:t>Vibrations</a:t>
            </a:r>
            <a:r>
              <a:rPr kumimoji="0" lang="de-DE" altLang="de-DE" sz="2600" b="1" i="0" u="none" strike="noStrike" kern="1200" cap="none" spc="0" normalizeH="0" baseline="0" noProof="0" dirty="0">
                <a:ln>
                  <a:noFill/>
                </a:ln>
                <a:solidFill>
                  <a:srgbClr val="0000FF"/>
                </a:solidFill>
                <a:effectLst/>
                <a:uLnTx/>
                <a:uFillTx/>
                <a:latin typeface="Arial"/>
                <a:ea typeface="+mn-ea"/>
                <a:cs typeface="+mn-cs"/>
              </a:rPr>
              <a:t> </a:t>
            </a:r>
            <a:r>
              <a:rPr kumimoji="0" lang="de-DE" altLang="de-DE" sz="2600" b="1" i="0" u="none" strike="noStrike" kern="1200" cap="none" spc="0" normalizeH="0" baseline="0" noProof="0" dirty="0" err="1">
                <a:ln>
                  <a:noFill/>
                </a:ln>
                <a:solidFill>
                  <a:srgbClr val="0000FF"/>
                </a:solidFill>
                <a:effectLst/>
                <a:uLnTx/>
                <a:uFillTx/>
                <a:latin typeface="Arial"/>
                <a:ea typeface="+mn-ea"/>
                <a:cs typeface="+mn-cs"/>
              </a:rPr>
              <a:t>of</a:t>
            </a:r>
            <a:r>
              <a:rPr kumimoji="0" lang="de-DE" altLang="de-DE" sz="2600" b="1" i="0" u="none" strike="noStrike" kern="1200" cap="none" spc="0" normalizeH="0" baseline="0" noProof="0" dirty="0">
                <a:ln>
                  <a:noFill/>
                </a:ln>
                <a:solidFill>
                  <a:srgbClr val="0000FF"/>
                </a:solidFill>
                <a:effectLst/>
                <a:uLnTx/>
                <a:uFillTx/>
                <a:latin typeface="Arial"/>
                <a:ea typeface="+mn-ea"/>
                <a:cs typeface="+mn-cs"/>
              </a:rPr>
              <a:t> </a:t>
            </a:r>
            <a:r>
              <a:rPr kumimoji="0" lang="de-DE" altLang="de-DE" sz="2600" b="1" i="0" u="none" strike="noStrike" kern="1200" cap="none" spc="0" normalizeH="0" baseline="0" noProof="0" dirty="0" err="1">
                <a:ln>
                  <a:noFill/>
                </a:ln>
                <a:solidFill>
                  <a:srgbClr val="0000FF"/>
                </a:solidFill>
                <a:effectLst/>
                <a:uLnTx/>
                <a:uFillTx/>
                <a:latin typeface="Arial"/>
                <a:ea typeface="+mn-ea"/>
                <a:cs typeface="+mn-cs"/>
              </a:rPr>
              <a:t>Feedwater</a:t>
            </a:r>
            <a:r>
              <a:rPr kumimoji="0" lang="de-DE" altLang="de-DE" sz="2600" b="1" i="0" u="none" strike="noStrike" kern="1200" cap="none" spc="0" normalizeH="0" baseline="0" noProof="0" dirty="0">
                <a:ln>
                  <a:noFill/>
                </a:ln>
                <a:solidFill>
                  <a:srgbClr val="0000FF"/>
                </a:solidFill>
                <a:effectLst/>
                <a:uLnTx/>
                <a:uFillTx/>
                <a:latin typeface="Arial"/>
                <a:ea typeface="+mn-ea"/>
                <a:cs typeface="+mn-cs"/>
              </a:rPr>
              <a:t> Pumps in </a:t>
            </a:r>
            <a:r>
              <a:rPr kumimoji="0" lang="de-DE" altLang="de-DE" sz="2600" b="1" i="0" u="none" strike="noStrike" kern="1200" cap="none" spc="0" normalizeH="0" baseline="0" noProof="0" dirty="0" err="1">
                <a:ln>
                  <a:noFill/>
                </a:ln>
                <a:solidFill>
                  <a:srgbClr val="0000FF"/>
                </a:solidFill>
                <a:effectLst/>
                <a:uLnTx/>
                <a:uFillTx/>
                <a:latin typeface="Arial"/>
                <a:ea typeface="+mn-ea"/>
                <a:cs typeface="+mn-cs"/>
              </a:rPr>
              <a:t>Nuclear</a:t>
            </a:r>
            <a:r>
              <a:rPr kumimoji="0" lang="de-DE" altLang="de-DE" sz="2600" b="1" i="0" u="none" strike="noStrike" kern="1200" cap="none" spc="0" normalizeH="0" baseline="0" noProof="0" dirty="0">
                <a:ln>
                  <a:noFill/>
                </a:ln>
                <a:solidFill>
                  <a:srgbClr val="0000FF"/>
                </a:solidFill>
                <a:effectLst/>
                <a:uLnTx/>
                <a:uFillTx/>
                <a:latin typeface="Arial"/>
                <a:ea typeface="+mn-ea"/>
                <a:cs typeface="+mn-cs"/>
              </a:rPr>
              <a:t> Power Plants</a:t>
            </a:r>
          </a:p>
        </p:txBody>
      </p:sp>
    </p:spTree>
    <p:extLst>
      <p:ext uri="{BB962C8B-B14F-4D97-AF65-F5344CB8AC3E}">
        <p14:creationId xmlns:p14="http://schemas.microsoft.com/office/powerpoint/2010/main" val="1747694728"/>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2" presetClass="entr" presetSubtype="8"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left)">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utoUpdateAnimBg="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feld 1">
            <a:extLst>
              <a:ext uri="{FF2B5EF4-FFF2-40B4-BE49-F238E27FC236}">
                <a16:creationId xmlns:a16="http://schemas.microsoft.com/office/drawing/2014/main" id="{F765C75D-38B1-329D-E3A6-EC5105A8DF24}"/>
              </a:ext>
            </a:extLst>
          </p:cNvPr>
          <p:cNvSpPr txBox="1"/>
          <p:nvPr/>
        </p:nvSpPr>
        <p:spPr>
          <a:xfrm>
            <a:off x="882340" y="1391937"/>
            <a:ext cx="10522259" cy="5225221"/>
          </a:xfrm>
          <a:prstGeom prst="rect">
            <a:avLst/>
          </a:prstGeom>
          <a:solidFill>
            <a:schemeClr val="lt1"/>
          </a:solidFill>
          <a:ln w="38100">
            <a:solidFill>
              <a:schemeClr val="bg1"/>
            </a:solidFill>
          </a:ln>
        </p:spPr>
        <p:txBody>
          <a:bodyPr rot="0" spcFirstLastPara="0" vert="horz" wrap="square" lIns="91440" tIns="45720" rIns="91440" bIns="45720" numCol="1" spcCol="0" rtlCol="0" fromWordArt="0" anchor="t" anchorCtr="0" forceAA="0" compatLnSpc="1">
            <a:prstTxWarp prst="textNoShape">
              <a:avLst/>
            </a:prstTxWarp>
            <a:noAutofit/>
          </a:bodyPr>
          <a:lstStyle/>
          <a:p>
            <a:pPr marR="0" lvl="0" algn="l" defTabSz="914400" rtl="0" eaLnBrk="1" fontAlgn="auto" latinLnBrk="0" hangingPunct="1">
              <a:lnSpc>
                <a:spcPct val="107000"/>
              </a:lnSpc>
              <a:spcBef>
                <a:spcPts val="0"/>
              </a:spcBef>
              <a:spcAft>
                <a:spcPts val="800"/>
              </a:spcAft>
              <a:buClrTx/>
              <a:buSzTx/>
              <a:tabLst/>
              <a:defRPr/>
            </a:pPr>
            <a:r>
              <a:rPr lang="de-DE" sz="2200" b="0" kern="100" dirty="0">
                <a:latin typeface="+mn-lt"/>
                <a:ea typeface="Calibri" panose="020F0502020204030204" pitchFamily="34" charset="0"/>
                <a:cs typeface="Arial" panose="020B0604020202020204" pitchFamily="34" charset="0"/>
              </a:rPr>
              <a:t>The </a:t>
            </a:r>
            <a:r>
              <a:rPr lang="de-DE" sz="2200" kern="100" dirty="0" err="1">
                <a:solidFill>
                  <a:srgbClr val="0000FF"/>
                </a:solidFill>
                <a:latin typeface="+mn-lt"/>
                <a:ea typeface="Calibri" panose="020F0502020204030204" pitchFamily="34" charset="0"/>
                <a:cs typeface="Arial" panose="020B0604020202020204" pitchFamily="34" charset="0"/>
              </a:rPr>
              <a:t>cracks</a:t>
            </a:r>
            <a:r>
              <a:rPr lang="de-DE" sz="2200" kern="100" dirty="0">
                <a:solidFill>
                  <a:srgbClr val="0000FF"/>
                </a:solidFill>
                <a:latin typeface="+mn-lt"/>
                <a:ea typeface="Calibri" panose="020F0502020204030204" pitchFamily="34" charset="0"/>
                <a:cs typeface="Arial" panose="020B0604020202020204" pitchFamily="34" charset="0"/>
              </a:rPr>
              <a:t> </a:t>
            </a:r>
            <a:r>
              <a:rPr lang="de-DE" sz="2200" b="0" kern="100" dirty="0">
                <a:solidFill>
                  <a:srgbClr val="0000FF"/>
                </a:solidFill>
                <a:latin typeface="+mn-lt"/>
                <a:ea typeface="Calibri" panose="020F0502020204030204" pitchFamily="34" charset="0"/>
                <a:cs typeface="Arial" panose="020B0604020202020204" pitchFamily="34" charset="0"/>
              </a:rPr>
              <a:t>in </a:t>
            </a:r>
            <a:r>
              <a:rPr lang="de-DE" sz="2200" b="0" kern="100" dirty="0" err="1">
                <a:solidFill>
                  <a:srgbClr val="0000FF"/>
                </a:solidFill>
                <a:latin typeface="+mn-lt"/>
                <a:ea typeface="Calibri" panose="020F0502020204030204" pitchFamily="34" charset="0"/>
                <a:cs typeface="Arial" panose="020B0604020202020204" pitchFamily="34" charset="0"/>
              </a:rPr>
              <a:t>the</a:t>
            </a:r>
            <a:r>
              <a:rPr lang="de-DE" sz="2200" b="0" kern="100" dirty="0">
                <a:solidFill>
                  <a:srgbClr val="0000FF"/>
                </a:solidFill>
                <a:latin typeface="+mn-lt"/>
                <a:ea typeface="Calibri" panose="020F0502020204030204" pitchFamily="34" charset="0"/>
                <a:cs typeface="Arial" panose="020B0604020202020204" pitchFamily="34" charset="0"/>
              </a:rPr>
              <a:t> </a:t>
            </a:r>
            <a:r>
              <a:rPr lang="de-DE" sz="2200" kern="100" dirty="0">
                <a:solidFill>
                  <a:srgbClr val="0000FF"/>
                </a:solidFill>
                <a:latin typeface="+mn-lt"/>
                <a:ea typeface="Calibri" panose="020F0502020204030204" pitchFamily="34" charset="0"/>
                <a:cs typeface="Arial" panose="020B0604020202020204" pitchFamily="34" charset="0"/>
              </a:rPr>
              <a:t>Impeller </a:t>
            </a:r>
            <a:r>
              <a:rPr lang="de-DE" sz="2200" b="0" kern="100" dirty="0" err="1">
                <a:latin typeface="+mn-lt"/>
                <a:ea typeface="Calibri" panose="020F0502020204030204" pitchFamily="34" charset="0"/>
                <a:cs typeface="Arial" panose="020B0604020202020204" pitchFamily="34" charset="0"/>
              </a:rPr>
              <a:t>have</a:t>
            </a:r>
            <a:r>
              <a:rPr lang="de-DE" sz="2200" b="0" kern="100" dirty="0">
                <a:latin typeface="+mn-lt"/>
                <a:ea typeface="Calibri" panose="020F0502020204030204" pitchFamily="34" charset="0"/>
                <a:cs typeface="Arial" panose="020B0604020202020204" pitchFamily="34" charset="0"/>
              </a:rPr>
              <a:t> </a:t>
            </a:r>
            <a:r>
              <a:rPr lang="de-DE" sz="2200" b="0" kern="100" dirty="0" err="1">
                <a:latin typeface="+mn-lt"/>
                <a:ea typeface="Calibri" panose="020F0502020204030204" pitchFamily="34" charset="0"/>
                <a:cs typeface="Arial" panose="020B0604020202020204" pitchFamily="34" charset="0"/>
              </a:rPr>
              <a:t>been</a:t>
            </a:r>
            <a:r>
              <a:rPr lang="de-DE" sz="2200" b="0" kern="100" dirty="0">
                <a:latin typeface="+mn-lt"/>
                <a:ea typeface="Calibri" panose="020F0502020204030204" pitchFamily="34" charset="0"/>
                <a:cs typeface="Arial" panose="020B0604020202020204" pitchFamily="34" charset="0"/>
              </a:rPr>
              <a:t> </a:t>
            </a:r>
            <a:r>
              <a:rPr lang="de-DE" sz="2200" b="0" kern="100" dirty="0" err="1">
                <a:latin typeface="+mn-lt"/>
                <a:ea typeface="Calibri" panose="020F0502020204030204" pitchFamily="34" charset="0"/>
                <a:cs typeface="Arial" panose="020B0604020202020204" pitchFamily="34" charset="0"/>
              </a:rPr>
              <a:t>detected</a:t>
            </a:r>
            <a:r>
              <a:rPr lang="de-DE" sz="2200" b="0" kern="100" dirty="0">
                <a:latin typeface="+mn-lt"/>
                <a:ea typeface="Calibri" panose="020F0502020204030204" pitchFamily="34" charset="0"/>
                <a:cs typeface="Arial" panose="020B0604020202020204" pitchFamily="34" charset="0"/>
              </a:rPr>
              <a:t> </a:t>
            </a:r>
            <a:r>
              <a:rPr lang="de-DE" sz="2200" b="0" kern="100" dirty="0" err="1">
                <a:latin typeface="+mn-lt"/>
                <a:ea typeface="Calibri" panose="020F0502020204030204" pitchFamily="34" charset="0"/>
                <a:cs typeface="Arial" panose="020B0604020202020204" pitchFamily="34" charset="0"/>
              </a:rPr>
              <a:t>already</a:t>
            </a:r>
            <a:r>
              <a:rPr lang="de-DE" sz="2200" b="0" kern="100" dirty="0">
                <a:latin typeface="+mn-lt"/>
                <a:ea typeface="Calibri" panose="020F0502020204030204" pitchFamily="34" charset="0"/>
                <a:cs typeface="Arial" panose="020B0604020202020204" pitchFamily="34" charset="0"/>
              </a:rPr>
              <a:t> in </a:t>
            </a:r>
            <a:r>
              <a:rPr lang="de-DE" sz="2200" b="0" kern="100" dirty="0" err="1">
                <a:latin typeface="+mn-lt"/>
                <a:ea typeface="Calibri" panose="020F0502020204030204" pitchFamily="34" charset="0"/>
                <a:cs typeface="Arial" panose="020B0604020202020204" pitchFamily="34" charset="0"/>
              </a:rPr>
              <a:t>the</a:t>
            </a:r>
            <a:r>
              <a:rPr lang="de-DE" sz="2200" b="0" kern="100" dirty="0">
                <a:latin typeface="+mn-lt"/>
                <a:ea typeface="Calibri" panose="020F0502020204030204" pitchFamily="34" charset="0"/>
                <a:cs typeface="Arial" panose="020B0604020202020204" pitchFamily="34" charset="0"/>
              </a:rPr>
              <a:t> </a:t>
            </a:r>
            <a:r>
              <a:rPr lang="de-DE" sz="2200" kern="100" dirty="0" err="1">
                <a:solidFill>
                  <a:srgbClr val="0000FF"/>
                </a:solidFill>
                <a:latin typeface="+mn-lt"/>
                <a:ea typeface="Calibri" panose="020F0502020204030204" pitchFamily="34" charset="0"/>
                <a:cs typeface="Arial" panose="020B0604020202020204" pitchFamily="34" charset="0"/>
              </a:rPr>
              <a:t>early</a:t>
            </a:r>
            <a:r>
              <a:rPr lang="de-DE" sz="2200" kern="100" dirty="0">
                <a:solidFill>
                  <a:srgbClr val="0000FF"/>
                </a:solidFill>
                <a:latin typeface="+mn-lt"/>
                <a:ea typeface="Calibri" panose="020F0502020204030204" pitchFamily="34" charset="0"/>
                <a:cs typeface="Arial" panose="020B0604020202020204" pitchFamily="34" charset="0"/>
              </a:rPr>
              <a:t> </a:t>
            </a:r>
            <a:r>
              <a:rPr lang="de-DE" sz="2200" kern="100" dirty="0" err="1">
                <a:solidFill>
                  <a:srgbClr val="0000FF"/>
                </a:solidFill>
                <a:latin typeface="+mn-lt"/>
                <a:ea typeface="Calibri" panose="020F0502020204030204" pitchFamily="34" charset="0"/>
                <a:cs typeface="Arial" panose="020B0604020202020204" pitchFamily="34" charset="0"/>
              </a:rPr>
              <a:t>phase</a:t>
            </a:r>
            <a:r>
              <a:rPr lang="de-DE" sz="2200" kern="100" dirty="0">
                <a:solidFill>
                  <a:srgbClr val="0000FF"/>
                </a:solidFill>
                <a:latin typeface="+mn-lt"/>
                <a:ea typeface="Calibri" panose="020F0502020204030204" pitchFamily="34" charset="0"/>
                <a:cs typeface="Arial" panose="020B0604020202020204" pitchFamily="34" charset="0"/>
              </a:rPr>
              <a:t> </a:t>
            </a:r>
            <a:r>
              <a:rPr lang="de-DE" sz="2200" b="0" kern="100" dirty="0" err="1">
                <a:latin typeface="+mn-lt"/>
                <a:ea typeface="Calibri" panose="020F0502020204030204" pitchFamily="34" charset="0"/>
                <a:cs typeface="Arial" panose="020B0604020202020204" pitchFamily="34" charset="0"/>
              </a:rPr>
              <a:t>of</a:t>
            </a:r>
            <a:r>
              <a:rPr lang="de-DE" sz="2200" kern="100" dirty="0">
                <a:solidFill>
                  <a:srgbClr val="0000FF"/>
                </a:solidFill>
                <a:latin typeface="+mn-lt"/>
                <a:ea typeface="Calibri" panose="020F0502020204030204" pitchFamily="34" charset="0"/>
                <a:cs typeface="Arial" panose="020B0604020202020204" pitchFamily="34" charset="0"/>
              </a:rPr>
              <a:t> </a:t>
            </a:r>
            <a:r>
              <a:rPr lang="de-DE" sz="2200" b="0" kern="100" dirty="0" err="1">
                <a:latin typeface="+mn-lt"/>
                <a:ea typeface="Calibri" panose="020F0502020204030204" pitchFamily="34" charset="0"/>
                <a:cs typeface="Arial" panose="020B0604020202020204" pitchFamily="34" charset="0"/>
              </a:rPr>
              <a:t>the</a:t>
            </a:r>
            <a:r>
              <a:rPr lang="de-DE" sz="2200" b="0" kern="100" dirty="0">
                <a:latin typeface="+mn-lt"/>
                <a:ea typeface="Calibri" panose="020F0502020204030204" pitchFamily="34" charset="0"/>
                <a:cs typeface="Arial" panose="020B0604020202020204" pitchFamily="34" charset="0"/>
              </a:rPr>
              <a:t> </a:t>
            </a:r>
            <a:r>
              <a:rPr lang="de-DE" sz="2200" kern="100" dirty="0" err="1">
                <a:solidFill>
                  <a:srgbClr val="0000FF"/>
                </a:solidFill>
                <a:latin typeface="+mn-lt"/>
                <a:ea typeface="Calibri" panose="020F0502020204030204" pitchFamily="34" charset="0"/>
                <a:cs typeface="Arial" panose="020B0604020202020204" pitchFamily="34" charset="0"/>
              </a:rPr>
              <a:t>Commissioning</a:t>
            </a:r>
            <a:r>
              <a:rPr lang="de-DE" sz="2200" b="0" kern="100" dirty="0">
                <a:latin typeface="+mn-lt"/>
                <a:ea typeface="Calibri" panose="020F0502020204030204" pitchFamily="34" charset="0"/>
                <a:cs typeface="Arial" panose="020B0604020202020204" pitchFamily="34" charset="0"/>
              </a:rPr>
              <a:t>. At </a:t>
            </a:r>
            <a:r>
              <a:rPr lang="de-DE" sz="2200" b="0" kern="100" dirty="0" err="1">
                <a:latin typeface="+mn-lt"/>
                <a:ea typeface="Calibri" panose="020F0502020204030204" pitchFamily="34" charset="0"/>
                <a:cs typeface="Arial" panose="020B0604020202020204" pitchFamily="34" charset="0"/>
              </a:rPr>
              <a:t>this</a:t>
            </a:r>
            <a:r>
              <a:rPr lang="de-DE" sz="2200" b="0" kern="100" dirty="0">
                <a:latin typeface="+mn-lt"/>
                <a:ea typeface="Calibri" panose="020F0502020204030204" pitchFamily="34" charset="0"/>
                <a:cs typeface="Arial" panose="020B0604020202020204" pitchFamily="34" charset="0"/>
              </a:rPr>
              <a:t> </a:t>
            </a:r>
            <a:r>
              <a:rPr lang="de-DE" sz="2200" b="0" kern="100" dirty="0" err="1">
                <a:latin typeface="+mn-lt"/>
                <a:ea typeface="Calibri" panose="020F0502020204030204" pitchFamily="34" charset="0"/>
                <a:cs typeface="Arial" panose="020B0604020202020204" pitchFamily="34" charset="0"/>
              </a:rPr>
              <a:t>phase</a:t>
            </a:r>
            <a:r>
              <a:rPr lang="de-DE" sz="2200" b="0" kern="100" dirty="0">
                <a:latin typeface="+mn-lt"/>
                <a:ea typeface="Calibri" panose="020F0502020204030204" pitchFamily="34" charset="0"/>
                <a:cs typeface="Arial" panose="020B0604020202020204" pitchFamily="34" charset="0"/>
              </a:rPr>
              <a:t> </a:t>
            </a:r>
            <a:r>
              <a:rPr lang="de-DE" sz="2200" b="0" kern="100" dirty="0" err="1">
                <a:latin typeface="+mn-lt"/>
                <a:ea typeface="Calibri" panose="020F0502020204030204" pitchFamily="34" charset="0"/>
                <a:cs typeface="Arial" panose="020B0604020202020204" pitchFamily="34" charset="0"/>
              </a:rPr>
              <a:t>the</a:t>
            </a:r>
            <a:r>
              <a:rPr lang="de-DE" sz="2200" b="0" kern="100" dirty="0">
                <a:latin typeface="+mn-lt"/>
                <a:ea typeface="Calibri" panose="020F0502020204030204" pitchFamily="34" charset="0"/>
                <a:cs typeface="Arial" panose="020B0604020202020204" pitchFamily="34" charset="0"/>
              </a:rPr>
              <a:t> </a:t>
            </a:r>
            <a:r>
              <a:rPr lang="de-DE" sz="2200" b="0" kern="100" dirty="0" err="1">
                <a:latin typeface="+mn-lt"/>
                <a:ea typeface="Calibri" panose="020F0502020204030204" pitchFamily="34" charset="0"/>
                <a:cs typeface="Arial" panose="020B0604020202020204" pitchFamily="34" charset="0"/>
              </a:rPr>
              <a:t>pumps</a:t>
            </a:r>
            <a:r>
              <a:rPr lang="de-DE" sz="2200" b="0" kern="100" dirty="0">
                <a:latin typeface="+mn-lt"/>
                <a:ea typeface="Calibri" panose="020F0502020204030204" pitchFamily="34" charset="0"/>
                <a:cs typeface="Arial" panose="020B0604020202020204" pitchFamily="34" charset="0"/>
              </a:rPr>
              <a:t> </a:t>
            </a:r>
            <a:r>
              <a:rPr lang="de-DE" sz="2200" b="0" kern="100" dirty="0" err="1">
                <a:latin typeface="+mn-lt"/>
                <a:ea typeface="Calibri" panose="020F0502020204030204" pitchFamily="34" charset="0"/>
                <a:cs typeface="Arial" panose="020B0604020202020204" pitchFamily="34" charset="0"/>
              </a:rPr>
              <a:t>were</a:t>
            </a:r>
            <a:r>
              <a:rPr lang="de-DE" sz="2200" b="0" kern="100" dirty="0">
                <a:latin typeface="+mn-lt"/>
                <a:ea typeface="Calibri" panose="020F0502020204030204" pitchFamily="34" charset="0"/>
                <a:cs typeface="Arial" panose="020B0604020202020204" pitchFamily="34" charset="0"/>
              </a:rPr>
              <a:t> </a:t>
            </a:r>
            <a:r>
              <a:rPr lang="de-DE" sz="2200" b="0" kern="100" dirty="0" err="1">
                <a:latin typeface="+mn-lt"/>
                <a:ea typeface="Calibri" panose="020F0502020204030204" pitchFamily="34" charset="0"/>
                <a:cs typeface="Arial" panose="020B0604020202020204" pitchFamily="34" charset="0"/>
              </a:rPr>
              <a:t>often</a:t>
            </a:r>
            <a:r>
              <a:rPr lang="de-DE" sz="2200" b="0" kern="100" dirty="0">
                <a:latin typeface="+mn-lt"/>
                <a:ea typeface="Calibri" panose="020F0502020204030204" pitchFamily="34" charset="0"/>
                <a:cs typeface="Arial" panose="020B0604020202020204" pitchFamily="34" charset="0"/>
              </a:rPr>
              <a:t> </a:t>
            </a:r>
            <a:r>
              <a:rPr lang="de-DE" sz="2200" b="0" kern="100" dirty="0" err="1">
                <a:latin typeface="+mn-lt"/>
                <a:ea typeface="Calibri" panose="020F0502020204030204" pitchFamily="34" charset="0"/>
                <a:cs typeface="Arial" panose="020B0604020202020204" pitchFamily="34" charset="0"/>
              </a:rPr>
              <a:t>operated</a:t>
            </a:r>
            <a:r>
              <a:rPr lang="de-DE" sz="2200" b="0" kern="100" dirty="0">
                <a:latin typeface="+mn-lt"/>
                <a:ea typeface="Calibri" panose="020F0502020204030204" pitchFamily="34" charset="0"/>
                <a:cs typeface="Arial" panose="020B0604020202020204" pitchFamily="34" charset="0"/>
              </a:rPr>
              <a:t> </a:t>
            </a:r>
            <a:r>
              <a:rPr lang="de-DE" sz="2200" b="0" kern="100" dirty="0" err="1">
                <a:latin typeface="+mn-lt"/>
                <a:ea typeface="Calibri" panose="020F0502020204030204" pitchFamily="34" charset="0"/>
                <a:cs typeface="Arial" panose="020B0604020202020204" pitchFamily="34" charset="0"/>
              </a:rPr>
              <a:t>with</a:t>
            </a:r>
            <a:r>
              <a:rPr lang="de-DE" sz="2200" b="0" kern="100" dirty="0">
                <a:latin typeface="+mn-lt"/>
                <a:ea typeface="Calibri" panose="020F0502020204030204" pitchFamily="34" charset="0"/>
                <a:cs typeface="Arial" panose="020B0604020202020204" pitchFamily="34" charset="0"/>
              </a:rPr>
              <a:t> </a:t>
            </a:r>
            <a:r>
              <a:rPr lang="de-DE" sz="2200" kern="100" dirty="0" err="1">
                <a:solidFill>
                  <a:srgbClr val="0000FF"/>
                </a:solidFill>
                <a:latin typeface="+mn-lt"/>
                <a:ea typeface="Calibri" panose="020F0502020204030204" pitchFamily="34" charset="0"/>
                <a:cs typeface="Arial" panose="020B0604020202020204" pitchFamily="34" charset="0"/>
              </a:rPr>
              <a:t>low</a:t>
            </a:r>
            <a:r>
              <a:rPr lang="de-DE" sz="2200" b="0" kern="100" dirty="0">
                <a:latin typeface="+mn-lt"/>
                <a:ea typeface="Calibri" panose="020F0502020204030204" pitchFamily="34" charset="0"/>
                <a:cs typeface="Arial" panose="020B0604020202020204" pitchFamily="34" charset="0"/>
              </a:rPr>
              <a:t> </a:t>
            </a:r>
            <a:r>
              <a:rPr lang="de-DE" sz="2200" kern="100" dirty="0">
                <a:solidFill>
                  <a:srgbClr val="0000FF"/>
                </a:solidFill>
                <a:latin typeface="+mn-lt"/>
                <a:ea typeface="Calibri" panose="020F0502020204030204" pitchFamily="34" charset="0"/>
                <a:cs typeface="Arial" panose="020B0604020202020204" pitchFamily="34" charset="0"/>
              </a:rPr>
              <a:t>Fluid </a:t>
            </a:r>
            <a:r>
              <a:rPr lang="de-DE" sz="2200" kern="100" dirty="0" err="1">
                <a:solidFill>
                  <a:srgbClr val="0000FF"/>
                </a:solidFill>
                <a:latin typeface="+mn-lt"/>
                <a:ea typeface="Calibri" panose="020F0502020204030204" pitchFamily="34" charset="0"/>
                <a:cs typeface="Arial" panose="020B0604020202020204" pitchFamily="34" charset="0"/>
              </a:rPr>
              <a:t>Flows</a:t>
            </a:r>
            <a:r>
              <a:rPr lang="de-DE" sz="2200" kern="100" dirty="0">
                <a:solidFill>
                  <a:srgbClr val="0000FF"/>
                </a:solidFill>
                <a:latin typeface="+mn-lt"/>
                <a:ea typeface="Calibri" panose="020F0502020204030204" pitchFamily="34" charset="0"/>
                <a:cs typeface="Arial" panose="020B0604020202020204" pitchFamily="34" charset="0"/>
              </a:rPr>
              <a:t> </a:t>
            </a:r>
            <a:r>
              <a:rPr lang="de-DE" sz="2200" b="0" kern="100" dirty="0">
                <a:latin typeface="+mn-lt"/>
                <a:ea typeface="Calibri" panose="020F0502020204030204" pitchFamily="34" charset="0"/>
                <a:cs typeface="Arial" panose="020B0604020202020204" pitchFamily="34" charset="0"/>
              </a:rPr>
              <a:t>and relative </a:t>
            </a:r>
            <a:r>
              <a:rPr lang="de-DE" sz="2200" kern="100" dirty="0">
                <a:solidFill>
                  <a:srgbClr val="0000FF"/>
                </a:solidFill>
                <a:latin typeface="+mn-lt"/>
                <a:ea typeface="Calibri" panose="020F0502020204030204" pitchFamily="34" charset="0"/>
                <a:cs typeface="Arial" panose="020B0604020202020204" pitchFamily="34" charset="0"/>
              </a:rPr>
              <a:t>high </a:t>
            </a:r>
            <a:r>
              <a:rPr lang="de-DE" sz="2200" kern="100" dirty="0" err="1">
                <a:solidFill>
                  <a:srgbClr val="0000FF"/>
                </a:solidFill>
                <a:latin typeface="+mn-lt"/>
                <a:ea typeface="Calibri" panose="020F0502020204030204" pitchFamily="34" charset="0"/>
                <a:cs typeface="Arial" panose="020B0604020202020204" pitchFamily="34" charset="0"/>
              </a:rPr>
              <a:t>vibrations</a:t>
            </a:r>
            <a:r>
              <a:rPr lang="de-DE" sz="2200" b="0" kern="100" dirty="0">
                <a:latin typeface="+mn-lt"/>
                <a:ea typeface="Calibri" panose="020F0502020204030204" pitchFamily="34" charset="0"/>
                <a:cs typeface="Arial" panose="020B0604020202020204" pitchFamily="34" charset="0"/>
              </a:rPr>
              <a:t>, </a:t>
            </a:r>
            <a:r>
              <a:rPr lang="de-DE" sz="2200" b="0" kern="100" dirty="0" err="1">
                <a:latin typeface="+mn-lt"/>
                <a:ea typeface="Calibri" panose="020F0502020204030204" pitchFamily="34" charset="0"/>
                <a:cs typeface="Arial" panose="020B0604020202020204" pitchFamily="34" charset="0"/>
              </a:rPr>
              <a:t>which</a:t>
            </a:r>
            <a:r>
              <a:rPr lang="de-DE" sz="2200" b="0" kern="100" dirty="0">
                <a:latin typeface="+mn-lt"/>
                <a:ea typeface="Calibri" panose="020F0502020204030204" pitchFamily="34" charset="0"/>
                <a:cs typeface="Arial" panose="020B0604020202020204" pitchFamily="34" charset="0"/>
              </a:rPr>
              <a:t> </a:t>
            </a:r>
            <a:r>
              <a:rPr lang="de-DE" sz="2200" b="0" kern="100" dirty="0" err="1">
                <a:latin typeface="+mn-lt"/>
                <a:ea typeface="Calibri" panose="020F0502020204030204" pitchFamily="34" charset="0"/>
                <a:cs typeface="Arial" panose="020B0604020202020204" pitchFamily="34" charset="0"/>
              </a:rPr>
              <a:t>may</a:t>
            </a:r>
            <a:r>
              <a:rPr lang="de-DE" sz="2200" b="0" kern="100" dirty="0">
                <a:latin typeface="+mn-lt"/>
                <a:ea typeface="Calibri" panose="020F0502020204030204" pitchFamily="34" charset="0"/>
                <a:cs typeface="Arial" panose="020B0604020202020204" pitchFamily="34" charset="0"/>
              </a:rPr>
              <a:t> </a:t>
            </a:r>
            <a:r>
              <a:rPr lang="de-DE" sz="2200" b="0" kern="100" dirty="0" err="1">
                <a:latin typeface="+mn-lt"/>
                <a:ea typeface="Calibri" panose="020F0502020204030204" pitchFamily="34" charset="0"/>
                <a:cs typeface="Arial" panose="020B0604020202020204" pitchFamily="34" charset="0"/>
              </a:rPr>
              <a:t>have</a:t>
            </a:r>
            <a:r>
              <a:rPr lang="de-DE" sz="2200" b="0" kern="100" dirty="0">
                <a:latin typeface="+mn-lt"/>
                <a:ea typeface="Calibri" panose="020F0502020204030204" pitchFamily="34" charset="0"/>
                <a:cs typeface="Arial" panose="020B0604020202020204" pitchFamily="34" charset="0"/>
              </a:rPr>
              <a:t> </a:t>
            </a:r>
            <a:r>
              <a:rPr lang="de-DE" sz="2200" b="0" kern="100" dirty="0" err="1">
                <a:latin typeface="+mn-lt"/>
                <a:ea typeface="Calibri" panose="020F0502020204030204" pitchFamily="34" charset="0"/>
                <a:cs typeface="Arial" panose="020B0604020202020204" pitchFamily="34" charset="0"/>
              </a:rPr>
              <a:t>been</a:t>
            </a:r>
            <a:r>
              <a:rPr lang="de-DE" sz="2200" b="0" kern="100" dirty="0">
                <a:latin typeface="+mn-lt"/>
                <a:ea typeface="Calibri" panose="020F0502020204030204" pitchFamily="34" charset="0"/>
                <a:cs typeface="Arial" panose="020B0604020202020204" pitchFamily="34" charset="0"/>
              </a:rPr>
              <a:t> </a:t>
            </a:r>
            <a:r>
              <a:rPr lang="de-DE" sz="2200" b="0" kern="100" dirty="0" err="1">
                <a:latin typeface="+mn-lt"/>
                <a:ea typeface="Calibri" panose="020F0502020204030204" pitchFamily="34" charset="0"/>
                <a:cs typeface="Arial" panose="020B0604020202020204" pitchFamily="34" charset="0"/>
              </a:rPr>
              <a:t>the</a:t>
            </a:r>
            <a:r>
              <a:rPr lang="de-DE" sz="2200" b="0" kern="100" dirty="0">
                <a:latin typeface="+mn-lt"/>
                <a:ea typeface="Calibri" panose="020F0502020204030204" pitchFamily="34" charset="0"/>
                <a:cs typeface="Arial" panose="020B0604020202020204" pitchFamily="34" charset="0"/>
              </a:rPr>
              <a:t> source </a:t>
            </a:r>
            <a:r>
              <a:rPr lang="de-DE" sz="2200" b="0" kern="100" dirty="0" err="1">
                <a:latin typeface="+mn-lt"/>
                <a:ea typeface="Calibri" panose="020F0502020204030204" pitchFamily="34" charset="0"/>
                <a:cs typeface="Arial" panose="020B0604020202020204" pitchFamily="34" charset="0"/>
              </a:rPr>
              <a:t>of</a:t>
            </a:r>
            <a:r>
              <a:rPr lang="de-DE" sz="2200" b="0" kern="100" dirty="0">
                <a:latin typeface="+mn-lt"/>
                <a:ea typeface="Calibri" panose="020F0502020204030204" pitchFamily="34" charset="0"/>
                <a:cs typeface="Arial" panose="020B0604020202020204" pitchFamily="34" charset="0"/>
              </a:rPr>
              <a:t> </a:t>
            </a:r>
            <a:r>
              <a:rPr lang="de-DE" sz="2200" b="0" kern="100" dirty="0" err="1">
                <a:latin typeface="+mn-lt"/>
                <a:ea typeface="Calibri" panose="020F0502020204030204" pitchFamily="34" charset="0"/>
                <a:cs typeface="Arial" panose="020B0604020202020204" pitchFamily="34" charset="0"/>
              </a:rPr>
              <a:t>the</a:t>
            </a:r>
            <a:r>
              <a:rPr lang="de-DE" sz="2200" b="0" kern="100" dirty="0">
                <a:latin typeface="+mn-lt"/>
                <a:ea typeface="Calibri" panose="020F0502020204030204" pitchFamily="34" charset="0"/>
                <a:cs typeface="Arial" panose="020B0604020202020204" pitchFamily="34" charset="0"/>
              </a:rPr>
              <a:t> </a:t>
            </a:r>
            <a:r>
              <a:rPr lang="de-DE" sz="2200" b="0" kern="100" dirty="0" err="1">
                <a:latin typeface="+mn-lt"/>
                <a:ea typeface="Calibri" panose="020F0502020204030204" pitchFamily="34" charset="0"/>
                <a:cs typeface="Arial" panose="020B0604020202020204" pitchFamily="34" charset="0"/>
              </a:rPr>
              <a:t>cracks</a:t>
            </a:r>
            <a:r>
              <a:rPr lang="de-DE" sz="2200" b="0" kern="100" dirty="0">
                <a:latin typeface="+mn-lt"/>
                <a:ea typeface="Calibri" panose="020F0502020204030204" pitchFamily="34" charset="0"/>
                <a:cs typeface="Arial" panose="020B0604020202020204" pitchFamily="34" charset="0"/>
              </a:rPr>
              <a:t>. Up </a:t>
            </a:r>
            <a:r>
              <a:rPr lang="de-DE" sz="2200" b="0" kern="100" dirty="0" err="1">
                <a:latin typeface="+mn-lt"/>
                <a:ea typeface="Calibri" panose="020F0502020204030204" pitchFamily="34" charset="0"/>
                <a:cs typeface="Arial" panose="020B0604020202020204" pitchFamily="34" charset="0"/>
              </a:rPr>
              <a:t>to</a:t>
            </a:r>
            <a:r>
              <a:rPr lang="de-DE" sz="2200" b="0" kern="100" dirty="0">
                <a:latin typeface="+mn-lt"/>
                <a:ea typeface="Calibri" panose="020F0502020204030204" pitchFamily="34" charset="0"/>
                <a:cs typeface="Arial" panose="020B0604020202020204" pitchFamily="34" charset="0"/>
              </a:rPr>
              <a:t> </a:t>
            </a:r>
            <a:r>
              <a:rPr lang="de-DE" sz="2200" b="0" kern="100" dirty="0" err="1">
                <a:latin typeface="+mn-lt"/>
                <a:ea typeface="Calibri" panose="020F0502020204030204" pitchFamily="34" charset="0"/>
                <a:cs typeface="Arial" panose="020B0604020202020204" pitchFamily="34" charset="0"/>
              </a:rPr>
              <a:t>now</a:t>
            </a:r>
            <a:r>
              <a:rPr lang="de-DE" sz="2200" b="0" kern="100" dirty="0">
                <a:latin typeface="+mn-lt"/>
                <a:ea typeface="Calibri" panose="020F0502020204030204" pitchFamily="34" charset="0"/>
                <a:cs typeface="Arial" panose="020B0604020202020204" pitchFamily="34" charset="0"/>
              </a:rPr>
              <a:t> </a:t>
            </a:r>
            <a:r>
              <a:rPr lang="de-DE" sz="2200" b="0" kern="100" dirty="0" err="1">
                <a:latin typeface="+mn-lt"/>
                <a:ea typeface="Calibri" panose="020F0502020204030204" pitchFamily="34" charset="0"/>
                <a:cs typeface="Arial" panose="020B0604020202020204" pitchFamily="34" charset="0"/>
              </a:rPr>
              <a:t>further</a:t>
            </a:r>
            <a:r>
              <a:rPr lang="de-DE" sz="2200" b="0" kern="100" dirty="0">
                <a:latin typeface="+mn-lt"/>
                <a:ea typeface="Calibri" panose="020F0502020204030204" pitchFamily="34" charset="0"/>
                <a:cs typeface="Arial" panose="020B0604020202020204" pitchFamily="34" charset="0"/>
              </a:rPr>
              <a:t> </a:t>
            </a:r>
            <a:r>
              <a:rPr lang="de-DE" sz="2200" b="0" kern="100" dirty="0" err="1">
                <a:latin typeface="+mn-lt"/>
                <a:ea typeface="Calibri" panose="020F0502020204030204" pitchFamily="34" charset="0"/>
                <a:cs typeface="Arial" panose="020B0604020202020204" pitchFamily="34" charset="0"/>
              </a:rPr>
              <a:t>cracks</a:t>
            </a:r>
            <a:r>
              <a:rPr lang="de-DE" sz="2200" b="0" kern="100" dirty="0">
                <a:latin typeface="+mn-lt"/>
                <a:ea typeface="Calibri" panose="020F0502020204030204" pitchFamily="34" charset="0"/>
                <a:cs typeface="Arial" panose="020B0604020202020204" pitchFamily="34" charset="0"/>
              </a:rPr>
              <a:t> </a:t>
            </a:r>
            <a:r>
              <a:rPr lang="de-DE" sz="2200" b="0" kern="100" dirty="0" err="1">
                <a:latin typeface="+mn-lt"/>
                <a:ea typeface="Calibri" panose="020F0502020204030204" pitchFamily="34" charset="0"/>
                <a:cs typeface="Arial" panose="020B0604020202020204" pitchFamily="34" charset="0"/>
              </a:rPr>
              <a:t>have</a:t>
            </a:r>
            <a:r>
              <a:rPr lang="de-DE" sz="2200" b="0" kern="100" dirty="0">
                <a:latin typeface="+mn-lt"/>
                <a:ea typeface="Calibri" panose="020F0502020204030204" pitchFamily="34" charset="0"/>
                <a:cs typeface="Arial" panose="020B0604020202020204" pitchFamily="34" charset="0"/>
              </a:rPr>
              <a:t> not </a:t>
            </a:r>
            <a:r>
              <a:rPr lang="de-DE" sz="2200" b="0" kern="100" dirty="0" err="1">
                <a:latin typeface="+mn-lt"/>
                <a:ea typeface="Calibri" panose="020F0502020204030204" pitchFamily="34" charset="0"/>
                <a:cs typeface="Arial" panose="020B0604020202020204" pitchFamily="34" charset="0"/>
              </a:rPr>
              <a:t>been</a:t>
            </a:r>
            <a:r>
              <a:rPr lang="de-DE" sz="2200" b="0" kern="100" dirty="0">
                <a:latin typeface="+mn-lt"/>
                <a:ea typeface="Calibri" panose="020F0502020204030204" pitchFamily="34" charset="0"/>
                <a:cs typeface="Arial" panose="020B0604020202020204" pitchFamily="34" charset="0"/>
              </a:rPr>
              <a:t> </a:t>
            </a:r>
            <a:r>
              <a:rPr lang="de-DE" sz="2200" b="0" kern="100" dirty="0" err="1">
                <a:latin typeface="+mn-lt"/>
                <a:ea typeface="Calibri" panose="020F0502020204030204" pitchFamily="34" charset="0"/>
                <a:cs typeface="Arial" panose="020B0604020202020204" pitchFamily="34" charset="0"/>
              </a:rPr>
              <a:t>detected</a:t>
            </a:r>
            <a:r>
              <a:rPr lang="de-DE" sz="2200" b="0" kern="100" dirty="0">
                <a:latin typeface="+mn-lt"/>
                <a:ea typeface="Calibri" panose="020F0502020204030204" pitchFamily="34" charset="0"/>
                <a:cs typeface="Arial" panose="020B0604020202020204" pitchFamily="34" charset="0"/>
              </a:rPr>
              <a:t> </a:t>
            </a:r>
            <a:r>
              <a:rPr lang="de-DE" sz="2200" b="0" kern="100" dirty="0" err="1">
                <a:latin typeface="+mn-lt"/>
                <a:ea typeface="Calibri" panose="020F0502020204030204" pitchFamily="34" charset="0"/>
                <a:cs typeface="Arial" panose="020B0604020202020204" pitchFamily="34" charset="0"/>
              </a:rPr>
              <a:t>when</a:t>
            </a:r>
            <a:r>
              <a:rPr lang="de-DE" sz="2200" b="0" kern="100" dirty="0">
                <a:latin typeface="+mn-lt"/>
                <a:ea typeface="Calibri" panose="020F0502020204030204" pitchFamily="34" charset="0"/>
                <a:cs typeface="Arial" panose="020B0604020202020204" pitchFamily="34" charset="0"/>
              </a:rPr>
              <a:t> </a:t>
            </a:r>
            <a:r>
              <a:rPr lang="de-DE" sz="2200" b="0" kern="100" dirty="0" err="1">
                <a:latin typeface="+mn-lt"/>
                <a:ea typeface="Calibri" panose="020F0502020204030204" pitchFamily="34" charset="0"/>
                <a:cs typeface="Arial" panose="020B0604020202020204" pitchFamily="34" charset="0"/>
              </a:rPr>
              <a:t>the</a:t>
            </a:r>
            <a:r>
              <a:rPr lang="de-DE" sz="2200" b="0" kern="100" dirty="0">
                <a:latin typeface="+mn-lt"/>
                <a:ea typeface="Calibri" panose="020F0502020204030204" pitchFamily="34" charset="0"/>
                <a:cs typeface="Arial" panose="020B0604020202020204" pitchFamily="34" charset="0"/>
              </a:rPr>
              <a:t> </a:t>
            </a:r>
            <a:r>
              <a:rPr lang="de-DE" sz="2200" b="0" kern="100" dirty="0" err="1">
                <a:latin typeface="+mn-lt"/>
                <a:ea typeface="Calibri" panose="020F0502020204030204" pitchFamily="34" charset="0"/>
                <a:cs typeface="Arial" panose="020B0604020202020204" pitchFamily="34" charset="0"/>
              </a:rPr>
              <a:t>pumps</a:t>
            </a:r>
            <a:r>
              <a:rPr lang="de-DE" sz="2200" b="0" kern="100" dirty="0">
                <a:latin typeface="+mn-lt"/>
                <a:ea typeface="Calibri" panose="020F0502020204030204" pitchFamily="34" charset="0"/>
                <a:cs typeface="Arial" panose="020B0604020202020204" pitchFamily="34" charset="0"/>
              </a:rPr>
              <a:t> </a:t>
            </a:r>
            <a:r>
              <a:rPr lang="de-DE" sz="2200" b="0" kern="100" dirty="0" err="1">
                <a:latin typeface="+mn-lt"/>
                <a:ea typeface="Calibri" panose="020F0502020204030204" pitchFamily="34" charset="0"/>
                <a:cs typeface="Arial" panose="020B0604020202020204" pitchFamily="34" charset="0"/>
              </a:rPr>
              <a:t>are</a:t>
            </a:r>
            <a:r>
              <a:rPr lang="de-DE" sz="2200" b="0" kern="100" dirty="0">
                <a:latin typeface="+mn-lt"/>
                <a:ea typeface="Calibri" panose="020F0502020204030204" pitchFamily="34" charset="0"/>
                <a:cs typeface="Arial" panose="020B0604020202020204" pitchFamily="34" charset="0"/>
              </a:rPr>
              <a:t> </a:t>
            </a:r>
            <a:r>
              <a:rPr lang="de-DE" sz="2200" b="0" kern="100" dirty="0" err="1">
                <a:latin typeface="+mn-lt"/>
                <a:ea typeface="Calibri" panose="020F0502020204030204" pitchFamily="34" charset="0"/>
                <a:cs typeface="Arial" panose="020B0604020202020204" pitchFamily="34" charset="0"/>
              </a:rPr>
              <a:t>running</a:t>
            </a:r>
            <a:r>
              <a:rPr lang="de-DE" sz="2200" b="0" kern="100" dirty="0">
                <a:latin typeface="+mn-lt"/>
                <a:ea typeface="Calibri" panose="020F0502020204030204" pitchFamily="34" charset="0"/>
                <a:cs typeface="Arial" panose="020B0604020202020204" pitchFamily="34" charset="0"/>
              </a:rPr>
              <a:t> </a:t>
            </a:r>
            <a:r>
              <a:rPr lang="de-DE" sz="2200" b="0" kern="100" dirty="0" err="1">
                <a:latin typeface="+mn-lt"/>
                <a:ea typeface="Calibri" panose="020F0502020204030204" pitchFamily="34" charset="0"/>
                <a:cs typeface="Arial" panose="020B0604020202020204" pitchFamily="34" charset="0"/>
              </a:rPr>
              <a:t>under</a:t>
            </a:r>
            <a:r>
              <a:rPr lang="de-DE" sz="2200" b="0" kern="100" dirty="0">
                <a:latin typeface="+mn-lt"/>
                <a:ea typeface="Calibri" panose="020F0502020204030204" pitchFamily="34" charset="0"/>
                <a:cs typeface="Arial" panose="020B0604020202020204" pitchFamily="34" charset="0"/>
              </a:rPr>
              <a:t> normal </a:t>
            </a:r>
            <a:r>
              <a:rPr lang="de-DE" sz="2200" b="0" kern="100" dirty="0" err="1">
                <a:latin typeface="+mn-lt"/>
                <a:ea typeface="Calibri" panose="020F0502020204030204" pitchFamily="34" charset="0"/>
                <a:cs typeface="Arial" panose="020B0604020202020204" pitchFamily="34" charset="0"/>
              </a:rPr>
              <a:t>conditions</a:t>
            </a:r>
            <a:r>
              <a:rPr lang="de-DE" sz="2200" b="0" kern="100" dirty="0">
                <a:latin typeface="+mn-lt"/>
                <a:ea typeface="Calibri" panose="020F0502020204030204" pitchFamily="34" charset="0"/>
                <a:cs typeface="Arial" panose="020B0604020202020204" pitchFamily="34" charset="0"/>
              </a:rPr>
              <a:t> </a:t>
            </a:r>
            <a:r>
              <a:rPr lang="de-DE" sz="2200" b="0" kern="100" dirty="0" err="1">
                <a:latin typeface="+mn-lt"/>
                <a:ea typeface="Calibri" panose="020F0502020204030204" pitchFamily="34" charset="0"/>
                <a:cs typeface="Arial" panose="020B0604020202020204" pitchFamily="34" charset="0"/>
              </a:rPr>
              <a:t>with</a:t>
            </a:r>
            <a:r>
              <a:rPr lang="de-DE" sz="2200" b="0" kern="100" dirty="0">
                <a:latin typeface="+mn-lt"/>
                <a:ea typeface="Calibri" panose="020F0502020204030204" pitchFamily="34" charset="0"/>
                <a:cs typeface="Arial" panose="020B0604020202020204" pitchFamily="34" charset="0"/>
              </a:rPr>
              <a:t> optimal Fluid Flow Q/</a:t>
            </a:r>
            <a:r>
              <a:rPr lang="de-DE" sz="2200" b="0" kern="100" dirty="0" err="1">
                <a:latin typeface="+mn-lt"/>
                <a:ea typeface="Calibri" panose="020F0502020204030204" pitchFamily="34" charset="0"/>
                <a:cs typeface="Arial" panose="020B0604020202020204" pitchFamily="34" charset="0"/>
              </a:rPr>
              <a:t>Q</a:t>
            </a:r>
            <a:r>
              <a:rPr lang="de-DE" sz="2200" b="0" kern="100" baseline="-25000" dirty="0" err="1">
                <a:latin typeface="+mn-lt"/>
                <a:ea typeface="Calibri" panose="020F0502020204030204" pitchFamily="34" charset="0"/>
                <a:cs typeface="Arial" panose="020B0604020202020204" pitchFamily="34" charset="0"/>
              </a:rPr>
              <a:t>opt</a:t>
            </a:r>
            <a:r>
              <a:rPr lang="de-DE" sz="2200" b="0" kern="100" baseline="-25000" dirty="0">
                <a:latin typeface="+mn-lt"/>
                <a:ea typeface="Calibri" panose="020F0502020204030204" pitchFamily="34" charset="0"/>
                <a:cs typeface="Arial" panose="020B0604020202020204" pitchFamily="34" charset="0"/>
              </a:rPr>
              <a:t>.</a:t>
            </a:r>
            <a:endParaRPr lang="de-DE" sz="2200" b="0" kern="100" dirty="0">
              <a:latin typeface="+mn-lt"/>
              <a:ea typeface="Calibri" panose="020F0502020204030204" pitchFamily="34" charset="0"/>
              <a:cs typeface="Arial" panose="020B0604020202020204" pitchFamily="34" charset="0"/>
            </a:endParaRPr>
          </a:p>
          <a:p>
            <a:pPr marR="0" lvl="0" algn="l" defTabSz="914400" rtl="0" eaLnBrk="1" fontAlgn="auto" latinLnBrk="0" hangingPunct="1">
              <a:lnSpc>
                <a:spcPct val="107000"/>
              </a:lnSpc>
              <a:spcBef>
                <a:spcPts val="0"/>
              </a:spcBef>
              <a:spcAft>
                <a:spcPts val="800"/>
              </a:spcAft>
              <a:buClrTx/>
              <a:buSzTx/>
              <a:tabLst/>
              <a:defRPr/>
            </a:pPr>
            <a:r>
              <a:rPr lang="de-DE" sz="2200" b="0" kern="100" noProof="0" dirty="0" err="1">
                <a:latin typeface="+mn-lt"/>
                <a:ea typeface="Calibri" panose="020F0502020204030204" pitchFamily="34" charset="0"/>
                <a:cs typeface="Arial" panose="020B0604020202020204" pitchFamily="34" charset="0"/>
              </a:rPr>
              <a:t>However</a:t>
            </a:r>
            <a:r>
              <a:rPr lang="de-DE" sz="2200" b="0" kern="100" noProof="0" dirty="0">
                <a:latin typeface="+mn-lt"/>
                <a:ea typeface="Calibri" panose="020F0502020204030204" pitchFamily="34" charset="0"/>
                <a:cs typeface="Arial" panose="020B0604020202020204" pitchFamily="34" charset="0"/>
              </a:rPr>
              <a:t>, in </a:t>
            </a:r>
            <a:r>
              <a:rPr lang="de-DE" sz="2200" b="0" kern="100" noProof="0" dirty="0" err="1">
                <a:latin typeface="+mn-lt"/>
                <a:ea typeface="Calibri" panose="020F0502020204030204" pitchFamily="34" charset="0"/>
                <a:cs typeface="Arial" panose="020B0604020202020204" pitchFamily="34" charset="0"/>
              </a:rPr>
              <a:t>the</a:t>
            </a:r>
            <a:r>
              <a:rPr lang="de-DE" sz="2200" b="0" kern="100" noProof="0" dirty="0">
                <a:latin typeface="+mn-lt"/>
                <a:ea typeface="Calibri" panose="020F0502020204030204" pitchFamily="34" charset="0"/>
                <a:cs typeface="Arial" panose="020B0604020202020204" pitchFamily="34" charset="0"/>
              </a:rPr>
              <a:t> </a:t>
            </a:r>
            <a:r>
              <a:rPr lang="de-DE" sz="2200" b="0" kern="100" noProof="0" dirty="0" err="1">
                <a:latin typeface="+mn-lt"/>
                <a:ea typeface="Calibri" panose="020F0502020204030204" pitchFamily="34" charset="0"/>
                <a:cs typeface="Arial" panose="020B0604020202020204" pitchFamily="34" charset="0"/>
              </a:rPr>
              <a:t>meantime</a:t>
            </a:r>
            <a:r>
              <a:rPr lang="de-DE" sz="2200" b="0" kern="100" noProof="0" dirty="0">
                <a:latin typeface="+mn-lt"/>
                <a:ea typeface="Calibri" panose="020F0502020204030204" pitchFamily="34" charset="0"/>
                <a:cs typeface="Arial" panose="020B0604020202020204" pitchFamily="34" charset="0"/>
              </a:rPr>
              <a:t> </a:t>
            </a:r>
            <a:r>
              <a:rPr lang="de-DE" sz="2200" b="0" kern="100" noProof="0" dirty="0" err="1">
                <a:latin typeface="+mn-lt"/>
                <a:ea typeface="Calibri" panose="020F0502020204030204" pitchFamily="34" charset="0"/>
                <a:cs typeface="Arial" panose="020B0604020202020204" pitchFamily="34" charset="0"/>
              </a:rPr>
              <a:t>another</a:t>
            </a:r>
            <a:r>
              <a:rPr lang="de-DE" sz="2200" b="0" kern="100" noProof="0" dirty="0">
                <a:latin typeface="+mn-lt"/>
                <a:ea typeface="Calibri" panose="020F0502020204030204" pitchFamily="34" charset="0"/>
                <a:cs typeface="Arial" panose="020B0604020202020204" pitchFamily="34" charset="0"/>
              </a:rPr>
              <a:t> </a:t>
            </a:r>
            <a:r>
              <a:rPr lang="de-DE" sz="2200" kern="100" noProof="0" dirty="0" err="1">
                <a:solidFill>
                  <a:srgbClr val="0000FF"/>
                </a:solidFill>
                <a:latin typeface="+mn-lt"/>
                <a:ea typeface="Calibri" panose="020F0502020204030204" pitchFamily="34" charset="0"/>
                <a:cs typeface="Arial" panose="020B0604020202020204" pitchFamily="34" charset="0"/>
              </a:rPr>
              <a:t>damage</a:t>
            </a:r>
            <a:r>
              <a:rPr lang="de-DE" sz="2200" b="0" kern="100" noProof="0" dirty="0">
                <a:latin typeface="+mn-lt"/>
                <a:ea typeface="Calibri" panose="020F0502020204030204" pitchFamily="34" charset="0"/>
                <a:cs typeface="Arial" panose="020B0604020202020204" pitchFamily="34" charset="0"/>
              </a:rPr>
              <a:t> </a:t>
            </a:r>
            <a:r>
              <a:rPr lang="de-DE" sz="2200" b="0" kern="100" noProof="0" dirty="0" err="1">
                <a:latin typeface="+mn-lt"/>
                <a:ea typeface="Calibri" panose="020F0502020204030204" pitchFamily="34" charset="0"/>
                <a:cs typeface="Arial" panose="020B0604020202020204" pitchFamily="34" charset="0"/>
              </a:rPr>
              <a:t>has</a:t>
            </a:r>
            <a:r>
              <a:rPr lang="de-DE" sz="2200" b="0" kern="100" noProof="0" dirty="0">
                <a:latin typeface="+mn-lt"/>
                <a:ea typeface="Calibri" panose="020F0502020204030204" pitchFamily="34" charset="0"/>
                <a:cs typeface="Arial" panose="020B0604020202020204" pitchFamily="34" charset="0"/>
              </a:rPr>
              <a:t> </a:t>
            </a:r>
            <a:r>
              <a:rPr lang="de-DE" sz="2200" b="0" kern="100" noProof="0" dirty="0" err="1">
                <a:latin typeface="+mn-lt"/>
                <a:ea typeface="Calibri" panose="020F0502020204030204" pitchFamily="34" charset="0"/>
                <a:cs typeface="Arial" panose="020B0604020202020204" pitchFamily="34" charset="0"/>
              </a:rPr>
              <a:t>been</a:t>
            </a:r>
            <a:r>
              <a:rPr lang="de-DE" sz="2200" b="0" kern="100" noProof="0" dirty="0">
                <a:latin typeface="+mn-lt"/>
                <a:ea typeface="Calibri" panose="020F0502020204030204" pitchFamily="34" charset="0"/>
                <a:cs typeface="Arial" panose="020B0604020202020204" pitchFamily="34" charset="0"/>
              </a:rPr>
              <a:t> </a:t>
            </a:r>
            <a:r>
              <a:rPr lang="de-DE" sz="2200" b="0" kern="100" noProof="0" dirty="0" err="1">
                <a:latin typeface="+mn-lt"/>
                <a:ea typeface="Calibri" panose="020F0502020204030204" pitchFamily="34" charset="0"/>
                <a:cs typeface="Arial" panose="020B0604020202020204" pitchFamily="34" charset="0"/>
              </a:rPr>
              <a:t>detected</a:t>
            </a:r>
            <a:r>
              <a:rPr lang="de-DE" sz="2200" b="0" kern="100" noProof="0" dirty="0">
                <a:latin typeface="+mn-lt"/>
                <a:ea typeface="Calibri" panose="020F0502020204030204" pitchFamily="34" charset="0"/>
                <a:cs typeface="Arial" panose="020B0604020202020204" pitchFamily="34" charset="0"/>
              </a:rPr>
              <a:t> in </a:t>
            </a:r>
            <a:r>
              <a:rPr lang="de-DE" sz="2200" b="0" kern="100" noProof="0" dirty="0" err="1">
                <a:latin typeface="+mn-lt"/>
                <a:ea typeface="Calibri" panose="020F0502020204030204" pitchFamily="34" charset="0"/>
                <a:cs typeface="Arial" panose="020B0604020202020204" pitchFamily="34" charset="0"/>
              </a:rPr>
              <a:t>the</a:t>
            </a:r>
            <a:r>
              <a:rPr lang="de-DE" sz="2200" b="0" kern="100" noProof="0" dirty="0">
                <a:latin typeface="+mn-lt"/>
                <a:ea typeface="Calibri" panose="020F0502020204030204" pitchFamily="34" charset="0"/>
                <a:cs typeface="Arial" panose="020B0604020202020204" pitchFamily="34" charset="0"/>
              </a:rPr>
              <a:t>  </a:t>
            </a:r>
            <a:r>
              <a:rPr lang="de-DE" sz="2200" kern="100" noProof="0" dirty="0">
                <a:solidFill>
                  <a:srgbClr val="0000FF"/>
                </a:solidFill>
                <a:latin typeface="+mn-lt"/>
                <a:ea typeface="Calibri" panose="020F0502020204030204" pitchFamily="34" charset="0"/>
                <a:cs typeface="Arial" panose="020B0604020202020204" pitchFamily="34" charset="0"/>
              </a:rPr>
              <a:t>Impeller Seal Rings.</a:t>
            </a:r>
          </a:p>
          <a:p>
            <a:pPr marR="0" lvl="0" algn="l" defTabSz="914400" rtl="0" eaLnBrk="1" fontAlgn="auto" latinLnBrk="0" hangingPunct="1">
              <a:lnSpc>
                <a:spcPct val="107000"/>
              </a:lnSpc>
              <a:spcBef>
                <a:spcPts val="0"/>
              </a:spcBef>
              <a:spcAft>
                <a:spcPts val="800"/>
              </a:spcAft>
              <a:buClrTx/>
              <a:buSzTx/>
              <a:tabLst/>
              <a:defRPr/>
            </a:pPr>
            <a:r>
              <a:rPr kumimoji="0" lang="de-DE" sz="2200" b="0" i="0" u="none" strike="noStrike" kern="100" cap="none" spc="0" normalizeH="0" baseline="0" dirty="0">
                <a:ln>
                  <a:noFill/>
                </a:ln>
                <a:effectLst/>
                <a:uLnTx/>
                <a:uFillTx/>
                <a:latin typeface="+mn-lt"/>
                <a:ea typeface="Calibri" panose="020F0502020204030204" pitchFamily="34" charset="0"/>
                <a:cs typeface="Arial" panose="020B0604020202020204" pitchFamily="34" charset="0"/>
              </a:rPr>
              <a:t>Up</a:t>
            </a:r>
            <a:r>
              <a:rPr kumimoji="0" lang="de-DE" sz="2200" b="0" i="0" u="none" strike="noStrike" kern="100" cap="none" spc="0" normalizeH="0" dirty="0">
                <a:ln>
                  <a:noFill/>
                </a:ln>
                <a:effectLst/>
                <a:uLnTx/>
                <a:uFillTx/>
                <a:latin typeface="+mn-lt"/>
                <a:ea typeface="Calibri" panose="020F0502020204030204" pitchFamily="34" charset="0"/>
                <a:cs typeface="Arial" panose="020B0604020202020204" pitchFamily="34" charset="0"/>
              </a:rPr>
              <a:t> </a:t>
            </a:r>
            <a:r>
              <a:rPr kumimoji="0" lang="de-DE" sz="2200" b="0" i="0" u="none" strike="noStrike" kern="100" cap="none" spc="0" normalizeH="0" dirty="0" err="1">
                <a:ln>
                  <a:noFill/>
                </a:ln>
                <a:effectLst/>
                <a:uLnTx/>
                <a:uFillTx/>
                <a:latin typeface="+mn-lt"/>
                <a:ea typeface="Calibri" panose="020F0502020204030204" pitchFamily="34" charset="0"/>
                <a:cs typeface="Arial" panose="020B0604020202020204" pitchFamily="34" charset="0"/>
              </a:rPr>
              <a:t>to</a:t>
            </a:r>
            <a:r>
              <a:rPr kumimoji="0" lang="de-DE" sz="2200" b="0" i="0" u="none" strike="noStrike" kern="100" cap="none" spc="0" normalizeH="0" dirty="0">
                <a:ln>
                  <a:noFill/>
                </a:ln>
                <a:effectLst/>
                <a:uLnTx/>
                <a:uFillTx/>
                <a:latin typeface="+mn-lt"/>
                <a:ea typeface="Calibri" panose="020F0502020204030204" pitchFamily="34" charset="0"/>
                <a:cs typeface="Arial" panose="020B0604020202020204" pitchFamily="34" charset="0"/>
              </a:rPr>
              <a:t> </a:t>
            </a:r>
            <a:r>
              <a:rPr kumimoji="0" lang="de-DE" sz="2200" b="0" i="0" u="none" strike="noStrike" kern="100" cap="none" spc="0" normalizeH="0" dirty="0" err="1">
                <a:ln>
                  <a:noFill/>
                </a:ln>
                <a:effectLst/>
                <a:uLnTx/>
                <a:uFillTx/>
                <a:latin typeface="+mn-lt"/>
                <a:ea typeface="Calibri" panose="020F0502020204030204" pitchFamily="34" charset="0"/>
                <a:cs typeface="Arial" panose="020B0604020202020204" pitchFamily="34" charset="0"/>
              </a:rPr>
              <a:t>now</a:t>
            </a:r>
            <a:r>
              <a:rPr kumimoji="0" lang="de-DE" sz="2200" b="0" i="0" u="none" strike="noStrike" kern="100" cap="none" spc="0" normalizeH="0" dirty="0">
                <a:ln>
                  <a:noFill/>
                </a:ln>
                <a:effectLst/>
                <a:uLnTx/>
                <a:uFillTx/>
                <a:latin typeface="+mn-lt"/>
                <a:ea typeface="Calibri" panose="020F0502020204030204" pitchFamily="34" charset="0"/>
                <a:cs typeface="Arial" panose="020B0604020202020204" pitchFamily="34" charset="0"/>
              </a:rPr>
              <a:t> </a:t>
            </a:r>
            <a:r>
              <a:rPr kumimoji="0" lang="de-DE" sz="2200" b="0" i="0" u="none" strike="noStrike" kern="100" cap="none" spc="0" normalizeH="0" dirty="0" err="1">
                <a:ln>
                  <a:noFill/>
                </a:ln>
                <a:effectLst/>
                <a:uLnTx/>
                <a:uFillTx/>
                <a:latin typeface="+mn-lt"/>
                <a:ea typeface="Calibri" panose="020F0502020204030204" pitchFamily="34" charset="0"/>
                <a:cs typeface="Arial" panose="020B0604020202020204" pitchFamily="34" charset="0"/>
              </a:rPr>
              <a:t>the</a:t>
            </a:r>
            <a:r>
              <a:rPr kumimoji="0" lang="de-DE" sz="2200" b="0" i="0" u="none" strike="noStrike" kern="100" cap="none" spc="0" normalizeH="0" dirty="0">
                <a:ln>
                  <a:noFill/>
                </a:ln>
                <a:effectLst/>
                <a:uLnTx/>
                <a:uFillTx/>
                <a:latin typeface="+mn-lt"/>
                <a:ea typeface="Calibri" panose="020F0502020204030204" pitchFamily="34" charset="0"/>
                <a:cs typeface="Arial" panose="020B0604020202020204" pitchFamily="34" charset="0"/>
              </a:rPr>
              <a:t> </a:t>
            </a:r>
            <a:r>
              <a:rPr kumimoji="0" lang="de-DE" sz="2200" i="0" u="none" strike="noStrike" kern="100" cap="none" spc="0" normalizeH="0" dirty="0">
                <a:ln>
                  <a:noFill/>
                </a:ln>
                <a:solidFill>
                  <a:srgbClr val="0000FF"/>
                </a:solidFill>
                <a:effectLst/>
                <a:uLnTx/>
                <a:uFillTx/>
                <a:latin typeface="+mn-lt"/>
                <a:ea typeface="Calibri" panose="020F0502020204030204" pitchFamily="34" charset="0"/>
                <a:cs typeface="Arial" panose="020B0604020202020204" pitchFamily="34" charset="0"/>
              </a:rPr>
              <a:t>source</a:t>
            </a:r>
            <a:r>
              <a:rPr kumimoji="0" lang="de-DE" sz="2200" b="0" i="0" u="none" strike="noStrike" kern="100" cap="none" spc="0" normalizeH="0" dirty="0">
                <a:ln>
                  <a:noFill/>
                </a:ln>
                <a:effectLst/>
                <a:uLnTx/>
                <a:uFillTx/>
                <a:latin typeface="+mn-lt"/>
                <a:ea typeface="Calibri" panose="020F0502020204030204" pitchFamily="34" charset="0"/>
                <a:cs typeface="Arial" panose="020B0604020202020204" pitchFamily="34" charset="0"/>
              </a:rPr>
              <a:t> </a:t>
            </a:r>
            <a:r>
              <a:rPr kumimoji="0" lang="de-DE" sz="2200" b="0" i="0" u="none" strike="noStrike" kern="100" cap="none" spc="0" normalizeH="0" dirty="0" err="1">
                <a:ln>
                  <a:noFill/>
                </a:ln>
                <a:effectLst/>
                <a:uLnTx/>
                <a:uFillTx/>
                <a:latin typeface="+mn-lt"/>
                <a:ea typeface="Calibri" panose="020F0502020204030204" pitchFamily="34" charset="0"/>
                <a:cs typeface="Arial" panose="020B0604020202020204" pitchFamily="34" charset="0"/>
              </a:rPr>
              <a:t>of</a:t>
            </a:r>
            <a:r>
              <a:rPr kumimoji="0" lang="de-DE" sz="2200" b="0" i="0" u="none" strike="noStrike" kern="100" cap="none" spc="0" normalizeH="0" dirty="0">
                <a:ln>
                  <a:noFill/>
                </a:ln>
                <a:effectLst/>
                <a:uLnTx/>
                <a:uFillTx/>
                <a:latin typeface="+mn-lt"/>
                <a:ea typeface="Calibri" panose="020F0502020204030204" pitchFamily="34" charset="0"/>
                <a:cs typeface="Arial" panose="020B0604020202020204" pitchFamily="34" charset="0"/>
              </a:rPr>
              <a:t> </a:t>
            </a:r>
            <a:r>
              <a:rPr kumimoji="0" lang="de-DE" sz="2200" b="0" i="0" u="none" strike="noStrike" kern="100" cap="none" spc="0" normalizeH="0" dirty="0" err="1">
                <a:ln>
                  <a:noFill/>
                </a:ln>
                <a:effectLst/>
                <a:uLnTx/>
                <a:uFillTx/>
                <a:latin typeface="+mn-lt"/>
                <a:ea typeface="Calibri" panose="020F0502020204030204" pitchFamily="34" charset="0"/>
                <a:cs typeface="Arial" panose="020B0604020202020204" pitchFamily="34" charset="0"/>
              </a:rPr>
              <a:t>both</a:t>
            </a:r>
            <a:r>
              <a:rPr kumimoji="0" lang="de-DE" sz="2200" b="0" i="0" u="none" strike="noStrike" kern="100" cap="none" spc="0" normalizeH="0" dirty="0">
                <a:ln>
                  <a:noFill/>
                </a:ln>
                <a:effectLst/>
                <a:uLnTx/>
                <a:uFillTx/>
                <a:latin typeface="+mn-lt"/>
                <a:ea typeface="Calibri" panose="020F0502020204030204" pitchFamily="34" charset="0"/>
                <a:cs typeface="Arial" panose="020B0604020202020204" pitchFamily="34" charset="0"/>
              </a:rPr>
              <a:t> </a:t>
            </a:r>
            <a:r>
              <a:rPr kumimoji="0" lang="de-DE" sz="2200" i="0" u="none" strike="noStrike" kern="100" cap="none" spc="0" normalizeH="0" dirty="0" err="1">
                <a:ln>
                  <a:noFill/>
                </a:ln>
                <a:solidFill>
                  <a:srgbClr val="0000FF"/>
                </a:solidFill>
                <a:effectLst/>
                <a:uLnTx/>
                <a:uFillTx/>
                <a:latin typeface="+mn-lt"/>
                <a:ea typeface="Calibri" panose="020F0502020204030204" pitchFamily="34" charset="0"/>
                <a:cs typeface="Arial" panose="020B0604020202020204" pitchFamily="34" charset="0"/>
              </a:rPr>
              <a:t>detected</a:t>
            </a:r>
            <a:r>
              <a:rPr kumimoji="0" lang="de-DE" sz="2200" i="0" u="none" strike="noStrike" kern="100" cap="none" spc="0" normalizeH="0" dirty="0">
                <a:ln>
                  <a:noFill/>
                </a:ln>
                <a:solidFill>
                  <a:srgbClr val="0000FF"/>
                </a:solidFill>
                <a:effectLst/>
                <a:uLnTx/>
                <a:uFillTx/>
                <a:latin typeface="+mn-lt"/>
                <a:ea typeface="Calibri" panose="020F0502020204030204" pitchFamily="34" charset="0"/>
                <a:cs typeface="Arial" panose="020B0604020202020204" pitchFamily="34" charset="0"/>
              </a:rPr>
              <a:t> </a:t>
            </a:r>
            <a:r>
              <a:rPr kumimoji="0" lang="de-DE" sz="2200" i="0" u="none" strike="noStrike" kern="100" cap="none" spc="0" normalizeH="0" dirty="0" err="1">
                <a:ln>
                  <a:noFill/>
                </a:ln>
                <a:solidFill>
                  <a:srgbClr val="0000FF"/>
                </a:solidFill>
                <a:effectLst/>
                <a:uLnTx/>
                <a:uFillTx/>
                <a:latin typeface="+mn-lt"/>
                <a:ea typeface="Calibri" panose="020F0502020204030204" pitchFamily="34" charset="0"/>
                <a:cs typeface="Arial" panose="020B0604020202020204" pitchFamily="34" charset="0"/>
              </a:rPr>
              <a:t>damages</a:t>
            </a:r>
            <a:r>
              <a:rPr kumimoji="0" lang="de-DE" sz="2200" i="0" u="none" strike="noStrike" kern="100" cap="none" spc="0" normalizeH="0" dirty="0">
                <a:ln>
                  <a:noFill/>
                </a:ln>
                <a:solidFill>
                  <a:srgbClr val="0000FF"/>
                </a:solidFill>
                <a:effectLst/>
                <a:uLnTx/>
                <a:uFillTx/>
                <a:latin typeface="+mn-lt"/>
                <a:ea typeface="Calibri" panose="020F0502020204030204" pitchFamily="34" charset="0"/>
                <a:cs typeface="Arial" panose="020B0604020202020204" pitchFamily="34" charset="0"/>
              </a:rPr>
              <a:t> </a:t>
            </a:r>
            <a:r>
              <a:rPr kumimoji="0" lang="de-DE" sz="2200" b="0" i="0" u="none" strike="noStrike" kern="100" cap="none" spc="0" normalizeH="0" dirty="0" err="1">
                <a:ln>
                  <a:noFill/>
                </a:ln>
                <a:effectLst/>
                <a:uLnTx/>
                <a:uFillTx/>
                <a:latin typeface="+mn-lt"/>
                <a:ea typeface="Calibri" panose="020F0502020204030204" pitchFamily="34" charset="0"/>
                <a:cs typeface="Arial" panose="020B0604020202020204" pitchFamily="34" charset="0"/>
              </a:rPr>
              <a:t>could</a:t>
            </a:r>
            <a:r>
              <a:rPr kumimoji="0" lang="de-DE" sz="2200" b="0" i="0" u="none" strike="noStrike" kern="100" cap="none" spc="0" normalizeH="0" dirty="0">
                <a:ln>
                  <a:noFill/>
                </a:ln>
                <a:effectLst/>
                <a:uLnTx/>
                <a:uFillTx/>
                <a:latin typeface="+mn-lt"/>
                <a:ea typeface="Calibri" panose="020F0502020204030204" pitchFamily="34" charset="0"/>
                <a:cs typeface="Arial" panose="020B0604020202020204" pitchFamily="34" charset="0"/>
              </a:rPr>
              <a:t> not </a:t>
            </a:r>
            <a:r>
              <a:rPr kumimoji="0" lang="de-DE" sz="2200" b="0" i="0" u="none" strike="noStrike" kern="100" cap="none" spc="0" normalizeH="0" dirty="0" err="1">
                <a:ln>
                  <a:noFill/>
                </a:ln>
                <a:effectLst/>
                <a:uLnTx/>
                <a:uFillTx/>
                <a:latin typeface="+mn-lt"/>
                <a:ea typeface="Calibri" panose="020F0502020204030204" pitchFamily="34" charset="0"/>
                <a:cs typeface="Arial" panose="020B0604020202020204" pitchFamily="34" charset="0"/>
              </a:rPr>
              <a:t>finally</a:t>
            </a:r>
            <a:r>
              <a:rPr kumimoji="0" lang="de-DE" sz="2200" b="0" i="0" u="none" strike="noStrike" kern="100" cap="none" spc="0" normalizeH="0" dirty="0">
                <a:ln>
                  <a:noFill/>
                </a:ln>
                <a:effectLst/>
                <a:uLnTx/>
                <a:uFillTx/>
                <a:latin typeface="+mn-lt"/>
                <a:ea typeface="Calibri" panose="020F0502020204030204" pitchFamily="34" charset="0"/>
                <a:cs typeface="Arial" panose="020B0604020202020204" pitchFamily="34" charset="0"/>
              </a:rPr>
              <a:t> </a:t>
            </a:r>
            <a:r>
              <a:rPr kumimoji="0" lang="de-DE" sz="2200" b="0" i="0" u="none" strike="noStrike" kern="100" cap="none" spc="0" normalizeH="0" dirty="0" err="1">
                <a:ln>
                  <a:noFill/>
                </a:ln>
                <a:effectLst/>
                <a:uLnTx/>
                <a:uFillTx/>
                <a:latin typeface="+mn-lt"/>
                <a:ea typeface="Calibri" panose="020F0502020204030204" pitchFamily="34" charset="0"/>
                <a:cs typeface="Arial" panose="020B0604020202020204" pitchFamily="34" charset="0"/>
              </a:rPr>
              <a:t>be</a:t>
            </a:r>
            <a:r>
              <a:rPr kumimoji="0" lang="de-DE" sz="2200" b="0" i="0" u="none" strike="noStrike" kern="100" cap="none" spc="0" normalizeH="0" dirty="0">
                <a:ln>
                  <a:noFill/>
                </a:ln>
                <a:effectLst/>
                <a:uLnTx/>
                <a:uFillTx/>
                <a:latin typeface="+mn-lt"/>
                <a:ea typeface="Calibri" panose="020F0502020204030204" pitchFamily="34" charset="0"/>
                <a:cs typeface="Arial" panose="020B0604020202020204" pitchFamily="34" charset="0"/>
              </a:rPr>
              <a:t> </a:t>
            </a:r>
            <a:r>
              <a:rPr kumimoji="0" lang="de-DE" sz="2200" b="0" i="0" u="none" strike="noStrike" kern="100" cap="none" spc="0" normalizeH="0" dirty="0" err="1">
                <a:ln>
                  <a:noFill/>
                </a:ln>
                <a:effectLst/>
                <a:uLnTx/>
                <a:uFillTx/>
                <a:latin typeface="+mn-lt"/>
                <a:ea typeface="Calibri" panose="020F0502020204030204" pitchFamily="34" charset="0"/>
                <a:cs typeface="Arial" panose="020B0604020202020204" pitchFamily="34" charset="0"/>
              </a:rPr>
              <a:t>identified</a:t>
            </a:r>
            <a:r>
              <a:rPr kumimoji="0" lang="de-DE" sz="2200" b="0" i="0" u="none" strike="noStrike" kern="100" cap="none" spc="0" normalizeH="0" dirty="0">
                <a:ln>
                  <a:noFill/>
                </a:ln>
                <a:effectLst/>
                <a:uLnTx/>
                <a:uFillTx/>
                <a:latin typeface="+mn-lt"/>
                <a:ea typeface="Calibri" panose="020F0502020204030204" pitchFamily="34" charset="0"/>
                <a:cs typeface="Arial" panose="020B0604020202020204" pitchFamily="34" charset="0"/>
              </a:rPr>
              <a:t>. </a:t>
            </a:r>
            <a:r>
              <a:rPr kumimoji="0" lang="de-DE" sz="2200" b="0" i="0" u="none" strike="noStrike" kern="100" cap="none" spc="0" normalizeH="0" dirty="0" err="1">
                <a:ln>
                  <a:noFill/>
                </a:ln>
                <a:effectLst/>
                <a:uLnTx/>
                <a:uFillTx/>
                <a:latin typeface="+mn-lt"/>
                <a:ea typeface="Calibri" panose="020F0502020204030204" pitchFamily="34" charset="0"/>
                <a:cs typeface="Arial" panose="020B0604020202020204" pitchFamily="34" charset="0"/>
              </a:rPr>
              <a:t>With</a:t>
            </a:r>
            <a:r>
              <a:rPr kumimoji="0" lang="de-DE" sz="2200" b="0" i="0" u="none" strike="noStrike" kern="100" cap="none" spc="0" normalizeH="0" dirty="0">
                <a:ln>
                  <a:noFill/>
                </a:ln>
                <a:effectLst/>
                <a:uLnTx/>
                <a:uFillTx/>
                <a:latin typeface="+mn-lt"/>
                <a:ea typeface="Calibri" panose="020F0502020204030204" pitchFamily="34" charset="0"/>
                <a:cs typeface="Arial" panose="020B0604020202020204" pitchFamily="34" charset="0"/>
              </a:rPr>
              <a:t> </a:t>
            </a:r>
            <a:r>
              <a:rPr kumimoji="0" lang="de-DE" sz="2200" b="0" i="0" u="none" strike="noStrike" kern="100" cap="none" spc="0" normalizeH="0" dirty="0" err="1">
                <a:ln>
                  <a:noFill/>
                </a:ln>
                <a:effectLst/>
                <a:uLnTx/>
                <a:uFillTx/>
                <a:latin typeface="+mn-lt"/>
                <a:ea typeface="Calibri" panose="020F0502020204030204" pitchFamily="34" charset="0"/>
                <a:cs typeface="Arial" panose="020B0604020202020204" pitchFamily="34" charset="0"/>
              </a:rPr>
              <a:t>respect</a:t>
            </a:r>
            <a:r>
              <a:rPr kumimoji="0" lang="de-DE" sz="2200" b="0" i="0" u="none" strike="noStrike" kern="100" cap="none" spc="0" normalizeH="0" dirty="0">
                <a:ln>
                  <a:noFill/>
                </a:ln>
                <a:effectLst/>
                <a:uLnTx/>
                <a:uFillTx/>
                <a:latin typeface="+mn-lt"/>
                <a:ea typeface="Calibri" panose="020F0502020204030204" pitchFamily="34" charset="0"/>
                <a:cs typeface="Arial" panose="020B0604020202020204" pitchFamily="34" charset="0"/>
              </a:rPr>
              <a:t> </a:t>
            </a:r>
            <a:r>
              <a:rPr kumimoji="0" lang="de-DE" sz="2200" b="0" i="0" u="none" strike="noStrike" kern="100" cap="none" spc="0" normalizeH="0" dirty="0" err="1">
                <a:ln>
                  <a:noFill/>
                </a:ln>
                <a:effectLst/>
                <a:uLnTx/>
                <a:uFillTx/>
                <a:latin typeface="+mn-lt"/>
                <a:ea typeface="Calibri" panose="020F0502020204030204" pitchFamily="34" charset="0"/>
                <a:cs typeface="Arial" panose="020B0604020202020204" pitchFamily="34" charset="0"/>
              </a:rPr>
              <a:t>to</a:t>
            </a:r>
            <a:r>
              <a:rPr kumimoji="0" lang="de-DE" sz="2200" b="0" i="0" u="none" strike="noStrike" kern="100" cap="none" spc="0" normalizeH="0" dirty="0">
                <a:ln>
                  <a:noFill/>
                </a:ln>
                <a:effectLst/>
                <a:uLnTx/>
                <a:uFillTx/>
                <a:latin typeface="+mn-lt"/>
                <a:ea typeface="Calibri" panose="020F0502020204030204" pitchFamily="34" charset="0"/>
                <a:cs typeface="Arial" panose="020B0604020202020204" pitchFamily="34" charset="0"/>
              </a:rPr>
              <a:t> pump </a:t>
            </a:r>
            <a:r>
              <a:rPr kumimoji="0" lang="de-DE" sz="2200" b="0" i="0" u="none" strike="noStrike" kern="100" cap="none" spc="0" normalizeH="0" dirty="0" err="1">
                <a:ln>
                  <a:noFill/>
                </a:ln>
                <a:effectLst/>
                <a:uLnTx/>
                <a:uFillTx/>
                <a:latin typeface="+mn-lt"/>
                <a:ea typeface="Calibri" panose="020F0502020204030204" pitchFamily="34" charset="0"/>
                <a:cs typeface="Arial" panose="020B0604020202020204" pitchFamily="34" charset="0"/>
              </a:rPr>
              <a:t>vibrations</a:t>
            </a:r>
            <a:r>
              <a:rPr kumimoji="0" lang="de-DE" sz="2200" b="0" i="0" u="none" strike="noStrike" kern="100" cap="none" spc="0" normalizeH="0" dirty="0">
                <a:ln>
                  <a:noFill/>
                </a:ln>
                <a:effectLst/>
                <a:uLnTx/>
                <a:uFillTx/>
                <a:latin typeface="+mn-lt"/>
                <a:ea typeface="Calibri" panose="020F0502020204030204" pitchFamily="34" charset="0"/>
                <a:cs typeface="Arial" panose="020B0604020202020204" pitchFamily="34" charset="0"/>
              </a:rPr>
              <a:t>, </a:t>
            </a:r>
            <a:r>
              <a:rPr kumimoji="0" lang="de-DE" sz="2200" b="0" i="0" u="none" strike="noStrike" kern="100" cap="none" spc="0" normalizeH="0" dirty="0" err="1">
                <a:ln>
                  <a:noFill/>
                </a:ln>
                <a:effectLst/>
                <a:uLnTx/>
                <a:uFillTx/>
                <a:latin typeface="+mn-lt"/>
                <a:ea typeface="Calibri" panose="020F0502020204030204" pitchFamily="34" charset="0"/>
                <a:cs typeface="Arial" panose="020B0604020202020204" pitchFamily="34" charset="0"/>
              </a:rPr>
              <a:t>possibilities</a:t>
            </a:r>
            <a:r>
              <a:rPr kumimoji="0" lang="de-DE" sz="2200" b="0" i="0" u="none" strike="noStrike" kern="100" cap="none" spc="0" normalizeH="0" dirty="0">
                <a:ln>
                  <a:noFill/>
                </a:ln>
                <a:effectLst/>
                <a:uLnTx/>
                <a:uFillTx/>
                <a:latin typeface="+mn-lt"/>
                <a:ea typeface="Calibri" panose="020F0502020204030204" pitchFamily="34" charset="0"/>
                <a:cs typeface="Arial" panose="020B0604020202020204" pitchFamily="34" charset="0"/>
              </a:rPr>
              <a:t> </a:t>
            </a:r>
            <a:r>
              <a:rPr kumimoji="0" lang="de-DE" sz="2200" b="0" i="0" u="none" strike="noStrike" kern="100" cap="none" spc="0" normalizeH="0" dirty="0" err="1">
                <a:ln>
                  <a:noFill/>
                </a:ln>
                <a:effectLst/>
                <a:uLnTx/>
                <a:uFillTx/>
                <a:latin typeface="+mn-lt"/>
                <a:ea typeface="Calibri" panose="020F0502020204030204" pitchFamily="34" charset="0"/>
                <a:cs typeface="Arial" panose="020B0604020202020204" pitchFamily="34" charset="0"/>
              </a:rPr>
              <a:t>are</a:t>
            </a:r>
            <a:r>
              <a:rPr kumimoji="0" lang="de-DE" sz="2200" b="0" i="0" u="none" strike="noStrike" kern="100" cap="none" spc="0" normalizeH="0" dirty="0">
                <a:ln>
                  <a:noFill/>
                </a:ln>
                <a:effectLst/>
                <a:uLnTx/>
                <a:uFillTx/>
                <a:latin typeface="+mn-lt"/>
                <a:ea typeface="Calibri" panose="020F0502020204030204" pitchFamily="34" charset="0"/>
                <a:cs typeface="Arial" panose="020B0604020202020204" pitchFamily="34" charset="0"/>
              </a:rPr>
              <a:t>:</a:t>
            </a:r>
          </a:p>
          <a:p>
            <a:pPr marR="0" lvl="0" algn="l" defTabSz="914400" rtl="0" eaLnBrk="1" fontAlgn="auto" latinLnBrk="0" hangingPunct="1">
              <a:lnSpc>
                <a:spcPct val="107000"/>
              </a:lnSpc>
              <a:spcBef>
                <a:spcPts val="0"/>
              </a:spcBef>
              <a:spcAft>
                <a:spcPts val="800"/>
              </a:spcAft>
              <a:buClrTx/>
              <a:buSzTx/>
              <a:tabLst/>
              <a:defRPr/>
            </a:pPr>
            <a:endParaRPr kumimoji="0" lang="de-DE" sz="2200" b="0" i="0" u="none" strike="noStrike" kern="100" cap="none" spc="0" normalizeH="0" dirty="0">
              <a:ln>
                <a:noFill/>
              </a:ln>
              <a:effectLst/>
              <a:uLnTx/>
              <a:uFillTx/>
              <a:latin typeface="+mn-lt"/>
              <a:ea typeface="Calibri" panose="020F0502020204030204" pitchFamily="34" charset="0"/>
              <a:cs typeface="Arial" panose="020B0604020202020204" pitchFamily="34" charset="0"/>
            </a:endParaRPr>
          </a:p>
          <a:p>
            <a:pPr marR="0" lvl="0" algn="l" defTabSz="914400" rtl="0" eaLnBrk="1" fontAlgn="auto" latinLnBrk="0" hangingPunct="1">
              <a:lnSpc>
                <a:spcPct val="107000"/>
              </a:lnSpc>
              <a:spcBef>
                <a:spcPts val="0"/>
              </a:spcBef>
              <a:spcAft>
                <a:spcPts val="800"/>
              </a:spcAft>
              <a:buClrTx/>
              <a:buSzTx/>
              <a:tabLst/>
              <a:defRPr/>
            </a:pPr>
            <a:r>
              <a:rPr lang="de-DE" sz="2200" b="0" kern="100" dirty="0">
                <a:latin typeface="+mn-lt"/>
                <a:ea typeface="Calibri" panose="020F0502020204030204" pitchFamily="34" charset="0"/>
                <a:cs typeface="Arial" panose="020B0604020202020204" pitchFamily="34" charset="0"/>
              </a:rPr>
              <a:t>-  </a:t>
            </a:r>
            <a:r>
              <a:rPr lang="de-DE" sz="2200" kern="100" dirty="0" err="1">
                <a:solidFill>
                  <a:srgbClr val="0000FF"/>
                </a:solidFill>
                <a:latin typeface="+mn-lt"/>
                <a:ea typeface="Calibri" panose="020F0502020204030204" pitchFamily="34" charset="0"/>
                <a:cs typeface="Arial" panose="020B0604020202020204" pitchFamily="34" charset="0"/>
              </a:rPr>
              <a:t>Vibrations</a:t>
            </a:r>
            <a:r>
              <a:rPr lang="de-DE" sz="2200" b="0" kern="100" dirty="0">
                <a:latin typeface="+mn-lt"/>
                <a:ea typeface="Calibri" panose="020F0502020204030204" pitchFamily="34" charset="0"/>
                <a:cs typeface="Arial" panose="020B0604020202020204" pitchFamily="34" charset="0"/>
              </a:rPr>
              <a:t> </a:t>
            </a:r>
            <a:r>
              <a:rPr lang="de-DE" sz="2200" b="0" kern="100" dirty="0" err="1">
                <a:latin typeface="+mn-lt"/>
                <a:ea typeface="Calibri" panose="020F0502020204030204" pitchFamily="34" charset="0"/>
                <a:cs typeface="Arial" panose="020B0604020202020204" pitchFamily="34" charset="0"/>
              </a:rPr>
              <a:t>with</a:t>
            </a:r>
            <a:r>
              <a:rPr lang="de-DE" sz="2200" kern="100" dirty="0">
                <a:solidFill>
                  <a:srgbClr val="0000FF"/>
                </a:solidFill>
                <a:latin typeface="+mn-lt"/>
                <a:ea typeface="Calibri" panose="020F0502020204030204" pitchFamily="34" charset="0"/>
                <a:cs typeface="Arial" panose="020B0604020202020204" pitchFamily="34" charset="0"/>
              </a:rPr>
              <a:t> 93 Hz </a:t>
            </a:r>
            <a:r>
              <a:rPr lang="de-DE" sz="2200" b="0" kern="100" dirty="0">
                <a:latin typeface="+mn-lt"/>
                <a:ea typeface="Calibri" panose="020F0502020204030204" pitchFamily="34" charset="0"/>
                <a:cs typeface="Arial" panose="020B0604020202020204" pitchFamily="34" charset="0"/>
              </a:rPr>
              <a:t>due </a:t>
            </a:r>
            <a:r>
              <a:rPr lang="de-DE" sz="2200" b="0" kern="100" dirty="0" err="1">
                <a:latin typeface="+mn-lt"/>
                <a:ea typeface="Calibri" panose="020F0502020204030204" pitchFamily="34" charset="0"/>
                <a:cs typeface="Arial" panose="020B0604020202020204" pitchFamily="34" charset="0"/>
              </a:rPr>
              <a:t>to</a:t>
            </a:r>
            <a:r>
              <a:rPr lang="de-DE" sz="2200" b="0" kern="100" dirty="0">
                <a:latin typeface="+mn-lt"/>
                <a:ea typeface="Calibri" panose="020F0502020204030204" pitchFamily="34" charset="0"/>
                <a:cs typeface="Arial" panose="020B0604020202020204" pitchFamily="34" charset="0"/>
              </a:rPr>
              <a:t> </a:t>
            </a:r>
            <a:r>
              <a:rPr lang="de-DE" sz="2200" kern="100" dirty="0" err="1">
                <a:solidFill>
                  <a:srgbClr val="0000FF"/>
                </a:solidFill>
                <a:latin typeface="+mn-lt"/>
                <a:ea typeface="Calibri" panose="020F0502020204030204" pitchFamily="34" charset="0"/>
                <a:cs typeface="Arial" panose="020B0604020202020204" pitchFamily="34" charset="0"/>
              </a:rPr>
              <a:t>mechanical</a:t>
            </a:r>
            <a:r>
              <a:rPr lang="de-DE" sz="2200" b="0" kern="100" dirty="0">
                <a:latin typeface="+mn-lt"/>
                <a:ea typeface="Calibri" panose="020F0502020204030204" pitchFamily="34" charset="0"/>
                <a:cs typeface="Arial" panose="020B0604020202020204" pitchFamily="34" charset="0"/>
              </a:rPr>
              <a:t> and </a:t>
            </a:r>
            <a:r>
              <a:rPr lang="de-DE" sz="2200" kern="100" dirty="0" err="1">
                <a:solidFill>
                  <a:srgbClr val="0000FF"/>
                </a:solidFill>
                <a:latin typeface="+mn-lt"/>
                <a:ea typeface="Calibri" panose="020F0502020204030204" pitchFamily="34" charset="0"/>
                <a:cs typeface="Arial" panose="020B0604020202020204" pitchFamily="34" charset="0"/>
              </a:rPr>
              <a:t>hydraulic</a:t>
            </a:r>
            <a:r>
              <a:rPr lang="de-DE" sz="2200" kern="100" dirty="0">
                <a:solidFill>
                  <a:srgbClr val="0000FF"/>
                </a:solidFill>
                <a:latin typeface="+mn-lt"/>
                <a:ea typeface="Calibri" panose="020F0502020204030204" pitchFamily="34" charset="0"/>
                <a:cs typeface="Arial" panose="020B0604020202020204" pitchFamily="34" charset="0"/>
              </a:rPr>
              <a:t> </a:t>
            </a:r>
            <a:r>
              <a:rPr lang="de-DE" sz="2200" kern="100" dirty="0" err="1">
                <a:solidFill>
                  <a:srgbClr val="0000FF"/>
                </a:solidFill>
                <a:latin typeface="+mn-lt"/>
                <a:ea typeface="Calibri" panose="020F0502020204030204" pitchFamily="34" charset="0"/>
                <a:cs typeface="Arial" panose="020B0604020202020204" pitchFamily="34" charset="0"/>
              </a:rPr>
              <a:t>Unbalances</a:t>
            </a:r>
            <a:endParaRPr lang="de-DE" sz="2200" kern="100" dirty="0">
              <a:solidFill>
                <a:srgbClr val="0000FF"/>
              </a:solidFill>
              <a:latin typeface="+mn-lt"/>
              <a:ea typeface="Calibri" panose="020F0502020204030204" pitchFamily="34" charset="0"/>
              <a:cs typeface="Arial" panose="020B0604020202020204" pitchFamily="34" charset="0"/>
            </a:endParaRPr>
          </a:p>
          <a:p>
            <a:pPr marR="0" lvl="0" algn="l" defTabSz="914400" rtl="0" eaLnBrk="1" fontAlgn="auto" latinLnBrk="0" hangingPunct="1">
              <a:lnSpc>
                <a:spcPct val="107000"/>
              </a:lnSpc>
              <a:spcBef>
                <a:spcPts val="0"/>
              </a:spcBef>
              <a:spcAft>
                <a:spcPts val="800"/>
              </a:spcAft>
              <a:buClrTx/>
              <a:buSzTx/>
              <a:tabLst/>
              <a:defRPr/>
            </a:pPr>
            <a:r>
              <a:rPr lang="de-DE" sz="2200" b="0" kern="100" dirty="0">
                <a:latin typeface="+mn-lt"/>
                <a:ea typeface="Calibri" panose="020F0502020204030204" pitchFamily="34" charset="0"/>
                <a:cs typeface="Arial" panose="020B0604020202020204" pitchFamily="34" charset="0"/>
              </a:rPr>
              <a:t>-  </a:t>
            </a:r>
            <a:r>
              <a:rPr lang="de-DE" sz="2200" kern="100" dirty="0" err="1">
                <a:solidFill>
                  <a:srgbClr val="0000FF"/>
                </a:solidFill>
                <a:latin typeface="+mn-lt"/>
                <a:ea typeface="Calibri" panose="020F0502020204030204" pitchFamily="34" charset="0"/>
                <a:cs typeface="Arial" panose="020B0604020202020204" pitchFamily="34" charset="0"/>
              </a:rPr>
              <a:t>Vibrations</a:t>
            </a:r>
            <a:r>
              <a:rPr lang="de-DE" sz="2200" b="0" kern="100" dirty="0">
                <a:latin typeface="+mn-lt"/>
                <a:ea typeface="Calibri" panose="020F0502020204030204" pitchFamily="34" charset="0"/>
                <a:cs typeface="Arial" panose="020B0604020202020204" pitchFamily="34" charset="0"/>
              </a:rPr>
              <a:t> </a:t>
            </a:r>
            <a:r>
              <a:rPr lang="de-DE" sz="2200" b="0" kern="100" dirty="0" err="1">
                <a:latin typeface="+mn-lt"/>
                <a:ea typeface="Calibri" panose="020F0502020204030204" pitchFamily="34" charset="0"/>
                <a:cs typeface="Arial" panose="020B0604020202020204" pitchFamily="34" charset="0"/>
              </a:rPr>
              <a:t>with</a:t>
            </a:r>
            <a:r>
              <a:rPr lang="de-DE" sz="2200" b="0" kern="100" dirty="0">
                <a:latin typeface="+mn-lt"/>
                <a:ea typeface="Calibri" panose="020F0502020204030204" pitchFamily="34" charset="0"/>
                <a:cs typeface="Arial" panose="020B0604020202020204" pitchFamily="34" charset="0"/>
              </a:rPr>
              <a:t> </a:t>
            </a:r>
            <a:r>
              <a:rPr lang="de-DE" sz="2200" kern="100" dirty="0">
                <a:solidFill>
                  <a:srgbClr val="0000FF"/>
                </a:solidFill>
                <a:latin typeface="+mn-lt"/>
                <a:ea typeface="Calibri" panose="020F0502020204030204" pitchFamily="34" charset="0"/>
                <a:cs typeface="Arial" panose="020B0604020202020204" pitchFamily="34" charset="0"/>
              </a:rPr>
              <a:t>560 Hz /1120 Hz </a:t>
            </a:r>
            <a:r>
              <a:rPr lang="de-DE" sz="2200" b="0" kern="100" dirty="0">
                <a:latin typeface="+mn-lt"/>
                <a:ea typeface="Calibri" panose="020F0502020204030204" pitchFamily="34" charset="0"/>
                <a:cs typeface="Arial" panose="020B0604020202020204" pitchFamily="34" charset="0"/>
              </a:rPr>
              <a:t>due </a:t>
            </a:r>
            <a:r>
              <a:rPr lang="de-DE" sz="2200" b="0" kern="100" dirty="0" err="1">
                <a:latin typeface="+mn-lt"/>
                <a:ea typeface="Calibri" panose="020F0502020204030204" pitchFamily="34" charset="0"/>
                <a:cs typeface="Arial" panose="020B0604020202020204" pitchFamily="34" charset="0"/>
              </a:rPr>
              <a:t>to</a:t>
            </a:r>
            <a:r>
              <a:rPr lang="de-DE" sz="2200" b="0" kern="100" dirty="0">
                <a:latin typeface="+mn-lt"/>
                <a:ea typeface="Calibri" panose="020F0502020204030204" pitchFamily="34" charset="0"/>
                <a:cs typeface="Arial" panose="020B0604020202020204" pitchFamily="34" charset="0"/>
              </a:rPr>
              <a:t> </a:t>
            </a:r>
            <a:r>
              <a:rPr lang="de-DE" sz="2200" kern="100" dirty="0">
                <a:solidFill>
                  <a:srgbClr val="0000FF"/>
                </a:solidFill>
                <a:latin typeface="+mn-lt"/>
                <a:ea typeface="Calibri" panose="020F0502020204030204" pitchFamily="34" charset="0"/>
                <a:cs typeface="Arial" panose="020B0604020202020204" pitchFamily="34" charset="0"/>
              </a:rPr>
              <a:t>Vane Passing </a:t>
            </a:r>
            <a:r>
              <a:rPr lang="de-DE" sz="2200" kern="100" dirty="0" err="1">
                <a:solidFill>
                  <a:srgbClr val="0000FF"/>
                </a:solidFill>
                <a:latin typeface="+mn-lt"/>
                <a:ea typeface="Calibri" panose="020F0502020204030204" pitchFamily="34" charset="0"/>
                <a:cs typeface="Arial" panose="020B0604020202020204" pitchFamily="34" charset="0"/>
              </a:rPr>
              <a:t>Frequency</a:t>
            </a:r>
            <a:r>
              <a:rPr lang="de-DE" sz="2200" kern="100" dirty="0">
                <a:solidFill>
                  <a:srgbClr val="0000FF"/>
                </a:solidFill>
                <a:latin typeface="+mn-lt"/>
                <a:ea typeface="Calibri" panose="020F0502020204030204" pitchFamily="34" charset="0"/>
                <a:cs typeface="Arial" panose="020B0604020202020204" pitchFamily="34" charset="0"/>
              </a:rPr>
              <a:t> </a:t>
            </a:r>
            <a:r>
              <a:rPr lang="de-DE" sz="2200" kern="100" dirty="0" err="1">
                <a:solidFill>
                  <a:srgbClr val="0000FF"/>
                </a:solidFill>
                <a:latin typeface="+mn-lt"/>
                <a:ea typeface="Calibri" panose="020F0502020204030204" pitchFamily="34" charset="0"/>
                <a:cs typeface="Arial" panose="020B0604020202020204" pitchFamily="34" charset="0"/>
              </a:rPr>
              <a:t>Excitations</a:t>
            </a:r>
            <a:r>
              <a:rPr lang="de-DE" sz="2200" kern="100" dirty="0">
                <a:solidFill>
                  <a:srgbClr val="0000FF"/>
                </a:solidFill>
                <a:latin typeface="+mn-lt"/>
                <a:ea typeface="Calibri" panose="020F0502020204030204" pitchFamily="34" charset="0"/>
                <a:cs typeface="Arial" panose="020B0604020202020204" pitchFamily="34" charset="0"/>
              </a:rPr>
              <a:t>.</a:t>
            </a:r>
          </a:p>
          <a:p>
            <a:pPr marR="0" lvl="0" algn="l" defTabSz="914400" rtl="0" eaLnBrk="1" fontAlgn="auto" latinLnBrk="0" hangingPunct="1">
              <a:lnSpc>
                <a:spcPct val="107000"/>
              </a:lnSpc>
              <a:spcBef>
                <a:spcPts val="0"/>
              </a:spcBef>
              <a:spcAft>
                <a:spcPts val="800"/>
              </a:spcAft>
              <a:buClrTx/>
              <a:buSzTx/>
              <a:tabLst/>
              <a:defRPr/>
            </a:pPr>
            <a:endParaRPr lang="de-DE" sz="2200" kern="100" dirty="0">
              <a:solidFill>
                <a:srgbClr val="0000FF"/>
              </a:solidFill>
              <a:latin typeface="+mn-lt"/>
              <a:ea typeface="Calibri" panose="020F0502020204030204" pitchFamily="34" charset="0"/>
              <a:cs typeface="Arial" panose="020B0604020202020204" pitchFamily="34" charset="0"/>
            </a:endParaRPr>
          </a:p>
          <a:p>
            <a:pPr marR="0" lvl="0" algn="l" defTabSz="914400" rtl="0" eaLnBrk="1" fontAlgn="auto" latinLnBrk="0" hangingPunct="1">
              <a:lnSpc>
                <a:spcPct val="107000"/>
              </a:lnSpc>
              <a:spcBef>
                <a:spcPts val="0"/>
              </a:spcBef>
              <a:spcAft>
                <a:spcPts val="800"/>
              </a:spcAft>
              <a:buClrTx/>
              <a:buSzTx/>
              <a:tabLst/>
              <a:defRPr/>
            </a:pPr>
            <a:endParaRPr lang="de-DE" sz="2400" b="0" kern="100" dirty="0">
              <a:latin typeface="+mn-lt"/>
              <a:ea typeface="Calibri" panose="020F0502020204030204" pitchFamily="34" charset="0"/>
              <a:cs typeface="Arial" panose="020B0604020202020204" pitchFamily="34" charset="0"/>
            </a:endParaRPr>
          </a:p>
          <a:p>
            <a:pPr marR="0" lvl="0" algn="l" defTabSz="914400" rtl="0" eaLnBrk="1" fontAlgn="auto" latinLnBrk="0" hangingPunct="1">
              <a:lnSpc>
                <a:spcPct val="107000"/>
              </a:lnSpc>
              <a:spcBef>
                <a:spcPts val="0"/>
              </a:spcBef>
              <a:spcAft>
                <a:spcPts val="800"/>
              </a:spcAft>
              <a:buClrTx/>
              <a:buSzTx/>
              <a:tabLst/>
              <a:defRPr/>
            </a:pPr>
            <a:endParaRPr kumimoji="0" lang="de-DE" sz="2400" b="0" i="0" u="none" strike="noStrike" kern="100" cap="none" spc="0" normalizeH="0" dirty="0">
              <a:ln>
                <a:noFill/>
              </a:ln>
              <a:effectLst/>
              <a:uLnTx/>
              <a:uFillTx/>
              <a:latin typeface="+mn-lt"/>
              <a:ea typeface="Calibri" panose="020F0502020204030204" pitchFamily="34" charset="0"/>
              <a:cs typeface="Arial" panose="020B0604020202020204" pitchFamily="34" charset="0"/>
            </a:endParaRPr>
          </a:p>
          <a:p>
            <a:pPr marR="0" lvl="0" algn="l" defTabSz="914400" rtl="0" eaLnBrk="1" fontAlgn="auto" latinLnBrk="0" hangingPunct="1">
              <a:lnSpc>
                <a:spcPct val="107000"/>
              </a:lnSpc>
              <a:spcBef>
                <a:spcPts val="0"/>
              </a:spcBef>
              <a:spcAft>
                <a:spcPts val="800"/>
              </a:spcAft>
              <a:buClrTx/>
              <a:buSzTx/>
              <a:tabLst/>
              <a:defRPr/>
            </a:pPr>
            <a:endParaRPr lang="de-DE" sz="2400" b="0" kern="100" dirty="0">
              <a:latin typeface="+mn-lt"/>
              <a:ea typeface="Calibri" panose="020F0502020204030204" pitchFamily="34" charset="0"/>
              <a:cs typeface="Arial" panose="020B0604020202020204" pitchFamily="34" charset="0"/>
            </a:endParaRPr>
          </a:p>
          <a:p>
            <a:pPr marR="0" lvl="0" algn="l" defTabSz="914400" rtl="0" eaLnBrk="1" fontAlgn="auto" latinLnBrk="0" hangingPunct="1">
              <a:lnSpc>
                <a:spcPct val="107000"/>
              </a:lnSpc>
              <a:spcBef>
                <a:spcPts val="0"/>
              </a:spcBef>
              <a:spcAft>
                <a:spcPts val="800"/>
              </a:spcAft>
              <a:buClrTx/>
              <a:buSzTx/>
              <a:tabLst/>
              <a:defRPr/>
            </a:pPr>
            <a:endParaRPr kumimoji="0" lang="de-DE" sz="2400" b="0" i="0" u="none" strike="noStrike" kern="100" cap="none" spc="0" normalizeH="0" dirty="0">
              <a:ln>
                <a:noFill/>
              </a:ln>
              <a:effectLst/>
              <a:uLnTx/>
              <a:uFillTx/>
              <a:latin typeface="+mn-lt"/>
              <a:ea typeface="Calibri" panose="020F0502020204030204" pitchFamily="34" charset="0"/>
              <a:cs typeface="Arial" panose="020B0604020202020204" pitchFamily="34" charset="0"/>
            </a:endParaRPr>
          </a:p>
          <a:p>
            <a:pPr marR="0" lvl="0" algn="l" defTabSz="914400" rtl="0" eaLnBrk="1" fontAlgn="auto" latinLnBrk="0" hangingPunct="1">
              <a:lnSpc>
                <a:spcPct val="107000"/>
              </a:lnSpc>
              <a:spcBef>
                <a:spcPts val="0"/>
              </a:spcBef>
              <a:spcAft>
                <a:spcPts val="800"/>
              </a:spcAft>
              <a:buClrTx/>
              <a:buSzTx/>
              <a:tabLst/>
              <a:defRPr/>
            </a:pPr>
            <a:endParaRPr lang="de-DE" sz="2400" b="0" kern="100" baseline="0" noProof="0" dirty="0">
              <a:latin typeface="+mn-lt"/>
              <a:ea typeface="Calibri" panose="020F0502020204030204" pitchFamily="34" charset="0"/>
              <a:cs typeface="Arial" panose="020B0604020202020204" pitchFamily="34" charset="0"/>
            </a:endParaRPr>
          </a:p>
          <a:p>
            <a:pPr marR="0" lvl="0" algn="l" defTabSz="914400" rtl="0" eaLnBrk="1" fontAlgn="auto" latinLnBrk="0" hangingPunct="1">
              <a:lnSpc>
                <a:spcPct val="107000"/>
              </a:lnSpc>
              <a:spcBef>
                <a:spcPts val="0"/>
              </a:spcBef>
              <a:spcAft>
                <a:spcPts val="800"/>
              </a:spcAft>
              <a:buClrTx/>
              <a:buSzTx/>
              <a:tabLst/>
              <a:defRPr/>
            </a:pPr>
            <a:endParaRPr kumimoji="0" lang="de-DE" sz="2400" i="0" u="none" strike="noStrike" kern="100" cap="none" spc="0" normalizeH="0" baseline="0" noProof="0" dirty="0">
              <a:ln>
                <a:noFill/>
              </a:ln>
              <a:effectLst/>
              <a:uLnTx/>
              <a:uFillTx/>
              <a:latin typeface="+mn-lt"/>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6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Times New Roman" panose="02020603050405020304" pitchFamily="18" charset="0"/>
              </a:rPr>
              <a:t> </a:t>
            </a:r>
            <a:endParaRPr kumimoji="0" lang="de-DE" sz="1100" b="0" i="0" u="none" strike="noStrike" kern="1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6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Times New Roman" panose="02020603050405020304" pitchFamily="18" charset="0"/>
              </a:rPr>
              <a:t> </a:t>
            </a:r>
            <a:endParaRPr kumimoji="0" lang="de-DE" sz="1100" b="0" i="0" u="none" strike="noStrike" kern="1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6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Times New Roman" panose="02020603050405020304" pitchFamily="18" charset="0"/>
              </a:rPr>
              <a:t> </a:t>
            </a:r>
            <a:endParaRPr kumimoji="0" lang="de-DE" sz="1100" b="0" i="0" u="none" strike="noStrike" kern="1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6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Times New Roman" panose="02020603050405020304" pitchFamily="18" charset="0"/>
              </a:rPr>
              <a:t> </a:t>
            </a:r>
            <a:endParaRPr kumimoji="0" lang="de-DE" sz="1100" b="0" i="0" u="none" strike="noStrike" kern="1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6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Times New Roman" panose="02020603050405020304" pitchFamily="18" charset="0"/>
              </a:rPr>
              <a:t> </a:t>
            </a:r>
            <a:endParaRPr kumimoji="0" lang="de-DE" sz="1100" b="0" i="0" u="none" strike="noStrike" kern="1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6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Times New Roman" panose="02020603050405020304" pitchFamily="18" charset="0"/>
              </a:rPr>
              <a:t> </a:t>
            </a:r>
            <a:endParaRPr kumimoji="0" lang="de-DE" sz="1100" b="0" i="0" u="none" strike="noStrike" kern="1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6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Times New Roman" panose="02020603050405020304" pitchFamily="18" charset="0"/>
              </a:rPr>
              <a:t> </a:t>
            </a:r>
            <a:endParaRPr kumimoji="0" lang="de-DE" sz="1100" b="0" i="0" u="none" strike="noStrike" kern="1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6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Times New Roman" panose="02020603050405020304" pitchFamily="18" charset="0"/>
              </a:rPr>
              <a:t> </a:t>
            </a:r>
            <a:endParaRPr kumimoji="0" lang="de-DE" sz="1100" b="0" i="0" u="none" strike="noStrike" kern="1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6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Times New Roman" panose="02020603050405020304" pitchFamily="18" charset="0"/>
              </a:rPr>
              <a:t> </a:t>
            </a:r>
            <a:endParaRPr kumimoji="0" lang="de-DE" sz="1100" b="0" i="0" u="none" strike="noStrike" kern="1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6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Times New Roman" panose="02020603050405020304" pitchFamily="18" charset="0"/>
              </a:rPr>
              <a:t> </a:t>
            </a:r>
            <a:endParaRPr kumimoji="0" lang="de-DE" sz="1100" b="0" i="0" u="none" strike="noStrike" kern="1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p:txBody>
      </p:sp>
      <p:sp>
        <p:nvSpPr>
          <p:cNvPr id="3" name="Textfeld 2">
            <a:extLst>
              <a:ext uri="{FF2B5EF4-FFF2-40B4-BE49-F238E27FC236}">
                <a16:creationId xmlns:a16="http://schemas.microsoft.com/office/drawing/2014/main" id="{853C824E-77CC-0DF8-E410-84099FFDD414}"/>
              </a:ext>
            </a:extLst>
          </p:cNvPr>
          <p:cNvSpPr txBox="1"/>
          <p:nvPr/>
        </p:nvSpPr>
        <p:spPr>
          <a:xfrm>
            <a:off x="751737" y="65278"/>
            <a:ext cx="9165522" cy="830997"/>
          </a:xfrm>
          <a:prstGeom prst="rect">
            <a:avLst/>
          </a:prstGeom>
          <a:noFill/>
        </p:spPr>
        <p:txBody>
          <a:bodyPr wrap="none" rtlCol="0">
            <a:spAutoFit/>
          </a:bodyPr>
          <a:lstStyle/>
          <a:p>
            <a:r>
              <a:rPr lang="de-DE" sz="2400" dirty="0">
                <a:solidFill>
                  <a:srgbClr val="0000FF"/>
                </a:solidFill>
                <a:latin typeface="+mn-lt"/>
              </a:rPr>
              <a:t>Vibration </a:t>
            </a:r>
            <a:r>
              <a:rPr lang="de-DE" sz="2400" dirty="0" err="1">
                <a:solidFill>
                  <a:srgbClr val="0000FF"/>
                </a:solidFill>
                <a:latin typeface="+mn-lt"/>
              </a:rPr>
              <a:t>Phenomena</a:t>
            </a:r>
            <a:r>
              <a:rPr lang="de-DE" sz="2400" dirty="0">
                <a:solidFill>
                  <a:srgbClr val="0000FF"/>
                </a:solidFill>
                <a:latin typeface="+mn-lt"/>
              </a:rPr>
              <a:t> </a:t>
            </a:r>
            <a:r>
              <a:rPr lang="de-DE" sz="2400" dirty="0" err="1">
                <a:solidFill>
                  <a:srgbClr val="0000FF"/>
                </a:solidFill>
                <a:latin typeface="+mn-lt"/>
              </a:rPr>
              <a:t>of</a:t>
            </a:r>
            <a:r>
              <a:rPr lang="de-DE" sz="2400" dirty="0">
                <a:solidFill>
                  <a:srgbClr val="0000FF"/>
                </a:solidFill>
                <a:latin typeface="+mn-lt"/>
              </a:rPr>
              <a:t> </a:t>
            </a:r>
            <a:r>
              <a:rPr lang="de-DE" sz="2400" dirty="0" err="1">
                <a:solidFill>
                  <a:srgbClr val="0000FF"/>
                </a:solidFill>
                <a:latin typeface="+mn-lt"/>
              </a:rPr>
              <a:t>the</a:t>
            </a:r>
            <a:r>
              <a:rPr lang="de-DE" sz="2400" dirty="0">
                <a:solidFill>
                  <a:srgbClr val="0000FF"/>
                </a:solidFill>
                <a:latin typeface="+mn-lt"/>
              </a:rPr>
              <a:t> Horizontal </a:t>
            </a:r>
            <a:r>
              <a:rPr lang="de-DE" sz="2400" dirty="0" err="1">
                <a:solidFill>
                  <a:srgbClr val="0000FF"/>
                </a:solidFill>
                <a:latin typeface="+mn-lt"/>
              </a:rPr>
              <a:t>Feedwater</a:t>
            </a:r>
            <a:r>
              <a:rPr lang="de-DE" sz="2400" dirty="0">
                <a:solidFill>
                  <a:srgbClr val="0000FF"/>
                </a:solidFill>
                <a:latin typeface="+mn-lt"/>
              </a:rPr>
              <a:t> Pump OL3 </a:t>
            </a:r>
          </a:p>
          <a:p>
            <a:r>
              <a:rPr lang="de-DE" sz="2400" b="0" dirty="0" err="1">
                <a:latin typeface="+mn-lt"/>
              </a:rPr>
              <a:t>Damages</a:t>
            </a:r>
            <a:r>
              <a:rPr lang="de-DE" sz="2400" b="0" dirty="0">
                <a:latin typeface="+mn-lt"/>
              </a:rPr>
              <a:t> in </a:t>
            </a:r>
            <a:r>
              <a:rPr lang="de-DE" sz="2400" b="0" dirty="0" err="1">
                <a:latin typeface="+mn-lt"/>
              </a:rPr>
              <a:t>the</a:t>
            </a:r>
            <a:r>
              <a:rPr lang="de-DE" sz="2400" b="0" dirty="0">
                <a:latin typeface="+mn-lt"/>
              </a:rPr>
              <a:t> </a:t>
            </a:r>
            <a:r>
              <a:rPr lang="de-DE" sz="2400" b="0" dirty="0" err="1">
                <a:latin typeface="+mn-lt"/>
              </a:rPr>
              <a:t>Feedwater</a:t>
            </a:r>
            <a:r>
              <a:rPr lang="de-DE" sz="2400" b="0" dirty="0">
                <a:latin typeface="+mn-lt"/>
              </a:rPr>
              <a:t> Pumps </a:t>
            </a:r>
            <a:r>
              <a:rPr lang="de-DE" sz="2400" b="0" dirty="0" err="1">
                <a:latin typeface="+mn-lt"/>
              </a:rPr>
              <a:t>caused</a:t>
            </a:r>
            <a:r>
              <a:rPr lang="de-DE" sz="2400" b="0" dirty="0">
                <a:latin typeface="+mn-lt"/>
              </a:rPr>
              <a:t> by </a:t>
            </a:r>
            <a:r>
              <a:rPr lang="de-DE" sz="2400" b="0" dirty="0" err="1">
                <a:latin typeface="+mn-lt"/>
              </a:rPr>
              <a:t>which</a:t>
            </a:r>
            <a:r>
              <a:rPr lang="de-DE" sz="2400" b="0" dirty="0">
                <a:latin typeface="+mn-lt"/>
              </a:rPr>
              <a:t> </a:t>
            </a:r>
            <a:r>
              <a:rPr lang="de-DE" sz="2400" b="0" dirty="0" err="1">
                <a:latin typeface="+mn-lt"/>
              </a:rPr>
              <a:t>Vibrations</a:t>
            </a:r>
            <a:r>
              <a:rPr lang="de-DE" sz="2400" b="0" dirty="0">
                <a:latin typeface="+mn-lt"/>
              </a:rPr>
              <a:t>?</a:t>
            </a:r>
          </a:p>
        </p:txBody>
      </p:sp>
    </p:spTree>
    <p:extLst>
      <p:ext uri="{BB962C8B-B14F-4D97-AF65-F5344CB8AC3E}">
        <p14:creationId xmlns:p14="http://schemas.microsoft.com/office/powerpoint/2010/main" val="226031610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feld 4">
            <a:extLst>
              <a:ext uri="{FF2B5EF4-FFF2-40B4-BE49-F238E27FC236}">
                <a16:creationId xmlns:a16="http://schemas.microsoft.com/office/drawing/2014/main" id="{194E3C51-7E21-174A-39EB-A04BA5402399}"/>
              </a:ext>
            </a:extLst>
          </p:cNvPr>
          <p:cNvSpPr txBox="1">
            <a:spLocks noRot="1" noChangeAspect="1" noMove="1" noResize="1" noEditPoints="1" noAdjustHandles="1" noChangeArrowheads="1" noChangeShapeType="1" noTextEdit="1"/>
          </p:cNvSpPr>
          <p:nvPr/>
        </p:nvSpPr>
        <p:spPr>
          <a:xfrm>
            <a:off x="5712140" y="3488480"/>
            <a:ext cx="4680329" cy="804616"/>
          </a:xfrm>
          <a:prstGeom prst="rect">
            <a:avLst/>
          </a:prstGeom>
          <a:blipFill rotWithShape="1">
            <a:blip r:embed="rId3"/>
            <a:stretch>
              <a:fillRect l="-211" t="-3896" r="-737" b="-8442"/>
            </a:stretch>
          </a:blipFill>
        </p:spPr>
        <p:txBody>
          <a:bodyPr lIns="75749" tIns="37874" rIns="75749" bIns="37874"/>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de-DE" sz="1800" b="1" i="0" u="none" strike="noStrike" kern="1200" cap="none" spc="0" normalizeH="0" baseline="0" noProof="0">
                <a:ln>
                  <a:noFill/>
                </a:ln>
                <a:noFill/>
                <a:effectLst/>
                <a:uLnTx/>
                <a:uFillTx/>
                <a:latin typeface="Verdana" panose="020B0604030504040204" pitchFamily="34" charset="0"/>
                <a:ea typeface="+mn-ea"/>
                <a:cs typeface="+mn-cs"/>
              </a:rPr>
              <a:t> </a:t>
            </a:r>
          </a:p>
        </p:txBody>
      </p:sp>
      <p:sp>
        <p:nvSpPr>
          <p:cNvPr id="52227" name="Rechteck 6">
            <a:extLst>
              <a:ext uri="{FF2B5EF4-FFF2-40B4-BE49-F238E27FC236}">
                <a16:creationId xmlns:a16="http://schemas.microsoft.com/office/drawing/2014/main" id="{46EC966B-ED3D-6C0D-A0D2-E72596B5330A}"/>
              </a:ext>
            </a:extLst>
          </p:cNvPr>
          <p:cNvSpPr>
            <a:spLocks noChangeArrowheads="1"/>
          </p:cNvSpPr>
          <p:nvPr/>
        </p:nvSpPr>
        <p:spPr bwMode="auto">
          <a:xfrm>
            <a:off x="5805489" y="3983039"/>
            <a:ext cx="3025775" cy="320675"/>
          </a:xfrm>
          <a:prstGeom prst="rect">
            <a:avLst/>
          </a:prstGeom>
          <a:solidFill>
            <a:schemeClr val="accent2">
              <a:alpha val="47842"/>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defTabSz="630238">
              <a:tabLst>
                <a:tab pos="236538" algn="l"/>
                <a:tab pos="473075" algn="l"/>
                <a:tab pos="2679700" algn="l"/>
                <a:tab pos="2916238" algn="l"/>
                <a:tab pos="3152775" algn="l"/>
              </a:tabLst>
              <a:defRPr b="1">
                <a:solidFill>
                  <a:schemeClr val="tx1"/>
                </a:solidFill>
                <a:latin typeface="Verdana" panose="020B0604030504040204" pitchFamily="34" charset="0"/>
              </a:defRPr>
            </a:lvl1pPr>
            <a:lvl2pPr marL="742950" indent="-285750" defTabSz="630238">
              <a:tabLst>
                <a:tab pos="236538" algn="l"/>
                <a:tab pos="473075" algn="l"/>
                <a:tab pos="2679700" algn="l"/>
                <a:tab pos="2916238" algn="l"/>
                <a:tab pos="3152775" algn="l"/>
              </a:tabLst>
              <a:defRPr b="1">
                <a:solidFill>
                  <a:schemeClr val="tx1"/>
                </a:solidFill>
                <a:latin typeface="Verdana" panose="020B0604030504040204" pitchFamily="34" charset="0"/>
              </a:defRPr>
            </a:lvl2pPr>
            <a:lvl3pPr marL="1143000" indent="-228600" defTabSz="630238">
              <a:tabLst>
                <a:tab pos="236538" algn="l"/>
                <a:tab pos="473075" algn="l"/>
                <a:tab pos="2679700" algn="l"/>
                <a:tab pos="2916238" algn="l"/>
                <a:tab pos="3152775" algn="l"/>
              </a:tabLst>
              <a:defRPr b="1">
                <a:solidFill>
                  <a:schemeClr val="tx1"/>
                </a:solidFill>
                <a:latin typeface="Verdana" panose="020B0604030504040204" pitchFamily="34" charset="0"/>
              </a:defRPr>
            </a:lvl3pPr>
            <a:lvl4pPr marL="1600200" indent="-228600" defTabSz="630238">
              <a:tabLst>
                <a:tab pos="236538" algn="l"/>
                <a:tab pos="473075" algn="l"/>
                <a:tab pos="2679700" algn="l"/>
                <a:tab pos="2916238" algn="l"/>
                <a:tab pos="3152775" algn="l"/>
              </a:tabLst>
              <a:defRPr b="1">
                <a:solidFill>
                  <a:schemeClr val="tx1"/>
                </a:solidFill>
                <a:latin typeface="Verdana" panose="020B0604030504040204" pitchFamily="34" charset="0"/>
              </a:defRPr>
            </a:lvl4pPr>
            <a:lvl5pPr marL="2057400" indent="-228600" defTabSz="630238">
              <a:tabLst>
                <a:tab pos="236538" algn="l"/>
                <a:tab pos="473075" algn="l"/>
                <a:tab pos="2679700" algn="l"/>
                <a:tab pos="2916238" algn="l"/>
                <a:tab pos="3152775" algn="l"/>
              </a:tabLst>
              <a:defRPr b="1">
                <a:solidFill>
                  <a:schemeClr val="tx1"/>
                </a:solidFill>
                <a:latin typeface="Verdana" panose="020B0604030504040204" pitchFamily="34" charset="0"/>
              </a:defRPr>
            </a:lvl5pPr>
            <a:lvl6pPr marL="2514600" indent="-228600" defTabSz="630238" eaLnBrk="0" fontAlgn="base" hangingPunct="0">
              <a:spcBef>
                <a:spcPct val="0"/>
              </a:spcBef>
              <a:spcAft>
                <a:spcPct val="0"/>
              </a:spcAft>
              <a:tabLst>
                <a:tab pos="236538" algn="l"/>
                <a:tab pos="473075" algn="l"/>
                <a:tab pos="2679700" algn="l"/>
                <a:tab pos="2916238" algn="l"/>
                <a:tab pos="3152775" algn="l"/>
              </a:tabLst>
              <a:defRPr b="1">
                <a:solidFill>
                  <a:schemeClr val="tx1"/>
                </a:solidFill>
                <a:latin typeface="Verdana" panose="020B0604030504040204" pitchFamily="34" charset="0"/>
              </a:defRPr>
            </a:lvl6pPr>
            <a:lvl7pPr marL="2971800" indent="-228600" defTabSz="630238" eaLnBrk="0" fontAlgn="base" hangingPunct="0">
              <a:spcBef>
                <a:spcPct val="0"/>
              </a:spcBef>
              <a:spcAft>
                <a:spcPct val="0"/>
              </a:spcAft>
              <a:tabLst>
                <a:tab pos="236538" algn="l"/>
                <a:tab pos="473075" algn="l"/>
                <a:tab pos="2679700" algn="l"/>
                <a:tab pos="2916238" algn="l"/>
                <a:tab pos="3152775" algn="l"/>
              </a:tabLst>
              <a:defRPr b="1">
                <a:solidFill>
                  <a:schemeClr val="tx1"/>
                </a:solidFill>
                <a:latin typeface="Verdana" panose="020B0604030504040204" pitchFamily="34" charset="0"/>
              </a:defRPr>
            </a:lvl7pPr>
            <a:lvl8pPr marL="3429000" indent="-228600" defTabSz="630238" eaLnBrk="0" fontAlgn="base" hangingPunct="0">
              <a:spcBef>
                <a:spcPct val="0"/>
              </a:spcBef>
              <a:spcAft>
                <a:spcPct val="0"/>
              </a:spcAft>
              <a:tabLst>
                <a:tab pos="236538" algn="l"/>
                <a:tab pos="473075" algn="l"/>
                <a:tab pos="2679700" algn="l"/>
                <a:tab pos="2916238" algn="l"/>
                <a:tab pos="3152775" algn="l"/>
              </a:tabLst>
              <a:defRPr b="1">
                <a:solidFill>
                  <a:schemeClr val="tx1"/>
                </a:solidFill>
                <a:latin typeface="Verdana" panose="020B0604030504040204" pitchFamily="34" charset="0"/>
              </a:defRPr>
            </a:lvl8pPr>
            <a:lvl9pPr marL="3886200" indent="-228600" defTabSz="630238" eaLnBrk="0" fontAlgn="base" hangingPunct="0">
              <a:spcBef>
                <a:spcPct val="0"/>
              </a:spcBef>
              <a:spcAft>
                <a:spcPct val="0"/>
              </a:spcAft>
              <a:tabLst>
                <a:tab pos="236538" algn="l"/>
                <a:tab pos="473075" algn="l"/>
                <a:tab pos="2679700" algn="l"/>
                <a:tab pos="2916238" algn="l"/>
                <a:tab pos="3152775" algn="l"/>
              </a:tabLst>
              <a:defRPr b="1">
                <a:solidFill>
                  <a:schemeClr val="tx1"/>
                </a:solidFill>
                <a:latin typeface="Verdana" panose="020B0604030504040204" pitchFamily="34" charset="0"/>
              </a:defRPr>
            </a:lvl9pPr>
          </a:lstStyle>
          <a:p>
            <a:pPr marL="0" marR="0" lvl="0" indent="0" algn="l" defTabSz="630238" rtl="0" eaLnBrk="0" fontAlgn="base" latinLnBrk="0" hangingPunct="0">
              <a:lnSpc>
                <a:spcPct val="100000"/>
              </a:lnSpc>
              <a:spcBef>
                <a:spcPct val="0"/>
              </a:spcBef>
              <a:spcAft>
                <a:spcPct val="0"/>
              </a:spcAft>
              <a:buClrTx/>
              <a:buSzTx/>
              <a:buFontTx/>
              <a:buNone/>
              <a:tabLst>
                <a:tab pos="236538" algn="l"/>
                <a:tab pos="473075" algn="l"/>
                <a:tab pos="2679700" algn="l"/>
                <a:tab pos="2916238" algn="l"/>
                <a:tab pos="3152775" algn="l"/>
              </a:tabLst>
              <a:defRPr/>
            </a:pPr>
            <a:endParaRPr kumimoji="0" lang="de-DE" altLang="de-DE" sz="1800" b="1" i="0" u="none" strike="noStrike" kern="1200" cap="none" spc="0" normalizeH="0" baseline="0" noProof="0">
              <a:ln>
                <a:noFill/>
              </a:ln>
              <a:solidFill>
                <a:srgbClr val="000000"/>
              </a:solidFill>
              <a:effectLst/>
              <a:uLnTx/>
              <a:uFillTx/>
              <a:latin typeface="Verdana" panose="020B0604030504040204" pitchFamily="34" charset="0"/>
              <a:ea typeface="+mn-ea"/>
              <a:cs typeface="+mn-cs"/>
            </a:endParaRPr>
          </a:p>
        </p:txBody>
      </p:sp>
      <p:sp>
        <p:nvSpPr>
          <p:cNvPr id="52228" name="Rechteck 10">
            <a:extLst>
              <a:ext uri="{FF2B5EF4-FFF2-40B4-BE49-F238E27FC236}">
                <a16:creationId xmlns:a16="http://schemas.microsoft.com/office/drawing/2014/main" id="{F7C6078A-CDAF-71DA-39E4-60CFDBAA80A5}"/>
              </a:ext>
            </a:extLst>
          </p:cNvPr>
          <p:cNvSpPr>
            <a:spLocks noChangeArrowheads="1"/>
          </p:cNvSpPr>
          <p:nvPr/>
        </p:nvSpPr>
        <p:spPr bwMode="auto">
          <a:xfrm>
            <a:off x="5746750" y="3416301"/>
            <a:ext cx="4756150" cy="1000125"/>
          </a:xfrm>
          <a:prstGeom prst="rect">
            <a:avLst/>
          </a:prstGeom>
          <a:solidFill>
            <a:schemeClr val="bg1"/>
          </a:solidFill>
          <a:ln w="12700" algn="ctr">
            <a:solidFill>
              <a:schemeClr val="bg1"/>
            </a:solidFill>
            <a:round/>
            <a:headEnd type="none" w="sm" len="sm"/>
            <a:tailEnd type="none" w="sm" len="sm"/>
          </a:ln>
        </p:spPr>
        <p:txBody>
          <a:bodyPr lIns="75749" tIns="37874" rIns="75749" bIns="37874"/>
          <a:lstStyle>
            <a:lvl1pPr defTabSz="757238">
              <a:defRPr b="1">
                <a:solidFill>
                  <a:schemeClr val="tx1"/>
                </a:solidFill>
                <a:latin typeface="Verdana" panose="020B0604030504040204" pitchFamily="34" charset="0"/>
              </a:defRPr>
            </a:lvl1pPr>
            <a:lvl2pPr marL="742950" indent="-285750" defTabSz="757238">
              <a:defRPr b="1">
                <a:solidFill>
                  <a:schemeClr val="tx1"/>
                </a:solidFill>
                <a:latin typeface="Verdana" panose="020B0604030504040204" pitchFamily="34" charset="0"/>
              </a:defRPr>
            </a:lvl2pPr>
            <a:lvl3pPr marL="1143000" indent="-228600" defTabSz="757238">
              <a:defRPr b="1">
                <a:solidFill>
                  <a:schemeClr val="tx1"/>
                </a:solidFill>
                <a:latin typeface="Verdana" panose="020B0604030504040204" pitchFamily="34" charset="0"/>
              </a:defRPr>
            </a:lvl3pPr>
            <a:lvl4pPr marL="1600200" indent="-228600" defTabSz="757238">
              <a:defRPr b="1">
                <a:solidFill>
                  <a:schemeClr val="tx1"/>
                </a:solidFill>
                <a:latin typeface="Verdana" panose="020B0604030504040204" pitchFamily="34" charset="0"/>
              </a:defRPr>
            </a:lvl4pPr>
            <a:lvl5pPr marL="2057400" indent="-228600" defTabSz="757238">
              <a:defRPr b="1">
                <a:solidFill>
                  <a:schemeClr val="tx1"/>
                </a:solidFill>
                <a:latin typeface="Verdana" panose="020B0604030504040204" pitchFamily="34" charset="0"/>
              </a:defRPr>
            </a:lvl5pPr>
            <a:lvl6pPr marL="2514600" indent="-228600" defTabSz="757238" eaLnBrk="0" fontAlgn="base" hangingPunct="0">
              <a:spcBef>
                <a:spcPct val="0"/>
              </a:spcBef>
              <a:spcAft>
                <a:spcPct val="0"/>
              </a:spcAft>
              <a:defRPr b="1">
                <a:solidFill>
                  <a:schemeClr val="tx1"/>
                </a:solidFill>
                <a:latin typeface="Verdana" panose="020B0604030504040204" pitchFamily="34" charset="0"/>
              </a:defRPr>
            </a:lvl6pPr>
            <a:lvl7pPr marL="2971800" indent="-228600" defTabSz="757238" eaLnBrk="0" fontAlgn="base" hangingPunct="0">
              <a:spcBef>
                <a:spcPct val="0"/>
              </a:spcBef>
              <a:spcAft>
                <a:spcPct val="0"/>
              </a:spcAft>
              <a:defRPr b="1">
                <a:solidFill>
                  <a:schemeClr val="tx1"/>
                </a:solidFill>
                <a:latin typeface="Verdana" panose="020B0604030504040204" pitchFamily="34" charset="0"/>
              </a:defRPr>
            </a:lvl7pPr>
            <a:lvl8pPr marL="3429000" indent="-228600" defTabSz="757238" eaLnBrk="0" fontAlgn="base" hangingPunct="0">
              <a:spcBef>
                <a:spcPct val="0"/>
              </a:spcBef>
              <a:spcAft>
                <a:spcPct val="0"/>
              </a:spcAft>
              <a:defRPr b="1">
                <a:solidFill>
                  <a:schemeClr val="tx1"/>
                </a:solidFill>
                <a:latin typeface="Verdana" panose="020B0604030504040204" pitchFamily="34" charset="0"/>
              </a:defRPr>
            </a:lvl8pPr>
            <a:lvl9pPr marL="3886200" indent="-228600" defTabSz="757238" eaLnBrk="0" fontAlgn="base" hangingPunct="0">
              <a:spcBef>
                <a:spcPct val="0"/>
              </a:spcBef>
              <a:spcAft>
                <a:spcPct val="0"/>
              </a:spcAft>
              <a:defRPr b="1">
                <a:solidFill>
                  <a:schemeClr val="tx1"/>
                </a:solidFill>
                <a:latin typeface="Verdana" panose="020B0604030504040204" pitchFamily="34" charset="0"/>
              </a:defRPr>
            </a:lvl9pPr>
          </a:lstStyle>
          <a:p>
            <a:pPr marL="0" marR="0" lvl="0" indent="0" algn="l" defTabSz="757238" rtl="0" eaLnBrk="0" fontAlgn="base" latinLnBrk="0" hangingPunct="0">
              <a:lnSpc>
                <a:spcPct val="100000"/>
              </a:lnSpc>
              <a:spcBef>
                <a:spcPct val="0"/>
              </a:spcBef>
              <a:spcAft>
                <a:spcPct val="0"/>
              </a:spcAft>
              <a:buClrTx/>
              <a:buSzTx/>
              <a:buFontTx/>
              <a:buNone/>
              <a:tabLst/>
              <a:defRPr/>
            </a:pPr>
            <a:endParaRPr kumimoji="0" lang="de-DE" altLang="de-DE" sz="1500" b="1" i="0" u="none" strike="noStrike" kern="1200" cap="none" spc="0" normalizeH="0" baseline="0" noProof="0">
              <a:ln>
                <a:noFill/>
              </a:ln>
              <a:solidFill>
                <a:srgbClr val="000000"/>
              </a:solidFill>
              <a:effectLst/>
              <a:uLnTx/>
              <a:uFillTx/>
              <a:latin typeface="Frutiger 55 Roman" pitchFamily="34" charset="0"/>
              <a:ea typeface="+mn-ea"/>
              <a:cs typeface="+mn-cs"/>
            </a:endParaRPr>
          </a:p>
        </p:txBody>
      </p:sp>
      <p:sp>
        <p:nvSpPr>
          <p:cNvPr id="51207" name="Textfeld 1">
            <a:extLst>
              <a:ext uri="{FF2B5EF4-FFF2-40B4-BE49-F238E27FC236}">
                <a16:creationId xmlns:a16="http://schemas.microsoft.com/office/drawing/2014/main" id="{261CE084-D561-D4B5-1798-943FCAAB352E}"/>
              </a:ext>
            </a:extLst>
          </p:cNvPr>
          <p:cNvSpPr txBox="1">
            <a:spLocks noChangeArrowheads="1"/>
          </p:cNvSpPr>
          <p:nvPr/>
        </p:nvSpPr>
        <p:spPr bwMode="auto">
          <a:xfrm>
            <a:off x="857260" y="4464011"/>
            <a:ext cx="9896458" cy="1785104"/>
          </a:xfrm>
          <a:prstGeom prst="rect">
            <a:avLst/>
          </a:prstGeom>
          <a:noFill/>
          <a:ln>
            <a:noFill/>
          </a:ln>
        </p:spPr>
        <p:txBody>
          <a:bodyPr wrap="square">
            <a:spAutoFit/>
          </a:bodyPr>
          <a:lstStyle>
            <a:lvl1pPr>
              <a:defRPr b="1">
                <a:solidFill>
                  <a:schemeClr val="tx1"/>
                </a:solidFill>
                <a:latin typeface="Verdana" panose="020B0604030504040204" pitchFamily="34" charset="0"/>
              </a:defRPr>
            </a:lvl1pPr>
            <a:lvl2pPr marL="742950" indent="-285750">
              <a:defRPr b="1">
                <a:solidFill>
                  <a:schemeClr val="tx1"/>
                </a:solidFill>
                <a:latin typeface="Verdana" panose="020B0604030504040204" pitchFamily="34" charset="0"/>
              </a:defRPr>
            </a:lvl2pPr>
            <a:lvl3pPr marL="1143000" indent="-228600">
              <a:defRPr b="1">
                <a:solidFill>
                  <a:schemeClr val="tx1"/>
                </a:solidFill>
                <a:latin typeface="Verdana" panose="020B0604030504040204" pitchFamily="34" charset="0"/>
              </a:defRPr>
            </a:lvl3pPr>
            <a:lvl4pPr marL="1600200" indent="-228600">
              <a:defRPr b="1">
                <a:solidFill>
                  <a:schemeClr val="tx1"/>
                </a:solidFill>
                <a:latin typeface="Verdana" panose="020B0604030504040204" pitchFamily="34" charset="0"/>
              </a:defRPr>
            </a:lvl4pPr>
            <a:lvl5pPr marL="2057400" indent="-228600">
              <a:defRPr b="1">
                <a:solidFill>
                  <a:schemeClr val="tx1"/>
                </a:solidFill>
                <a:latin typeface="Verdana" panose="020B0604030504040204" pitchFamily="34" charset="0"/>
              </a:defRPr>
            </a:lvl5pPr>
            <a:lvl6pPr marL="2514600" indent="-228600" eaLnBrk="0" fontAlgn="base" hangingPunct="0">
              <a:spcBef>
                <a:spcPct val="0"/>
              </a:spcBef>
              <a:spcAft>
                <a:spcPct val="0"/>
              </a:spcAft>
              <a:defRPr b="1">
                <a:solidFill>
                  <a:schemeClr val="tx1"/>
                </a:solidFill>
                <a:latin typeface="Verdana" panose="020B0604030504040204" pitchFamily="34" charset="0"/>
              </a:defRPr>
            </a:lvl6pPr>
            <a:lvl7pPr marL="2971800" indent="-228600" eaLnBrk="0" fontAlgn="base" hangingPunct="0">
              <a:spcBef>
                <a:spcPct val="0"/>
              </a:spcBef>
              <a:spcAft>
                <a:spcPct val="0"/>
              </a:spcAft>
              <a:defRPr b="1">
                <a:solidFill>
                  <a:schemeClr val="tx1"/>
                </a:solidFill>
                <a:latin typeface="Verdana" panose="020B0604030504040204" pitchFamily="34" charset="0"/>
              </a:defRPr>
            </a:lvl7pPr>
            <a:lvl8pPr marL="3429000" indent="-228600" eaLnBrk="0" fontAlgn="base" hangingPunct="0">
              <a:spcBef>
                <a:spcPct val="0"/>
              </a:spcBef>
              <a:spcAft>
                <a:spcPct val="0"/>
              </a:spcAft>
              <a:defRPr b="1">
                <a:solidFill>
                  <a:schemeClr val="tx1"/>
                </a:solidFill>
                <a:latin typeface="Verdana" panose="020B0604030504040204" pitchFamily="34" charset="0"/>
              </a:defRPr>
            </a:lvl8pPr>
            <a:lvl9pPr marL="3886200" indent="-228600" eaLnBrk="0" fontAlgn="base" hangingPunct="0">
              <a:spcBef>
                <a:spcPct val="0"/>
              </a:spcBef>
              <a:spcAft>
                <a:spcPct val="0"/>
              </a:spcAft>
              <a:defRPr b="1">
                <a:solidFill>
                  <a:schemeClr val="tx1"/>
                </a:solidFill>
                <a:latin typeface="Verdana" panose="020B060403050404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de-DE" altLang="de-DE" sz="2200" b="0" i="0" u="none" strike="noStrike" kern="1200" cap="none" spc="0" normalizeH="0" baseline="0" noProof="0" dirty="0">
                <a:ln>
                  <a:noFill/>
                </a:ln>
                <a:solidFill>
                  <a:srgbClr val="000000"/>
                </a:solidFill>
                <a:effectLst/>
                <a:uLnTx/>
                <a:uFillTx/>
                <a:latin typeface="+mn-lt"/>
                <a:ea typeface="+mn-ea"/>
                <a:cs typeface="+mn-cs"/>
              </a:rPr>
              <a:t>This </a:t>
            </a:r>
            <a:r>
              <a:rPr kumimoji="0" lang="de-DE" altLang="de-DE" sz="2200" i="0" u="none" strike="noStrike" kern="1200" cap="none" spc="0" normalizeH="0" baseline="0" noProof="0" dirty="0">
                <a:ln>
                  <a:noFill/>
                </a:ln>
                <a:solidFill>
                  <a:srgbClr val="0000FF"/>
                </a:solidFill>
                <a:effectLst/>
                <a:uLnTx/>
                <a:uFillTx/>
                <a:latin typeface="+mn-lt"/>
                <a:ea typeface="+mn-ea"/>
                <a:cs typeface="+mn-cs"/>
              </a:rPr>
              <a:t>Fluid </a:t>
            </a:r>
            <a:r>
              <a:rPr kumimoji="0" lang="de-DE" altLang="de-DE" sz="2200" i="0" u="none" strike="noStrike" kern="1200" cap="none" spc="0" normalizeH="0" baseline="0" noProof="0" dirty="0" err="1">
                <a:ln>
                  <a:noFill/>
                </a:ln>
                <a:solidFill>
                  <a:srgbClr val="0000FF"/>
                </a:solidFill>
                <a:effectLst/>
                <a:uLnTx/>
                <a:uFillTx/>
                <a:latin typeface="+mn-lt"/>
                <a:ea typeface="+mn-ea"/>
                <a:cs typeface="+mn-cs"/>
              </a:rPr>
              <a:t>Structure</a:t>
            </a:r>
            <a:r>
              <a:rPr kumimoji="0" lang="de-DE" altLang="de-DE" sz="2200" i="0" u="none" strike="noStrike" kern="1200" cap="none" spc="0" normalizeH="0" baseline="0" noProof="0" dirty="0">
                <a:ln>
                  <a:noFill/>
                </a:ln>
                <a:solidFill>
                  <a:srgbClr val="0000FF"/>
                </a:solidFill>
                <a:effectLst/>
                <a:uLnTx/>
                <a:uFillTx/>
                <a:latin typeface="+mn-lt"/>
                <a:ea typeface="+mn-ea"/>
                <a:cs typeface="+mn-cs"/>
              </a:rPr>
              <a:t> Interaction </a:t>
            </a:r>
            <a:r>
              <a:rPr kumimoji="0" lang="de-DE" altLang="de-DE" sz="2200" b="0" i="0" u="none" strike="noStrike" kern="1200" cap="none" spc="0" normalizeH="0" baseline="0" noProof="0" dirty="0">
                <a:ln>
                  <a:noFill/>
                </a:ln>
                <a:solidFill>
                  <a:srgbClr val="000000"/>
                </a:solidFill>
                <a:effectLst/>
                <a:uLnTx/>
                <a:uFillTx/>
                <a:latin typeface="+mn-lt"/>
                <a:ea typeface="+mn-ea"/>
                <a:cs typeface="+mn-cs"/>
              </a:rPr>
              <a:t>(FSI) </a:t>
            </a:r>
            <a:r>
              <a:rPr kumimoji="0" lang="de-DE" altLang="de-DE" sz="2200" b="0" i="0" u="none" strike="noStrike" kern="1200" cap="none" spc="0" normalizeH="0" baseline="0" noProof="0" dirty="0" err="1">
                <a:ln>
                  <a:noFill/>
                </a:ln>
                <a:solidFill>
                  <a:srgbClr val="000000"/>
                </a:solidFill>
                <a:effectLst/>
                <a:uLnTx/>
                <a:uFillTx/>
                <a:latin typeface="+mn-lt"/>
                <a:ea typeface="+mn-ea"/>
                <a:cs typeface="+mn-cs"/>
              </a:rPr>
              <a:t>creates</a:t>
            </a:r>
            <a:r>
              <a:rPr kumimoji="0" lang="de-DE" altLang="de-DE" sz="2200" b="0" i="0" u="none" strike="noStrike" kern="1200" cap="none" spc="0" normalizeH="0" baseline="0" noProof="0" dirty="0">
                <a:ln>
                  <a:noFill/>
                </a:ln>
                <a:solidFill>
                  <a:srgbClr val="000000"/>
                </a:solidFill>
                <a:effectLst/>
                <a:uLnTx/>
                <a:uFillTx/>
                <a:latin typeface="+mn-lt"/>
                <a:ea typeface="+mn-ea"/>
                <a:cs typeface="+mn-cs"/>
              </a:rPr>
              <a:t> </a:t>
            </a:r>
            <a:r>
              <a:rPr kumimoji="0" lang="de-DE" altLang="de-DE" sz="2200" i="0" u="none" strike="noStrike" kern="1200" cap="none" spc="0" normalizeH="0" baseline="0" noProof="0" dirty="0">
                <a:ln>
                  <a:noFill/>
                </a:ln>
                <a:solidFill>
                  <a:srgbClr val="0000FF"/>
                </a:solidFill>
                <a:effectLst/>
                <a:uLnTx/>
                <a:uFillTx/>
                <a:latin typeface="+mn-lt"/>
                <a:ea typeface="+mn-ea"/>
                <a:cs typeface="+mn-cs"/>
              </a:rPr>
              <a:t>Fluid </a:t>
            </a:r>
            <a:r>
              <a:rPr lang="de-DE" altLang="de-DE" sz="2200" dirty="0">
                <a:solidFill>
                  <a:srgbClr val="0000FF"/>
                </a:solidFill>
                <a:latin typeface="+mn-lt"/>
              </a:rPr>
              <a:t>F</a:t>
            </a:r>
            <a:r>
              <a:rPr kumimoji="0" lang="de-DE" altLang="de-DE" sz="2200" i="0" u="none" strike="noStrike" kern="1200" cap="none" spc="0" normalizeH="0" baseline="0" noProof="0" dirty="0" err="1">
                <a:ln>
                  <a:noFill/>
                </a:ln>
                <a:solidFill>
                  <a:srgbClr val="0000FF"/>
                </a:solidFill>
                <a:effectLst/>
                <a:uLnTx/>
                <a:uFillTx/>
                <a:latin typeface="+mn-lt"/>
                <a:ea typeface="+mn-ea"/>
                <a:cs typeface="+mn-cs"/>
              </a:rPr>
              <a:t>orces</a:t>
            </a:r>
            <a:r>
              <a:rPr kumimoji="0" lang="de-DE" altLang="de-DE" sz="2200" i="0" u="none" strike="noStrike" kern="1200" cap="none" spc="0" normalizeH="0" baseline="0" noProof="0" dirty="0">
                <a:ln>
                  <a:noFill/>
                </a:ln>
                <a:solidFill>
                  <a:srgbClr val="0000FF"/>
                </a:solidFill>
                <a:effectLst/>
                <a:uLnTx/>
                <a:uFillTx/>
                <a:latin typeface="+mn-lt"/>
                <a:ea typeface="+mn-ea"/>
                <a:cs typeface="+mn-cs"/>
              </a:rPr>
              <a:t> </a:t>
            </a:r>
            <a:r>
              <a:rPr lang="de-DE" altLang="de-DE" sz="2200" b="0" dirty="0">
                <a:latin typeface="+mn-lt"/>
              </a:rPr>
              <a:t>in </a:t>
            </a:r>
            <a:r>
              <a:rPr lang="de-DE" altLang="de-DE" sz="2200" b="0" dirty="0" err="1">
                <a:latin typeface="+mn-lt"/>
              </a:rPr>
              <a:t>the</a:t>
            </a:r>
            <a:r>
              <a:rPr lang="de-DE" altLang="de-DE" sz="2200" b="0" dirty="0">
                <a:latin typeface="+mn-lt"/>
              </a:rPr>
              <a:t> </a:t>
            </a:r>
            <a:r>
              <a:rPr lang="de-DE" altLang="de-DE" sz="2200" b="0" dirty="0" err="1">
                <a:latin typeface="+mn-lt"/>
              </a:rPr>
              <a:t>area</a:t>
            </a:r>
            <a:r>
              <a:rPr lang="de-DE" altLang="de-DE" sz="2200" b="0" dirty="0">
                <a:latin typeface="+mn-lt"/>
              </a:rPr>
              <a:t> </a:t>
            </a:r>
            <a:r>
              <a:rPr lang="de-DE" altLang="de-DE" sz="2200" b="0" dirty="0" err="1">
                <a:latin typeface="+mn-lt"/>
              </a:rPr>
              <a:t>between</a:t>
            </a:r>
            <a:r>
              <a:rPr lang="de-DE" altLang="de-DE" sz="2200" b="0" dirty="0">
                <a:latin typeface="+mn-lt"/>
              </a:rPr>
              <a:t> </a:t>
            </a:r>
            <a:r>
              <a:rPr lang="de-DE" altLang="de-DE" sz="2200" b="0" dirty="0" err="1">
                <a:latin typeface="+mn-lt"/>
              </a:rPr>
              <a:t>the</a:t>
            </a:r>
            <a:r>
              <a:rPr lang="de-DE" altLang="de-DE" sz="2200" b="0" dirty="0">
                <a:latin typeface="+mn-lt"/>
              </a:rPr>
              <a:t> </a:t>
            </a:r>
            <a:r>
              <a:rPr kumimoji="0" lang="de-DE" altLang="de-DE" sz="2200" i="0" u="none" strike="noStrike" kern="1200" cap="none" spc="0" normalizeH="0" baseline="0" noProof="0" dirty="0">
                <a:ln>
                  <a:noFill/>
                </a:ln>
                <a:solidFill>
                  <a:srgbClr val="0000FF"/>
                </a:solidFill>
                <a:effectLst/>
                <a:uLnTx/>
                <a:uFillTx/>
                <a:latin typeface="+mn-lt"/>
                <a:ea typeface="+mn-ea"/>
                <a:cs typeface="+mn-cs"/>
              </a:rPr>
              <a:t> </a:t>
            </a:r>
            <a:r>
              <a:rPr kumimoji="0" lang="de-DE" altLang="de-DE" sz="2200" i="0" u="none" strike="noStrike" kern="1200" cap="none" spc="0" normalizeH="0" baseline="0" noProof="0" dirty="0" err="1">
                <a:ln>
                  <a:noFill/>
                </a:ln>
                <a:solidFill>
                  <a:srgbClr val="0000FF"/>
                </a:solidFill>
                <a:effectLst/>
                <a:uLnTx/>
                <a:uFillTx/>
                <a:latin typeface="+mn-lt"/>
                <a:ea typeface="+mn-ea"/>
                <a:cs typeface="+mn-cs"/>
              </a:rPr>
              <a:t>impeller</a:t>
            </a:r>
            <a:r>
              <a:rPr lang="de-DE" altLang="de-DE" sz="2200" dirty="0">
                <a:solidFill>
                  <a:srgbClr val="0000FF"/>
                </a:solidFill>
                <a:latin typeface="+mn-lt"/>
              </a:rPr>
              <a:t> </a:t>
            </a:r>
            <a:r>
              <a:rPr lang="de-DE" altLang="de-DE" sz="2200" b="0" dirty="0">
                <a:latin typeface="+mn-lt"/>
              </a:rPr>
              <a:t>and</a:t>
            </a:r>
            <a:r>
              <a:rPr lang="de-DE" altLang="de-DE" sz="2200" b="0" dirty="0">
                <a:solidFill>
                  <a:srgbClr val="FF0000"/>
                </a:solidFill>
                <a:latin typeface="+mn-lt"/>
              </a:rPr>
              <a:t> </a:t>
            </a:r>
            <a:r>
              <a:rPr lang="de-DE" altLang="de-DE" sz="2200" dirty="0" err="1">
                <a:solidFill>
                  <a:srgbClr val="0000FF"/>
                </a:solidFill>
                <a:latin typeface="+mn-lt"/>
              </a:rPr>
              <a:t>the</a:t>
            </a:r>
            <a:r>
              <a:rPr lang="de-DE" altLang="de-DE" sz="2200" dirty="0">
                <a:solidFill>
                  <a:srgbClr val="0000FF"/>
                </a:solidFill>
                <a:latin typeface="+mn-lt"/>
              </a:rPr>
              <a:t> </a:t>
            </a:r>
            <a:r>
              <a:rPr lang="de-DE" altLang="de-DE" sz="2200" dirty="0" err="1">
                <a:solidFill>
                  <a:srgbClr val="0000FF"/>
                </a:solidFill>
                <a:latin typeface="+mn-lt"/>
              </a:rPr>
              <a:t>volute</a:t>
            </a:r>
            <a:r>
              <a:rPr kumimoji="0" lang="de-DE" altLang="de-DE" sz="2200" i="0" u="none" strike="noStrike" kern="1200" cap="none" spc="0" normalizeH="0" baseline="0" noProof="0" dirty="0">
                <a:ln>
                  <a:noFill/>
                </a:ln>
                <a:solidFill>
                  <a:srgbClr val="0000FF"/>
                </a:solidFill>
                <a:effectLst/>
                <a:uLnTx/>
                <a:uFillTx/>
                <a:latin typeface="+mn-lt"/>
                <a:ea typeface="+mn-ea"/>
                <a:cs typeface="+mn-cs"/>
              </a:rPr>
              <a:t> </a:t>
            </a:r>
            <a:r>
              <a:rPr kumimoji="0" lang="de-DE" altLang="de-DE" sz="2200" b="0" i="0" u="none" strike="noStrike" kern="1200" cap="none" spc="0" normalizeH="0" baseline="0" noProof="0" dirty="0" err="1">
                <a:ln>
                  <a:noFill/>
                </a:ln>
                <a:solidFill>
                  <a:srgbClr val="000000"/>
                </a:solidFill>
                <a:effectLst/>
                <a:uLnTx/>
                <a:uFillTx/>
                <a:latin typeface="+mn-lt"/>
                <a:ea typeface="+mn-ea"/>
                <a:cs typeface="+mn-cs"/>
              </a:rPr>
              <a:t>with</a:t>
            </a:r>
            <a:r>
              <a:rPr kumimoji="0" lang="de-DE" altLang="de-DE" sz="2200" b="0" i="0" u="none" strike="noStrike" kern="1200" cap="none" spc="0" normalizeH="0" baseline="0" noProof="0" dirty="0">
                <a:ln>
                  <a:noFill/>
                </a:ln>
                <a:solidFill>
                  <a:srgbClr val="000000"/>
                </a:solidFill>
                <a:effectLst/>
                <a:uLnTx/>
                <a:uFillTx/>
                <a:latin typeface="+mn-lt"/>
                <a:ea typeface="+mn-ea"/>
                <a:cs typeface="+mn-cs"/>
              </a:rPr>
              <a:t> </a:t>
            </a:r>
            <a:r>
              <a:rPr kumimoji="0" lang="de-DE" altLang="de-DE" sz="2200" b="0" i="0" u="none" strike="noStrike" kern="1200" cap="none" spc="0" normalizeH="0" baseline="0" noProof="0" dirty="0" err="1">
                <a:ln>
                  <a:noFill/>
                </a:ln>
                <a:solidFill>
                  <a:srgbClr val="000000"/>
                </a:solidFill>
                <a:effectLst/>
                <a:uLnTx/>
                <a:uFillTx/>
                <a:latin typeface="+mn-lt"/>
                <a:ea typeface="+mn-ea"/>
                <a:cs typeface="+mn-cs"/>
              </a:rPr>
              <a:t>the</a:t>
            </a:r>
            <a:r>
              <a:rPr kumimoji="0" lang="de-DE" altLang="de-DE" sz="2200" b="0" i="0" u="none" strike="noStrike" kern="1200" cap="none" spc="0" normalizeH="0" baseline="0" noProof="0" dirty="0">
                <a:ln>
                  <a:noFill/>
                </a:ln>
                <a:solidFill>
                  <a:srgbClr val="000000"/>
                </a:solidFill>
                <a:effectLst/>
                <a:uLnTx/>
                <a:uFillTx/>
                <a:latin typeface="+mn-lt"/>
                <a:ea typeface="+mn-ea"/>
                <a:cs typeface="+mn-cs"/>
              </a:rPr>
              <a:t> </a:t>
            </a:r>
            <a:r>
              <a:rPr kumimoji="0" lang="de-DE" altLang="de-DE" sz="2200" i="0" u="none" strike="noStrike" kern="1200" cap="none" spc="0" normalizeH="0" baseline="0" noProof="0" dirty="0">
                <a:ln>
                  <a:noFill/>
                </a:ln>
                <a:solidFill>
                  <a:srgbClr val="0000FF"/>
                </a:solidFill>
                <a:effectLst/>
                <a:uLnTx/>
                <a:uFillTx/>
                <a:latin typeface="+mn-lt"/>
                <a:ea typeface="+mn-ea"/>
                <a:cs typeface="+mn-cs"/>
              </a:rPr>
              <a:t>Vane </a:t>
            </a:r>
            <a:r>
              <a:rPr lang="de-DE" altLang="de-DE" sz="2200" dirty="0">
                <a:solidFill>
                  <a:srgbClr val="0000FF"/>
                </a:solidFill>
                <a:latin typeface="+mn-lt"/>
              </a:rPr>
              <a:t>P</a:t>
            </a:r>
            <a:r>
              <a:rPr kumimoji="0" lang="de-DE" altLang="de-DE" sz="2200" i="0" u="none" strike="noStrike" kern="1200" cap="none" spc="0" normalizeH="0" baseline="0" noProof="0" dirty="0" err="1">
                <a:ln>
                  <a:noFill/>
                </a:ln>
                <a:solidFill>
                  <a:srgbClr val="0000FF"/>
                </a:solidFill>
                <a:effectLst/>
                <a:uLnTx/>
                <a:uFillTx/>
                <a:latin typeface="+mn-lt"/>
                <a:ea typeface="+mn-ea"/>
                <a:cs typeface="+mn-cs"/>
              </a:rPr>
              <a:t>assing</a:t>
            </a:r>
            <a:r>
              <a:rPr kumimoji="0" lang="de-DE" altLang="de-DE" sz="2200" i="0" u="none" strike="noStrike" kern="1200" cap="none" spc="0" normalizeH="0" baseline="0" noProof="0" dirty="0">
                <a:ln>
                  <a:noFill/>
                </a:ln>
                <a:solidFill>
                  <a:srgbClr val="0000FF"/>
                </a:solidFill>
                <a:effectLst/>
                <a:uLnTx/>
                <a:uFillTx/>
                <a:latin typeface="+mn-lt"/>
                <a:ea typeface="+mn-ea"/>
                <a:cs typeface="+mn-cs"/>
              </a:rPr>
              <a:t> </a:t>
            </a:r>
            <a:r>
              <a:rPr lang="de-DE" altLang="de-DE" sz="2200" dirty="0">
                <a:solidFill>
                  <a:srgbClr val="0000FF"/>
                </a:solidFill>
                <a:latin typeface="+mn-lt"/>
              </a:rPr>
              <a:t>F</a:t>
            </a:r>
            <a:r>
              <a:rPr kumimoji="0" lang="de-DE" altLang="de-DE" sz="2200" i="0" u="none" strike="noStrike" kern="1200" cap="none" spc="0" normalizeH="0" baseline="0" noProof="0" dirty="0" err="1">
                <a:ln>
                  <a:noFill/>
                </a:ln>
                <a:solidFill>
                  <a:srgbClr val="0000FF"/>
                </a:solidFill>
                <a:effectLst/>
                <a:uLnTx/>
                <a:uFillTx/>
                <a:latin typeface="+mn-lt"/>
                <a:ea typeface="+mn-ea"/>
                <a:cs typeface="+mn-cs"/>
              </a:rPr>
              <a:t>requency</a:t>
            </a:r>
            <a:r>
              <a:rPr kumimoji="0" lang="de-DE" altLang="de-DE" sz="2200" b="0" i="0" u="none" strike="noStrike" kern="1200" cap="none" spc="0" normalizeH="0" baseline="0" noProof="0" dirty="0">
                <a:ln>
                  <a:noFill/>
                </a:ln>
                <a:solidFill>
                  <a:srgbClr val="000000"/>
                </a:solidFill>
                <a:effectLst/>
                <a:uLnTx/>
                <a:uFillTx/>
                <a:latin typeface="+mn-lt"/>
                <a:ea typeface="+mn-ea"/>
                <a:cs typeface="+mn-cs"/>
              </a:rPr>
              <a:t> </a:t>
            </a:r>
            <a:r>
              <a:rPr lang="de-DE" altLang="de-DE" sz="2200" dirty="0">
                <a:solidFill>
                  <a:srgbClr val="0000FF"/>
                </a:solidFill>
                <a:latin typeface="+mn-lt"/>
              </a:rPr>
              <a:t>VPF</a:t>
            </a:r>
            <a:r>
              <a:rPr kumimoji="0" lang="de-DE" altLang="de-DE" sz="2200" i="0" u="none" strike="noStrike" kern="1200" cap="none" spc="0" normalizeH="0" baseline="0" noProof="0" dirty="0">
                <a:ln>
                  <a:noFill/>
                </a:ln>
                <a:solidFill>
                  <a:srgbClr val="0000FF"/>
                </a:solidFill>
                <a:effectLst/>
                <a:uLnTx/>
                <a:uFillTx/>
                <a:latin typeface="+mn-lt"/>
                <a:ea typeface="+mn-ea"/>
                <a:cs typeface="+mn-cs"/>
              </a:rPr>
              <a:t> = </a:t>
            </a:r>
            <a:r>
              <a:rPr kumimoji="0" lang="de-DE" altLang="de-DE" sz="2200" i="0" u="none" strike="noStrike" kern="1200" cap="none" spc="0" normalizeH="0" baseline="0" noProof="0" dirty="0" err="1">
                <a:ln>
                  <a:noFill/>
                </a:ln>
                <a:solidFill>
                  <a:srgbClr val="0000FF"/>
                </a:solidFill>
                <a:effectLst/>
                <a:uLnTx/>
                <a:uFillTx/>
                <a:latin typeface="+mn-lt"/>
                <a:ea typeface="+mn-ea"/>
                <a:cs typeface="+mn-cs"/>
              </a:rPr>
              <a:t>f</a:t>
            </a:r>
            <a:r>
              <a:rPr kumimoji="0" lang="de-DE" altLang="de-DE" sz="2200" i="0" u="none" strike="noStrike" kern="1200" cap="none" spc="0" normalizeH="0" baseline="-25000" noProof="0" dirty="0" err="1">
                <a:ln>
                  <a:noFill/>
                </a:ln>
                <a:solidFill>
                  <a:srgbClr val="0000FF"/>
                </a:solidFill>
                <a:effectLst/>
                <a:uLnTx/>
                <a:uFillTx/>
                <a:latin typeface="+mn-lt"/>
                <a:ea typeface="+mn-ea"/>
                <a:cs typeface="+mn-cs"/>
              </a:rPr>
              <a:t>rot</a:t>
            </a:r>
            <a:r>
              <a:rPr kumimoji="0" lang="de-DE" altLang="de-DE" sz="2200" i="0" u="none" strike="noStrike" kern="1200" cap="none" spc="0" normalizeH="0" baseline="0" noProof="0" dirty="0">
                <a:ln>
                  <a:noFill/>
                </a:ln>
                <a:solidFill>
                  <a:srgbClr val="0000FF"/>
                </a:solidFill>
                <a:effectLst/>
                <a:uLnTx/>
                <a:uFillTx/>
                <a:latin typeface="+mn-lt"/>
                <a:ea typeface="+mn-ea"/>
                <a:cs typeface="+mn-cs"/>
              </a:rPr>
              <a:t> x N </a:t>
            </a:r>
            <a:r>
              <a:rPr kumimoji="0" lang="de-DE" altLang="de-DE" sz="2200" b="0" i="0" u="none" strike="noStrike" kern="1200" cap="none" spc="0" normalizeH="0" baseline="0" noProof="0" dirty="0">
                <a:ln>
                  <a:noFill/>
                </a:ln>
                <a:solidFill>
                  <a:srgbClr val="000000"/>
                </a:solidFill>
                <a:effectLst/>
                <a:uLnTx/>
                <a:uFillTx/>
                <a:latin typeface="+mn-lt"/>
                <a:ea typeface="+mn-ea"/>
                <a:cs typeface="+mn-cs"/>
              </a:rPr>
              <a:t>and </a:t>
            </a:r>
            <a:r>
              <a:rPr kumimoji="0" lang="de-DE" altLang="de-DE" sz="2200" b="0" i="0" u="none" strike="noStrike" kern="1200" cap="none" spc="0" normalizeH="0" baseline="0" noProof="0" dirty="0" err="1">
                <a:ln>
                  <a:noFill/>
                </a:ln>
                <a:solidFill>
                  <a:srgbClr val="000000"/>
                </a:solidFill>
                <a:effectLst/>
                <a:uLnTx/>
                <a:uFillTx/>
                <a:latin typeface="+mn-lt"/>
                <a:ea typeface="+mn-ea"/>
                <a:cs typeface="+mn-cs"/>
              </a:rPr>
              <a:t>higher</a:t>
            </a:r>
            <a:r>
              <a:rPr kumimoji="0" lang="de-DE" altLang="de-DE" sz="2200" b="0" i="0" u="none" strike="noStrike" kern="1200" cap="none" spc="0" normalizeH="0" baseline="0" noProof="0" dirty="0">
                <a:ln>
                  <a:noFill/>
                </a:ln>
                <a:solidFill>
                  <a:srgbClr val="000000"/>
                </a:solidFill>
                <a:effectLst/>
                <a:uLnTx/>
                <a:uFillTx/>
                <a:latin typeface="+mn-lt"/>
                <a:ea typeface="+mn-ea"/>
                <a:cs typeface="+mn-cs"/>
              </a:rPr>
              <a:t> </a:t>
            </a:r>
            <a:r>
              <a:rPr kumimoji="0" lang="de-DE" altLang="de-DE" sz="2200" b="0" i="0" u="none" strike="noStrike" kern="1200" cap="none" spc="0" normalizeH="0" baseline="0" noProof="0" dirty="0" err="1">
                <a:ln>
                  <a:noFill/>
                </a:ln>
                <a:solidFill>
                  <a:srgbClr val="000000"/>
                </a:solidFill>
                <a:effectLst/>
                <a:uLnTx/>
                <a:uFillTx/>
                <a:latin typeface="+mn-lt"/>
                <a:ea typeface="+mn-ea"/>
                <a:cs typeface="+mn-cs"/>
              </a:rPr>
              <a:t>Harmonics</a:t>
            </a:r>
            <a:r>
              <a:rPr kumimoji="0" lang="de-DE" altLang="de-DE" sz="2200" b="0" i="0" u="none" strike="noStrike" kern="1200" cap="none" spc="0" normalizeH="0" baseline="0" noProof="0" dirty="0">
                <a:ln>
                  <a:noFill/>
                </a:ln>
                <a:solidFill>
                  <a:srgbClr val="000000"/>
                </a:solidFill>
                <a:effectLst/>
                <a:uLnTx/>
                <a:uFillTx/>
                <a:latin typeface="+mn-lt"/>
                <a:ea typeface="+mn-ea"/>
                <a:cs typeface="+mn-cs"/>
              </a:rPr>
              <a:t> </a:t>
            </a:r>
            <a:r>
              <a:rPr kumimoji="0" lang="de-DE" altLang="de-DE" sz="2200" b="0" i="0" u="none" strike="noStrike" kern="1200" cap="none" spc="0" normalizeH="0" baseline="0" noProof="0" dirty="0" err="1">
                <a:ln>
                  <a:noFill/>
                </a:ln>
                <a:solidFill>
                  <a:srgbClr val="000000"/>
                </a:solidFill>
                <a:effectLst/>
                <a:uLnTx/>
                <a:uFillTx/>
                <a:latin typeface="+mn-lt"/>
                <a:ea typeface="+mn-ea"/>
                <a:cs typeface="+mn-cs"/>
              </a:rPr>
              <a:t>of</a:t>
            </a:r>
            <a:r>
              <a:rPr kumimoji="0" lang="de-DE" altLang="de-DE" sz="2200" b="0" i="0" u="none" strike="noStrike" kern="1200" cap="none" spc="0" normalizeH="0" baseline="0" noProof="0" dirty="0">
                <a:ln>
                  <a:noFill/>
                </a:ln>
                <a:solidFill>
                  <a:srgbClr val="000000"/>
                </a:solidFill>
                <a:effectLst/>
                <a:uLnTx/>
                <a:uFillTx/>
                <a:latin typeface="+mn-lt"/>
                <a:ea typeface="+mn-ea"/>
                <a:cs typeface="+mn-cs"/>
              </a:rPr>
              <a:t> it. </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de-DE" altLang="de-DE" sz="2200" i="0" u="none" strike="noStrike" kern="1200" cap="none" spc="0" normalizeH="0" baseline="0" noProof="0" dirty="0" err="1">
                <a:ln>
                  <a:noFill/>
                </a:ln>
                <a:solidFill>
                  <a:srgbClr val="0000FF"/>
                </a:solidFill>
                <a:effectLst/>
                <a:uLnTx/>
                <a:uFillTx/>
                <a:latin typeface="+mn-lt"/>
                <a:ea typeface="+mn-ea"/>
                <a:cs typeface="+mn-cs"/>
              </a:rPr>
              <a:t>f</a:t>
            </a:r>
            <a:r>
              <a:rPr kumimoji="0" lang="de-DE" altLang="de-DE" sz="2200" i="0" u="none" strike="noStrike" kern="1200" cap="none" spc="0" normalizeH="0" baseline="-25000" noProof="0" dirty="0" err="1">
                <a:ln>
                  <a:noFill/>
                </a:ln>
                <a:solidFill>
                  <a:srgbClr val="0000FF"/>
                </a:solidFill>
                <a:effectLst/>
                <a:uLnTx/>
                <a:uFillTx/>
                <a:latin typeface="+mn-lt"/>
                <a:ea typeface="+mn-ea"/>
                <a:cs typeface="+mn-cs"/>
              </a:rPr>
              <a:t>rot</a:t>
            </a:r>
            <a:r>
              <a:rPr kumimoji="0" lang="de-DE" altLang="de-DE" sz="2200" i="0" u="none" strike="noStrike" kern="1200" cap="none" spc="0" normalizeH="0" baseline="-25000" noProof="0" dirty="0">
                <a:ln>
                  <a:noFill/>
                </a:ln>
                <a:solidFill>
                  <a:srgbClr val="0000FF"/>
                </a:solidFill>
                <a:effectLst/>
                <a:uLnTx/>
                <a:uFillTx/>
                <a:latin typeface="+mn-lt"/>
                <a:ea typeface="+mn-ea"/>
                <a:cs typeface="+mn-cs"/>
              </a:rPr>
              <a:t> </a:t>
            </a:r>
            <a:r>
              <a:rPr kumimoji="0" lang="de-DE" altLang="de-DE" sz="2200" i="0" u="none" strike="noStrike" kern="1200" cap="none" spc="0" normalizeH="0" baseline="0" noProof="0" dirty="0">
                <a:ln>
                  <a:noFill/>
                </a:ln>
                <a:solidFill>
                  <a:srgbClr val="0000FF"/>
                </a:solidFill>
                <a:effectLst/>
                <a:uLnTx/>
                <a:uFillTx/>
                <a:latin typeface="+mn-lt"/>
                <a:ea typeface="+mn-ea"/>
                <a:cs typeface="+mn-cs"/>
              </a:rPr>
              <a:t>= </a:t>
            </a:r>
            <a:r>
              <a:rPr kumimoji="0" lang="el-GR" altLang="de-DE" sz="2200" i="0" u="none" strike="noStrike" kern="1200" cap="none" spc="0" normalizeH="0" baseline="0" noProof="0" dirty="0">
                <a:ln>
                  <a:noFill/>
                </a:ln>
                <a:solidFill>
                  <a:srgbClr val="0000FF"/>
                </a:solidFill>
                <a:effectLst/>
                <a:uLnTx/>
                <a:uFillTx/>
                <a:latin typeface="+mn-lt"/>
                <a:ea typeface="+mn-ea"/>
                <a:cs typeface="+mn-cs"/>
              </a:rPr>
              <a:t>Ω</a:t>
            </a:r>
            <a:r>
              <a:rPr kumimoji="0" lang="de-DE" altLang="de-DE" sz="2200" i="0" u="none" strike="noStrike" kern="1200" cap="none" spc="0" normalizeH="0" baseline="0" noProof="0" dirty="0">
                <a:ln>
                  <a:noFill/>
                </a:ln>
                <a:solidFill>
                  <a:srgbClr val="0000FF"/>
                </a:solidFill>
                <a:effectLst/>
                <a:uLnTx/>
                <a:uFillTx/>
                <a:latin typeface="+mn-lt"/>
                <a:ea typeface="+mn-ea"/>
                <a:cs typeface="+mn-cs"/>
              </a:rPr>
              <a:t>/ 2</a:t>
            </a:r>
            <a:r>
              <a:rPr kumimoji="0" lang="el-GR" altLang="de-DE" sz="2200" i="0" u="none" strike="noStrike" kern="1200" cap="none" spc="0" normalizeH="0" baseline="0" noProof="0" dirty="0">
                <a:ln>
                  <a:noFill/>
                </a:ln>
                <a:solidFill>
                  <a:srgbClr val="0000FF"/>
                </a:solidFill>
                <a:effectLst/>
                <a:uLnTx/>
                <a:uFillTx/>
                <a:latin typeface="+mn-lt"/>
                <a:ea typeface="+mn-ea"/>
                <a:cs typeface="Arial" panose="020B0604020202020204" pitchFamily="34" charset="0"/>
              </a:rPr>
              <a:t>π</a:t>
            </a:r>
            <a:r>
              <a:rPr kumimoji="0" lang="de-DE" altLang="de-DE" sz="2200" i="0" u="none" strike="noStrike" kern="1200" cap="none" spc="0" normalizeH="0" baseline="0" noProof="0" dirty="0">
                <a:ln>
                  <a:noFill/>
                </a:ln>
                <a:solidFill>
                  <a:srgbClr val="0000FF"/>
                </a:solidFill>
                <a:effectLst/>
                <a:uLnTx/>
                <a:uFillTx/>
                <a:latin typeface="+mn-lt"/>
                <a:ea typeface="+mn-ea"/>
                <a:cs typeface="Arial" panose="020B0604020202020204" pitchFamily="34" charset="0"/>
              </a:rPr>
              <a:t> </a:t>
            </a:r>
            <a:r>
              <a:rPr kumimoji="0" lang="de-DE" altLang="de-DE" sz="2200" b="0" i="0" u="none" strike="noStrike" kern="1200" cap="none" spc="0" normalizeH="0" baseline="0" noProof="0" dirty="0" err="1">
                <a:ln>
                  <a:noFill/>
                </a:ln>
                <a:solidFill>
                  <a:srgbClr val="000000"/>
                </a:solidFill>
                <a:effectLst/>
                <a:uLnTx/>
                <a:uFillTx/>
                <a:latin typeface="+mn-lt"/>
                <a:ea typeface="+mn-ea"/>
                <a:cs typeface="+mn-cs"/>
              </a:rPr>
              <a:t>is</a:t>
            </a:r>
            <a:r>
              <a:rPr kumimoji="0" lang="de-DE" altLang="de-DE" sz="2200" b="0" i="0" u="none" strike="noStrike" kern="1200" cap="none" spc="0" normalizeH="0" baseline="0" noProof="0" dirty="0">
                <a:ln>
                  <a:noFill/>
                </a:ln>
                <a:solidFill>
                  <a:srgbClr val="000000"/>
                </a:solidFill>
                <a:effectLst/>
                <a:uLnTx/>
                <a:uFillTx/>
                <a:latin typeface="+mn-lt"/>
                <a:ea typeface="+mn-ea"/>
                <a:cs typeface="+mn-cs"/>
              </a:rPr>
              <a:t> </a:t>
            </a:r>
            <a:r>
              <a:rPr kumimoji="0" lang="de-DE" altLang="de-DE" sz="2200" b="0" i="0" u="none" strike="noStrike" kern="1200" cap="none" spc="0" normalizeH="0" baseline="0" noProof="0" dirty="0" err="1">
                <a:ln>
                  <a:noFill/>
                </a:ln>
                <a:solidFill>
                  <a:srgbClr val="000000"/>
                </a:solidFill>
                <a:effectLst/>
                <a:uLnTx/>
                <a:uFillTx/>
                <a:latin typeface="+mn-lt"/>
                <a:ea typeface="+mn-ea"/>
                <a:cs typeface="+mn-cs"/>
              </a:rPr>
              <a:t>the</a:t>
            </a:r>
            <a:r>
              <a:rPr kumimoji="0" lang="de-DE" altLang="de-DE" sz="2200" b="0" i="0" u="none" strike="noStrike" kern="1200" cap="none" spc="0" normalizeH="0" baseline="0" noProof="0" dirty="0">
                <a:ln>
                  <a:noFill/>
                </a:ln>
                <a:solidFill>
                  <a:srgbClr val="000000"/>
                </a:solidFill>
                <a:effectLst/>
                <a:uLnTx/>
                <a:uFillTx/>
                <a:latin typeface="+mn-lt"/>
                <a:ea typeface="+mn-ea"/>
                <a:cs typeface="+mn-cs"/>
              </a:rPr>
              <a:t> </a:t>
            </a:r>
            <a:r>
              <a:rPr kumimoji="0" lang="de-DE" altLang="de-DE" sz="2200" b="0" i="0" u="none" strike="noStrike" kern="1200" cap="none" spc="0" normalizeH="0" baseline="0" noProof="0" dirty="0" err="1">
                <a:ln>
                  <a:noFill/>
                </a:ln>
                <a:solidFill>
                  <a:srgbClr val="000000"/>
                </a:solidFill>
                <a:effectLst/>
                <a:uLnTx/>
                <a:uFillTx/>
                <a:latin typeface="+mn-lt"/>
                <a:ea typeface="+mn-ea"/>
                <a:cs typeface="+mn-cs"/>
              </a:rPr>
              <a:t>rotational</a:t>
            </a:r>
            <a:r>
              <a:rPr kumimoji="0" lang="de-DE" altLang="de-DE" sz="2200" b="0" i="0" u="none" strike="noStrike" kern="1200" cap="none" spc="0" normalizeH="0" baseline="0" noProof="0" dirty="0">
                <a:ln>
                  <a:noFill/>
                </a:ln>
                <a:solidFill>
                  <a:srgbClr val="000000"/>
                </a:solidFill>
                <a:effectLst/>
                <a:uLnTx/>
                <a:uFillTx/>
                <a:latin typeface="+mn-lt"/>
                <a:ea typeface="+mn-ea"/>
                <a:cs typeface="+mn-cs"/>
              </a:rPr>
              <a:t> </a:t>
            </a:r>
            <a:r>
              <a:rPr kumimoji="0" lang="de-DE" altLang="de-DE" sz="2200" b="0" i="0" u="none" strike="noStrike" kern="1200" cap="none" spc="0" normalizeH="0" baseline="0" noProof="0" dirty="0" err="1">
                <a:ln>
                  <a:noFill/>
                </a:ln>
                <a:solidFill>
                  <a:srgbClr val="000000"/>
                </a:solidFill>
                <a:effectLst/>
                <a:uLnTx/>
                <a:uFillTx/>
                <a:latin typeface="+mn-lt"/>
                <a:ea typeface="+mn-ea"/>
                <a:cs typeface="+mn-cs"/>
              </a:rPr>
              <a:t>frequency</a:t>
            </a:r>
            <a:r>
              <a:rPr kumimoji="0" lang="de-DE" altLang="de-DE" sz="2200" b="0" i="0" u="none" strike="noStrike" kern="1200" cap="none" spc="0" normalizeH="0" baseline="0" noProof="0" dirty="0">
                <a:ln>
                  <a:noFill/>
                </a:ln>
                <a:solidFill>
                  <a:srgbClr val="000000"/>
                </a:solidFill>
                <a:effectLst/>
                <a:uLnTx/>
                <a:uFillTx/>
                <a:latin typeface="+mn-lt"/>
                <a:ea typeface="+mn-ea"/>
                <a:cs typeface="+mn-cs"/>
              </a:rPr>
              <a:t> </a:t>
            </a:r>
            <a:r>
              <a:rPr kumimoji="0" lang="de-DE" altLang="de-DE" sz="2200" b="0" i="0" u="none" strike="noStrike" kern="1200" cap="none" spc="0" normalizeH="0" baseline="0" noProof="0" dirty="0" err="1">
                <a:ln>
                  <a:noFill/>
                </a:ln>
                <a:solidFill>
                  <a:srgbClr val="000000"/>
                </a:solidFill>
                <a:effectLst/>
                <a:uLnTx/>
                <a:uFillTx/>
                <a:latin typeface="+mn-lt"/>
                <a:ea typeface="+mn-ea"/>
                <a:cs typeface="+mn-cs"/>
              </a:rPr>
              <a:t>of</a:t>
            </a:r>
            <a:r>
              <a:rPr kumimoji="0" lang="de-DE" altLang="de-DE" sz="2200" b="0" i="0" u="none" strike="noStrike" kern="1200" cap="none" spc="0" normalizeH="0" baseline="0" noProof="0" dirty="0">
                <a:ln>
                  <a:noFill/>
                </a:ln>
                <a:solidFill>
                  <a:srgbClr val="000000"/>
                </a:solidFill>
                <a:effectLst/>
                <a:uLnTx/>
                <a:uFillTx/>
                <a:latin typeface="+mn-lt"/>
                <a:ea typeface="+mn-ea"/>
                <a:cs typeface="+mn-cs"/>
              </a:rPr>
              <a:t> </a:t>
            </a:r>
            <a:r>
              <a:rPr kumimoji="0" lang="de-DE" altLang="de-DE" sz="2200" b="0" i="0" u="none" strike="noStrike" kern="1200" cap="none" spc="0" normalizeH="0" baseline="0" noProof="0" dirty="0" err="1">
                <a:ln>
                  <a:noFill/>
                </a:ln>
                <a:solidFill>
                  <a:srgbClr val="000000"/>
                </a:solidFill>
                <a:effectLst/>
                <a:uLnTx/>
                <a:uFillTx/>
                <a:latin typeface="+mn-lt"/>
                <a:ea typeface="+mn-ea"/>
                <a:cs typeface="+mn-cs"/>
              </a:rPr>
              <a:t>the</a:t>
            </a:r>
            <a:r>
              <a:rPr kumimoji="0" lang="de-DE" altLang="de-DE" sz="2200" b="0" i="0" u="none" strike="noStrike" kern="1200" cap="none" spc="0" normalizeH="0" baseline="0" noProof="0" dirty="0">
                <a:ln>
                  <a:noFill/>
                </a:ln>
                <a:solidFill>
                  <a:srgbClr val="000000"/>
                </a:solidFill>
                <a:effectLst/>
                <a:uLnTx/>
                <a:uFillTx/>
                <a:latin typeface="+mn-lt"/>
                <a:ea typeface="+mn-ea"/>
                <a:cs typeface="+mn-cs"/>
              </a:rPr>
              <a:t> pump </a:t>
            </a:r>
            <a:r>
              <a:rPr kumimoji="0" lang="de-DE" altLang="de-DE" sz="2200" b="0" i="0" u="none" strike="noStrike" kern="1200" cap="none" spc="0" normalizeH="0" baseline="0" noProof="0" dirty="0" err="1">
                <a:ln>
                  <a:noFill/>
                </a:ln>
                <a:solidFill>
                  <a:srgbClr val="000000"/>
                </a:solidFill>
                <a:effectLst/>
                <a:uLnTx/>
                <a:uFillTx/>
                <a:latin typeface="+mn-lt"/>
                <a:ea typeface="+mn-ea"/>
                <a:cs typeface="+mn-cs"/>
              </a:rPr>
              <a:t>shaft</a:t>
            </a:r>
            <a:r>
              <a:rPr kumimoji="0" lang="de-DE" altLang="de-DE" sz="2200" b="0" i="0" u="none" strike="noStrike" kern="1200" cap="none" spc="0" normalizeH="0" baseline="0" noProof="0" dirty="0">
                <a:ln>
                  <a:noFill/>
                </a:ln>
                <a:solidFill>
                  <a:srgbClr val="000000"/>
                </a:solidFill>
                <a:effectLst/>
                <a:uLnTx/>
                <a:uFillTx/>
                <a:latin typeface="+mn-lt"/>
                <a:ea typeface="+mn-ea"/>
                <a:cs typeface="+mn-cs"/>
              </a:rPr>
              <a:t> in Hz and N </a:t>
            </a:r>
            <a:r>
              <a:rPr kumimoji="0" lang="de-DE" altLang="de-DE" sz="2200" b="0" i="0" u="none" strike="noStrike" kern="1200" cap="none" spc="0" normalizeH="0" baseline="0" noProof="0" dirty="0" err="1">
                <a:ln>
                  <a:noFill/>
                </a:ln>
                <a:solidFill>
                  <a:srgbClr val="000000"/>
                </a:solidFill>
                <a:effectLst/>
                <a:uLnTx/>
                <a:uFillTx/>
                <a:latin typeface="+mn-lt"/>
                <a:ea typeface="+mn-ea"/>
                <a:cs typeface="+mn-cs"/>
              </a:rPr>
              <a:t>is</a:t>
            </a:r>
            <a:r>
              <a:rPr kumimoji="0" lang="de-DE" altLang="de-DE" sz="2200" b="0" i="0" u="none" strike="noStrike" kern="1200" cap="none" spc="0" normalizeH="0" baseline="0" noProof="0" dirty="0">
                <a:ln>
                  <a:noFill/>
                </a:ln>
                <a:solidFill>
                  <a:srgbClr val="000000"/>
                </a:solidFill>
                <a:effectLst/>
                <a:uLnTx/>
                <a:uFillTx/>
                <a:latin typeface="+mn-lt"/>
                <a:ea typeface="+mn-ea"/>
                <a:cs typeface="+mn-cs"/>
              </a:rPr>
              <a:t> </a:t>
            </a:r>
            <a:r>
              <a:rPr kumimoji="0" lang="de-DE" altLang="de-DE" sz="2200" b="0" i="0" u="none" strike="noStrike" kern="1200" cap="none" spc="0" normalizeH="0" baseline="0" noProof="0" dirty="0" err="1">
                <a:ln>
                  <a:noFill/>
                </a:ln>
                <a:solidFill>
                  <a:srgbClr val="000000"/>
                </a:solidFill>
                <a:effectLst/>
                <a:uLnTx/>
                <a:uFillTx/>
                <a:latin typeface="+mn-lt"/>
                <a:ea typeface="+mn-ea"/>
                <a:cs typeface="+mn-cs"/>
              </a:rPr>
              <a:t>the</a:t>
            </a:r>
            <a:r>
              <a:rPr kumimoji="0" lang="de-DE" altLang="de-DE" sz="2200" b="0" i="0" u="none" strike="noStrike" kern="1200" cap="none" spc="0" normalizeH="0" baseline="0" noProof="0" dirty="0">
                <a:ln>
                  <a:noFill/>
                </a:ln>
                <a:solidFill>
                  <a:srgbClr val="000000"/>
                </a:solidFill>
                <a:effectLst/>
                <a:uLnTx/>
                <a:uFillTx/>
                <a:latin typeface="+mn-lt"/>
                <a:ea typeface="+mn-ea"/>
                <a:cs typeface="+mn-cs"/>
              </a:rPr>
              <a:t> </a:t>
            </a:r>
            <a:r>
              <a:rPr kumimoji="0" lang="de-DE" altLang="de-DE" sz="2200" b="0" i="0" u="none" strike="noStrike" kern="1200" cap="none" spc="0" normalizeH="0" baseline="0" noProof="0" dirty="0" err="1">
                <a:ln>
                  <a:noFill/>
                </a:ln>
                <a:solidFill>
                  <a:srgbClr val="000000"/>
                </a:solidFill>
                <a:effectLst/>
                <a:uLnTx/>
                <a:uFillTx/>
                <a:latin typeface="+mn-lt"/>
                <a:ea typeface="+mn-ea"/>
                <a:cs typeface="+mn-cs"/>
              </a:rPr>
              <a:t>number</a:t>
            </a:r>
            <a:r>
              <a:rPr kumimoji="0" lang="de-DE" altLang="de-DE" sz="2200" b="0" i="0" u="none" strike="noStrike" kern="1200" cap="none" spc="0" normalizeH="0" baseline="0" noProof="0" dirty="0">
                <a:ln>
                  <a:noFill/>
                </a:ln>
                <a:solidFill>
                  <a:srgbClr val="000000"/>
                </a:solidFill>
                <a:effectLst/>
                <a:uLnTx/>
                <a:uFillTx/>
                <a:latin typeface="+mn-lt"/>
                <a:ea typeface="+mn-ea"/>
                <a:cs typeface="+mn-cs"/>
              </a:rPr>
              <a:t> </a:t>
            </a:r>
            <a:r>
              <a:rPr kumimoji="0" lang="de-DE" altLang="de-DE" sz="2200" b="0" i="0" u="none" strike="noStrike" kern="1200" cap="none" spc="0" normalizeH="0" baseline="0" noProof="0" dirty="0" err="1">
                <a:ln>
                  <a:noFill/>
                </a:ln>
                <a:solidFill>
                  <a:srgbClr val="000000"/>
                </a:solidFill>
                <a:effectLst/>
                <a:uLnTx/>
                <a:uFillTx/>
                <a:latin typeface="+mn-lt"/>
                <a:ea typeface="+mn-ea"/>
                <a:cs typeface="+mn-cs"/>
              </a:rPr>
              <a:t>of</a:t>
            </a:r>
            <a:r>
              <a:rPr kumimoji="0" lang="de-DE" altLang="de-DE" sz="2200" b="0" i="0" u="none" strike="noStrike" kern="1200" cap="none" spc="0" normalizeH="0" baseline="0" noProof="0" dirty="0">
                <a:ln>
                  <a:noFill/>
                </a:ln>
                <a:solidFill>
                  <a:srgbClr val="000000"/>
                </a:solidFill>
                <a:effectLst/>
                <a:uLnTx/>
                <a:uFillTx/>
                <a:latin typeface="+mn-lt"/>
                <a:ea typeface="+mn-ea"/>
                <a:cs typeface="+mn-cs"/>
              </a:rPr>
              <a:t> blades. </a:t>
            </a:r>
            <a:endParaRPr kumimoji="0" lang="de-DE" altLang="de-DE" sz="2200" b="0" i="0" u="none" strike="noStrike" kern="1200" cap="none" spc="0" normalizeH="0" baseline="0" noProof="0" dirty="0">
              <a:ln>
                <a:noFill/>
              </a:ln>
              <a:solidFill>
                <a:srgbClr val="000000"/>
              </a:solidFill>
              <a:effectLst/>
              <a:uLnTx/>
              <a:uFillTx/>
              <a:latin typeface="Verdana" panose="020B0604030504040204" pitchFamily="34" charset="0"/>
              <a:ea typeface="+mn-ea"/>
              <a:cs typeface="+mn-cs"/>
            </a:endParaRPr>
          </a:p>
        </p:txBody>
      </p:sp>
      <p:pic>
        <p:nvPicPr>
          <p:cNvPr id="2" name="Grafik 1">
            <a:extLst>
              <a:ext uri="{FF2B5EF4-FFF2-40B4-BE49-F238E27FC236}">
                <a16:creationId xmlns:a16="http://schemas.microsoft.com/office/drawing/2014/main" id="{E42D4961-01BC-6745-2601-845BD730DE27}"/>
              </a:ext>
            </a:extLst>
          </p:cNvPr>
          <p:cNvPicPr>
            <a:picLocks noChangeAspect="1"/>
          </p:cNvPicPr>
          <p:nvPr/>
        </p:nvPicPr>
        <p:blipFill>
          <a:blip r:embed="rId4"/>
          <a:stretch>
            <a:fillRect/>
          </a:stretch>
        </p:blipFill>
        <p:spPr>
          <a:xfrm>
            <a:off x="3620635" y="878759"/>
            <a:ext cx="5210629" cy="3312243"/>
          </a:xfrm>
          <a:prstGeom prst="rect">
            <a:avLst/>
          </a:prstGeom>
        </p:spPr>
      </p:pic>
      <p:sp>
        <p:nvSpPr>
          <p:cNvPr id="4" name="Textfeld 3">
            <a:extLst>
              <a:ext uri="{FF2B5EF4-FFF2-40B4-BE49-F238E27FC236}">
                <a16:creationId xmlns:a16="http://schemas.microsoft.com/office/drawing/2014/main" id="{CBF8B538-DFA8-CAB8-BB73-7799047F7000}"/>
              </a:ext>
            </a:extLst>
          </p:cNvPr>
          <p:cNvSpPr txBox="1"/>
          <p:nvPr/>
        </p:nvSpPr>
        <p:spPr>
          <a:xfrm>
            <a:off x="7039428" y="3753294"/>
            <a:ext cx="3121385" cy="400110"/>
          </a:xfrm>
          <a:prstGeom prst="rect">
            <a:avLst/>
          </a:prstGeom>
          <a:noFill/>
        </p:spPr>
        <p:txBody>
          <a:bodyPr wrap="square" rtlCol="0">
            <a:spAutoFit/>
          </a:bodyPr>
          <a:lstStyle/>
          <a:p>
            <a:r>
              <a:rPr lang="de-DE" sz="2000" dirty="0">
                <a:solidFill>
                  <a:srgbClr val="0000FF"/>
                </a:solidFill>
                <a:latin typeface="+mn-lt"/>
              </a:rPr>
              <a:t>( N Impeller Blades)</a:t>
            </a:r>
          </a:p>
        </p:txBody>
      </p:sp>
      <p:sp>
        <p:nvSpPr>
          <p:cNvPr id="6" name="Rechteck 5">
            <a:extLst>
              <a:ext uri="{FF2B5EF4-FFF2-40B4-BE49-F238E27FC236}">
                <a16:creationId xmlns:a16="http://schemas.microsoft.com/office/drawing/2014/main" id="{D88BB1F3-723A-EA48-090F-9118876714B0}"/>
              </a:ext>
            </a:extLst>
          </p:cNvPr>
          <p:cNvSpPr/>
          <p:nvPr/>
        </p:nvSpPr>
        <p:spPr>
          <a:xfrm>
            <a:off x="3597719" y="3718188"/>
            <a:ext cx="914400" cy="574908"/>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 name="Textfeld 6">
            <a:extLst>
              <a:ext uri="{FF2B5EF4-FFF2-40B4-BE49-F238E27FC236}">
                <a16:creationId xmlns:a16="http://schemas.microsoft.com/office/drawing/2014/main" id="{92786022-2703-BC4B-4D05-D1F4040C45FA}"/>
              </a:ext>
            </a:extLst>
          </p:cNvPr>
          <p:cNvSpPr txBox="1"/>
          <p:nvPr/>
        </p:nvSpPr>
        <p:spPr>
          <a:xfrm>
            <a:off x="4512119" y="3031783"/>
            <a:ext cx="784446" cy="400110"/>
          </a:xfrm>
          <a:prstGeom prst="rect">
            <a:avLst/>
          </a:prstGeom>
          <a:noFill/>
        </p:spPr>
        <p:txBody>
          <a:bodyPr wrap="none" rtlCol="0">
            <a:spAutoFit/>
          </a:bodyPr>
          <a:lstStyle/>
          <a:p>
            <a:r>
              <a:rPr lang="de-DE" sz="2000" dirty="0">
                <a:solidFill>
                  <a:srgbClr val="0000FF"/>
                </a:solidFill>
                <a:latin typeface="+mn-lt"/>
              </a:rPr>
              <a:t>Vane</a:t>
            </a:r>
          </a:p>
        </p:txBody>
      </p:sp>
      <p:sp>
        <p:nvSpPr>
          <p:cNvPr id="3" name="Textfeld 2">
            <a:extLst>
              <a:ext uri="{FF2B5EF4-FFF2-40B4-BE49-F238E27FC236}">
                <a16:creationId xmlns:a16="http://schemas.microsoft.com/office/drawing/2014/main" id="{93B0C6EE-2964-87A1-27AD-06DA15688215}"/>
              </a:ext>
            </a:extLst>
          </p:cNvPr>
          <p:cNvSpPr txBox="1"/>
          <p:nvPr/>
        </p:nvSpPr>
        <p:spPr>
          <a:xfrm>
            <a:off x="737105" y="190251"/>
            <a:ext cx="9584641" cy="830997"/>
          </a:xfrm>
          <a:prstGeom prst="rect">
            <a:avLst/>
          </a:prstGeom>
          <a:noFill/>
        </p:spPr>
        <p:txBody>
          <a:bodyPr wrap="square" rtlCol="0">
            <a:spAutoFit/>
          </a:bodyPr>
          <a:lstStyle/>
          <a:p>
            <a:r>
              <a:rPr lang="de-DE" sz="2400" dirty="0">
                <a:solidFill>
                  <a:srgbClr val="0000FF"/>
                </a:solidFill>
                <a:latin typeface="+mn-lt"/>
              </a:rPr>
              <a:t>Vibration </a:t>
            </a:r>
            <a:r>
              <a:rPr lang="de-DE" sz="2400" dirty="0" err="1">
                <a:solidFill>
                  <a:srgbClr val="0000FF"/>
                </a:solidFill>
                <a:latin typeface="+mn-lt"/>
              </a:rPr>
              <a:t>Phenomena</a:t>
            </a:r>
            <a:r>
              <a:rPr lang="de-DE" sz="2400" dirty="0">
                <a:solidFill>
                  <a:srgbClr val="0000FF"/>
                </a:solidFill>
                <a:latin typeface="+mn-lt"/>
              </a:rPr>
              <a:t> </a:t>
            </a:r>
            <a:r>
              <a:rPr lang="de-DE" sz="2400" dirty="0" err="1">
                <a:solidFill>
                  <a:srgbClr val="0000FF"/>
                </a:solidFill>
                <a:latin typeface="+mn-lt"/>
              </a:rPr>
              <a:t>of</a:t>
            </a:r>
            <a:r>
              <a:rPr lang="de-DE" sz="2400" dirty="0">
                <a:solidFill>
                  <a:srgbClr val="0000FF"/>
                </a:solidFill>
                <a:latin typeface="+mn-lt"/>
              </a:rPr>
              <a:t> </a:t>
            </a:r>
            <a:r>
              <a:rPr lang="de-DE" sz="2400" dirty="0" err="1">
                <a:solidFill>
                  <a:srgbClr val="0000FF"/>
                </a:solidFill>
                <a:latin typeface="+mn-lt"/>
              </a:rPr>
              <a:t>the</a:t>
            </a:r>
            <a:r>
              <a:rPr lang="de-DE" sz="2400" dirty="0">
                <a:solidFill>
                  <a:srgbClr val="0000FF"/>
                </a:solidFill>
                <a:latin typeface="+mn-lt"/>
              </a:rPr>
              <a:t> Horizontal </a:t>
            </a:r>
            <a:r>
              <a:rPr lang="de-DE" sz="2400" dirty="0" err="1">
                <a:solidFill>
                  <a:srgbClr val="0000FF"/>
                </a:solidFill>
                <a:latin typeface="+mn-lt"/>
              </a:rPr>
              <a:t>Feedwater</a:t>
            </a:r>
            <a:r>
              <a:rPr lang="de-DE" sz="2400" dirty="0">
                <a:solidFill>
                  <a:srgbClr val="0000FF"/>
                </a:solidFill>
                <a:latin typeface="+mn-lt"/>
              </a:rPr>
              <a:t> Pump OL3 </a:t>
            </a:r>
          </a:p>
          <a:p>
            <a:r>
              <a:rPr lang="de-DE" sz="2400" b="0" dirty="0">
                <a:latin typeface="+mn-lt"/>
              </a:rPr>
              <a:t>Vane Pass </a:t>
            </a:r>
            <a:r>
              <a:rPr lang="de-DE" sz="2400" b="0" dirty="0" err="1">
                <a:latin typeface="+mn-lt"/>
              </a:rPr>
              <a:t>Frequency</a:t>
            </a:r>
            <a:r>
              <a:rPr lang="de-DE" sz="2400" b="0" dirty="0">
                <a:latin typeface="+mn-lt"/>
              </a:rPr>
              <a:t> </a:t>
            </a:r>
            <a:r>
              <a:rPr lang="de-DE" sz="2400" b="0" dirty="0" err="1">
                <a:latin typeface="+mn-lt"/>
              </a:rPr>
              <a:t>Excitation</a:t>
            </a:r>
            <a:r>
              <a:rPr lang="de-DE" sz="2400" b="0" dirty="0">
                <a:latin typeface="+mn-lt"/>
              </a:rPr>
              <a:t> VPF</a:t>
            </a:r>
          </a:p>
        </p:txBody>
      </p:sp>
    </p:spTree>
    <p:extLst>
      <p:ext uri="{BB962C8B-B14F-4D97-AF65-F5344CB8AC3E}">
        <p14:creationId xmlns:p14="http://schemas.microsoft.com/office/powerpoint/2010/main" val="1943731928"/>
      </p:ext>
    </p:extLst>
  </p:cSld>
  <p:clrMapOvr>
    <a:masterClrMapping/>
  </p:clrMapOvr>
  <p:transition spd="slow"/>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Grafik 2">
            <a:extLst>
              <a:ext uri="{FF2B5EF4-FFF2-40B4-BE49-F238E27FC236}">
                <a16:creationId xmlns:a16="http://schemas.microsoft.com/office/drawing/2014/main" id="{35ED024E-2D60-4964-3C29-2B213E2532D3}"/>
              </a:ext>
            </a:extLst>
          </p:cNvPr>
          <p:cNvPicPr>
            <a:picLocks noChangeAspect="1"/>
          </p:cNvPicPr>
          <p:nvPr/>
        </p:nvPicPr>
        <p:blipFill>
          <a:blip r:embed="rId3"/>
          <a:stretch>
            <a:fillRect/>
          </a:stretch>
        </p:blipFill>
        <p:spPr>
          <a:xfrm>
            <a:off x="6096000" y="1669143"/>
            <a:ext cx="5471886" cy="4702628"/>
          </a:xfrm>
          <a:prstGeom prst="rect">
            <a:avLst/>
          </a:prstGeom>
        </p:spPr>
      </p:pic>
      <p:sp>
        <p:nvSpPr>
          <p:cNvPr id="4" name="Textfeld 3">
            <a:extLst>
              <a:ext uri="{FF2B5EF4-FFF2-40B4-BE49-F238E27FC236}">
                <a16:creationId xmlns:a16="http://schemas.microsoft.com/office/drawing/2014/main" id="{FAB7219E-9A3D-148A-73FA-21552165AB27}"/>
              </a:ext>
            </a:extLst>
          </p:cNvPr>
          <p:cNvSpPr txBox="1"/>
          <p:nvPr/>
        </p:nvSpPr>
        <p:spPr>
          <a:xfrm>
            <a:off x="437575" y="116896"/>
            <a:ext cx="11068131" cy="830997"/>
          </a:xfrm>
          <a:prstGeom prst="rect">
            <a:avLst/>
          </a:prstGeom>
          <a:noFill/>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de-DE" sz="2400" b="1" i="0" u="none" strike="noStrike" kern="1200" cap="none" spc="0" normalizeH="0" baseline="0" noProof="0" dirty="0">
                <a:ln>
                  <a:noFill/>
                </a:ln>
                <a:solidFill>
                  <a:srgbClr val="0000FF"/>
                </a:solidFill>
                <a:effectLst/>
                <a:uLnTx/>
                <a:uFillTx/>
                <a:latin typeface="Arial"/>
                <a:ea typeface="+mn-ea"/>
                <a:cs typeface="+mn-cs"/>
              </a:rPr>
              <a:t>Vibration </a:t>
            </a:r>
            <a:r>
              <a:rPr kumimoji="0" lang="de-DE" sz="2400" b="1" i="0" u="none" strike="noStrike" kern="1200" cap="none" spc="0" normalizeH="0" baseline="0" noProof="0" dirty="0" err="1">
                <a:ln>
                  <a:noFill/>
                </a:ln>
                <a:solidFill>
                  <a:srgbClr val="0000FF"/>
                </a:solidFill>
                <a:effectLst/>
                <a:uLnTx/>
                <a:uFillTx/>
                <a:latin typeface="Arial"/>
                <a:ea typeface="+mn-ea"/>
                <a:cs typeface="+mn-cs"/>
              </a:rPr>
              <a:t>Phenomena</a:t>
            </a:r>
            <a:r>
              <a:rPr kumimoji="0" lang="de-DE" sz="2400" b="1" i="0" u="none" strike="noStrike" kern="1200" cap="none" spc="0" normalizeH="0" baseline="0" noProof="0" dirty="0">
                <a:ln>
                  <a:noFill/>
                </a:ln>
                <a:solidFill>
                  <a:srgbClr val="0000FF"/>
                </a:solidFill>
                <a:effectLst/>
                <a:uLnTx/>
                <a:uFillTx/>
                <a:latin typeface="Arial"/>
                <a:ea typeface="+mn-ea"/>
                <a:cs typeface="+mn-cs"/>
              </a:rPr>
              <a:t> </a:t>
            </a:r>
            <a:r>
              <a:rPr kumimoji="0" lang="de-DE" sz="2400" b="1" i="0" u="none" strike="noStrike" kern="1200" cap="none" spc="0" normalizeH="0" baseline="0" noProof="0" dirty="0" err="1">
                <a:ln>
                  <a:noFill/>
                </a:ln>
                <a:solidFill>
                  <a:srgbClr val="0000FF"/>
                </a:solidFill>
                <a:effectLst/>
                <a:uLnTx/>
                <a:uFillTx/>
                <a:latin typeface="Arial"/>
                <a:ea typeface="+mn-ea"/>
                <a:cs typeface="+mn-cs"/>
              </a:rPr>
              <a:t>of</a:t>
            </a:r>
            <a:r>
              <a:rPr kumimoji="0" lang="de-DE" sz="2400" b="1" i="0" u="none" strike="noStrike" kern="1200" cap="none" spc="0" normalizeH="0" baseline="0" noProof="0" dirty="0">
                <a:ln>
                  <a:noFill/>
                </a:ln>
                <a:solidFill>
                  <a:srgbClr val="0000FF"/>
                </a:solidFill>
                <a:effectLst/>
                <a:uLnTx/>
                <a:uFillTx/>
                <a:latin typeface="Arial"/>
                <a:ea typeface="+mn-ea"/>
                <a:cs typeface="+mn-cs"/>
              </a:rPr>
              <a:t> </a:t>
            </a:r>
            <a:r>
              <a:rPr kumimoji="0" lang="de-DE" sz="2400" b="1" i="0" u="none" strike="noStrike" kern="1200" cap="none" spc="0" normalizeH="0" baseline="0" noProof="0" dirty="0" err="1">
                <a:ln>
                  <a:noFill/>
                </a:ln>
                <a:solidFill>
                  <a:srgbClr val="0000FF"/>
                </a:solidFill>
                <a:effectLst/>
                <a:uLnTx/>
                <a:uFillTx/>
                <a:latin typeface="Arial"/>
                <a:ea typeface="+mn-ea"/>
                <a:cs typeface="+mn-cs"/>
              </a:rPr>
              <a:t>the</a:t>
            </a:r>
            <a:r>
              <a:rPr kumimoji="0" lang="de-DE" sz="2400" b="1" i="0" u="none" strike="noStrike" kern="1200" cap="none" spc="0" normalizeH="0" baseline="0" noProof="0" dirty="0">
                <a:ln>
                  <a:noFill/>
                </a:ln>
                <a:solidFill>
                  <a:srgbClr val="0000FF"/>
                </a:solidFill>
                <a:effectLst/>
                <a:uLnTx/>
                <a:uFillTx/>
                <a:latin typeface="Arial"/>
                <a:ea typeface="+mn-ea"/>
                <a:cs typeface="+mn-cs"/>
              </a:rPr>
              <a:t> Horizontal </a:t>
            </a:r>
            <a:r>
              <a:rPr kumimoji="0" lang="de-DE" sz="2400" b="1" i="0" u="none" strike="noStrike" kern="1200" cap="none" spc="0" normalizeH="0" baseline="0" noProof="0" dirty="0" err="1">
                <a:ln>
                  <a:noFill/>
                </a:ln>
                <a:solidFill>
                  <a:srgbClr val="0000FF"/>
                </a:solidFill>
                <a:effectLst/>
                <a:uLnTx/>
                <a:uFillTx/>
                <a:latin typeface="Arial"/>
                <a:ea typeface="+mn-ea"/>
                <a:cs typeface="+mn-cs"/>
              </a:rPr>
              <a:t>Feedwater</a:t>
            </a:r>
            <a:r>
              <a:rPr kumimoji="0" lang="de-DE" sz="2400" b="1" i="0" u="none" strike="noStrike" kern="1200" cap="none" spc="0" normalizeH="0" baseline="0" noProof="0" dirty="0">
                <a:ln>
                  <a:noFill/>
                </a:ln>
                <a:solidFill>
                  <a:srgbClr val="0000FF"/>
                </a:solidFill>
                <a:effectLst/>
                <a:uLnTx/>
                <a:uFillTx/>
                <a:latin typeface="Arial"/>
                <a:ea typeface="+mn-ea"/>
                <a:cs typeface="+mn-cs"/>
              </a:rPr>
              <a:t> Pump </a:t>
            </a:r>
            <a:r>
              <a:rPr lang="de-DE" sz="2400" dirty="0">
                <a:solidFill>
                  <a:srgbClr val="0000FF"/>
                </a:solidFill>
                <a:latin typeface="Arial"/>
              </a:rPr>
              <a:t>OL3</a:t>
            </a:r>
            <a:r>
              <a:rPr kumimoji="0" lang="de-DE" sz="2400" b="1" i="0" u="none" strike="noStrike" kern="1200" cap="none" spc="0" normalizeH="0" baseline="0" noProof="0" dirty="0">
                <a:ln>
                  <a:noFill/>
                </a:ln>
                <a:solidFill>
                  <a:srgbClr val="0000FF"/>
                </a:solidFill>
                <a:effectLst/>
                <a:uLnTx/>
                <a:uFillTx/>
                <a:latin typeface="Arial"/>
                <a:ea typeface="+mn-ea"/>
                <a:cs typeface="+mn-cs"/>
              </a:rPr>
              <a:t> </a:t>
            </a:r>
          </a:p>
          <a:p>
            <a:pPr marL="0" marR="0" lvl="0" indent="0" algn="l" defTabSz="914400" rtl="0" eaLnBrk="0" fontAlgn="base" latinLnBrk="0" hangingPunct="0">
              <a:lnSpc>
                <a:spcPct val="100000"/>
              </a:lnSpc>
              <a:spcBef>
                <a:spcPct val="0"/>
              </a:spcBef>
              <a:spcAft>
                <a:spcPct val="0"/>
              </a:spcAft>
              <a:buClrTx/>
              <a:buSzTx/>
              <a:buFontTx/>
              <a:buNone/>
              <a:tabLst/>
              <a:defRPr/>
            </a:pPr>
            <a:r>
              <a:rPr lang="de-DE" sz="2400" b="0" dirty="0" err="1">
                <a:latin typeface="Arial"/>
              </a:rPr>
              <a:t>Example</a:t>
            </a:r>
            <a:r>
              <a:rPr lang="de-DE" sz="2400" b="0" dirty="0">
                <a:latin typeface="Arial"/>
              </a:rPr>
              <a:t>: Campbell </a:t>
            </a:r>
            <a:r>
              <a:rPr lang="de-DE" sz="2400" b="0" dirty="0" err="1">
                <a:latin typeface="Arial"/>
              </a:rPr>
              <a:t>Diagram</a:t>
            </a:r>
            <a:r>
              <a:rPr lang="de-DE" sz="2400" b="0" dirty="0">
                <a:latin typeface="Arial"/>
              </a:rPr>
              <a:t> </a:t>
            </a:r>
            <a:r>
              <a:rPr lang="de-DE" sz="2400" b="0" dirty="0" err="1">
                <a:latin typeface="Arial"/>
              </a:rPr>
              <a:t>with</a:t>
            </a:r>
            <a:r>
              <a:rPr lang="de-DE" sz="2400" b="0" dirty="0">
                <a:latin typeface="Arial"/>
              </a:rPr>
              <a:t> VPF </a:t>
            </a:r>
            <a:r>
              <a:rPr lang="de-DE" sz="2400" b="0" dirty="0" err="1">
                <a:latin typeface="Arial"/>
              </a:rPr>
              <a:t>Excitation</a:t>
            </a:r>
            <a:r>
              <a:rPr lang="de-DE" sz="2400" b="0" dirty="0">
                <a:latin typeface="Arial"/>
              </a:rPr>
              <a:t> </a:t>
            </a:r>
            <a:r>
              <a:rPr lang="de-DE" sz="2400" b="0" dirty="0" err="1">
                <a:latin typeface="Arial"/>
              </a:rPr>
              <a:t>lines</a:t>
            </a:r>
            <a:r>
              <a:rPr lang="de-DE" sz="2400" b="0" dirty="0">
                <a:latin typeface="Arial"/>
              </a:rPr>
              <a:t> and Natural </a:t>
            </a:r>
            <a:r>
              <a:rPr lang="de-DE" sz="2400" b="0" dirty="0" err="1">
                <a:latin typeface="Arial"/>
              </a:rPr>
              <a:t>Frequencies</a:t>
            </a:r>
            <a:endParaRPr kumimoji="0" lang="de-DE" sz="2400" b="0" i="0" u="none" strike="noStrike" kern="1200" cap="none" spc="0" normalizeH="0" baseline="0" noProof="0" dirty="0">
              <a:ln>
                <a:noFill/>
              </a:ln>
              <a:effectLst/>
              <a:uLnTx/>
              <a:uFillTx/>
              <a:latin typeface="Arial"/>
              <a:ea typeface="+mn-ea"/>
              <a:cs typeface="+mn-cs"/>
            </a:endParaRPr>
          </a:p>
        </p:txBody>
      </p:sp>
      <p:sp>
        <p:nvSpPr>
          <p:cNvPr id="5" name="Textfeld 4">
            <a:extLst>
              <a:ext uri="{FF2B5EF4-FFF2-40B4-BE49-F238E27FC236}">
                <a16:creationId xmlns:a16="http://schemas.microsoft.com/office/drawing/2014/main" id="{78C1014F-E90C-1717-B99E-122B46E3B2F7}"/>
              </a:ext>
            </a:extLst>
          </p:cNvPr>
          <p:cNvSpPr txBox="1"/>
          <p:nvPr/>
        </p:nvSpPr>
        <p:spPr>
          <a:xfrm>
            <a:off x="437575" y="1231904"/>
            <a:ext cx="5596245" cy="5509200"/>
          </a:xfrm>
          <a:prstGeom prst="rect">
            <a:avLst/>
          </a:prstGeom>
          <a:noFill/>
        </p:spPr>
        <p:txBody>
          <a:bodyPr wrap="square" rtlCol="0">
            <a:spAutoFit/>
          </a:bodyPr>
          <a:lstStyle/>
          <a:p>
            <a:r>
              <a:rPr lang="de-DE" sz="2200" b="0" dirty="0">
                <a:latin typeface="+mn-lt"/>
              </a:rPr>
              <a:t>In </a:t>
            </a:r>
            <a:r>
              <a:rPr lang="de-DE" sz="2200" b="0" dirty="0" err="1">
                <a:latin typeface="+mn-lt"/>
              </a:rPr>
              <a:t>case</a:t>
            </a:r>
            <a:r>
              <a:rPr lang="de-DE" sz="2200" b="0" dirty="0">
                <a:latin typeface="+mn-lt"/>
              </a:rPr>
              <a:t> </a:t>
            </a:r>
            <a:r>
              <a:rPr lang="de-DE" sz="2200" b="0" dirty="0" err="1">
                <a:latin typeface="+mn-lt"/>
              </a:rPr>
              <a:t>of</a:t>
            </a:r>
            <a:r>
              <a:rPr lang="de-DE" sz="2200" b="0" dirty="0">
                <a:latin typeface="+mn-lt"/>
              </a:rPr>
              <a:t> </a:t>
            </a:r>
            <a:r>
              <a:rPr lang="de-DE" sz="2200" b="0" dirty="0" err="1">
                <a:latin typeface="+mn-lt"/>
              </a:rPr>
              <a:t>the</a:t>
            </a:r>
            <a:r>
              <a:rPr lang="de-DE" sz="2200" b="0" dirty="0">
                <a:latin typeface="+mn-lt"/>
              </a:rPr>
              <a:t>  </a:t>
            </a:r>
            <a:r>
              <a:rPr lang="de-DE" sz="2200" dirty="0">
                <a:solidFill>
                  <a:srgbClr val="0000FF"/>
                </a:solidFill>
                <a:latin typeface="+mn-lt"/>
              </a:rPr>
              <a:t>Boiler Feed Pump OL3</a:t>
            </a:r>
          </a:p>
          <a:p>
            <a:endParaRPr lang="de-DE" sz="2200" dirty="0">
              <a:latin typeface="+mn-lt"/>
            </a:endParaRPr>
          </a:p>
          <a:p>
            <a:r>
              <a:rPr lang="de-DE" sz="2200" dirty="0">
                <a:latin typeface="+mn-lt"/>
              </a:rPr>
              <a:t>          </a:t>
            </a:r>
            <a:r>
              <a:rPr lang="de-DE" sz="2200" dirty="0" err="1">
                <a:solidFill>
                  <a:srgbClr val="0000FF"/>
                </a:solidFill>
                <a:latin typeface="+mn-lt"/>
              </a:rPr>
              <a:t>f</a:t>
            </a:r>
            <a:r>
              <a:rPr lang="de-DE" sz="2200" baseline="-25000" dirty="0" err="1">
                <a:solidFill>
                  <a:srgbClr val="0000FF"/>
                </a:solidFill>
                <a:latin typeface="+mn-lt"/>
              </a:rPr>
              <a:t>rot</a:t>
            </a:r>
            <a:r>
              <a:rPr lang="de-DE" sz="2200" dirty="0">
                <a:solidFill>
                  <a:srgbClr val="0000FF"/>
                </a:solidFill>
                <a:latin typeface="+mn-lt"/>
              </a:rPr>
              <a:t>   =  93,2 Hz     and    N = 6</a:t>
            </a:r>
          </a:p>
          <a:p>
            <a:endParaRPr lang="de-DE" sz="2200" dirty="0">
              <a:latin typeface="+mn-lt"/>
            </a:endParaRPr>
          </a:p>
          <a:p>
            <a:r>
              <a:rPr lang="de-DE" sz="2200" b="0" dirty="0">
                <a:latin typeface="+mn-lt"/>
              </a:rPr>
              <a:t>The </a:t>
            </a:r>
            <a:r>
              <a:rPr lang="de-DE" sz="2200" dirty="0">
                <a:solidFill>
                  <a:srgbClr val="0000FF"/>
                </a:solidFill>
                <a:latin typeface="+mn-lt"/>
              </a:rPr>
              <a:t>Vane Passing </a:t>
            </a:r>
            <a:r>
              <a:rPr lang="de-DE" sz="2200" dirty="0" err="1">
                <a:solidFill>
                  <a:srgbClr val="0000FF"/>
                </a:solidFill>
                <a:latin typeface="+mn-lt"/>
              </a:rPr>
              <a:t>Frequencies</a:t>
            </a:r>
            <a:r>
              <a:rPr lang="de-DE" sz="2200" dirty="0">
                <a:solidFill>
                  <a:srgbClr val="0000FF"/>
                </a:solidFill>
                <a:latin typeface="+mn-lt"/>
              </a:rPr>
              <a:t> VPF </a:t>
            </a:r>
            <a:r>
              <a:rPr lang="de-DE" sz="2200" b="0" dirty="0" err="1">
                <a:latin typeface="+mn-lt"/>
              </a:rPr>
              <a:t>are</a:t>
            </a:r>
            <a:endParaRPr lang="de-DE" sz="2200" b="0" dirty="0">
              <a:latin typeface="+mn-lt"/>
            </a:endParaRPr>
          </a:p>
          <a:p>
            <a:endParaRPr lang="de-DE" sz="2200" dirty="0">
              <a:latin typeface="+mn-lt"/>
            </a:endParaRPr>
          </a:p>
          <a:p>
            <a:r>
              <a:rPr lang="de-DE" sz="2200" dirty="0">
                <a:latin typeface="+mn-lt"/>
              </a:rPr>
              <a:t> </a:t>
            </a:r>
            <a:r>
              <a:rPr lang="de-DE" sz="2200" dirty="0">
                <a:solidFill>
                  <a:srgbClr val="0000FF"/>
                </a:solidFill>
                <a:latin typeface="+mn-lt"/>
              </a:rPr>
              <a:t>VPF =  560 Hz  </a:t>
            </a:r>
            <a:r>
              <a:rPr lang="de-DE" sz="2200" b="0" dirty="0">
                <a:latin typeface="+mn-lt"/>
              </a:rPr>
              <a:t>and</a:t>
            </a:r>
            <a:r>
              <a:rPr lang="de-DE" sz="2200" dirty="0">
                <a:solidFill>
                  <a:srgbClr val="0000FF"/>
                </a:solidFill>
                <a:latin typeface="+mn-lt"/>
              </a:rPr>
              <a:t>  2 VPF = 1120 Hz</a:t>
            </a:r>
          </a:p>
          <a:p>
            <a:endParaRPr lang="de-DE" sz="2200" dirty="0">
              <a:solidFill>
                <a:srgbClr val="0000FF"/>
              </a:solidFill>
              <a:latin typeface="+mn-lt"/>
            </a:endParaRPr>
          </a:p>
          <a:p>
            <a:r>
              <a:rPr lang="de-DE" sz="2200" b="0" dirty="0">
                <a:latin typeface="+mn-lt"/>
              </a:rPr>
              <a:t>In a </a:t>
            </a:r>
            <a:r>
              <a:rPr lang="de-DE" sz="2200" dirty="0">
                <a:solidFill>
                  <a:srgbClr val="0000FF"/>
                </a:solidFill>
                <a:latin typeface="+mn-lt"/>
              </a:rPr>
              <a:t>Campbell </a:t>
            </a:r>
            <a:r>
              <a:rPr lang="de-DE" sz="2200" dirty="0" err="1">
                <a:solidFill>
                  <a:srgbClr val="0000FF"/>
                </a:solidFill>
                <a:latin typeface="+mn-lt"/>
              </a:rPr>
              <a:t>Diagram</a:t>
            </a:r>
            <a:r>
              <a:rPr lang="de-DE" sz="2200" dirty="0">
                <a:solidFill>
                  <a:srgbClr val="0000FF"/>
                </a:solidFill>
                <a:latin typeface="+mn-lt"/>
              </a:rPr>
              <a:t> </a:t>
            </a:r>
            <a:r>
              <a:rPr lang="de-DE" sz="2200" b="0" dirty="0" err="1">
                <a:latin typeface="+mn-lt"/>
              </a:rPr>
              <a:t>we</a:t>
            </a:r>
            <a:r>
              <a:rPr lang="de-DE" sz="2200" b="0" dirty="0">
                <a:latin typeface="+mn-lt"/>
              </a:rPr>
              <a:t> </a:t>
            </a:r>
            <a:r>
              <a:rPr lang="de-DE" sz="2200" b="0" dirty="0" err="1">
                <a:latin typeface="+mn-lt"/>
              </a:rPr>
              <a:t>can</a:t>
            </a:r>
            <a:r>
              <a:rPr lang="de-DE" sz="2200" b="0" dirty="0">
                <a:latin typeface="+mn-lt"/>
              </a:rPr>
              <a:t> find possible </a:t>
            </a:r>
            <a:r>
              <a:rPr lang="de-DE" sz="2200" dirty="0" err="1">
                <a:solidFill>
                  <a:srgbClr val="0000FF"/>
                </a:solidFill>
                <a:latin typeface="+mn-lt"/>
              </a:rPr>
              <a:t>Resonances</a:t>
            </a:r>
            <a:r>
              <a:rPr lang="de-DE" sz="2200" dirty="0">
                <a:solidFill>
                  <a:srgbClr val="0000FF"/>
                </a:solidFill>
                <a:latin typeface="+mn-lt"/>
              </a:rPr>
              <a:t>, </a:t>
            </a:r>
            <a:r>
              <a:rPr lang="de-DE" sz="2200" b="0" dirty="0" err="1">
                <a:latin typeface="+mn-lt"/>
              </a:rPr>
              <a:t>when</a:t>
            </a:r>
            <a:r>
              <a:rPr lang="de-DE" sz="2200" b="0" dirty="0">
                <a:latin typeface="+mn-lt"/>
              </a:rPr>
              <a:t> </a:t>
            </a:r>
            <a:r>
              <a:rPr lang="de-DE" sz="2200" b="0" dirty="0" err="1">
                <a:latin typeface="+mn-lt"/>
              </a:rPr>
              <a:t>the</a:t>
            </a:r>
            <a:r>
              <a:rPr lang="de-DE" sz="2200" b="0" dirty="0">
                <a:latin typeface="+mn-lt"/>
              </a:rPr>
              <a:t> </a:t>
            </a:r>
            <a:r>
              <a:rPr lang="de-DE" sz="2200" b="0" dirty="0" err="1">
                <a:latin typeface="+mn-lt"/>
              </a:rPr>
              <a:t>speed</a:t>
            </a:r>
            <a:r>
              <a:rPr lang="de-DE" sz="2200" b="0" dirty="0">
                <a:latin typeface="+mn-lt"/>
              </a:rPr>
              <a:t> </a:t>
            </a:r>
            <a:r>
              <a:rPr lang="de-DE" sz="2200" b="0" dirty="0" err="1">
                <a:latin typeface="+mn-lt"/>
              </a:rPr>
              <a:t>dependent</a:t>
            </a:r>
            <a:r>
              <a:rPr lang="de-DE" sz="2200" b="0" dirty="0">
                <a:latin typeface="+mn-lt"/>
              </a:rPr>
              <a:t> </a:t>
            </a:r>
            <a:r>
              <a:rPr lang="de-DE" sz="2200" dirty="0" err="1">
                <a:solidFill>
                  <a:srgbClr val="0000FF"/>
                </a:solidFill>
                <a:latin typeface="+mn-lt"/>
              </a:rPr>
              <a:t>Excitation</a:t>
            </a:r>
            <a:r>
              <a:rPr lang="de-DE" sz="2200" dirty="0">
                <a:solidFill>
                  <a:srgbClr val="0000FF"/>
                </a:solidFill>
                <a:latin typeface="+mn-lt"/>
              </a:rPr>
              <a:t> </a:t>
            </a:r>
            <a:r>
              <a:rPr lang="de-DE" sz="2200" dirty="0" err="1">
                <a:solidFill>
                  <a:srgbClr val="0000FF"/>
                </a:solidFill>
                <a:latin typeface="+mn-lt"/>
              </a:rPr>
              <a:t>Frequencies</a:t>
            </a:r>
            <a:r>
              <a:rPr lang="de-DE" sz="2200" dirty="0">
                <a:solidFill>
                  <a:srgbClr val="0000FF"/>
                </a:solidFill>
                <a:latin typeface="+mn-lt"/>
              </a:rPr>
              <a:t> VPF, </a:t>
            </a:r>
          </a:p>
          <a:p>
            <a:r>
              <a:rPr lang="de-DE" sz="2200" dirty="0">
                <a:solidFill>
                  <a:srgbClr val="0000FF"/>
                </a:solidFill>
                <a:latin typeface="+mn-lt"/>
              </a:rPr>
              <a:t>2 VPF, </a:t>
            </a:r>
            <a:r>
              <a:rPr lang="de-DE" sz="2200" b="0" dirty="0">
                <a:solidFill>
                  <a:srgbClr val="FF0000"/>
                </a:solidFill>
                <a:latin typeface="+mn-lt"/>
              </a:rPr>
              <a:t>…(</a:t>
            </a:r>
            <a:r>
              <a:rPr lang="de-DE" sz="2200" b="0" dirty="0" err="1">
                <a:solidFill>
                  <a:srgbClr val="FF0000"/>
                </a:solidFill>
                <a:latin typeface="+mn-lt"/>
              </a:rPr>
              <a:t>red</a:t>
            </a:r>
            <a:r>
              <a:rPr lang="de-DE" sz="2200" b="0" dirty="0">
                <a:solidFill>
                  <a:srgbClr val="FF0000"/>
                </a:solidFill>
                <a:latin typeface="+mn-lt"/>
              </a:rPr>
              <a:t> </a:t>
            </a:r>
            <a:r>
              <a:rPr lang="de-DE" sz="2200" b="0" dirty="0" err="1">
                <a:solidFill>
                  <a:srgbClr val="FF0000"/>
                </a:solidFill>
                <a:latin typeface="+mn-lt"/>
              </a:rPr>
              <a:t>lines</a:t>
            </a:r>
            <a:r>
              <a:rPr lang="de-DE" sz="2200" b="0" dirty="0">
                <a:solidFill>
                  <a:srgbClr val="FF0000"/>
                </a:solidFill>
                <a:latin typeface="+mn-lt"/>
              </a:rPr>
              <a:t>) </a:t>
            </a:r>
            <a:r>
              <a:rPr lang="de-DE" sz="2200" b="0" dirty="0" err="1">
                <a:latin typeface="+mn-lt"/>
              </a:rPr>
              <a:t>cross</a:t>
            </a:r>
            <a:r>
              <a:rPr lang="de-DE" sz="2200" dirty="0">
                <a:solidFill>
                  <a:srgbClr val="0000FF"/>
                </a:solidFill>
                <a:latin typeface="+mn-lt"/>
              </a:rPr>
              <a:t> </a:t>
            </a:r>
            <a:r>
              <a:rPr lang="de-DE" sz="2200" b="0" dirty="0" err="1">
                <a:latin typeface="+mn-lt"/>
              </a:rPr>
              <a:t>the</a:t>
            </a:r>
            <a:r>
              <a:rPr lang="de-DE" sz="2200" b="0" dirty="0">
                <a:latin typeface="+mn-lt"/>
              </a:rPr>
              <a:t> </a:t>
            </a:r>
            <a:r>
              <a:rPr lang="de-DE" sz="2200" dirty="0">
                <a:solidFill>
                  <a:srgbClr val="0000FF"/>
                </a:solidFill>
                <a:latin typeface="+mn-lt"/>
              </a:rPr>
              <a:t>lateral </a:t>
            </a:r>
            <a:r>
              <a:rPr lang="de-DE" sz="2200" dirty="0" err="1">
                <a:solidFill>
                  <a:srgbClr val="0000FF"/>
                </a:solidFill>
                <a:latin typeface="+mn-lt"/>
              </a:rPr>
              <a:t>natural</a:t>
            </a:r>
            <a:r>
              <a:rPr lang="de-DE" sz="2200" dirty="0">
                <a:solidFill>
                  <a:srgbClr val="0000FF"/>
                </a:solidFill>
                <a:latin typeface="+mn-lt"/>
              </a:rPr>
              <a:t> </a:t>
            </a:r>
            <a:r>
              <a:rPr lang="de-DE" sz="2200" dirty="0" err="1">
                <a:solidFill>
                  <a:srgbClr val="0000FF"/>
                </a:solidFill>
                <a:latin typeface="+mn-lt"/>
              </a:rPr>
              <a:t>frequencies</a:t>
            </a:r>
            <a:r>
              <a:rPr lang="de-DE" sz="2200" dirty="0">
                <a:solidFill>
                  <a:srgbClr val="0000FF"/>
                </a:solidFill>
                <a:latin typeface="+mn-lt"/>
              </a:rPr>
              <a:t> </a:t>
            </a:r>
            <a:r>
              <a:rPr lang="de-DE" sz="2200" b="0" dirty="0">
                <a:solidFill>
                  <a:srgbClr val="0000FF"/>
                </a:solidFill>
                <a:latin typeface="+mn-lt"/>
              </a:rPr>
              <a:t>(</a:t>
            </a:r>
            <a:r>
              <a:rPr lang="de-DE" sz="2200" b="0" dirty="0" err="1">
                <a:solidFill>
                  <a:srgbClr val="0000FF"/>
                </a:solidFill>
                <a:latin typeface="+mn-lt"/>
              </a:rPr>
              <a:t>blue</a:t>
            </a:r>
            <a:r>
              <a:rPr lang="de-DE" sz="2200" b="0" dirty="0">
                <a:solidFill>
                  <a:srgbClr val="0000FF"/>
                </a:solidFill>
                <a:latin typeface="+mn-lt"/>
              </a:rPr>
              <a:t> </a:t>
            </a:r>
            <a:r>
              <a:rPr lang="de-DE" sz="2200" b="0" dirty="0" err="1">
                <a:solidFill>
                  <a:srgbClr val="0000FF"/>
                </a:solidFill>
                <a:latin typeface="+mn-lt"/>
              </a:rPr>
              <a:t>lines</a:t>
            </a:r>
            <a:r>
              <a:rPr lang="de-DE" sz="2200" b="0" dirty="0">
                <a:solidFill>
                  <a:srgbClr val="0000FF"/>
                </a:solidFill>
                <a:latin typeface="+mn-lt"/>
              </a:rPr>
              <a:t>).</a:t>
            </a:r>
            <a:endParaRPr lang="de-DE" sz="2200" b="0" dirty="0">
              <a:latin typeface="+mn-lt"/>
            </a:endParaRPr>
          </a:p>
          <a:p>
            <a:endParaRPr lang="de-DE" sz="2200" dirty="0">
              <a:solidFill>
                <a:srgbClr val="0000FF"/>
              </a:solidFill>
              <a:latin typeface="+mn-lt"/>
            </a:endParaRPr>
          </a:p>
          <a:p>
            <a:r>
              <a:rPr lang="de-DE" sz="2200" b="0" dirty="0" err="1">
                <a:latin typeface="+mn-lt"/>
              </a:rPr>
              <a:t>To</a:t>
            </a:r>
            <a:r>
              <a:rPr lang="de-DE" sz="2200" b="0" dirty="0">
                <a:latin typeface="+mn-lt"/>
              </a:rPr>
              <a:t> find </a:t>
            </a:r>
            <a:r>
              <a:rPr lang="de-DE" sz="2200" b="0" dirty="0" err="1">
                <a:latin typeface="+mn-lt"/>
              </a:rPr>
              <a:t>the</a:t>
            </a:r>
            <a:r>
              <a:rPr lang="de-DE" sz="2200" b="0" dirty="0">
                <a:latin typeface="+mn-lt"/>
              </a:rPr>
              <a:t> </a:t>
            </a:r>
            <a:r>
              <a:rPr lang="de-DE" sz="2200" dirty="0" err="1">
                <a:solidFill>
                  <a:srgbClr val="0000FF"/>
                </a:solidFill>
                <a:latin typeface="+mn-lt"/>
              </a:rPr>
              <a:t>Resonances</a:t>
            </a:r>
            <a:r>
              <a:rPr lang="de-DE" sz="2200" dirty="0">
                <a:solidFill>
                  <a:srgbClr val="0000FF"/>
                </a:solidFill>
                <a:latin typeface="+mn-lt"/>
              </a:rPr>
              <a:t> </a:t>
            </a:r>
            <a:r>
              <a:rPr lang="de-DE" sz="2200" b="0" dirty="0" err="1">
                <a:latin typeface="+mn-lt"/>
              </a:rPr>
              <a:t>the</a:t>
            </a:r>
            <a:r>
              <a:rPr lang="de-DE" sz="2200" dirty="0">
                <a:solidFill>
                  <a:srgbClr val="0000FF"/>
                </a:solidFill>
                <a:latin typeface="+mn-lt"/>
              </a:rPr>
              <a:t> lateral </a:t>
            </a:r>
            <a:r>
              <a:rPr lang="de-DE" sz="2200" dirty="0" err="1">
                <a:solidFill>
                  <a:srgbClr val="0000FF"/>
                </a:solidFill>
                <a:latin typeface="+mn-lt"/>
              </a:rPr>
              <a:t>natural</a:t>
            </a:r>
            <a:r>
              <a:rPr lang="de-DE" sz="2200" dirty="0">
                <a:solidFill>
                  <a:srgbClr val="0000FF"/>
                </a:solidFill>
                <a:latin typeface="+mn-lt"/>
              </a:rPr>
              <a:t> </a:t>
            </a:r>
            <a:r>
              <a:rPr lang="de-DE" sz="2200" dirty="0" err="1">
                <a:solidFill>
                  <a:srgbClr val="0000FF"/>
                </a:solidFill>
                <a:latin typeface="+mn-lt"/>
              </a:rPr>
              <a:t>frequencies</a:t>
            </a:r>
            <a:r>
              <a:rPr lang="de-DE" sz="2200" dirty="0">
                <a:solidFill>
                  <a:srgbClr val="0000FF"/>
                </a:solidFill>
                <a:latin typeface="+mn-lt"/>
              </a:rPr>
              <a:t> </a:t>
            </a:r>
            <a:r>
              <a:rPr lang="de-DE" sz="2200" b="0" dirty="0" err="1">
                <a:latin typeface="+mn-lt"/>
              </a:rPr>
              <a:t>have</a:t>
            </a:r>
            <a:r>
              <a:rPr lang="de-DE" sz="2200" b="0" dirty="0">
                <a:latin typeface="+mn-lt"/>
              </a:rPr>
              <a:t> </a:t>
            </a:r>
            <a:r>
              <a:rPr lang="de-DE" sz="2200" b="0" dirty="0" err="1">
                <a:latin typeface="+mn-lt"/>
              </a:rPr>
              <a:t>to</a:t>
            </a:r>
            <a:r>
              <a:rPr lang="de-DE" sz="2200" b="0" dirty="0">
                <a:latin typeface="+mn-lt"/>
              </a:rPr>
              <a:t> </a:t>
            </a:r>
            <a:r>
              <a:rPr lang="de-DE" sz="2200" b="0" dirty="0" err="1">
                <a:latin typeface="+mn-lt"/>
              </a:rPr>
              <a:t>be</a:t>
            </a:r>
            <a:r>
              <a:rPr lang="de-DE" sz="2200" b="0" dirty="0">
                <a:latin typeface="+mn-lt"/>
              </a:rPr>
              <a:t> </a:t>
            </a:r>
            <a:r>
              <a:rPr lang="de-DE" sz="2200" b="0" dirty="0" err="1">
                <a:latin typeface="+mn-lt"/>
              </a:rPr>
              <a:t>determined</a:t>
            </a:r>
            <a:r>
              <a:rPr lang="de-DE" sz="2200" dirty="0">
                <a:solidFill>
                  <a:srgbClr val="0000FF"/>
                </a:solidFill>
                <a:latin typeface="+mn-lt"/>
              </a:rPr>
              <a:t>.</a:t>
            </a:r>
          </a:p>
        </p:txBody>
      </p:sp>
    </p:spTree>
    <p:extLst>
      <p:ext uri="{BB962C8B-B14F-4D97-AF65-F5344CB8AC3E}">
        <p14:creationId xmlns:p14="http://schemas.microsoft.com/office/powerpoint/2010/main" val="314121806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feld 1">
            <a:extLst>
              <a:ext uri="{FF2B5EF4-FFF2-40B4-BE49-F238E27FC236}">
                <a16:creationId xmlns:a16="http://schemas.microsoft.com/office/drawing/2014/main" id="{F765C75D-38B1-329D-E3A6-EC5105A8DF24}"/>
              </a:ext>
            </a:extLst>
          </p:cNvPr>
          <p:cNvSpPr txBox="1"/>
          <p:nvPr/>
        </p:nvSpPr>
        <p:spPr>
          <a:xfrm>
            <a:off x="909306" y="1490133"/>
            <a:ext cx="10325961" cy="4673600"/>
          </a:xfrm>
          <a:prstGeom prst="rect">
            <a:avLst/>
          </a:prstGeom>
          <a:solidFill>
            <a:schemeClr val="lt1"/>
          </a:solidFill>
          <a:ln w="38100">
            <a:solidFill>
              <a:schemeClr val="bg1"/>
            </a:solidFill>
          </a:ln>
        </p:spPr>
        <p:txBody>
          <a:bodyPr rot="0" spcFirstLastPara="0" vert="horz" wrap="square" lIns="91440" tIns="45720" rIns="91440" bIns="45720" numCol="1" spcCol="0" rtlCol="0" fromWordArt="0" anchor="t" anchorCtr="0" forceAA="0" compatLnSpc="1">
            <a:prstTxWarp prst="textNoShape">
              <a:avLst/>
            </a:prstTxWarp>
            <a:noAutofit/>
          </a:bodyPr>
          <a:lstStyle/>
          <a:p>
            <a:pPr marR="0" lvl="0" algn="l" defTabSz="914400" rtl="0" eaLnBrk="1" fontAlgn="auto" latinLnBrk="0" hangingPunct="1">
              <a:lnSpc>
                <a:spcPct val="107000"/>
              </a:lnSpc>
              <a:spcBef>
                <a:spcPts val="0"/>
              </a:spcBef>
              <a:spcAft>
                <a:spcPts val="800"/>
              </a:spcAft>
              <a:buClrTx/>
              <a:buSzTx/>
              <a:tabLst/>
              <a:defRPr/>
            </a:pPr>
            <a:r>
              <a:rPr lang="de-DE" sz="2200" b="0" kern="100" dirty="0">
                <a:latin typeface="Arial" panose="020B0604020202020204" pitchFamily="34" charset="0"/>
                <a:ea typeface="Calibri" panose="020F0502020204030204" pitchFamily="34" charset="0"/>
                <a:cs typeface="Arial" panose="020B0604020202020204" pitchFamily="34" charset="0"/>
              </a:rPr>
              <a:t>The </a:t>
            </a:r>
            <a:r>
              <a:rPr lang="de-DE" sz="2200" kern="100" dirty="0" err="1">
                <a:solidFill>
                  <a:srgbClr val="0000FF"/>
                </a:solidFill>
                <a:latin typeface="Arial" panose="020B0604020202020204" pitchFamily="34" charset="0"/>
                <a:ea typeface="Calibri" panose="020F0502020204030204" pitchFamily="34" charset="0"/>
                <a:cs typeface="Arial" panose="020B0604020202020204" pitchFamily="34" charset="0"/>
              </a:rPr>
              <a:t>measured</a:t>
            </a:r>
            <a:r>
              <a:rPr lang="de-DE" sz="2200" kern="100" dirty="0">
                <a:solidFill>
                  <a:srgbClr val="0000FF"/>
                </a:solidFill>
                <a:latin typeface="Arial" panose="020B0604020202020204" pitchFamily="34" charset="0"/>
                <a:ea typeface="Calibri" panose="020F0502020204030204" pitchFamily="34" charset="0"/>
                <a:cs typeface="Arial" panose="020B0604020202020204" pitchFamily="34" charset="0"/>
              </a:rPr>
              <a:t> </a:t>
            </a:r>
            <a:r>
              <a:rPr lang="de-DE" sz="2200" kern="100" dirty="0" err="1">
                <a:solidFill>
                  <a:srgbClr val="0000FF"/>
                </a:solidFill>
                <a:latin typeface="Arial" panose="020B0604020202020204" pitchFamily="34" charset="0"/>
                <a:ea typeface="Calibri" panose="020F0502020204030204" pitchFamily="34" charset="0"/>
                <a:cs typeface="Arial" panose="020B0604020202020204" pitchFamily="34" charset="0"/>
              </a:rPr>
              <a:t>vibrations</a:t>
            </a:r>
            <a:r>
              <a:rPr lang="de-DE" sz="2200" kern="100" dirty="0">
                <a:solidFill>
                  <a:srgbClr val="0000FF"/>
                </a:solidFill>
                <a:latin typeface="Arial" panose="020B0604020202020204" pitchFamily="34" charset="0"/>
                <a:ea typeface="Calibri" panose="020F0502020204030204" pitchFamily="34" charset="0"/>
                <a:cs typeface="Arial" panose="020B0604020202020204" pitchFamily="34" charset="0"/>
              </a:rPr>
              <a:t> </a:t>
            </a:r>
            <a:r>
              <a:rPr lang="de-DE" sz="2200" b="0" kern="100" dirty="0">
                <a:latin typeface="Arial" panose="020B0604020202020204" pitchFamily="34" charset="0"/>
                <a:ea typeface="Calibri" panose="020F0502020204030204" pitchFamily="34" charset="0"/>
                <a:cs typeface="Arial" panose="020B0604020202020204" pitchFamily="34" charset="0"/>
              </a:rPr>
              <a:t>at </a:t>
            </a:r>
            <a:r>
              <a:rPr lang="de-DE" sz="2200" b="0" kern="100" dirty="0" err="1">
                <a:latin typeface="Arial" panose="020B0604020202020204" pitchFamily="34" charset="0"/>
                <a:ea typeface="Calibri" panose="020F0502020204030204" pitchFamily="34" charset="0"/>
                <a:cs typeface="Arial" panose="020B0604020202020204" pitchFamily="34" charset="0"/>
              </a:rPr>
              <a:t>the</a:t>
            </a:r>
            <a:r>
              <a:rPr lang="de-DE" sz="2200" b="0" kern="100" dirty="0">
                <a:latin typeface="Arial" panose="020B0604020202020204" pitchFamily="34" charset="0"/>
                <a:ea typeface="Calibri" panose="020F0502020204030204" pitchFamily="34" charset="0"/>
                <a:cs typeface="Arial" panose="020B0604020202020204" pitchFamily="34" charset="0"/>
              </a:rPr>
              <a:t> </a:t>
            </a:r>
            <a:r>
              <a:rPr lang="de-DE" sz="2200" b="0" kern="100" dirty="0" err="1">
                <a:latin typeface="Arial" panose="020B0604020202020204" pitchFamily="34" charset="0"/>
                <a:ea typeface="Calibri" panose="020F0502020204030204" pitchFamily="34" charset="0"/>
                <a:cs typeface="Arial" panose="020B0604020202020204" pitchFamily="34" charset="0"/>
              </a:rPr>
              <a:t>Feedwater</a:t>
            </a:r>
            <a:r>
              <a:rPr lang="de-DE" sz="2200" b="0" kern="100" dirty="0">
                <a:latin typeface="Arial" panose="020B0604020202020204" pitchFamily="34" charset="0"/>
                <a:ea typeface="Calibri" panose="020F0502020204030204" pitchFamily="34" charset="0"/>
                <a:cs typeface="Arial" panose="020B0604020202020204" pitchFamily="34" charset="0"/>
              </a:rPr>
              <a:t> pump OL3 </a:t>
            </a:r>
            <a:r>
              <a:rPr lang="de-DE" sz="2200" b="0" kern="100" dirty="0" err="1">
                <a:latin typeface="Arial" panose="020B0604020202020204" pitchFamily="34" charset="0"/>
                <a:ea typeface="Calibri" panose="020F0502020204030204" pitchFamily="34" charset="0"/>
                <a:cs typeface="Arial" panose="020B0604020202020204" pitchFamily="34" charset="0"/>
              </a:rPr>
              <a:t>show</a:t>
            </a:r>
            <a:r>
              <a:rPr lang="de-DE" sz="2200" b="0" kern="100" dirty="0">
                <a:latin typeface="Arial" panose="020B0604020202020204" pitchFamily="34" charset="0"/>
                <a:ea typeface="Calibri" panose="020F0502020204030204" pitchFamily="34" charset="0"/>
                <a:cs typeface="Arial" panose="020B0604020202020204" pitchFamily="34" charset="0"/>
              </a:rPr>
              <a:t>, </a:t>
            </a:r>
            <a:r>
              <a:rPr lang="de-DE" sz="2200" b="0" kern="100" dirty="0" err="1">
                <a:latin typeface="Arial" panose="020B0604020202020204" pitchFamily="34" charset="0"/>
                <a:ea typeface="Calibri" panose="020F0502020204030204" pitchFamily="34" charset="0"/>
                <a:cs typeface="Arial" panose="020B0604020202020204" pitchFamily="34" charset="0"/>
              </a:rPr>
              <a:t>that</a:t>
            </a:r>
            <a:r>
              <a:rPr lang="de-DE" sz="2200" b="0" kern="100" dirty="0">
                <a:latin typeface="Arial" panose="020B0604020202020204" pitchFamily="34" charset="0"/>
                <a:ea typeface="Calibri" panose="020F0502020204030204" pitchFamily="34" charset="0"/>
                <a:cs typeface="Arial" panose="020B0604020202020204" pitchFamily="34" charset="0"/>
              </a:rPr>
              <a:t> </a:t>
            </a:r>
            <a:r>
              <a:rPr lang="de-DE" sz="2200" kern="100" dirty="0" err="1">
                <a:solidFill>
                  <a:srgbClr val="0000FF"/>
                </a:solidFill>
                <a:latin typeface="Arial" panose="020B0604020202020204" pitchFamily="34" charset="0"/>
                <a:ea typeface="Calibri" panose="020F0502020204030204" pitchFamily="34" charset="0"/>
                <a:cs typeface="Arial" panose="020B0604020202020204" pitchFamily="34" charset="0"/>
              </a:rPr>
              <a:t>synchronous</a:t>
            </a:r>
            <a:r>
              <a:rPr lang="de-DE" sz="2200" kern="100" dirty="0">
                <a:solidFill>
                  <a:srgbClr val="0000FF"/>
                </a:solidFill>
                <a:latin typeface="Arial" panose="020B0604020202020204" pitchFamily="34" charset="0"/>
                <a:ea typeface="Calibri" panose="020F0502020204030204" pitchFamily="34" charset="0"/>
                <a:cs typeface="Arial" panose="020B0604020202020204" pitchFamily="34" charset="0"/>
              </a:rPr>
              <a:t> </a:t>
            </a:r>
            <a:r>
              <a:rPr lang="de-DE" sz="2200" kern="100" dirty="0" err="1">
                <a:solidFill>
                  <a:srgbClr val="0000FF"/>
                </a:solidFill>
                <a:latin typeface="Arial" panose="020B0604020202020204" pitchFamily="34" charset="0"/>
                <a:ea typeface="Calibri" panose="020F0502020204030204" pitchFamily="34" charset="0"/>
                <a:cs typeface="Arial" panose="020B0604020202020204" pitchFamily="34" charset="0"/>
              </a:rPr>
              <a:t>vibrations</a:t>
            </a:r>
            <a:r>
              <a:rPr lang="de-DE" sz="2200" kern="100" dirty="0">
                <a:solidFill>
                  <a:srgbClr val="0000FF"/>
                </a:solidFill>
                <a:latin typeface="Arial" panose="020B0604020202020204" pitchFamily="34" charset="0"/>
                <a:ea typeface="Calibri" panose="020F0502020204030204" pitchFamily="34" charset="0"/>
                <a:cs typeface="Arial" panose="020B0604020202020204" pitchFamily="34" charset="0"/>
              </a:rPr>
              <a:t> </a:t>
            </a:r>
            <a:r>
              <a:rPr lang="de-DE" sz="2200" b="0" kern="100" dirty="0" err="1">
                <a:latin typeface="Arial" panose="020B0604020202020204" pitchFamily="34" charset="0"/>
                <a:ea typeface="Calibri" panose="020F0502020204030204" pitchFamily="34" charset="0"/>
                <a:cs typeface="Arial" panose="020B0604020202020204" pitchFamily="34" charset="0"/>
              </a:rPr>
              <a:t>with</a:t>
            </a:r>
            <a:r>
              <a:rPr lang="de-DE" sz="2200" b="0" kern="100" dirty="0">
                <a:latin typeface="Arial" panose="020B0604020202020204" pitchFamily="34" charset="0"/>
                <a:ea typeface="Calibri" panose="020F0502020204030204" pitchFamily="34" charset="0"/>
                <a:cs typeface="Arial" panose="020B0604020202020204" pitchFamily="34" charset="0"/>
              </a:rPr>
              <a:t> angular </a:t>
            </a:r>
            <a:r>
              <a:rPr lang="de-DE" sz="2200" b="0" kern="100" dirty="0" err="1">
                <a:latin typeface="Arial" panose="020B0604020202020204" pitchFamily="34" charset="0"/>
                <a:ea typeface="Calibri" panose="020F0502020204030204" pitchFamily="34" charset="0"/>
                <a:cs typeface="Arial" panose="020B0604020202020204" pitchFamily="34" charset="0"/>
              </a:rPr>
              <a:t>velocity</a:t>
            </a:r>
            <a:r>
              <a:rPr lang="de-DE" sz="2200" b="0" kern="100" dirty="0">
                <a:latin typeface="Arial" panose="020B0604020202020204" pitchFamily="34" charset="0"/>
                <a:ea typeface="Calibri" panose="020F0502020204030204" pitchFamily="34" charset="0"/>
                <a:cs typeface="Arial" panose="020B0604020202020204" pitchFamily="34" charset="0"/>
              </a:rPr>
              <a:t> </a:t>
            </a:r>
            <a:r>
              <a:rPr lang="el-GR" sz="2200" b="0" kern="100" dirty="0">
                <a:latin typeface="Arial" panose="020B0604020202020204" pitchFamily="34" charset="0"/>
                <a:ea typeface="Calibri" panose="020F0502020204030204" pitchFamily="34" charset="0"/>
                <a:cs typeface="Arial" panose="020B0604020202020204" pitchFamily="34" charset="0"/>
              </a:rPr>
              <a:t>Ω</a:t>
            </a:r>
            <a:r>
              <a:rPr lang="de-DE" sz="2200" b="0" kern="100" dirty="0">
                <a:latin typeface="Arial" panose="020B0604020202020204" pitchFamily="34" charset="0"/>
                <a:ea typeface="Calibri" panose="020F0502020204030204" pitchFamily="34" charset="0"/>
                <a:cs typeface="Arial" panose="020B0604020202020204" pitchFamily="34" charset="0"/>
              </a:rPr>
              <a:t> (</a:t>
            </a:r>
            <a:r>
              <a:rPr lang="de-DE" sz="2200" b="0" kern="100" dirty="0" err="1">
                <a:latin typeface="Arial" panose="020B0604020202020204" pitchFamily="34" charset="0"/>
                <a:ea typeface="Calibri" panose="020F0502020204030204" pitchFamily="34" charset="0"/>
                <a:cs typeface="Arial" panose="020B0604020202020204" pitchFamily="34" charset="0"/>
              </a:rPr>
              <a:t>rotational</a:t>
            </a:r>
            <a:r>
              <a:rPr lang="de-DE" sz="2200" b="0" kern="100" dirty="0">
                <a:latin typeface="Arial" panose="020B0604020202020204" pitchFamily="34" charset="0"/>
                <a:ea typeface="Calibri" panose="020F0502020204030204" pitchFamily="34" charset="0"/>
                <a:cs typeface="Arial" panose="020B0604020202020204" pitchFamily="34" charset="0"/>
              </a:rPr>
              <a:t> </a:t>
            </a:r>
            <a:r>
              <a:rPr lang="de-DE" sz="2200" b="0" kern="100" dirty="0" err="1">
                <a:latin typeface="Arial" panose="020B0604020202020204" pitchFamily="34" charset="0"/>
                <a:ea typeface="Calibri" panose="020F0502020204030204" pitchFamily="34" charset="0"/>
                <a:cs typeface="Arial" panose="020B0604020202020204" pitchFamily="34" charset="0"/>
              </a:rPr>
              <a:t>frequency</a:t>
            </a:r>
            <a:r>
              <a:rPr lang="de-DE" sz="2200" b="0" kern="100" dirty="0">
                <a:latin typeface="Arial" panose="020B0604020202020204" pitchFamily="34" charset="0"/>
                <a:ea typeface="Calibri" panose="020F0502020204030204" pitchFamily="34" charset="0"/>
                <a:cs typeface="Arial" panose="020B0604020202020204" pitchFamily="34" charset="0"/>
              </a:rPr>
              <a:t> </a:t>
            </a:r>
            <a:r>
              <a:rPr lang="de-DE" sz="2200" b="0" kern="100" dirty="0" err="1">
                <a:latin typeface="Arial" panose="020B0604020202020204" pitchFamily="34" charset="0"/>
                <a:ea typeface="Calibri" panose="020F0502020204030204" pitchFamily="34" charset="0"/>
                <a:cs typeface="Arial" panose="020B0604020202020204" pitchFamily="34" charset="0"/>
              </a:rPr>
              <a:t>of</a:t>
            </a:r>
            <a:r>
              <a:rPr lang="de-DE" sz="2200" b="0" kern="100" dirty="0">
                <a:latin typeface="Arial" panose="020B0604020202020204" pitchFamily="34" charset="0"/>
                <a:ea typeface="Calibri" panose="020F0502020204030204" pitchFamily="34" charset="0"/>
                <a:cs typeface="Arial" panose="020B0604020202020204" pitchFamily="34" charset="0"/>
              </a:rPr>
              <a:t> </a:t>
            </a:r>
            <a:r>
              <a:rPr lang="de-DE" sz="2200" b="0" kern="100" dirty="0" err="1">
                <a:latin typeface="Arial" panose="020B0604020202020204" pitchFamily="34" charset="0"/>
                <a:ea typeface="Calibri" panose="020F0502020204030204" pitchFamily="34" charset="0"/>
                <a:cs typeface="Arial" panose="020B0604020202020204" pitchFamily="34" charset="0"/>
              </a:rPr>
              <a:t>the</a:t>
            </a:r>
            <a:r>
              <a:rPr lang="de-DE" sz="2200" b="0" kern="100" dirty="0">
                <a:latin typeface="Arial" panose="020B0604020202020204" pitchFamily="34" charset="0"/>
                <a:ea typeface="Calibri" panose="020F0502020204030204" pitchFamily="34" charset="0"/>
                <a:cs typeface="Arial" panose="020B0604020202020204" pitchFamily="34" charset="0"/>
              </a:rPr>
              <a:t> pump </a:t>
            </a:r>
            <a:r>
              <a:rPr lang="de-DE" sz="2200" b="0" kern="100" dirty="0" err="1">
                <a:latin typeface="Arial" panose="020B0604020202020204" pitchFamily="34" charset="0"/>
                <a:ea typeface="Calibri" panose="020F0502020204030204" pitchFamily="34" charset="0"/>
                <a:cs typeface="Arial" panose="020B0604020202020204" pitchFamily="34" charset="0"/>
              </a:rPr>
              <a:t>shaft</a:t>
            </a:r>
            <a:r>
              <a:rPr lang="de-DE" sz="2200" b="0" kern="100" dirty="0">
                <a:latin typeface="Arial" panose="020B0604020202020204" pitchFamily="34" charset="0"/>
                <a:ea typeface="Calibri" panose="020F0502020204030204" pitchFamily="34" charset="0"/>
                <a:cs typeface="Arial" panose="020B0604020202020204" pitchFamily="34" charset="0"/>
              </a:rPr>
              <a:t>)  </a:t>
            </a:r>
            <a:r>
              <a:rPr lang="de-DE" sz="2200" b="0" kern="100" dirty="0" err="1">
                <a:latin typeface="Arial" panose="020B0604020202020204" pitchFamily="34" charset="0"/>
                <a:ea typeface="Calibri" panose="020F0502020204030204" pitchFamily="34" charset="0"/>
                <a:cs typeface="Arial" panose="020B0604020202020204" pitchFamily="34" charset="0"/>
              </a:rPr>
              <a:t>are</a:t>
            </a:r>
            <a:r>
              <a:rPr lang="de-DE" sz="2200" b="0" kern="100" dirty="0">
                <a:latin typeface="Arial" panose="020B0604020202020204" pitchFamily="34" charset="0"/>
                <a:ea typeface="Calibri" panose="020F0502020204030204" pitchFamily="34" charset="0"/>
                <a:cs typeface="Arial" panose="020B0604020202020204" pitchFamily="34" charset="0"/>
              </a:rPr>
              <a:t> also </a:t>
            </a:r>
            <a:r>
              <a:rPr lang="de-DE" sz="2200" b="0" kern="100" dirty="0" err="1">
                <a:latin typeface="Arial" panose="020B0604020202020204" pitchFamily="34" charset="0"/>
                <a:ea typeface="Calibri" panose="020F0502020204030204" pitchFamily="34" charset="0"/>
                <a:cs typeface="Arial" panose="020B0604020202020204" pitchFamily="34" charset="0"/>
              </a:rPr>
              <a:t>present</a:t>
            </a:r>
            <a:r>
              <a:rPr lang="de-DE" sz="2200" b="0" kern="100" dirty="0">
                <a:latin typeface="Arial" panose="020B0604020202020204" pitchFamily="34" charset="0"/>
                <a:ea typeface="Calibri" panose="020F0502020204030204" pitchFamily="34" charset="0"/>
                <a:cs typeface="Arial" panose="020B0604020202020204" pitchFamily="34" charset="0"/>
              </a:rPr>
              <a:t> in </a:t>
            </a:r>
            <a:r>
              <a:rPr lang="de-DE" sz="2200" b="0" kern="100" dirty="0" err="1">
                <a:latin typeface="Arial" panose="020B0604020202020204" pitchFamily="34" charset="0"/>
                <a:ea typeface="Calibri" panose="020F0502020204030204" pitchFamily="34" charset="0"/>
                <a:cs typeface="Arial" panose="020B0604020202020204" pitchFamily="34" charset="0"/>
              </a:rPr>
              <a:t>the</a:t>
            </a:r>
            <a:r>
              <a:rPr lang="de-DE" sz="2200" b="0" kern="100" dirty="0">
                <a:latin typeface="Arial" panose="020B0604020202020204" pitchFamily="34" charset="0"/>
                <a:ea typeface="Calibri" panose="020F0502020204030204" pitchFamily="34" charset="0"/>
                <a:cs typeface="Arial" panose="020B0604020202020204" pitchFamily="34" charset="0"/>
              </a:rPr>
              <a:t> </a:t>
            </a:r>
            <a:r>
              <a:rPr lang="de-DE" sz="2200" b="0" kern="100" dirty="0" err="1">
                <a:latin typeface="Arial" panose="020B0604020202020204" pitchFamily="34" charset="0"/>
                <a:ea typeface="Calibri" panose="020F0502020204030204" pitchFamily="34" charset="0"/>
                <a:cs typeface="Arial" panose="020B0604020202020204" pitchFamily="34" charset="0"/>
              </a:rPr>
              <a:t>frequency</a:t>
            </a:r>
            <a:r>
              <a:rPr lang="de-DE" sz="2200" b="0" kern="100" dirty="0">
                <a:latin typeface="Arial" panose="020B0604020202020204" pitchFamily="34" charset="0"/>
                <a:ea typeface="Calibri" panose="020F0502020204030204" pitchFamily="34" charset="0"/>
                <a:cs typeface="Arial" panose="020B0604020202020204" pitchFamily="34" charset="0"/>
              </a:rPr>
              <a:t> </a:t>
            </a:r>
            <a:r>
              <a:rPr lang="de-DE" sz="2200" b="0" kern="100" dirty="0" err="1">
                <a:latin typeface="Arial" panose="020B0604020202020204" pitchFamily="34" charset="0"/>
                <a:ea typeface="Calibri" panose="020F0502020204030204" pitchFamily="34" charset="0"/>
                <a:cs typeface="Arial" panose="020B0604020202020204" pitchFamily="34" charset="0"/>
              </a:rPr>
              <a:t>spectra</a:t>
            </a:r>
            <a:r>
              <a:rPr lang="de-DE" sz="2200" b="0" kern="100" dirty="0">
                <a:latin typeface="Arial" panose="020B0604020202020204" pitchFamily="34" charset="0"/>
                <a:ea typeface="Calibri" panose="020F0502020204030204" pitchFamily="34" charset="0"/>
                <a:cs typeface="Arial" panose="020B0604020202020204" pitchFamily="34" charset="0"/>
              </a:rPr>
              <a:t>.</a:t>
            </a:r>
          </a:p>
          <a:p>
            <a:pPr marR="0" lvl="0" algn="l" defTabSz="914400" rtl="0" eaLnBrk="1" fontAlgn="auto" latinLnBrk="0" hangingPunct="1">
              <a:lnSpc>
                <a:spcPct val="107000"/>
              </a:lnSpc>
              <a:spcBef>
                <a:spcPts val="0"/>
              </a:spcBef>
              <a:spcAft>
                <a:spcPts val="800"/>
              </a:spcAft>
              <a:buClrTx/>
              <a:buSzTx/>
              <a:tabLst/>
              <a:defRPr/>
            </a:pPr>
            <a:r>
              <a:rPr lang="de-DE" sz="2200" b="0" kern="100" dirty="0">
                <a:latin typeface="+mn-lt"/>
                <a:ea typeface="Calibri" panose="020F0502020204030204" pitchFamily="34" charset="0"/>
                <a:cs typeface="Arial" panose="020B0604020202020204" pitchFamily="34" charset="0"/>
              </a:rPr>
              <a:t>Due </a:t>
            </a:r>
            <a:r>
              <a:rPr lang="de-DE" sz="2200" b="0" kern="100" dirty="0" err="1">
                <a:latin typeface="+mn-lt"/>
                <a:ea typeface="Calibri" panose="020F0502020204030204" pitchFamily="34" charset="0"/>
                <a:cs typeface="Arial" panose="020B0604020202020204" pitchFamily="34" charset="0"/>
              </a:rPr>
              <a:t>to</a:t>
            </a:r>
            <a:r>
              <a:rPr lang="de-DE" sz="2200" b="0" kern="100" dirty="0">
                <a:latin typeface="+mn-lt"/>
                <a:ea typeface="Calibri" panose="020F0502020204030204" pitchFamily="34" charset="0"/>
                <a:cs typeface="Arial" panose="020B0604020202020204" pitchFamily="34" charset="0"/>
              </a:rPr>
              <a:t> </a:t>
            </a:r>
            <a:r>
              <a:rPr lang="de-DE" sz="2200" b="0" kern="100" dirty="0" err="1">
                <a:latin typeface="+mn-lt"/>
                <a:ea typeface="Calibri" panose="020F0502020204030204" pitchFamily="34" charset="0"/>
                <a:cs typeface="Arial" panose="020B0604020202020204" pitchFamily="34" charset="0"/>
              </a:rPr>
              <a:t>this</a:t>
            </a:r>
            <a:r>
              <a:rPr lang="de-DE" sz="2200" b="0" kern="100" dirty="0">
                <a:latin typeface="+mn-lt"/>
                <a:ea typeface="Calibri" panose="020F0502020204030204" pitchFamily="34" charset="0"/>
                <a:cs typeface="Arial" panose="020B0604020202020204" pitchFamily="34" charset="0"/>
              </a:rPr>
              <a:t> </a:t>
            </a:r>
            <a:r>
              <a:rPr lang="de-DE" sz="2200" b="0" kern="100" dirty="0" err="1">
                <a:latin typeface="+mn-lt"/>
                <a:ea typeface="Calibri" panose="020F0502020204030204" pitchFamily="34" charset="0"/>
                <a:cs typeface="Arial" panose="020B0604020202020204" pitchFamily="34" charset="0"/>
              </a:rPr>
              <a:t>fact</a:t>
            </a:r>
            <a:r>
              <a:rPr lang="de-DE" sz="2200" kern="100" dirty="0">
                <a:solidFill>
                  <a:srgbClr val="0000FF"/>
                </a:solidFill>
                <a:latin typeface="+mn-lt"/>
                <a:ea typeface="Calibri" panose="020F0502020204030204" pitchFamily="34" charset="0"/>
                <a:cs typeface="Arial" panose="020B0604020202020204" pitchFamily="34" charset="0"/>
              </a:rPr>
              <a:t> </a:t>
            </a:r>
            <a:r>
              <a:rPr lang="de-DE" sz="2200" kern="100" dirty="0" err="1">
                <a:solidFill>
                  <a:srgbClr val="0000FF"/>
                </a:solidFill>
                <a:latin typeface="+mn-lt"/>
                <a:ea typeface="Calibri" panose="020F0502020204030204" pitchFamily="34" charset="0"/>
                <a:cs typeface="Arial" panose="020B0604020202020204" pitchFamily="34" charset="0"/>
              </a:rPr>
              <a:t>Damages</a:t>
            </a:r>
            <a:r>
              <a:rPr lang="de-DE" sz="2200" b="0" kern="100" dirty="0">
                <a:latin typeface="+mn-lt"/>
                <a:ea typeface="Calibri" panose="020F0502020204030204" pitchFamily="34" charset="0"/>
                <a:cs typeface="Arial" panose="020B0604020202020204" pitchFamily="34" charset="0"/>
              </a:rPr>
              <a:t> in </a:t>
            </a:r>
            <a:r>
              <a:rPr lang="de-DE" sz="2200" b="0" kern="100" dirty="0" err="1">
                <a:latin typeface="+mn-lt"/>
                <a:ea typeface="Calibri" panose="020F0502020204030204" pitchFamily="34" charset="0"/>
                <a:cs typeface="Arial" panose="020B0604020202020204" pitchFamily="34" charset="0"/>
              </a:rPr>
              <a:t>the</a:t>
            </a:r>
            <a:r>
              <a:rPr lang="de-DE" sz="2200" b="0" kern="100" dirty="0">
                <a:latin typeface="+mn-lt"/>
                <a:ea typeface="Calibri" panose="020F0502020204030204" pitchFamily="34" charset="0"/>
                <a:cs typeface="Arial" panose="020B0604020202020204" pitchFamily="34" charset="0"/>
              </a:rPr>
              <a:t> </a:t>
            </a:r>
            <a:r>
              <a:rPr lang="de-DE" sz="2200" b="0" kern="100" dirty="0" err="1">
                <a:latin typeface="+mn-lt"/>
                <a:ea typeface="Calibri" panose="020F0502020204030204" pitchFamily="34" charset="0"/>
                <a:cs typeface="Arial" panose="020B0604020202020204" pitchFamily="34" charset="0"/>
              </a:rPr>
              <a:t>Feedwater</a:t>
            </a:r>
            <a:r>
              <a:rPr lang="de-DE" sz="2200" b="0" kern="100" dirty="0">
                <a:latin typeface="+mn-lt"/>
                <a:ea typeface="Calibri" panose="020F0502020204030204" pitchFamily="34" charset="0"/>
                <a:cs typeface="Arial" panose="020B0604020202020204" pitchFamily="34" charset="0"/>
              </a:rPr>
              <a:t> Pumps OL3 </a:t>
            </a:r>
            <a:r>
              <a:rPr lang="de-DE" sz="2200" b="0" kern="100" dirty="0" err="1">
                <a:latin typeface="+mn-lt"/>
                <a:ea typeface="Calibri" panose="020F0502020204030204" pitchFamily="34" charset="0"/>
                <a:cs typeface="Arial" panose="020B0604020202020204" pitchFamily="34" charset="0"/>
              </a:rPr>
              <a:t>may</a:t>
            </a:r>
            <a:r>
              <a:rPr lang="de-DE" sz="2200" b="0" kern="100" dirty="0">
                <a:latin typeface="+mn-lt"/>
                <a:ea typeface="Calibri" panose="020F0502020204030204" pitchFamily="34" charset="0"/>
                <a:cs typeface="Arial" panose="020B0604020202020204" pitchFamily="34" charset="0"/>
              </a:rPr>
              <a:t> also </a:t>
            </a:r>
            <a:r>
              <a:rPr lang="de-DE" sz="2200" b="0" kern="100" dirty="0" err="1">
                <a:latin typeface="+mn-lt"/>
                <a:ea typeface="Calibri" panose="020F0502020204030204" pitchFamily="34" charset="0"/>
                <a:cs typeface="Arial" panose="020B0604020202020204" pitchFamily="34" charset="0"/>
              </a:rPr>
              <a:t>be</a:t>
            </a:r>
            <a:r>
              <a:rPr lang="de-DE" sz="2200" b="0" kern="100" dirty="0">
                <a:latin typeface="+mn-lt"/>
                <a:ea typeface="Calibri" panose="020F0502020204030204" pitchFamily="34" charset="0"/>
                <a:cs typeface="Arial" panose="020B0604020202020204" pitchFamily="34" charset="0"/>
              </a:rPr>
              <a:t> </a:t>
            </a:r>
            <a:r>
              <a:rPr lang="de-DE" sz="2200" b="0" kern="100" dirty="0" err="1">
                <a:latin typeface="+mn-lt"/>
                <a:ea typeface="Calibri" panose="020F0502020204030204" pitchFamily="34" charset="0"/>
                <a:cs typeface="Arial" panose="020B0604020202020204" pitchFamily="34" charset="0"/>
              </a:rPr>
              <a:t>caused</a:t>
            </a:r>
            <a:r>
              <a:rPr lang="de-DE" sz="2200" b="0" kern="100" dirty="0">
                <a:latin typeface="+mn-lt"/>
                <a:ea typeface="Calibri" panose="020F0502020204030204" pitchFamily="34" charset="0"/>
                <a:cs typeface="Arial" panose="020B0604020202020204" pitchFamily="34" charset="0"/>
              </a:rPr>
              <a:t> by </a:t>
            </a:r>
            <a:r>
              <a:rPr lang="de-DE" sz="2200" kern="100" dirty="0" err="1">
                <a:solidFill>
                  <a:srgbClr val="0000FF"/>
                </a:solidFill>
                <a:latin typeface="+mn-lt"/>
                <a:ea typeface="Calibri" panose="020F0502020204030204" pitchFamily="34" charset="0"/>
                <a:cs typeface="Arial" panose="020B0604020202020204" pitchFamily="34" charset="0"/>
              </a:rPr>
              <a:t>Unbalance</a:t>
            </a:r>
            <a:r>
              <a:rPr lang="de-DE" sz="2200" kern="100" dirty="0">
                <a:solidFill>
                  <a:srgbClr val="0000FF"/>
                </a:solidFill>
                <a:latin typeface="+mn-lt"/>
                <a:ea typeface="Calibri" panose="020F0502020204030204" pitchFamily="34" charset="0"/>
                <a:cs typeface="Arial" panose="020B0604020202020204" pitchFamily="34" charset="0"/>
              </a:rPr>
              <a:t> </a:t>
            </a:r>
            <a:r>
              <a:rPr lang="de-DE" sz="2200" kern="100" dirty="0" err="1">
                <a:solidFill>
                  <a:srgbClr val="0000FF"/>
                </a:solidFill>
                <a:latin typeface="+mn-lt"/>
                <a:ea typeface="Calibri" panose="020F0502020204030204" pitchFamily="34" charset="0"/>
                <a:cs typeface="Arial" panose="020B0604020202020204" pitchFamily="34" charset="0"/>
              </a:rPr>
              <a:t>Vibrations</a:t>
            </a:r>
            <a:r>
              <a:rPr lang="de-DE" sz="2200" kern="100" dirty="0">
                <a:solidFill>
                  <a:srgbClr val="0000FF"/>
                </a:solidFill>
                <a:latin typeface="+mn-lt"/>
                <a:ea typeface="Calibri" panose="020F0502020204030204" pitchFamily="34" charset="0"/>
                <a:cs typeface="Arial" panose="020B0604020202020204" pitchFamily="34" charset="0"/>
              </a:rPr>
              <a:t>.</a:t>
            </a:r>
          </a:p>
          <a:p>
            <a:pPr marR="0" lvl="0" algn="l" defTabSz="914400" rtl="0" eaLnBrk="1" fontAlgn="auto" latinLnBrk="0" hangingPunct="1">
              <a:lnSpc>
                <a:spcPct val="107000"/>
              </a:lnSpc>
              <a:spcBef>
                <a:spcPts val="0"/>
              </a:spcBef>
              <a:spcAft>
                <a:spcPts val="800"/>
              </a:spcAft>
              <a:buClrTx/>
              <a:buSzTx/>
              <a:tabLst/>
              <a:defRPr/>
            </a:pPr>
            <a:r>
              <a:rPr lang="de-DE" sz="2200" b="0" kern="100" dirty="0" err="1">
                <a:latin typeface="+mn-lt"/>
                <a:ea typeface="Calibri" panose="020F0502020204030204" pitchFamily="34" charset="0"/>
                <a:cs typeface="Arial" panose="020B0604020202020204" pitchFamily="34" charset="0"/>
              </a:rPr>
              <a:t>There</a:t>
            </a:r>
            <a:r>
              <a:rPr lang="de-DE" sz="2200" b="0" kern="100" dirty="0">
                <a:latin typeface="+mn-lt"/>
                <a:ea typeface="Calibri" panose="020F0502020204030204" pitchFamily="34" charset="0"/>
                <a:cs typeface="Arial" panose="020B0604020202020204" pitchFamily="34" charset="0"/>
              </a:rPr>
              <a:t> </a:t>
            </a:r>
            <a:r>
              <a:rPr lang="de-DE" sz="2200" b="0" kern="100" dirty="0" err="1">
                <a:latin typeface="+mn-lt"/>
                <a:ea typeface="Calibri" panose="020F0502020204030204" pitchFamily="34" charset="0"/>
                <a:cs typeface="Arial" panose="020B0604020202020204" pitchFamily="34" charset="0"/>
              </a:rPr>
              <a:t>are</a:t>
            </a:r>
            <a:r>
              <a:rPr lang="de-DE" sz="2200" b="0" kern="100" dirty="0">
                <a:latin typeface="+mn-lt"/>
                <a:ea typeface="Calibri" panose="020F0502020204030204" pitchFamily="34" charset="0"/>
                <a:cs typeface="Arial" panose="020B0604020202020204" pitchFamily="34" charset="0"/>
              </a:rPr>
              <a:t> </a:t>
            </a:r>
            <a:r>
              <a:rPr lang="de-DE" sz="2200" b="0" kern="100" dirty="0" err="1">
                <a:latin typeface="+mn-lt"/>
                <a:ea typeface="Calibri" panose="020F0502020204030204" pitchFamily="34" charset="0"/>
                <a:cs typeface="Arial" panose="020B0604020202020204" pitchFamily="34" charset="0"/>
              </a:rPr>
              <a:t>three</a:t>
            </a:r>
            <a:r>
              <a:rPr lang="de-DE" sz="2200" b="0" kern="100" dirty="0">
                <a:latin typeface="+mn-lt"/>
                <a:ea typeface="Calibri" panose="020F0502020204030204" pitchFamily="34" charset="0"/>
                <a:cs typeface="Arial" panose="020B0604020202020204" pitchFamily="34" charset="0"/>
              </a:rPr>
              <a:t> possible </a:t>
            </a:r>
            <a:r>
              <a:rPr lang="de-DE" sz="2200" b="0" kern="100" dirty="0" err="1">
                <a:latin typeface="+mn-lt"/>
                <a:ea typeface="Calibri" panose="020F0502020204030204" pitchFamily="34" charset="0"/>
                <a:cs typeface="Arial" panose="020B0604020202020204" pitchFamily="34" charset="0"/>
              </a:rPr>
              <a:t>sources</a:t>
            </a:r>
            <a:r>
              <a:rPr lang="de-DE" sz="2200" b="0" kern="100" dirty="0">
                <a:latin typeface="+mn-lt"/>
                <a:ea typeface="Calibri" panose="020F0502020204030204" pitchFamily="34" charset="0"/>
                <a:cs typeface="Arial" panose="020B0604020202020204" pitchFamily="34" charset="0"/>
              </a:rPr>
              <a:t> </a:t>
            </a:r>
            <a:r>
              <a:rPr lang="de-DE" sz="2200" b="0" kern="100" dirty="0" err="1">
                <a:latin typeface="+mn-lt"/>
                <a:ea typeface="Calibri" panose="020F0502020204030204" pitchFamily="34" charset="0"/>
                <a:cs typeface="Arial" panose="020B0604020202020204" pitchFamily="34" charset="0"/>
              </a:rPr>
              <a:t>of</a:t>
            </a:r>
            <a:r>
              <a:rPr lang="de-DE" sz="2200" b="0" kern="100" dirty="0">
                <a:latin typeface="+mn-lt"/>
                <a:ea typeface="Calibri" panose="020F0502020204030204" pitchFamily="34" charset="0"/>
                <a:cs typeface="Arial" panose="020B0604020202020204" pitchFamily="34" charset="0"/>
              </a:rPr>
              <a:t> </a:t>
            </a:r>
            <a:r>
              <a:rPr lang="de-DE" sz="2200" kern="100" dirty="0" err="1">
                <a:solidFill>
                  <a:srgbClr val="0000FF"/>
                </a:solidFill>
                <a:latin typeface="+mn-lt"/>
                <a:ea typeface="Calibri" panose="020F0502020204030204" pitchFamily="34" charset="0"/>
                <a:cs typeface="Arial" panose="020B0604020202020204" pitchFamily="34" charset="0"/>
              </a:rPr>
              <a:t>Unbalance</a:t>
            </a:r>
            <a:r>
              <a:rPr lang="de-DE" sz="2200" kern="100" dirty="0">
                <a:solidFill>
                  <a:srgbClr val="0000FF"/>
                </a:solidFill>
                <a:latin typeface="+mn-lt"/>
                <a:ea typeface="Calibri" panose="020F0502020204030204" pitchFamily="34" charset="0"/>
                <a:cs typeface="Arial" panose="020B0604020202020204" pitchFamily="34" charset="0"/>
              </a:rPr>
              <a:t> </a:t>
            </a:r>
            <a:r>
              <a:rPr lang="de-DE" sz="2200" kern="100" dirty="0" err="1">
                <a:solidFill>
                  <a:srgbClr val="0000FF"/>
                </a:solidFill>
                <a:latin typeface="+mn-lt"/>
                <a:ea typeface="Calibri" panose="020F0502020204030204" pitchFamily="34" charset="0"/>
                <a:cs typeface="Arial" panose="020B0604020202020204" pitchFamily="34" charset="0"/>
              </a:rPr>
              <a:t>Vibrations</a:t>
            </a:r>
            <a:r>
              <a:rPr lang="de-DE" sz="2200" b="0" kern="100" dirty="0">
                <a:latin typeface="+mn-lt"/>
                <a:ea typeface="Calibri" panose="020F0502020204030204" pitchFamily="34" charset="0"/>
                <a:cs typeface="Arial" panose="020B0604020202020204" pitchFamily="34" charset="0"/>
              </a:rPr>
              <a:t>:</a:t>
            </a:r>
          </a:p>
          <a:p>
            <a:pPr marR="0" lvl="0" algn="l" defTabSz="914400" rtl="0" eaLnBrk="1" fontAlgn="auto" latinLnBrk="0" hangingPunct="1">
              <a:lnSpc>
                <a:spcPct val="107000"/>
              </a:lnSpc>
              <a:spcBef>
                <a:spcPts val="0"/>
              </a:spcBef>
              <a:spcAft>
                <a:spcPts val="800"/>
              </a:spcAft>
              <a:buClrTx/>
              <a:buSzTx/>
              <a:tabLst/>
              <a:defRPr/>
            </a:pPr>
            <a:endParaRPr lang="de-DE" sz="2200" b="0" kern="100" dirty="0">
              <a:latin typeface="+mn-lt"/>
              <a:ea typeface="Calibri" panose="020F0502020204030204" pitchFamily="34" charset="0"/>
              <a:cs typeface="Arial" panose="020B0604020202020204" pitchFamily="34" charset="0"/>
            </a:endParaRPr>
          </a:p>
          <a:p>
            <a:pPr marR="0" lvl="0" algn="l" defTabSz="914400" rtl="0" eaLnBrk="1" fontAlgn="auto" latinLnBrk="0" hangingPunct="1">
              <a:lnSpc>
                <a:spcPct val="107000"/>
              </a:lnSpc>
              <a:spcBef>
                <a:spcPts val="0"/>
              </a:spcBef>
              <a:spcAft>
                <a:spcPts val="800"/>
              </a:spcAft>
              <a:buClrTx/>
              <a:buSzTx/>
              <a:tabLst/>
              <a:defRPr/>
            </a:pPr>
            <a:r>
              <a:rPr lang="de-DE" sz="2200" kern="100" dirty="0">
                <a:solidFill>
                  <a:srgbClr val="0000FF"/>
                </a:solidFill>
                <a:latin typeface="+mn-lt"/>
                <a:ea typeface="Calibri" panose="020F0502020204030204" pitchFamily="34" charset="0"/>
                <a:cs typeface="Arial" panose="020B0604020202020204" pitchFamily="34" charset="0"/>
              </a:rPr>
              <a:t>     - </a:t>
            </a:r>
            <a:r>
              <a:rPr lang="de-DE" sz="2200" kern="100" dirty="0" err="1">
                <a:solidFill>
                  <a:srgbClr val="0000FF"/>
                </a:solidFill>
                <a:latin typeface="+mn-lt"/>
                <a:ea typeface="Calibri" panose="020F0502020204030204" pitchFamily="34" charset="0"/>
                <a:cs typeface="Arial" panose="020B0604020202020204" pitchFamily="34" charset="0"/>
              </a:rPr>
              <a:t>Mechanical</a:t>
            </a:r>
            <a:r>
              <a:rPr lang="de-DE" sz="2200" kern="100" dirty="0">
                <a:solidFill>
                  <a:srgbClr val="0000FF"/>
                </a:solidFill>
                <a:latin typeface="+mn-lt"/>
                <a:ea typeface="Calibri" panose="020F0502020204030204" pitchFamily="34" charset="0"/>
                <a:cs typeface="Arial" panose="020B0604020202020204" pitchFamily="34" charset="0"/>
              </a:rPr>
              <a:t> </a:t>
            </a:r>
            <a:r>
              <a:rPr lang="de-DE" sz="2200" kern="100" dirty="0" err="1">
                <a:solidFill>
                  <a:srgbClr val="0000FF"/>
                </a:solidFill>
                <a:latin typeface="+mn-lt"/>
                <a:ea typeface="Calibri" panose="020F0502020204030204" pitchFamily="34" charset="0"/>
                <a:cs typeface="Arial" panose="020B0604020202020204" pitchFamily="34" charset="0"/>
              </a:rPr>
              <a:t>Unbalance</a:t>
            </a:r>
            <a:endParaRPr lang="de-DE" sz="2200" kern="100" dirty="0">
              <a:solidFill>
                <a:srgbClr val="0000FF"/>
              </a:solidFill>
              <a:latin typeface="+mn-lt"/>
              <a:ea typeface="Calibri" panose="020F0502020204030204" pitchFamily="34" charset="0"/>
              <a:cs typeface="Arial" panose="020B0604020202020204" pitchFamily="34" charset="0"/>
            </a:endParaRPr>
          </a:p>
          <a:p>
            <a:pPr marR="0" lvl="0" algn="l" defTabSz="914400" rtl="0" eaLnBrk="1" fontAlgn="auto" latinLnBrk="0" hangingPunct="1">
              <a:lnSpc>
                <a:spcPct val="107000"/>
              </a:lnSpc>
              <a:spcBef>
                <a:spcPts val="0"/>
              </a:spcBef>
              <a:spcAft>
                <a:spcPts val="800"/>
              </a:spcAft>
              <a:buClrTx/>
              <a:buSzTx/>
              <a:tabLst/>
              <a:defRPr/>
            </a:pPr>
            <a:r>
              <a:rPr lang="de-DE" sz="2200" kern="100" dirty="0">
                <a:solidFill>
                  <a:srgbClr val="0000FF"/>
                </a:solidFill>
                <a:latin typeface="+mn-lt"/>
                <a:ea typeface="Calibri" panose="020F0502020204030204" pitchFamily="34" charset="0"/>
                <a:cs typeface="Arial" panose="020B0604020202020204" pitchFamily="34" charset="0"/>
              </a:rPr>
              <a:t>     - </a:t>
            </a:r>
            <a:r>
              <a:rPr lang="de-DE" sz="2200" kern="100" dirty="0" err="1">
                <a:solidFill>
                  <a:srgbClr val="0000FF"/>
                </a:solidFill>
                <a:latin typeface="+mn-lt"/>
                <a:ea typeface="Calibri" panose="020F0502020204030204" pitchFamily="34" charset="0"/>
                <a:cs typeface="Arial" panose="020B0604020202020204" pitchFamily="34" charset="0"/>
              </a:rPr>
              <a:t>Unbalance</a:t>
            </a:r>
            <a:r>
              <a:rPr lang="de-DE" sz="2200" kern="100" dirty="0">
                <a:solidFill>
                  <a:srgbClr val="0000FF"/>
                </a:solidFill>
                <a:latin typeface="+mn-lt"/>
                <a:ea typeface="Calibri" panose="020F0502020204030204" pitchFamily="34" charset="0"/>
                <a:cs typeface="Arial" panose="020B0604020202020204" pitchFamily="34" charset="0"/>
              </a:rPr>
              <a:t> due </a:t>
            </a:r>
            <a:r>
              <a:rPr lang="de-DE" sz="2200" kern="100" dirty="0" err="1">
                <a:solidFill>
                  <a:srgbClr val="0000FF"/>
                </a:solidFill>
                <a:latin typeface="+mn-lt"/>
                <a:ea typeface="Calibri" panose="020F0502020204030204" pitchFamily="34" charset="0"/>
                <a:cs typeface="Arial" panose="020B0604020202020204" pitchFamily="34" charset="0"/>
              </a:rPr>
              <a:t>to</a:t>
            </a:r>
            <a:r>
              <a:rPr lang="de-DE" sz="2200" kern="100" dirty="0">
                <a:solidFill>
                  <a:srgbClr val="0000FF"/>
                </a:solidFill>
                <a:latin typeface="+mn-lt"/>
                <a:ea typeface="Calibri" panose="020F0502020204030204" pitchFamily="34" charset="0"/>
                <a:cs typeface="Arial" panose="020B0604020202020204" pitchFamily="34" charset="0"/>
              </a:rPr>
              <a:t> a </a:t>
            </a:r>
            <a:r>
              <a:rPr lang="de-DE" sz="2200" kern="100" dirty="0" err="1">
                <a:solidFill>
                  <a:srgbClr val="0000FF"/>
                </a:solidFill>
                <a:latin typeface="+mn-lt"/>
                <a:ea typeface="Calibri" panose="020F0502020204030204" pitchFamily="34" charset="0"/>
                <a:cs typeface="Arial" panose="020B0604020202020204" pitchFamily="34" charset="0"/>
              </a:rPr>
              <a:t>Shaft</a:t>
            </a:r>
            <a:r>
              <a:rPr lang="de-DE" sz="2200" kern="100" dirty="0">
                <a:solidFill>
                  <a:srgbClr val="0000FF"/>
                </a:solidFill>
                <a:latin typeface="+mn-lt"/>
                <a:ea typeface="Calibri" panose="020F0502020204030204" pitchFamily="34" charset="0"/>
                <a:cs typeface="Arial" panose="020B0604020202020204" pitchFamily="34" charset="0"/>
              </a:rPr>
              <a:t> Bow</a:t>
            </a:r>
          </a:p>
          <a:p>
            <a:pPr marR="0" lvl="0" algn="l" defTabSz="914400" rtl="0" eaLnBrk="1" fontAlgn="auto" latinLnBrk="0" hangingPunct="1">
              <a:lnSpc>
                <a:spcPct val="107000"/>
              </a:lnSpc>
              <a:spcBef>
                <a:spcPts val="0"/>
              </a:spcBef>
              <a:spcAft>
                <a:spcPts val="800"/>
              </a:spcAft>
              <a:buClrTx/>
              <a:buSzTx/>
              <a:tabLst/>
              <a:defRPr/>
            </a:pPr>
            <a:r>
              <a:rPr lang="de-DE" sz="2200" kern="100" dirty="0">
                <a:solidFill>
                  <a:srgbClr val="0000FF"/>
                </a:solidFill>
                <a:latin typeface="+mn-lt"/>
                <a:ea typeface="Calibri" panose="020F0502020204030204" pitchFamily="34" charset="0"/>
                <a:cs typeface="Arial" panose="020B0604020202020204" pitchFamily="34" charset="0"/>
              </a:rPr>
              <a:t>     - </a:t>
            </a:r>
            <a:r>
              <a:rPr lang="de-DE" sz="2200" kern="100" dirty="0" err="1">
                <a:solidFill>
                  <a:srgbClr val="0000FF"/>
                </a:solidFill>
                <a:latin typeface="+mn-lt"/>
                <a:ea typeface="Calibri" panose="020F0502020204030204" pitchFamily="34" charset="0"/>
                <a:cs typeface="Arial" panose="020B0604020202020204" pitchFamily="34" charset="0"/>
              </a:rPr>
              <a:t>Hydraulic</a:t>
            </a:r>
            <a:r>
              <a:rPr lang="de-DE" sz="2200" kern="100" dirty="0">
                <a:solidFill>
                  <a:srgbClr val="0000FF"/>
                </a:solidFill>
                <a:latin typeface="+mn-lt"/>
                <a:ea typeface="Calibri" panose="020F0502020204030204" pitchFamily="34" charset="0"/>
                <a:cs typeface="Arial" panose="020B0604020202020204" pitchFamily="34" charset="0"/>
              </a:rPr>
              <a:t> </a:t>
            </a:r>
            <a:r>
              <a:rPr lang="de-DE" sz="2200" kern="100" dirty="0" err="1">
                <a:solidFill>
                  <a:srgbClr val="0000FF"/>
                </a:solidFill>
                <a:latin typeface="+mn-lt"/>
                <a:ea typeface="Calibri" panose="020F0502020204030204" pitchFamily="34" charset="0"/>
                <a:cs typeface="Arial" panose="020B0604020202020204" pitchFamily="34" charset="0"/>
              </a:rPr>
              <a:t>Unbalance</a:t>
            </a:r>
            <a:endParaRPr lang="de-DE" sz="2200" kern="100" dirty="0">
              <a:solidFill>
                <a:srgbClr val="0000FF"/>
              </a:solidFill>
              <a:latin typeface="+mn-lt"/>
              <a:ea typeface="Calibri" panose="020F0502020204030204" pitchFamily="34" charset="0"/>
              <a:cs typeface="Arial" panose="020B0604020202020204" pitchFamily="34" charset="0"/>
            </a:endParaRPr>
          </a:p>
          <a:p>
            <a:pPr marR="0" lvl="0" algn="l" defTabSz="914400" rtl="0" eaLnBrk="1" fontAlgn="auto" latinLnBrk="0" hangingPunct="1">
              <a:lnSpc>
                <a:spcPct val="107000"/>
              </a:lnSpc>
              <a:spcBef>
                <a:spcPts val="0"/>
              </a:spcBef>
              <a:spcAft>
                <a:spcPts val="800"/>
              </a:spcAft>
              <a:buClrTx/>
              <a:buSzTx/>
              <a:tabLst/>
              <a:defRPr/>
            </a:pPr>
            <a:endParaRPr lang="de-DE" sz="2400" b="0" kern="100" dirty="0">
              <a:latin typeface="+mn-lt"/>
              <a:ea typeface="Calibri" panose="020F0502020204030204" pitchFamily="34" charset="0"/>
              <a:cs typeface="Arial" panose="020B0604020202020204" pitchFamily="34" charset="0"/>
            </a:endParaRPr>
          </a:p>
          <a:p>
            <a:pPr marR="0" lvl="0" algn="l" defTabSz="914400" rtl="0" eaLnBrk="1" fontAlgn="auto" latinLnBrk="0" hangingPunct="1">
              <a:lnSpc>
                <a:spcPct val="107000"/>
              </a:lnSpc>
              <a:spcBef>
                <a:spcPts val="0"/>
              </a:spcBef>
              <a:spcAft>
                <a:spcPts val="800"/>
              </a:spcAft>
              <a:buClrTx/>
              <a:buSzTx/>
              <a:tabLst/>
              <a:defRPr/>
            </a:pPr>
            <a:endParaRPr lang="de-DE" sz="2400" b="0" kern="100" dirty="0">
              <a:latin typeface="+mn-lt"/>
              <a:ea typeface="Calibri" panose="020F0502020204030204" pitchFamily="34" charset="0"/>
              <a:cs typeface="Arial" panose="020B0604020202020204" pitchFamily="34"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6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Times New Roman" panose="02020603050405020304" pitchFamily="18" charset="0"/>
              </a:rPr>
              <a:t> </a:t>
            </a:r>
            <a:endParaRPr kumimoji="0" lang="de-DE" sz="1100" b="0" i="0" u="none" strike="noStrike" kern="1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6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Times New Roman" panose="02020603050405020304" pitchFamily="18" charset="0"/>
              </a:rPr>
              <a:t> </a:t>
            </a:r>
            <a:endParaRPr kumimoji="0" lang="de-DE" sz="1100" b="0" i="0" u="none" strike="noStrike" kern="1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6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Times New Roman" panose="02020603050405020304" pitchFamily="18" charset="0"/>
              </a:rPr>
              <a:t> </a:t>
            </a:r>
            <a:endParaRPr kumimoji="0" lang="de-DE" sz="1100" b="0" i="0" u="none" strike="noStrike" kern="1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6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Times New Roman" panose="02020603050405020304" pitchFamily="18" charset="0"/>
              </a:rPr>
              <a:t> </a:t>
            </a:r>
            <a:endParaRPr kumimoji="0" lang="de-DE" sz="1100" b="0" i="0" u="none" strike="noStrike" kern="1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6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Times New Roman" panose="02020603050405020304" pitchFamily="18" charset="0"/>
              </a:rPr>
              <a:t> </a:t>
            </a:r>
            <a:endParaRPr kumimoji="0" lang="de-DE" sz="1100" b="0" i="0" u="none" strike="noStrike" kern="1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6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Times New Roman" panose="02020603050405020304" pitchFamily="18" charset="0"/>
              </a:rPr>
              <a:t> </a:t>
            </a:r>
            <a:endParaRPr kumimoji="0" lang="de-DE" sz="1100" b="0" i="0" u="none" strike="noStrike" kern="1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6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Times New Roman" panose="02020603050405020304" pitchFamily="18" charset="0"/>
              </a:rPr>
              <a:t> </a:t>
            </a:r>
            <a:endParaRPr kumimoji="0" lang="de-DE" sz="1100" b="0" i="0" u="none" strike="noStrike" kern="1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6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Times New Roman" panose="02020603050405020304" pitchFamily="18" charset="0"/>
              </a:rPr>
              <a:t> </a:t>
            </a:r>
            <a:endParaRPr kumimoji="0" lang="de-DE" sz="1100" b="0" i="0" u="none" strike="noStrike" kern="1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6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Times New Roman" panose="02020603050405020304" pitchFamily="18" charset="0"/>
              </a:rPr>
              <a:t> </a:t>
            </a:r>
            <a:endParaRPr kumimoji="0" lang="de-DE" sz="1100" b="0" i="0" u="none" strike="noStrike" kern="1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6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Times New Roman" panose="02020603050405020304" pitchFamily="18" charset="0"/>
              </a:rPr>
              <a:t> </a:t>
            </a:r>
            <a:endParaRPr kumimoji="0" lang="de-DE" sz="1100" b="0" i="0" u="none" strike="noStrike" kern="1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p:txBody>
      </p:sp>
      <p:sp>
        <p:nvSpPr>
          <p:cNvPr id="3" name="Textfeld 2">
            <a:extLst>
              <a:ext uri="{FF2B5EF4-FFF2-40B4-BE49-F238E27FC236}">
                <a16:creationId xmlns:a16="http://schemas.microsoft.com/office/drawing/2014/main" id="{674E1D9D-D397-E3A1-40EC-1480FB435C34}"/>
              </a:ext>
            </a:extLst>
          </p:cNvPr>
          <p:cNvSpPr txBox="1"/>
          <p:nvPr/>
        </p:nvSpPr>
        <p:spPr>
          <a:xfrm>
            <a:off x="437575" y="116896"/>
            <a:ext cx="11068131" cy="830997"/>
          </a:xfrm>
          <a:prstGeom prst="rect">
            <a:avLst/>
          </a:prstGeom>
          <a:noFill/>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de-DE" sz="2400" b="1" i="0" u="none" strike="noStrike" kern="1200" cap="none" spc="0" normalizeH="0" baseline="0" noProof="0" dirty="0">
                <a:ln>
                  <a:noFill/>
                </a:ln>
                <a:solidFill>
                  <a:srgbClr val="0000FF"/>
                </a:solidFill>
                <a:effectLst/>
                <a:uLnTx/>
                <a:uFillTx/>
                <a:latin typeface="Arial"/>
                <a:ea typeface="+mn-ea"/>
                <a:cs typeface="+mn-cs"/>
              </a:rPr>
              <a:t>Vibration </a:t>
            </a:r>
            <a:r>
              <a:rPr kumimoji="0" lang="de-DE" sz="2400" b="1" i="0" u="none" strike="noStrike" kern="1200" cap="none" spc="0" normalizeH="0" baseline="0" noProof="0" dirty="0" err="1">
                <a:ln>
                  <a:noFill/>
                </a:ln>
                <a:solidFill>
                  <a:srgbClr val="0000FF"/>
                </a:solidFill>
                <a:effectLst/>
                <a:uLnTx/>
                <a:uFillTx/>
                <a:latin typeface="Arial"/>
                <a:ea typeface="+mn-ea"/>
                <a:cs typeface="+mn-cs"/>
              </a:rPr>
              <a:t>Phenomena</a:t>
            </a:r>
            <a:r>
              <a:rPr kumimoji="0" lang="de-DE" sz="2400" b="1" i="0" u="none" strike="noStrike" kern="1200" cap="none" spc="0" normalizeH="0" baseline="0" noProof="0" dirty="0">
                <a:ln>
                  <a:noFill/>
                </a:ln>
                <a:solidFill>
                  <a:srgbClr val="0000FF"/>
                </a:solidFill>
                <a:effectLst/>
                <a:uLnTx/>
                <a:uFillTx/>
                <a:latin typeface="Arial"/>
                <a:ea typeface="+mn-ea"/>
                <a:cs typeface="+mn-cs"/>
              </a:rPr>
              <a:t> </a:t>
            </a:r>
            <a:r>
              <a:rPr kumimoji="0" lang="de-DE" sz="2400" b="1" i="0" u="none" strike="noStrike" kern="1200" cap="none" spc="0" normalizeH="0" baseline="0" noProof="0" dirty="0" err="1">
                <a:ln>
                  <a:noFill/>
                </a:ln>
                <a:solidFill>
                  <a:srgbClr val="0000FF"/>
                </a:solidFill>
                <a:effectLst/>
                <a:uLnTx/>
                <a:uFillTx/>
                <a:latin typeface="Arial"/>
                <a:ea typeface="+mn-ea"/>
                <a:cs typeface="+mn-cs"/>
              </a:rPr>
              <a:t>of</a:t>
            </a:r>
            <a:r>
              <a:rPr kumimoji="0" lang="de-DE" sz="2400" b="1" i="0" u="none" strike="noStrike" kern="1200" cap="none" spc="0" normalizeH="0" baseline="0" noProof="0" dirty="0">
                <a:ln>
                  <a:noFill/>
                </a:ln>
                <a:solidFill>
                  <a:srgbClr val="0000FF"/>
                </a:solidFill>
                <a:effectLst/>
                <a:uLnTx/>
                <a:uFillTx/>
                <a:latin typeface="Arial"/>
                <a:ea typeface="+mn-ea"/>
                <a:cs typeface="+mn-cs"/>
              </a:rPr>
              <a:t> </a:t>
            </a:r>
            <a:r>
              <a:rPr kumimoji="0" lang="de-DE" sz="2400" b="1" i="0" u="none" strike="noStrike" kern="1200" cap="none" spc="0" normalizeH="0" baseline="0" noProof="0" dirty="0" err="1">
                <a:ln>
                  <a:noFill/>
                </a:ln>
                <a:solidFill>
                  <a:srgbClr val="0000FF"/>
                </a:solidFill>
                <a:effectLst/>
                <a:uLnTx/>
                <a:uFillTx/>
                <a:latin typeface="Arial"/>
                <a:ea typeface="+mn-ea"/>
                <a:cs typeface="+mn-cs"/>
              </a:rPr>
              <a:t>the</a:t>
            </a:r>
            <a:r>
              <a:rPr kumimoji="0" lang="de-DE" sz="2400" b="1" i="0" u="none" strike="noStrike" kern="1200" cap="none" spc="0" normalizeH="0" baseline="0" noProof="0" dirty="0">
                <a:ln>
                  <a:noFill/>
                </a:ln>
                <a:solidFill>
                  <a:srgbClr val="0000FF"/>
                </a:solidFill>
                <a:effectLst/>
                <a:uLnTx/>
                <a:uFillTx/>
                <a:latin typeface="Arial"/>
                <a:ea typeface="+mn-ea"/>
                <a:cs typeface="+mn-cs"/>
              </a:rPr>
              <a:t> Horizontal </a:t>
            </a:r>
            <a:r>
              <a:rPr kumimoji="0" lang="de-DE" sz="2400" b="1" i="0" u="none" strike="noStrike" kern="1200" cap="none" spc="0" normalizeH="0" baseline="0" noProof="0" dirty="0" err="1">
                <a:ln>
                  <a:noFill/>
                </a:ln>
                <a:solidFill>
                  <a:srgbClr val="0000FF"/>
                </a:solidFill>
                <a:effectLst/>
                <a:uLnTx/>
                <a:uFillTx/>
                <a:latin typeface="Arial"/>
                <a:ea typeface="+mn-ea"/>
                <a:cs typeface="+mn-cs"/>
              </a:rPr>
              <a:t>Feedwater</a:t>
            </a:r>
            <a:r>
              <a:rPr kumimoji="0" lang="de-DE" sz="2400" b="1" i="0" u="none" strike="noStrike" kern="1200" cap="none" spc="0" normalizeH="0" baseline="0" noProof="0" dirty="0">
                <a:ln>
                  <a:noFill/>
                </a:ln>
                <a:solidFill>
                  <a:srgbClr val="0000FF"/>
                </a:solidFill>
                <a:effectLst/>
                <a:uLnTx/>
                <a:uFillTx/>
                <a:latin typeface="Arial"/>
                <a:ea typeface="+mn-ea"/>
                <a:cs typeface="+mn-cs"/>
              </a:rPr>
              <a:t> Pump </a:t>
            </a:r>
            <a:r>
              <a:rPr lang="de-DE" sz="2400" dirty="0">
                <a:solidFill>
                  <a:srgbClr val="0000FF"/>
                </a:solidFill>
                <a:latin typeface="Arial"/>
              </a:rPr>
              <a:t>OL3</a:t>
            </a:r>
            <a:r>
              <a:rPr kumimoji="0" lang="de-DE" sz="2400" b="1" i="0" u="none" strike="noStrike" kern="1200" cap="none" spc="0" normalizeH="0" baseline="0" noProof="0" dirty="0">
                <a:ln>
                  <a:noFill/>
                </a:ln>
                <a:solidFill>
                  <a:srgbClr val="0000FF"/>
                </a:solidFill>
                <a:effectLst/>
                <a:uLnTx/>
                <a:uFillTx/>
                <a:latin typeface="Arial"/>
                <a:ea typeface="+mn-ea"/>
                <a:cs typeface="+mn-cs"/>
              </a:rPr>
              <a:t> </a:t>
            </a:r>
          </a:p>
          <a:p>
            <a:pPr marL="0" marR="0" lvl="0" indent="0" algn="l" defTabSz="914400" rtl="0" eaLnBrk="0" fontAlgn="base" latinLnBrk="0" hangingPunct="0">
              <a:lnSpc>
                <a:spcPct val="100000"/>
              </a:lnSpc>
              <a:spcBef>
                <a:spcPct val="0"/>
              </a:spcBef>
              <a:spcAft>
                <a:spcPct val="0"/>
              </a:spcAft>
              <a:buClrTx/>
              <a:buSzTx/>
              <a:buFontTx/>
              <a:buNone/>
              <a:tabLst/>
              <a:defRPr/>
            </a:pPr>
            <a:r>
              <a:rPr lang="de-DE" sz="2400" b="0" dirty="0" err="1">
                <a:latin typeface="Arial"/>
              </a:rPr>
              <a:t>Excitation</a:t>
            </a:r>
            <a:r>
              <a:rPr lang="de-DE" sz="2400" b="0" dirty="0">
                <a:latin typeface="Arial"/>
              </a:rPr>
              <a:t> due </a:t>
            </a:r>
            <a:r>
              <a:rPr lang="de-DE" sz="2400" b="0" dirty="0" err="1">
                <a:latin typeface="Arial"/>
              </a:rPr>
              <a:t>to</a:t>
            </a:r>
            <a:r>
              <a:rPr lang="de-DE" sz="2400" b="0" dirty="0">
                <a:latin typeface="Arial"/>
              </a:rPr>
              <a:t> </a:t>
            </a:r>
            <a:r>
              <a:rPr lang="de-DE" sz="2400" b="0" dirty="0" err="1">
                <a:latin typeface="Arial"/>
              </a:rPr>
              <a:t>Unbalances</a:t>
            </a:r>
            <a:r>
              <a:rPr lang="de-DE" sz="2400" b="0" dirty="0">
                <a:latin typeface="Arial"/>
              </a:rPr>
              <a:t> </a:t>
            </a:r>
            <a:r>
              <a:rPr lang="de-DE" sz="2400" b="0" dirty="0" err="1">
                <a:latin typeface="Arial"/>
              </a:rPr>
              <a:t>with</a:t>
            </a:r>
            <a:r>
              <a:rPr lang="de-DE" sz="2400" b="0" dirty="0">
                <a:latin typeface="Arial"/>
              </a:rPr>
              <a:t> </a:t>
            </a:r>
            <a:r>
              <a:rPr lang="de-DE" sz="2400" b="0" dirty="0" err="1">
                <a:latin typeface="Arial"/>
              </a:rPr>
              <a:t>Excitation</a:t>
            </a:r>
            <a:r>
              <a:rPr lang="de-DE" sz="2400" b="0" dirty="0">
                <a:latin typeface="Arial"/>
              </a:rPr>
              <a:t> </a:t>
            </a:r>
            <a:r>
              <a:rPr lang="de-DE" sz="2400" b="0" dirty="0" err="1">
                <a:latin typeface="Arial"/>
              </a:rPr>
              <a:t>Frequency</a:t>
            </a:r>
            <a:r>
              <a:rPr lang="de-DE" sz="2400" b="0" dirty="0">
                <a:latin typeface="Arial"/>
              </a:rPr>
              <a:t> </a:t>
            </a:r>
            <a:r>
              <a:rPr lang="el-GR" sz="2400" b="0" dirty="0">
                <a:latin typeface="Arial"/>
              </a:rPr>
              <a:t>Ω</a:t>
            </a:r>
            <a:endParaRPr kumimoji="0" lang="de-DE" sz="2400" b="0" i="0" u="none" strike="noStrike" kern="1200" cap="none" spc="0" normalizeH="0" baseline="0" noProof="0" dirty="0">
              <a:ln>
                <a:noFill/>
              </a:ln>
              <a:effectLst/>
              <a:uLnTx/>
              <a:uFillTx/>
              <a:latin typeface="Arial"/>
              <a:ea typeface="+mn-ea"/>
              <a:cs typeface="+mn-cs"/>
            </a:endParaRPr>
          </a:p>
        </p:txBody>
      </p:sp>
    </p:spTree>
    <p:extLst>
      <p:ext uri="{BB962C8B-B14F-4D97-AF65-F5344CB8AC3E}">
        <p14:creationId xmlns:p14="http://schemas.microsoft.com/office/powerpoint/2010/main" val="126369128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feld 4">
            <a:extLst>
              <a:ext uri="{FF2B5EF4-FFF2-40B4-BE49-F238E27FC236}">
                <a16:creationId xmlns:a16="http://schemas.microsoft.com/office/drawing/2014/main" id="{2C20FB92-A2CE-869C-4BFD-305A30E8FD9A}"/>
              </a:ext>
            </a:extLst>
          </p:cNvPr>
          <p:cNvSpPr txBox="1"/>
          <p:nvPr/>
        </p:nvSpPr>
        <p:spPr>
          <a:xfrm>
            <a:off x="726509" y="1158680"/>
            <a:ext cx="10341990" cy="4526504"/>
          </a:xfrm>
          <a:prstGeom prst="rect">
            <a:avLst/>
          </a:prstGeom>
          <a:solidFill>
            <a:schemeClr val="lt1"/>
          </a:solidFill>
          <a:ln w="38100">
            <a:solidFill>
              <a:schemeClr val="bg1"/>
            </a:solidFill>
          </a:ln>
        </p:spPr>
        <p:txBody>
          <a:bodyPr rot="0" spcFirstLastPara="0"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7000"/>
              </a:lnSpc>
              <a:spcBef>
                <a:spcPts val="0"/>
              </a:spcBef>
              <a:spcAft>
                <a:spcPts val="800"/>
              </a:spcAft>
              <a:buClrTx/>
              <a:buSzTx/>
              <a:buFontTx/>
              <a:buNone/>
              <a:tabLst/>
              <a:defRPr/>
            </a:pPr>
            <a:endParaRPr kumimoji="0" lang="de-DE" sz="2600" b="1" i="0" u="none" strike="noStrike" kern="100" cap="none" spc="0" normalizeH="0" baseline="0" noProof="0" dirty="0">
              <a:ln>
                <a:noFill/>
              </a:ln>
              <a:solidFill>
                <a:srgbClr val="0070C0"/>
              </a:solidFill>
              <a:effectLst/>
              <a:uLnTx/>
              <a:uFillTx/>
              <a:latin typeface="Arial" panose="020B0604020202020204" pitchFamily="34" charset="0"/>
              <a:ea typeface="Calibri" panose="020F0502020204030204" pitchFamily="34" charset="0"/>
              <a:cs typeface="Arial" panose="020B0604020202020204" pitchFamily="34" charset="0"/>
            </a:endParaRPr>
          </a:p>
          <a:p>
            <a:pPr marR="0" lvl="0" algn="l" defTabSz="914400" rtl="0" eaLnBrk="1" fontAlgn="auto" latinLnBrk="0" hangingPunct="1">
              <a:lnSpc>
                <a:spcPct val="107000"/>
              </a:lnSpc>
              <a:spcBef>
                <a:spcPts val="0"/>
              </a:spcBef>
              <a:spcAft>
                <a:spcPts val="800"/>
              </a:spcAft>
              <a:buClrTx/>
              <a:buSzTx/>
              <a:tabLst/>
              <a:defRPr/>
            </a:pPr>
            <a:r>
              <a:rPr kumimoji="0" lang="de-DE" sz="2200" b="0" i="0" u="none" strike="noStrike" kern="100" cap="none" spc="0" normalizeH="0" baseline="0" noProof="0" dirty="0" err="1">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There</a:t>
            </a:r>
            <a:r>
              <a:rPr kumimoji="0" lang="de-DE" sz="22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200" b="0" i="0" u="none" strike="noStrike" kern="100" cap="none" spc="0" normalizeH="0" baseline="0" noProof="0" dirty="0" err="1">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is</a:t>
            </a:r>
            <a:r>
              <a:rPr kumimoji="0" lang="de-DE" sz="22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200" b="0" i="0" u="none" strike="noStrike" kern="100" cap="none" spc="0" normalizeH="0" baseline="0" noProof="0" dirty="0" err="1">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always</a:t>
            </a:r>
            <a:r>
              <a:rPr kumimoji="0" lang="de-DE" sz="22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 a </a:t>
            </a:r>
            <a:r>
              <a:rPr kumimoji="0" lang="de-DE" sz="2200" b="0" i="0" u="none" strike="noStrike" kern="100" cap="none" spc="0" normalizeH="0" baseline="0" noProof="0" dirty="0" err="1">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portion</a:t>
            </a:r>
            <a:r>
              <a:rPr kumimoji="0" lang="de-DE" sz="22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200" b="0" i="0" u="none" strike="noStrike" kern="100" cap="none" spc="0" normalizeH="0" baseline="0" noProof="0" dirty="0" err="1">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of</a:t>
            </a:r>
            <a:r>
              <a:rPr kumimoji="0" lang="de-DE" sz="22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200" b="0" i="0" u="none" strike="noStrike" kern="100" cap="none" spc="0" normalizeH="0" baseline="0" noProof="0" dirty="0" err="1">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the</a:t>
            </a:r>
            <a:r>
              <a:rPr kumimoji="0" lang="de-DE" sz="22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 </a:t>
            </a:r>
            <a:r>
              <a:rPr lang="de-DE" sz="2200" kern="100" dirty="0">
                <a:solidFill>
                  <a:srgbClr val="0000FF"/>
                </a:solidFill>
                <a:latin typeface="Arial" panose="020B0604020202020204" pitchFamily="34" charset="0"/>
                <a:ea typeface="Calibri" panose="020F0502020204030204" pitchFamily="34" charset="0"/>
                <a:cs typeface="Arial" panose="020B0604020202020204" pitchFamily="34" charset="0"/>
              </a:rPr>
              <a:t>H</a:t>
            </a:r>
            <a:r>
              <a:rPr kumimoji="0" lang="de-DE" sz="2200" b="1" i="0" u="none" strike="noStrike" kern="100" cap="none" spc="0" normalizeH="0" baseline="0" noProof="0" dirty="0" err="1">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ydraulic</a:t>
            </a:r>
            <a:r>
              <a:rPr kumimoji="0" lang="de-DE" sz="2200" b="1" i="0" u="none" strike="noStrike" kern="100" cap="none" spc="0" normalizeH="0" baseline="0" noProof="0" dirty="0">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 </a:t>
            </a:r>
            <a:r>
              <a:rPr lang="de-DE" sz="2200" kern="100" dirty="0">
                <a:solidFill>
                  <a:srgbClr val="0000FF"/>
                </a:solidFill>
                <a:latin typeface="Arial" panose="020B0604020202020204" pitchFamily="34" charset="0"/>
                <a:ea typeface="Calibri" panose="020F0502020204030204" pitchFamily="34" charset="0"/>
                <a:cs typeface="Arial" panose="020B0604020202020204" pitchFamily="34" charset="0"/>
              </a:rPr>
              <a:t>I</a:t>
            </a:r>
            <a:r>
              <a:rPr kumimoji="0" lang="de-DE" sz="2200" b="1" i="0" u="none" strike="noStrike" kern="100" cap="none" spc="0" normalizeH="0" baseline="0" noProof="0" dirty="0" err="1">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mpeller</a:t>
            </a:r>
            <a:r>
              <a:rPr kumimoji="0" lang="de-DE" sz="2200" b="1" i="0" u="none" strike="noStrike" kern="100" cap="none" spc="0" normalizeH="0" baseline="0" noProof="0" dirty="0">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 </a:t>
            </a:r>
            <a:r>
              <a:rPr lang="de-DE" sz="2200" kern="100" dirty="0">
                <a:solidFill>
                  <a:srgbClr val="0000FF"/>
                </a:solidFill>
                <a:latin typeface="Arial" panose="020B0604020202020204" pitchFamily="34" charset="0"/>
                <a:ea typeface="Calibri" panose="020F0502020204030204" pitchFamily="34" charset="0"/>
                <a:cs typeface="Arial" panose="020B0604020202020204" pitchFamily="34" charset="0"/>
              </a:rPr>
              <a:t>F</a:t>
            </a:r>
            <a:r>
              <a:rPr kumimoji="0" lang="de-DE" sz="2200" b="1" i="0" u="none" strike="noStrike" kern="100" cap="none" spc="0" normalizeH="0" baseline="0" noProof="0" dirty="0" err="1">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orce</a:t>
            </a:r>
            <a:r>
              <a:rPr kumimoji="0" lang="de-DE" sz="2200" b="1" i="0" u="none" strike="noStrike" kern="100" cap="none" spc="0" normalizeH="0" baseline="0" noProof="0" dirty="0">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200" b="0" i="0" u="none" strike="noStrike" kern="100" cap="none" spc="0" normalizeH="0" baseline="0" noProof="0" dirty="0" err="1">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which</a:t>
            </a:r>
            <a:r>
              <a:rPr kumimoji="0" lang="de-DE" sz="22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200" b="0" i="0" u="none" strike="noStrike" kern="100" cap="none" spc="0" normalizeH="0" baseline="0" noProof="0" dirty="0" err="1">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is</a:t>
            </a:r>
            <a:endParaRPr kumimoji="0" lang="de-DE" sz="22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de-DE" sz="2200" b="1" i="0" u="none" strike="noStrike" kern="100" cap="none" spc="0" normalizeH="0" baseline="0" noProof="0" dirty="0" err="1">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synchronous</a:t>
            </a:r>
            <a:r>
              <a:rPr kumimoji="0" lang="de-DE" sz="2200" b="1" i="0" u="none" strike="noStrike" kern="100" cap="none" spc="0" normalizeH="0" baseline="0" noProof="0" dirty="0">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200" b="0" i="0" u="none" strike="noStrike" kern="100" cap="none" spc="0" normalizeH="0" baseline="0" noProof="0" dirty="0" err="1">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to</a:t>
            </a:r>
            <a:r>
              <a:rPr kumimoji="0" lang="de-DE" sz="2200" b="0" i="0" u="none" strike="noStrike" kern="100" cap="none" spc="0" normalizeH="0" baseline="0" noProof="0" dirty="0">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200" b="0" i="0" u="none" strike="noStrike" kern="100" cap="none" spc="0" normalizeH="0" baseline="0" noProof="0" dirty="0" err="1">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the</a:t>
            </a:r>
            <a:r>
              <a:rPr kumimoji="0" lang="de-DE" sz="2200" b="0" i="0" u="none" strike="noStrike" kern="100" cap="none" spc="0" normalizeH="0" baseline="0" noProof="0" dirty="0">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200" b="1" i="0" u="none" strike="noStrike" kern="100" cap="none" spc="0" normalizeH="0" baseline="0" noProof="0" dirty="0" err="1">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rotational</a:t>
            </a:r>
            <a:r>
              <a:rPr kumimoji="0" lang="de-DE" sz="2200" b="1" i="0" u="none" strike="noStrike" kern="100" cap="none" spc="0" normalizeH="0" baseline="0" noProof="0" dirty="0">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200" b="1" i="0" u="none" strike="noStrike" kern="100" cap="none" spc="0" normalizeH="0" baseline="0" noProof="0" dirty="0" err="1">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frequency</a:t>
            </a:r>
            <a:r>
              <a:rPr kumimoji="0" lang="de-DE" sz="2200" b="1" i="0" u="none" strike="noStrike" kern="100" cap="none" spc="0" normalizeH="0" baseline="0" noProof="0" dirty="0">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el-GR" sz="2200" b="1" i="0" u="none" strike="noStrike" kern="100" cap="none" spc="0" normalizeH="0" baseline="0" noProof="0" dirty="0">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Ω</a:t>
            </a:r>
            <a:r>
              <a:rPr kumimoji="0" lang="de-DE" sz="2200" b="1" i="0" u="none" strike="noStrike" kern="100" cap="none" spc="0" normalizeH="0" baseline="0" noProof="0" dirty="0">
                <a:ln>
                  <a:noFill/>
                </a:ln>
                <a:solidFill>
                  <a:srgbClr val="0070C0"/>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2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This </a:t>
            </a:r>
            <a:r>
              <a:rPr kumimoji="0" lang="de-DE" sz="2200" b="1" i="0" u="none" strike="noStrike" kern="100" cap="none" spc="0" normalizeH="0" baseline="0" noProof="0" dirty="0" err="1">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hydraulic</a:t>
            </a:r>
            <a:r>
              <a:rPr kumimoji="0" lang="de-DE" sz="2200" b="1" i="0" u="none" strike="noStrike" kern="100" cap="none" spc="0" normalizeH="0" baseline="0" noProof="0" dirty="0">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200" b="1" i="0" u="none" strike="noStrike" kern="100" cap="none" spc="0" normalizeH="0" baseline="0" noProof="0" dirty="0" err="1">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force</a:t>
            </a:r>
            <a:r>
              <a:rPr kumimoji="0" lang="de-DE" sz="2200" b="0" i="0" u="none" strike="noStrike" kern="100" cap="none" spc="0" normalizeH="0" baseline="0" noProof="0" dirty="0">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200" b="0" i="0" u="none" strike="noStrike" kern="100" cap="none" spc="0" normalizeH="0" baseline="0" noProof="0" dirty="0" err="1">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behaves</a:t>
            </a:r>
            <a:r>
              <a:rPr kumimoji="0" lang="de-DE" sz="22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200" b="0" i="0" u="none" strike="noStrike" kern="100" cap="none" spc="0" normalizeH="0" baseline="0" noProof="0" dirty="0" err="1">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exactly</a:t>
            </a:r>
            <a:r>
              <a:rPr kumimoji="0" lang="de-DE" sz="22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200" b="0" i="0" u="none" strike="noStrike" kern="100" cap="none" spc="0" normalizeH="0" baseline="0" noProof="0" dirty="0" err="1">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the</a:t>
            </a:r>
            <a:r>
              <a:rPr kumimoji="0" lang="de-DE" sz="22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 same </a:t>
            </a:r>
            <a:r>
              <a:rPr kumimoji="0" lang="de-DE" sz="2200" b="0" i="0" u="none" strike="noStrike" kern="100" cap="none" spc="0" normalizeH="0" baseline="0" noProof="0" dirty="0" err="1">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way</a:t>
            </a:r>
            <a:r>
              <a:rPr kumimoji="0" lang="de-DE" sz="22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200" b="0" i="0" u="none" strike="noStrike" kern="100" cap="none" spc="0" normalizeH="0" baseline="0" noProof="0" dirty="0" err="1">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as</a:t>
            </a:r>
            <a:r>
              <a:rPr kumimoji="0" lang="de-DE" sz="22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 a </a:t>
            </a:r>
            <a:r>
              <a:rPr kumimoji="0" lang="de-DE" sz="2200" b="1" i="0" u="none" strike="noStrike" kern="100" cap="none" spc="0" normalizeH="0" baseline="0" noProof="0" dirty="0" err="1">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mechanical</a:t>
            </a:r>
            <a:r>
              <a:rPr kumimoji="0" lang="de-DE" sz="2200" b="1" i="0" u="none" strike="noStrike" kern="100" cap="none" spc="0" normalizeH="0" baseline="0" noProof="0" dirty="0">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200" b="1" i="0" u="none" strike="noStrike" kern="100" cap="none" spc="0" normalizeH="0" baseline="0" noProof="0" dirty="0" err="1">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unbalance</a:t>
            </a:r>
            <a:r>
              <a:rPr kumimoji="0" lang="de-DE" sz="2200" b="1" i="0" u="none" strike="noStrike" kern="100" cap="none" spc="0" normalizeH="0" baseline="0" noProof="0" dirty="0">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a:t>
            </a:r>
          </a:p>
          <a:p>
            <a:pPr marR="0" lvl="0" algn="l" defTabSz="914400" rtl="0" eaLnBrk="1" fontAlgn="auto" latinLnBrk="0" hangingPunct="1">
              <a:lnSpc>
                <a:spcPct val="107000"/>
              </a:lnSpc>
              <a:spcBef>
                <a:spcPts val="0"/>
              </a:spcBef>
              <a:spcAft>
                <a:spcPts val="800"/>
              </a:spcAft>
              <a:buClrTx/>
              <a:buSzTx/>
              <a:tabLst/>
              <a:defRPr/>
            </a:pPr>
            <a:r>
              <a:rPr kumimoji="0" lang="de-DE" sz="2200" b="1" i="0" u="none" strike="noStrike" kern="100" cap="none" spc="0" normalizeH="0" baseline="0" noProof="0" dirty="0" err="1">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Hydraulic</a:t>
            </a:r>
            <a:r>
              <a:rPr kumimoji="0" lang="de-DE" sz="2200" b="1" i="0" u="none" strike="noStrike" kern="100" cap="none" spc="0" normalizeH="0" baseline="0" noProof="0" dirty="0">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200" b="1" i="0" u="none" strike="noStrike" kern="100" cap="none" spc="0" normalizeH="0" baseline="0" noProof="0" dirty="0" err="1">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Unbalance</a:t>
            </a:r>
            <a:r>
              <a:rPr kumimoji="0" lang="de-DE" sz="2200" b="1" i="0" u="none" strike="noStrike" kern="100" cap="none" spc="0" normalizeH="0" baseline="0" noProof="0" dirty="0">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 </a:t>
            </a:r>
            <a:r>
              <a:rPr lang="de-DE" sz="2200" kern="100" dirty="0">
                <a:solidFill>
                  <a:srgbClr val="0000FF"/>
                </a:solidFill>
                <a:latin typeface="Arial" panose="020B0604020202020204" pitchFamily="34" charset="0"/>
                <a:ea typeface="Calibri" panose="020F0502020204030204" pitchFamily="34" charset="0"/>
                <a:cs typeface="Arial" panose="020B0604020202020204" pitchFamily="34" charset="0"/>
              </a:rPr>
              <a:t>F</a:t>
            </a:r>
            <a:r>
              <a:rPr kumimoji="0" lang="de-DE" sz="2200" b="1" i="0" u="none" strike="noStrike" kern="100" cap="none" spc="0" normalizeH="0" baseline="0" noProof="0" dirty="0" err="1">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orces</a:t>
            </a:r>
            <a:r>
              <a:rPr kumimoji="0" lang="de-DE" sz="2200" b="1" i="0" u="none" strike="noStrike" kern="100" cap="none" spc="0" normalizeH="0" baseline="0" noProof="0" dirty="0">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200" b="0" i="0" u="none" strike="noStrike" kern="100" cap="none" spc="0" normalizeH="0" baseline="0" noProof="0" dirty="0" err="1">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are</a:t>
            </a:r>
            <a:r>
              <a:rPr kumimoji="0" lang="de-DE" sz="22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200" b="0" i="0" u="none" strike="noStrike" kern="100" cap="none" spc="0" normalizeH="0" baseline="0" noProof="0" dirty="0" err="1">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caused</a:t>
            </a:r>
            <a:r>
              <a:rPr kumimoji="0" lang="de-DE" sz="22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 by </a:t>
            </a:r>
            <a:r>
              <a:rPr kumimoji="0" lang="de-DE" sz="2200" i="0" u="none" strike="noStrike" kern="100" cap="none" spc="0" normalizeH="0" baseline="0" noProof="0" dirty="0" err="1">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deviations</a:t>
            </a:r>
            <a:r>
              <a:rPr kumimoji="0" lang="de-DE" sz="22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200" b="0" i="0" u="none" strike="noStrike" kern="100" cap="none" spc="0" normalizeH="0" baseline="0" noProof="0" dirty="0" err="1">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from</a:t>
            </a:r>
            <a:r>
              <a:rPr kumimoji="0" lang="de-DE" sz="22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200" i="0" u="none" strike="noStrike" kern="100" cap="none" spc="0" normalizeH="0" baseline="0" noProof="0" dirty="0" err="1">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rotational</a:t>
            </a:r>
            <a:r>
              <a:rPr kumimoji="0" lang="de-DE" sz="2200" i="0" u="none" strike="noStrike" kern="100" cap="none" spc="0" normalizeH="0" baseline="0" noProof="0" dirty="0">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200" i="0" u="none" strike="noStrike" kern="100" cap="none" spc="0" normalizeH="0" baseline="0" noProof="0" dirty="0" err="1">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symmetry</a:t>
            </a:r>
            <a:r>
              <a:rPr kumimoji="0" lang="de-DE" sz="2200" i="0" u="none" strike="noStrike" kern="100" cap="none" spc="0" normalizeH="0" baseline="0" noProof="0" dirty="0">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200" b="0" i="0" u="none" strike="noStrike" kern="100" cap="none" spc="0" normalizeH="0" baseline="0" noProof="0" dirty="0" err="1">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of</a:t>
            </a:r>
            <a:r>
              <a:rPr kumimoji="0" lang="de-DE" sz="22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200" b="0" i="0" u="none" strike="noStrike" kern="100" cap="none" spc="0" normalizeH="0" baseline="0" noProof="0" dirty="0" err="1">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the</a:t>
            </a:r>
            <a:r>
              <a:rPr kumimoji="0" lang="de-DE" sz="22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200" i="0" u="none" strike="noStrike" kern="100" cap="none" spc="0" normalizeH="0" baseline="0" noProof="0" dirty="0">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fluid </a:t>
            </a:r>
            <a:r>
              <a:rPr kumimoji="0" lang="de-DE" sz="2200" i="0" u="none" strike="noStrike" kern="100" cap="none" spc="0" normalizeH="0" baseline="0" noProof="0" dirty="0" err="1">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flow</a:t>
            </a:r>
            <a:r>
              <a:rPr kumimoji="0" lang="de-DE" sz="2200" i="0" u="none" strike="noStrike" kern="100" cap="none" spc="0" normalizeH="0" baseline="0" noProof="0" dirty="0">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200" b="0" i="0" u="none" strike="noStrike" kern="100" cap="none" spc="0" normalizeH="0" baseline="0" noProof="0" dirty="0" err="1">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through</a:t>
            </a:r>
            <a:r>
              <a:rPr kumimoji="0" lang="de-DE" sz="22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200" b="0" i="0" u="none" strike="noStrike" kern="100" cap="none" spc="0" normalizeH="0" baseline="0" noProof="0" dirty="0" err="1">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the</a:t>
            </a:r>
            <a:r>
              <a:rPr kumimoji="0" lang="de-DE" sz="22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200" b="0" i="0" u="none" strike="noStrike" kern="100" cap="none" spc="0" normalizeH="0" baseline="0" noProof="0" dirty="0" err="1">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impeller</a:t>
            </a:r>
            <a:r>
              <a:rPr kumimoji="0" lang="de-DE" sz="22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200" b="0" i="0" u="none" strike="noStrike" kern="100" cap="none" spc="0" normalizeH="0" baseline="0" noProof="0" dirty="0" err="1">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channels</a:t>
            </a:r>
            <a:r>
              <a:rPr kumimoji="0" lang="de-DE" sz="22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 (different blades and </a:t>
            </a:r>
            <a:r>
              <a:rPr kumimoji="0" lang="de-DE" sz="2200" b="0" i="0" u="none" strike="noStrike" kern="100" cap="none" spc="0" normalizeH="0" baseline="0" noProof="0" dirty="0" err="1">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vanes</a:t>
            </a:r>
            <a:r>
              <a:rPr kumimoji="0" lang="de-DE" sz="22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200" b="0" i="0" u="none" strike="noStrike" kern="100" cap="none" spc="0" normalizeH="0" baseline="0" noProof="0" dirty="0" err="1">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geometrical</a:t>
            </a:r>
            <a:r>
              <a:rPr kumimoji="0" lang="de-DE" sz="22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200" b="0" i="0" u="none" strike="noStrike" kern="100" cap="none" spc="0" normalizeH="0" baseline="0" noProof="0" dirty="0" err="1">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unequality</a:t>
            </a:r>
            <a:r>
              <a:rPr kumimoji="0" lang="de-DE" sz="22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 material </a:t>
            </a:r>
            <a:r>
              <a:rPr kumimoji="0" lang="de-DE" sz="2200" b="0" i="0" u="none" strike="noStrike" kern="100" cap="none" spc="0" normalizeH="0" baseline="0" noProof="0" dirty="0" err="1">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roughess</a:t>
            </a:r>
            <a:r>
              <a:rPr kumimoji="0" lang="de-DE" sz="22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 fluid </a:t>
            </a:r>
            <a:r>
              <a:rPr kumimoji="0" lang="de-DE" sz="2200" b="0" i="0" u="none" strike="noStrike" kern="100" cap="none" spc="0" normalizeH="0" baseline="0" noProof="0" dirty="0" err="1">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flow</a:t>
            </a:r>
            <a:r>
              <a:rPr kumimoji="0" lang="de-DE" sz="22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 in </a:t>
            </a:r>
            <a:r>
              <a:rPr kumimoji="0" lang="de-DE" sz="2200" b="0" i="0" u="none" strike="noStrike" kern="100" cap="none" spc="0" normalizeH="0" baseline="0" noProof="0" dirty="0" err="1">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the</a:t>
            </a:r>
            <a:r>
              <a:rPr kumimoji="0" lang="de-DE" sz="22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200" b="0" i="0" u="none" strike="noStrike" kern="100" cap="none" spc="0" normalizeH="0" baseline="0" noProof="0" dirty="0" err="1">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surroundings</a:t>
            </a:r>
            <a:r>
              <a:rPr kumimoji="0" lang="de-DE" sz="22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200" b="0" i="0" u="none" strike="noStrike" kern="100" cap="none" spc="0" normalizeH="0" baseline="0" noProof="0" dirty="0" err="1">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of</a:t>
            </a:r>
            <a:r>
              <a:rPr kumimoji="0" lang="de-DE" sz="22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200" b="0" i="0" u="none" strike="noStrike" kern="100" cap="none" spc="0" normalizeH="0" baseline="0" noProof="0" dirty="0" err="1">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the</a:t>
            </a:r>
            <a:r>
              <a:rPr kumimoji="0" lang="de-DE" sz="22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200" b="0" i="0" u="none" strike="noStrike" kern="100" cap="none" spc="0" normalizeH="0" baseline="0" noProof="0" dirty="0" err="1">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impeller</a:t>
            </a:r>
            <a:r>
              <a:rPr kumimoji="0" lang="de-DE" sz="22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a:t>
            </a:r>
            <a:r>
              <a:rPr kumimoji="0" lang="de-DE" sz="2200" b="1" i="0" u="none" strike="noStrike" kern="100" cap="none" spc="0" normalizeH="0" baseline="0" noProof="0" dirty="0">
                <a:ln>
                  <a:noFill/>
                </a:ln>
                <a:solidFill>
                  <a:srgbClr val="0070C0"/>
                </a:solidFill>
                <a:effectLst/>
                <a:uLnTx/>
                <a:uFillTx/>
                <a:latin typeface="Arial" panose="020B0604020202020204" pitchFamily="34" charset="0"/>
                <a:ea typeface="Calibri" panose="020F0502020204030204" pitchFamily="34" charset="0"/>
                <a:cs typeface="Arial" panose="020B0604020202020204" pitchFamily="34" charset="0"/>
              </a:rPr>
              <a:t>.</a:t>
            </a:r>
            <a:endParaRPr kumimoji="0" lang="de-DE" sz="22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endParaRPr>
          </a:p>
          <a:p>
            <a:pPr marR="0" lvl="0" algn="l" defTabSz="914400" rtl="0" eaLnBrk="1" fontAlgn="auto" latinLnBrk="0" hangingPunct="1">
              <a:lnSpc>
                <a:spcPct val="107000"/>
              </a:lnSpc>
              <a:spcBef>
                <a:spcPts val="0"/>
              </a:spcBef>
              <a:spcAft>
                <a:spcPts val="800"/>
              </a:spcAft>
              <a:buClrTx/>
              <a:buSzTx/>
              <a:tabLst/>
              <a:defRPr/>
            </a:pPr>
            <a:r>
              <a:rPr kumimoji="0" lang="de-DE" sz="2200" b="1" i="0" u="none" strike="noStrike" kern="100" cap="none" spc="0" normalizeH="0" baseline="0" noProof="0" dirty="0" err="1">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Hydraulic</a:t>
            </a:r>
            <a:r>
              <a:rPr kumimoji="0" lang="de-DE" sz="2200" b="1" i="0" u="none" strike="noStrike" kern="100" cap="none" spc="0" normalizeH="0" baseline="0" noProof="0" dirty="0">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200" b="1" i="0" u="none" strike="noStrike" kern="100" cap="none" spc="0" normalizeH="0" baseline="0" noProof="0" dirty="0" err="1">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Unbalance</a:t>
            </a:r>
            <a:r>
              <a:rPr kumimoji="0" lang="de-DE" sz="2200" b="1" i="0" u="none" strike="noStrike" kern="100" cap="none" spc="0" normalizeH="0" baseline="0" noProof="0" dirty="0">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200" b="0" i="0" u="none" strike="noStrike" kern="100" cap="none" spc="0" normalizeH="0" baseline="0" noProof="0" dirty="0" err="1">
                <a:ln>
                  <a:noFill/>
                </a:ln>
                <a:effectLst/>
                <a:uLnTx/>
                <a:uFillTx/>
                <a:latin typeface="Arial" panose="020B0604020202020204" pitchFamily="34" charset="0"/>
                <a:ea typeface="Calibri" panose="020F0502020204030204" pitchFamily="34" charset="0"/>
                <a:cs typeface="Arial" panose="020B0604020202020204" pitchFamily="34" charset="0"/>
              </a:rPr>
              <a:t>can</a:t>
            </a:r>
            <a:r>
              <a:rPr kumimoji="0" lang="de-DE" sz="2200" b="0" i="0" u="none" strike="noStrike" kern="100" cap="none" spc="0" normalizeH="0" baseline="0" noProof="0" dirty="0">
                <a:ln>
                  <a:noFill/>
                </a:ln>
                <a:effectLst/>
                <a:uLnTx/>
                <a:uFillTx/>
                <a:latin typeface="Arial" panose="020B0604020202020204" pitchFamily="34" charset="0"/>
                <a:ea typeface="Calibri" panose="020F0502020204030204" pitchFamily="34" charset="0"/>
                <a:cs typeface="Arial" panose="020B0604020202020204" pitchFamily="34" charset="0"/>
              </a:rPr>
              <a:t> also </a:t>
            </a:r>
            <a:r>
              <a:rPr kumimoji="0" lang="de-DE" sz="2200" b="0" i="0" u="none" strike="noStrike" kern="100" cap="none" spc="0" normalizeH="0" baseline="0" noProof="0" dirty="0" err="1">
                <a:ln>
                  <a:noFill/>
                </a:ln>
                <a:effectLst/>
                <a:uLnTx/>
                <a:uFillTx/>
                <a:latin typeface="Arial" panose="020B0604020202020204" pitchFamily="34" charset="0"/>
                <a:ea typeface="Calibri" panose="020F0502020204030204" pitchFamily="34" charset="0"/>
                <a:cs typeface="Arial" panose="020B0604020202020204" pitchFamily="34" charset="0"/>
              </a:rPr>
              <a:t>be</a:t>
            </a:r>
            <a:r>
              <a:rPr kumimoji="0" lang="de-DE" sz="2200" b="0" i="0" u="none" strike="noStrike" kern="100" cap="none" spc="0" normalizeH="0" baseline="0" noProof="0" dirty="0">
                <a:ln>
                  <a:noFill/>
                </a:ln>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200" b="0" i="0" u="none" strike="noStrike" kern="100" cap="none" spc="0" normalizeH="0" baseline="0" noProof="0" dirty="0" err="1">
                <a:ln>
                  <a:noFill/>
                </a:ln>
                <a:effectLst/>
                <a:uLnTx/>
                <a:uFillTx/>
                <a:latin typeface="Arial" panose="020B0604020202020204" pitchFamily="34" charset="0"/>
                <a:ea typeface="Calibri" panose="020F0502020204030204" pitchFamily="34" charset="0"/>
                <a:cs typeface="Arial" panose="020B0604020202020204" pitchFamily="34" charset="0"/>
              </a:rPr>
              <a:t>amplified</a:t>
            </a:r>
            <a:r>
              <a:rPr kumimoji="0" lang="de-DE" sz="2200" b="0" i="0" u="none" strike="noStrike" kern="100" cap="none" spc="0" normalizeH="0" baseline="0" noProof="0" dirty="0">
                <a:ln>
                  <a:noFill/>
                </a:ln>
                <a:effectLst/>
                <a:uLnTx/>
                <a:uFillTx/>
                <a:latin typeface="Arial" panose="020B0604020202020204" pitchFamily="34" charset="0"/>
                <a:ea typeface="Calibri" panose="020F0502020204030204" pitchFamily="34" charset="0"/>
                <a:cs typeface="Arial" panose="020B0604020202020204" pitchFamily="34" charset="0"/>
              </a:rPr>
              <a:t> by </a:t>
            </a:r>
            <a:r>
              <a:rPr kumimoji="0" lang="de-DE" sz="2200" b="1" i="0" u="none" strike="noStrike" kern="100" cap="none" spc="0" normalizeH="0" baseline="0" noProof="0" dirty="0" err="1">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Unequal</a:t>
            </a:r>
            <a:r>
              <a:rPr kumimoji="0" lang="de-DE" sz="2200" b="1" i="0" u="none" strike="noStrike" kern="100" cap="none" spc="0" normalizeH="0" baseline="0" noProof="0" dirty="0">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 Energy </a:t>
            </a:r>
            <a:r>
              <a:rPr kumimoji="0" lang="de-DE" sz="2200" b="1" i="0" u="none" strike="noStrike" kern="100" cap="none" spc="0" normalizeH="0" baseline="0" noProof="0" dirty="0" err="1">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transfer</a:t>
            </a:r>
            <a:r>
              <a:rPr kumimoji="0" lang="de-DE" sz="2200" b="1" i="0" u="none" strike="noStrike" kern="100" cap="none" spc="0" normalizeH="0" baseline="0" noProof="0" dirty="0">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2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due </a:t>
            </a:r>
            <a:r>
              <a:rPr kumimoji="0" lang="de-DE" sz="2200" b="0" i="0" u="none" strike="noStrike" kern="100" cap="none" spc="0" normalizeH="0" baseline="0" noProof="0" dirty="0" err="1">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to</a:t>
            </a:r>
            <a:r>
              <a:rPr kumimoji="0" lang="de-DE" sz="22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 different </a:t>
            </a:r>
            <a:r>
              <a:rPr lang="de-DE" sz="2200" b="1" kern="100" dirty="0">
                <a:solidFill>
                  <a:srgbClr val="0000FF"/>
                </a:solidFill>
                <a:latin typeface="Arial" panose="020B0604020202020204" pitchFamily="34" charset="0"/>
                <a:ea typeface="Calibri" panose="020F0502020204030204" pitchFamily="34" charset="0"/>
                <a:cs typeface="Arial" panose="020B0604020202020204" pitchFamily="34" charset="0"/>
              </a:rPr>
              <a:t>C</a:t>
            </a:r>
            <a:r>
              <a:rPr kumimoji="0" lang="de-DE" sz="2200" b="1" i="0" u="none" strike="noStrike" kern="100" cap="none" spc="0" normalizeH="0" baseline="0" noProof="0" dirty="0" err="1">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avitation</a:t>
            </a:r>
            <a:r>
              <a:rPr kumimoji="0" lang="de-DE" sz="2200" b="1" i="0" u="none" strike="noStrike" kern="100" cap="none" spc="0" normalizeH="0" baseline="0" noProof="0" dirty="0">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200" b="1" i="0" u="none" strike="noStrike" kern="100" cap="none" spc="0" normalizeH="0" baseline="0" noProof="0" dirty="0" err="1">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behavior</a:t>
            </a:r>
            <a:r>
              <a:rPr kumimoji="0" lang="de-DE" sz="2200" b="1" i="0" u="none" strike="noStrike" kern="100" cap="none" spc="0" normalizeH="0" baseline="0" noProof="0" dirty="0">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2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in </a:t>
            </a:r>
            <a:r>
              <a:rPr kumimoji="0" lang="de-DE" sz="2200" b="1" i="0" u="none" strike="noStrike" kern="100" cap="none" spc="0" normalizeH="0" baseline="0" noProof="0" dirty="0">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different blades </a:t>
            </a:r>
            <a:endParaRPr kumimoji="0" lang="de-DE" sz="2200" b="0" i="0" u="none" strike="noStrike" kern="100" cap="none" spc="0" normalizeH="0" baseline="0" noProof="0" dirty="0">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endParaRPr kumimoji="0" lang="de-DE" sz="24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endParaRPr>
          </a:p>
          <a:p>
            <a:pPr marL="342900" marR="0" lvl="0" indent="-342900" algn="l" defTabSz="914400" rtl="0" eaLnBrk="1" fontAlgn="auto" latinLnBrk="0" hangingPunct="1">
              <a:lnSpc>
                <a:spcPct val="107000"/>
              </a:lnSpc>
              <a:spcBef>
                <a:spcPts val="0"/>
              </a:spcBef>
              <a:spcAft>
                <a:spcPts val="800"/>
              </a:spcAft>
              <a:buClrTx/>
              <a:buSzTx/>
              <a:buFontTx/>
              <a:buChar char="-"/>
              <a:tabLst/>
              <a:defRPr/>
            </a:pPr>
            <a:endParaRPr kumimoji="0" lang="de-DE" sz="24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de-DE" sz="24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  </a:t>
            </a:r>
          </a:p>
          <a:p>
            <a:pPr marL="0" marR="0" lvl="0" indent="0" algn="l" defTabSz="914400" rtl="0" eaLnBrk="1" fontAlgn="auto" latinLnBrk="0" hangingPunct="1">
              <a:lnSpc>
                <a:spcPct val="107000"/>
              </a:lnSpc>
              <a:spcBef>
                <a:spcPts val="0"/>
              </a:spcBef>
              <a:spcAft>
                <a:spcPts val="800"/>
              </a:spcAft>
              <a:buClrTx/>
              <a:buSzTx/>
              <a:buFontTx/>
              <a:buNone/>
              <a:tabLst/>
              <a:defRPr/>
            </a:pPr>
            <a:endParaRPr kumimoji="0" lang="de-DE" sz="24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6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Times New Roman" panose="02020603050405020304" pitchFamily="18" charset="0"/>
              </a:rPr>
              <a:t> </a:t>
            </a:r>
            <a:endParaRPr kumimoji="0" lang="de-DE" sz="1100" b="0" i="0" u="none" strike="noStrike" kern="1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6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Times New Roman" panose="02020603050405020304" pitchFamily="18" charset="0"/>
              </a:rPr>
              <a:t> </a:t>
            </a:r>
            <a:endParaRPr kumimoji="0" lang="de-DE" sz="1100" b="0" i="0" u="none" strike="noStrike" kern="1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6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Times New Roman" panose="02020603050405020304" pitchFamily="18" charset="0"/>
              </a:rPr>
              <a:t> </a:t>
            </a:r>
            <a:endParaRPr kumimoji="0" lang="de-DE" sz="1100" b="0" i="0" u="none" strike="noStrike" kern="1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6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Times New Roman" panose="02020603050405020304" pitchFamily="18" charset="0"/>
              </a:rPr>
              <a:t> </a:t>
            </a:r>
            <a:endParaRPr kumimoji="0" lang="de-DE" sz="1100" b="0" i="0" u="none" strike="noStrike" kern="1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6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Times New Roman" panose="02020603050405020304" pitchFamily="18" charset="0"/>
              </a:rPr>
              <a:t> </a:t>
            </a:r>
            <a:endParaRPr kumimoji="0" lang="de-DE" sz="1100" b="0" i="0" u="none" strike="noStrike" kern="1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6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Times New Roman" panose="02020603050405020304" pitchFamily="18" charset="0"/>
              </a:rPr>
              <a:t> </a:t>
            </a:r>
            <a:endParaRPr kumimoji="0" lang="de-DE" sz="1100" b="0" i="0" u="none" strike="noStrike" kern="1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6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Times New Roman" panose="02020603050405020304" pitchFamily="18" charset="0"/>
              </a:rPr>
              <a:t> </a:t>
            </a:r>
            <a:endParaRPr kumimoji="0" lang="de-DE" sz="1100" b="0" i="0" u="none" strike="noStrike" kern="1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6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Times New Roman" panose="02020603050405020304" pitchFamily="18" charset="0"/>
              </a:rPr>
              <a:t> </a:t>
            </a:r>
            <a:endParaRPr kumimoji="0" lang="de-DE" sz="1100" b="0" i="0" u="none" strike="noStrike" kern="1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6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Times New Roman" panose="02020603050405020304" pitchFamily="18" charset="0"/>
              </a:rPr>
              <a:t> </a:t>
            </a:r>
            <a:endParaRPr kumimoji="0" lang="de-DE" sz="1100" b="0" i="0" u="none" strike="noStrike" kern="1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6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Times New Roman" panose="02020603050405020304" pitchFamily="18" charset="0"/>
              </a:rPr>
              <a:t> </a:t>
            </a:r>
            <a:endParaRPr kumimoji="0" lang="de-DE" sz="1100" b="0" i="0" u="none" strike="noStrike" kern="1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6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Times New Roman" panose="02020603050405020304" pitchFamily="18" charset="0"/>
              </a:rPr>
              <a:t> </a:t>
            </a:r>
            <a:endParaRPr kumimoji="0" lang="de-DE" sz="1100" b="0" i="0" u="none" strike="noStrike" kern="1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p:txBody>
      </p:sp>
      <p:sp>
        <p:nvSpPr>
          <p:cNvPr id="2" name="Textfeld 1">
            <a:extLst>
              <a:ext uri="{FF2B5EF4-FFF2-40B4-BE49-F238E27FC236}">
                <a16:creationId xmlns:a16="http://schemas.microsoft.com/office/drawing/2014/main" id="{82269E2E-BAAE-9140-6741-F11DD03D2704}"/>
              </a:ext>
            </a:extLst>
          </p:cNvPr>
          <p:cNvSpPr txBox="1"/>
          <p:nvPr/>
        </p:nvSpPr>
        <p:spPr>
          <a:xfrm>
            <a:off x="437575" y="116896"/>
            <a:ext cx="11068131" cy="830997"/>
          </a:xfrm>
          <a:prstGeom prst="rect">
            <a:avLst/>
          </a:prstGeom>
          <a:noFill/>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de-DE" sz="2400" b="1" i="0" u="none" strike="noStrike" kern="1200" cap="none" spc="0" normalizeH="0" baseline="0" noProof="0" dirty="0">
                <a:ln>
                  <a:noFill/>
                </a:ln>
                <a:solidFill>
                  <a:srgbClr val="0000FF"/>
                </a:solidFill>
                <a:effectLst/>
                <a:uLnTx/>
                <a:uFillTx/>
                <a:latin typeface="Arial"/>
                <a:ea typeface="+mn-ea"/>
                <a:cs typeface="+mn-cs"/>
              </a:rPr>
              <a:t>Vibration </a:t>
            </a:r>
            <a:r>
              <a:rPr kumimoji="0" lang="de-DE" sz="2400" b="1" i="0" u="none" strike="noStrike" kern="1200" cap="none" spc="0" normalizeH="0" baseline="0" noProof="0" dirty="0" err="1">
                <a:ln>
                  <a:noFill/>
                </a:ln>
                <a:solidFill>
                  <a:srgbClr val="0000FF"/>
                </a:solidFill>
                <a:effectLst/>
                <a:uLnTx/>
                <a:uFillTx/>
                <a:latin typeface="Arial"/>
                <a:ea typeface="+mn-ea"/>
                <a:cs typeface="+mn-cs"/>
              </a:rPr>
              <a:t>Phenomena</a:t>
            </a:r>
            <a:r>
              <a:rPr kumimoji="0" lang="de-DE" sz="2400" b="1" i="0" u="none" strike="noStrike" kern="1200" cap="none" spc="0" normalizeH="0" baseline="0" noProof="0" dirty="0">
                <a:ln>
                  <a:noFill/>
                </a:ln>
                <a:solidFill>
                  <a:srgbClr val="0000FF"/>
                </a:solidFill>
                <a:effectLst/>
                <a:uLnTx/>
                <a:uFillTx/>
                <a:latin typeface="Arial"/>
                <a:ea typeface="+mn-ea"/>
                <a:cs typeface="+mn-cs"/>
              </a:rPr>
              <a:t> </a:t>
            </a:r>
            <a:r>
              <a:rPr kumimoji="0" lang="de-DE" sz="2400" b="1" i="0" u="none" strike="noStrike" kern="1200" cap="none" spc="0" normalizeH="0" baseline="0" noProof="0" dirty="0" err="1">
                <a:ln>
                  <a:noFill/>
                </a:ln>
                <a:solidFill>
                  <a:srgbClr val="0000FF"/>
                </a:solidFill>
                <a:effectLst/>
                <a:uLnTx/>
                <a:uFillTx/>
                <a:latin typeface="Arial"/>
                <a:ea typeface="+mn-ea"/>
                <a:cs typeface="+mn-cs"/>
              </a:rPr>
              <a:t>of</a:t>
            </a:r>
            <a:r>
              <a:rPr kumimoji="0" lang="de-DE" sz="2400" b="1" i="0" u="none" strike="noStrike" kern="1200" cap="none" spc="0" normalizeH="0" baseline="0" noProof="0" dirty="0">
                <a:ln>
                  <a:noFill/>
                </a:ln>
                <a:solidFill>
                  <a:srgbClr val="0000FF"/>
                </a:solidFill>
                <a:effectLst/>
                <a:uLnTx/>
                <a:uFillTx/>
                <a:latin typeface="Arial"/>
                <a:ea typeface="+mn-ea"/>
                <a:cs typeface="+mn-cs"/>
              </a:rPr>
              <a:t> </a:t>
            </a:r>
            <a:r>
              <a:rPr kumimoji="0" lang="de-DE" sz="2400" b="1" i="0" u="none" strike="noStrike" kern="1200" cap="none" spc="0" normalizeH="0" baseline="0" noProof="0" dirty="0" err="1">
                <a:ln>
                  <a:noFill/>
                </a:ln>
                <a:solidFill>
                  <a:srgbClr val="0000FF"/>
                </a:solidFill>
                <a:effectLst/>
                <a:uLnTx/>
                <a:uFillTx/>
                <a:latin typeface="Arial"/>
                <a:ea typeface="+mn-ea"/>
                <a:cs typeface="+mn-cs"/>
              </a:rPr>
              <a:t>the</a:t>
            </a:r>
            <a:r>
              <a:rPr kumimoji="0" lang="de-DE" sz="2400" b="1" i="0" u="none" strike="noStrike" kern="1200" cap="none" spc="0" normalizeH="0" baseline="0" noProof="0" dirty="0">
                <a:ln>
                  <a:noFill/>
                </a:ln>
                <a:solidFill>
                  <a:srgbClr val="0000FF"/>
                </a:solidFill>
                <a:effectLst/>
                <a:uLnTx/>
                <a:uFillTx/>
                <a:latin typeface="Arial"/>
                <a:ea typeface="+mn-ea"/>
                <a:cs typeface="+mn-cs"/>
              </a:rPr>
              <a:t> Horizontal </a:t>
            </a:r>
            <a:r>
              <a:rPr kumimoji="0" lang="de-DE" sz="2400" b="1" i="0" u="none" strike="noStrike" kern="1200" cap="none" spc="0" normalizeH="0" baseline="0" noProof="0" dirty="0" err="1">
                <a:ln>
                  <a:noFill/>
                </a:ln>
                <a:solidFill>
                  <a:srgbClr val="0000FF"/>
                </a:solidFill>
                <a:effectLst/>
                <a:uLnTx/>
                <a:uFillTx/>
                <a:latin typeface="Arial"/>
                <a:ea typeface="+mn-ea"/>
                <a:cs typeface="+mn-cs"/>
              </a:rPr>
              <a:t>Feedwater</a:t>
            </a:r>
            <a:r>
              <a:rPr kumimoji="0" lang="de-DE" sz="2400" b="1" i="0" u="none" strike="noStrike" kern="1200" cap="none" spc="0" normalizeH="0" baseline="0" noProof="0" dirty="0">
                <a:ln>
                  <a:noFill/>
                </a:ln>
                <a:solidFill>
                  <a:srgbClr val="0000FF"/>
                </a:solidFill>
                <a:effectLst/>
                <a:uLnTx/>
                <a:uFillTx/>
                <a:latin typeface="Arial"/>
                <a:ea typeface="+mn-ea"/>
                <a:cs typeface="+mn-cs"/>
              </a:rPr>
              <a:t> Pump </a:t>
            </a:r>
            <a:r>
              <a:rPr lang="de-DE" sz="2400" dirty="0">
                <a:solidFill>
                  <a:srgbClr val="0000FF"/>
                </a:solidFill>
                <a:latin typeface="Arial"/>
              </a:rPr>
              <a:t>OL3</a:t>
            </a:r>
            <a:r>
              <a:rPr kumimoji="0" lang="de-DE" sz="2400" b="1" i="0" u="none" strike="noStrike" kern="1200" cap="none" spc="0" normalizeH="0" baseline="0" noProof="0" dirty="0">
                <a:ln>
                  <a:noFill/>
                </a:ln>
                <a:solidFill>
                  <a:srgbClr val="0000FF"/>
                </a:solidFill>
                <a:effectLst/>
                <a:uLnTx/>
                <a:uFillTx/>
                <a:latin typeface="Arial"/>
                <a:ea typeface="+mn-ea"/>
                <a:cs typeface="+mn-cs"/>
              </a:rPr>
              <a:t> </a:t>
            </a:r>
          </a:p>
          <a:p>
            <a:pPr marL="0" marR="0" lvl="0" indent="0" algn="l" defTabSz="914400" rtl="0" eaLnBrk="0" fontAlgn="base" latinLnBrk="0" hangingPunct="0">
              <a:lnSpc>
                <a:spcPct val="100000"/>
              </a:lnSpc>
              <a:spcBef>
                <a:spcPct val="0"/>
              </a:spcBef>
              <a:spcAft>
                <a:spcPct val="0"/>
              </a:spcAft>
              <a:buClrTx/>
              <a:buSzTx/>
              <a:buFontTx/>
              <a:buNone/>
              <a:tabLst/>
              <a:defRPr/>
            </a:pPr>
            <a:r>
              <a:rPr lang="de-DE" sz="2400" b="0" dirty="0" err="1">
                <a:latin typeface="Arial"/>
              </a:rPr>
              <a:t>Hydraulic</a:t>
            </a:r>
            <a:r>
              <a:rPr lang="de-DE" sz="2400" b="0" dirty="0">
                <a:latin typeface="Arial"/>
              </a:rPr>
              <a:t> </a:t>
            </a:r>
            <a:r>
              <a:rPr lang="de-DE" sz="2400" b="0" dirty="0" err="1">
                <a:latin typeface="Arial"/>
              </a:rPr>
              <a:t>Unbalance</a:t>
            </a:r>
            <a:endParaRPr kumimoji="0" lang="de-DE" sz="2400" b="0" i="0" u="none" strike="noStrike" kern="1200" cap="none" spc="0" normalizeH="0" baseline="0" noProof="0" dirty="0">
              <a:ln>
                <a:noFill/>
              </a:ln>
              <a:effectLst/>
              <a:uLnTx/>
              <a:uFillTx/>
              <a:latin typeface="Arial"/>
              <a:ea typeface="+mn-ea"/>
              <a:cs typeface="+mn-cs"/>
            </a:endParaRPr>
          </a:p>
        </p:txBody>
      </p:sp>
    </p:spTree>
    <p:extLst>
      <p:ext uri="{BB962C8B-B14F-4D97-AF65-F5344CB8AC3E}">
        <p14:creationId xmlns:p14="http://schemas.microsoft.com/office/powerpoint/2010/main" val="211838831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Bild 1" descr="undefined">
            <a:extLst>
              <a:ext uri="{FF2B5EF4-FFF2-40B4-BE49-F238E27FC236}">
                <a16:creationId xmlns:a16="http://schemas.microsoft.com/office/drawing/2014/main" id="{AFF441C3-A066-EE92-CDF8-DB980F3785DF}"/>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204685" y="1088572"/>
            <a:ext cx="9768115" cy="4847771"/>
          </a:xfrm>
          <a:prstGeom prst="rect">
            <a:avLst/>
          </a:prstGeom>
          <a:noFill/>
          <a:ln>
            <a:noFill/>
          </a:ln>
        </p:spPr>
      </p:pic>
      <p:sp>
        <p:nvSpPr>
          <p:cNvPr id="4" name="Rechteck 3">
            <a:extLst>
              <a:ext uri="{FF2B5EF4-FFF2-40B4-BE49-F238E27FC236}">
                <a16:creationId xmlns:a16="http://schemas.microsoft.com/office/drawing/2014/main" id="{E0DF96BC-41B1-1FC5-70B1-53FD38C0623A}"/>
              </a:ext>
            </a:extLst>
          </p:cNvPr>
          <p:cNvSpPr/>
          <p:nvPr/>
        </p:nvSpPr>
        <p:spPr>
          <a:xfrm>
            <a:off x="5203370" y="1482915"/>
            <a:ext cx="1828799" cy="369332"/>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de-DE" sz="1800" b="1" i="0" u="none" strike="noStrike" kern="1200" cap="none" spc="0" normalizeH="0" baseline="0" noProof="0">
              <a:ln>
                <a:noFill/>
              </a:ln>
              <a:solidFill>
                <a:srgbClr val="FFFFFF"/>
              </a:solidFill>
              <a:effectLst/>
              <a:uLnTx/>
              <a:uFillTx/>
              <a:latin typeface="Arial"/>
              <a:ea typeface="+mn-ea"/>
              <a:cs typeface="+mn-cs"/>
            </a:endParaRPr>
          </a:p>
        </p:txBody>
      </p:sp>
      <p:sp>
        <p:nvSpPr>
          <p:cNvPr id="6" name="Textfeld 5">
            <a:extLst>
              <a:ext uri="{FF2B5EF4-FFF2-40B4-BE49-F238E27FC236}">
                <a16:creationId xmlns:a16="http://schemas.microsoft.com/office/drawing/2014/main" id="{6EAAEA78-2FAF-7BDC-A363-FECD1249BA60}"/>
              </a:ext>
            </a:extLst>
          </p:cNvPr>
          <p:cNvSpPr txBox="1"/>
          <p:nvPr/>
        </p:nvSpPr>
        <p:spPr>
          <a:xfrm>
            <a:off x="5203370" y="1200558"/>
            <a:ext cx="4644571" cy="1477328"/>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de-DE" sz="2400" b="1" i="0" u="none" strike="noStrike" kern="1200" cap="none" spc="0" normalizeH="0" baseline="0" noProof="0" dirty="0" err="1">
                <a:ln>
                  <a:noFill/>
                </a:ln>
                <a:solidFill>
                  <a:srgbClr val="0000FF"/>
                </a:solidFill>
                <a:effectLst/>
                <a:uLnTx/>
                <a:uFillTx/>
                <a:latin typeface="Arial"/>
                <a:ea typeface="+mn-ea"/>
                <a:cs typeface="+mn-cs"/>
              </a:rPr>
              <a:t>Nuclear</a:t>
            </a:r>
            <a:r>
              <a:rPr kumimoji="0" lang="de-DE" sz="2400" b="1" i="0" u="none" strike="noStrike" kern="1200" cap="none" spc="0" normalizeH="0" baseline="0" noProof="0" dirty="0">
                <a:ln>
                  <a:noFill/>
                </a:ln>
                <a:solidFill>
                  <a:srgbClr val="0000FF"/>
                </a:solidFill>
                <a:effectLst/>
                <a:uLnTx/>
                <a:uFillTx/>
                <a:latin typeface="Arial"/>
                <a:ea typeface="+mn-ea"/>
                <a:cs typeface="+mn-cs"/>
              </a:rPr>
              <a:t> Power Plant </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de-DE" sz="2400" b="1" i="0" u="none" strike="noStrike" kern="1200" cap="none" spc="0" normalizeH="0" baseline="0" noProof="0" dirty="0" err="1">
                <a:ln>
                  <a:noFill/>
                </a:ln>
                <a:solidFill>
                  <a:srgbClr val="FF0000"/>
                </a:solidFill>
                <a:effectLst/>
                <a:uLnTx/>
                <a:uFillTx/>
                <a:latin typeface="Arial"/>
                <a:ea typeface="+mn-ea"/>
                <a:cs typeface="+mn-cs"/>
              </a:rPr>
              <a:t>Pressurized</a:t>
            </a:r>
            <a:r>
              <a:rPr kumimoji="0" lang="de-DE" sz="2400" b="1" i="0" u="none" strike="noStrike" kern="1200" cap="none" spc="0" normalizeH="0" baseline="0" noProof="0" dirty="0">
                <a:ln>
                  <a:noFill/>
                </a:ln>
                <a:solidFill>
                  <a:srgbClr val="FF0000"/>
                </a:solidFill>
                <a:effectLst/>
                <a:uLnTx/>
                <a:uFillTx/>
                <a:latin typeface="Arial"/>
                <a:ea typeface="+mn-ea"/>
                <a:cs typeface="+mn-cs"/>
              </a:rPr>
              <a:t> </a:t>
            </a:r>
            <a:r>
              <a:rPr kumimoji="0" lang="de-DE" sz="2400" b="1" i="0" u="none" strike="noStrike" kern="1200" cap="none" spc="0" normalizeH="0" baseline="0" noProof="0" dirty="0" err="1">
                <a:ln>
                  <a:noFill/>
                </a:ln>
                <a:solidFill>
                  <a:srgbClr val="FF0000"/>
                </a:solidFill>
                <a:effectLst/>
                <a:uLnTx/>
                <a:uFillTx/>
                <a:latin typeface="Arial"/>
                <a:ea typeface="+mn-ea"/>
                <a:cs typeface="+mn-cs"/>
              </a:rPr>
              <a:t>Water</a:t>
            </a:r>
            <a:r>
              <a:rPr kumimoji="0" lang="de-DE" sz="2400" b="1" i="0" u="none" strike="noStrike" kern="1200" cap="none" spc="0" normalizeH="0" baseline="0" noProof="0" dirty="0">
                <a:ln>
                  <a:noFill/>
                </a:ln>
                <a:solidFill>
                  <a:srgbClr val="FF0000"/>
                </a:solidFill>
                <a:effectLst/>
                <a:uLnTx/>
                <a:uFillTx/>
                <a:latin typeface="Arial"/>
                <a:ea typeface="+mn-ea"/>
                <a:cs typeface="+mn-cs"/>
              </a:rPr>
              <a:t> </a:t>
            </a:r>
            <a:r>
              <a:rPr kumimoji="0" lang="de-DE" sz="2400" b="1" i="0" u="none" strike="noStrike" kern="1200" cap="none" spc="0" normalizeH="0" baseline="0" noProof="0" dirty="0" err="1">
                <a:ln>
                  <a:noFill/>
                </a:ln>
                <a:solidFill>
                  <a:srgbClr val="FF0000"/>
                </a:solidFill>
                <a:effectLst/>
                <a:uLnTx/>
                <a:uFillTx/>
                <a:latin typeface="Arial"/>
                <a:ea typeface="+mn-ea"/>
                <a:cs typeface="+mn-cs"/>
              </a:rPr>
              <a:t>Reactor</a:t>
            </a:r>
            <a:endParaRPr kumimoji="0" lang="de-DE" sz="2400" b="1" i="0" u="none" strike="noStrike" kern="1200" cap="none" spc="0" normalizeH="0" baseline="0" noProof="0" dirty="0">
              <a:ln>
                <a:noFill/>
              </a:ln>
              <a:solidFill>
                <a:srgbClr val="FF0000"/>
              </a:solidFill>
              <a:effectLst/>
              <a:uLnTx/>
              <a:uFillTx/>
              <a:latin typeface="Arial"/>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de-DE" sz="2400" b="1" i="0" u="none" strike="noStrike" kern="1200" cap="none" spc="0" normalizeH="0" baseline="0" noProof="0" dirty="0">
                <a:ln>
                  <a:noFill/>
                </a:ln>
                <a:solidFill>
                  <a:srgbClr val="0000FF"/>
                </a:solidFill>
                <a:effectLst/>
                <a:uLnTx/>
                <a:uFillTx/>
                <a:latin typeface="Arial"/>
                <a:ea typeface="+mn-ea"/>
                <a:cs typeface="+mn-cs"/>
              </a:rPr>
              <a:t>PWR PWR</a:t>
            </a:r>
            <a:endParaRPr kumimoji="0" lang="de-DE" sz="2400" b="1"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de-DE" sz="1800" b="1" i="0" u="none" strike="noStrike" kern="1200" cap="none" spc="0" normalizeH="0" baseline="0" noProof="0" dirty="0">
                <a:ln>
                  <a:noFill/>
                </a:ln>
                <a:solidFill>
                  <a:srgbClr val="000000"/>
                </a:solidFill>
                <a:effectLst/>
                <a:uLnTx/>
                <a:uFillTx/>
                <a:latin typeface="Verdana" panose="020B0604030504040204" pitchFamily="34" charset="0"/>
                <a:ea typeface="+mn-ea"/>
                <a:cs typeface="+mn-cs"/>
              </a:rPr>
              <a:t> </a:t>
            </a:r>
          </a:p>
        </p:txBody>
      </p:sp>
      <p:pic>
        <p:nvPicPr>
          <p:cNvPr id="3" name="Grafik 2">
            <a:extLst>
              <a:ext uri="{FF2B5EF4-FFF2-40B4-BE49-F238E27FC236}">
                <a16:creationId xmlns:a16="http://schemas.microsoft.com/office/drawing/2014/main" id="{0FE4587C-9807-187B-27F2-7C33B2AEA1E1}"/>
              </a:ext>
            </a:extLst>
          </p:cNvPr>
          <p:cNvPicPr>
            <a:picLocks noChangeAspect="1"/>
          </p:cNvPicPr>
          <p:nvPr/>
        </p:nvPicPr>
        <p:blipFill>
          <a:blip r:embed="rId4"/>
          <a:stretch>
            <a:fillRect/>
          </a:stretch>
        </p:blipFill>
        <p:spPr>
          <a:xfrm>
            <a:off x="3940627" y="4761234"/>
            <a:ext cx="2627087" cy="1901006"/>
          </a:xfrm>
          <a:prstGeom prst="rect">
            <a:avLst/>
          </a:prstGeom>
        </p:spPr>
      </p:pic>
      <p:sp>
        <p:nvSpPr>
          <p:cNvPr id="5" name="Rechteck 4">
            <a:extLst>
              <a:ext uri="{FF2B5EF4-FFF2-40B4-BE49-F238E27FC236}">
                <a16:creationId xmlns:a16="http://schemas.microsoft.com/office/drawing/2014/main" id="{BBF8B6B5-51A6-17F4-1FE1-FFE74655CC59}"/>
              </a:ext>
            </a:extLst>
          </p:cNvPr>
          <p:cNvSpPr/>
          <p:nvPr/>
        </p:nvSpPr>
        <p:spPr>
          <a:xfrm>
            <a:off x="2307771" y="2061030"/>
            <a:ext cx="1596572" cy="537027"/>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de-DE" sz="1800" b="1" i="0" u="none" strike="noStrike" kern="1200" cap="none" spc="0" normalizeH="0" baseline="0" noProof="0">
              <a:ln>
                <a:noFill/>
              </a:ln>
              <a:solidFill>
                <a:srgbClr val="FFFFFF"/>
              </a:solidFill>
              <a:effectLst/>
              <a:uLnTx/>
              <a:uFillTx/>
              <a:latin typeface="Arial"/>
              <a:ea typeface="+mn-ea"/>
              <a:cs typeface="+mn-cs"/>
            </a:endParaRPr>
          </a:p>
        </p:txBody>
      </p:sp>
      <p:sp>
        <p:nvSpPr>
          <p:cNvPr id="9" name="Rechteck 8">
            <a:extLst>
              <a:ext uri="{FF2B5EF4-FFF2-40B4-BE49-F238E27FC236}">
                <a16:creationId xmlns:a16="http://schemas.microsoft.com/office/drawing/2014/main" id="{014ED65A-FEDA-8266-FCBA-31ADB28E4827}"/>
              </a:ext>
            </a:extLst>
          </p:cNvPr>
          <p:cNvSpPr/>
          <p:nvPr/>
        </p:nvSpPr>
        <p:spPr>
          <a:xfrm>
            <a:off x="4775200" y="2061030"/>
            <a:ext cx="4934857" cy="537027"/>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de-DE" sz="1800" b="1" i="0" u="none" strike="noStrike" kern="1200" cap="none" spc="0" normalizeH="0" baseline="0" noProof="0">
              <a:ln>
                <a:noFill/>
              </a:ln>
              <a:solidFill>
                <a:srgbClr val="FFFFFF"/>
              </a:solidFill>
              <a:effectLst/>
              <a:uLnTx/>
              <a:uFillTx/>
              <a:latin typeface="Arial"/>
              <a:ea typeface="+mn-ea"/>
              <a:cs typeface="+mn-cs"/>
            </a:endParaRPr>
          </a:p>
        </p:txBody>
      </p:sp>
      <p:pic>
        <p:nvPicPr>
          <p:cNvPr id="11" name="Grafik 10">
            <a:extLst>
              <a:ext uri="{FF2B5EF4-FFF2-40B4-BE49-F238E27FC236}">
                <a16:creationId xmlns:a16="http://schemas.microsoft.com/office/drawing/2014/main" id="{CCD9FA8D-9D78-AE77-7590-FCFE7498507D}"/>
              </a:ext>
            </a:extLst>
          </p:cNvPr>
          <p:cNvPicPr>
            <a:picLocks noChangeAspect="1"/>
          </p:cNvPicPr>
          <p:nvPr/>
        </p:nvPicPr>
        <p:blipFill>
          <a:blip r:embed="rId5"/>
          <a:stretch>
            <a:fillRect/>
          </a:stretch>
        </p:blipFill>
        <p:spPr>
          <a:xfrm>
            <a:off x="8447314" y="4513943"/>
            <a:ext cx="1262743" cy="2075177"/>
          </a:xfrm>
          <a:prstGeom prst="rect">
            <a:avLst/>
          </a:prstGeom>
        </p:spPr>
      </p:pic>
      <p:pic>
        <p:nvPicPr>
          <p:cNvPr id="8" name="Grafik 7">
            <a:extLst>
              <a:ext uri="{FF2B5EF4-FFF2-40B4-BE49-F238E27FC236}">
                <a16:creationId xmlns:a16="http://schemas.microsoft.com/office/drawing/2014/main" id="{412ECC76-55EE-1544-67E5-F3CDBC5D1995}"/>
              </a:ext>
            </a:extLst>
          </p:cNvPr>
          <p:cNvPicPr>
            <a:picLocks noChangeAspect="1"/>
          </p:cNvPicPr>
          <p:nvPr/>
        </p:nvPicPr>
        <p:blipFill>
          <a:blip r:embed="rId6"/>
          <a:stretch>
            <a:fillRect/>
          </a:stretch>
        </p:blipFill>
        <p:spPr>
          <a:xfrm>
            <a:off x="2197522" y="1746794"/>
            <a:ext cx="1024650" cy="2075360"/>
          </a:xfrm>
          <a:prstGeom prst="rect">
            <a:avLst/>
          </a:prstGeom>
        </p:spPr>
      </p:pic>
      <p:cxnSp>
        <p:nvCxnSpPr>
          <p:cNvPr id="18" name="Gerade Verbindung mit Pfeil 17">
            <a:extLst>
              <a:ext uri="{FF2B5EF4-FFF2-40B4-BE49-F238E27FC236}">
                <a16:creationId xmlns:a16="http://schemas.microsoft.com/office/drawing/2014/main" id="{8316B5E7-8D99-3E89-0E38-0B6C5435BE9C}"/>
              </a:ext>
            </a:extLst>
          </p:cNvPr>
          <p:cNvCxnSpPr>
            <a:cxnSpLocks/>
          </p:cNvCxnSpPr>
          <p:nvPr/>
        </p:nvCxnSpPr>
        <p:spPr>
          <a:xfrm flipH="1" flipV="1">
            <a:off x="2859314" y="2784474"/>
            <a:ext cx="362858" cy="1729469"/>
          </a:xfrm>
          <a:prstGeom prst="straightConnector1">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22" name="Gerade Verbindung mit Pfeil 21">
            <a:extLst>
              <a:ext uri="{FF2B5EF4-FFF2-40B4-BE49-F238E27FC236}">
                <a16:creationId xmlns:a16="http://schemas.microsoft.com/office/drawing/2014/main" id="{61BCB456-96E4-F6E3-7804-2F92BD801380}"/>
              </a:ext>
            </a:extLst>
          </p:cNvPr>
          <p:cNvCxnSpPr>
            <a:cxnSpLocks/>
          </p:cNvCxnSpPr>
          <p:nvPr/>
        </p:nvCxnSpPr>
        <p:spPr>
          <a:xfrm flipH="1">
            <a:off x="5486400" y="4412343"/>
            <a:ext cx="362857" cy="682171"/>
          </a:xfrm>
          <a:prstGeom prst="straightConnector1">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0" name="Gerade Verbindung mit Pfeil 9">
            <a:extLst>
              <a:ext uri="{FF2B5EF4-FFF2-40B4-BE49-F238E27FC236}">
                <a16:creationId xmlns:a16="http://schemas.microsoft.com/office/drawing/2014/main" id="{BE5E3BCB-5AA9-AD09-324C-9DE69FE0785F}"/>
              </a:ext>
            </a:extLst>
          </p:cNvPr>
          <p:cNvCxnSpPr>
            <a:cxnSpLocks/>
          </p:cNvCxnSpPr>
          <p:nvPr/>
        </p:nvCxnSpPr>
        <p:spPr>
          <a:xfrm>
            <a:off x="7982857" y="4180114"/>
            <a:ext cx="783772" cy="1306286"/>
          </a:xfrm>
          <a:prstGeom prst="straightConnector1">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4" name="Textfeld 13">
            <a:extLst>
              <a:ext uri="{FF2B5EF4-FFF2-40B4-BE49-F238E27FC236}">
                <a16:creationId xmlns:a16="http://schemas.microsoft.com/office/drawing/2014/main" id="{216AFB03-C746-D00C-2A62-623C22597EA7}"/>
              </a:ext>
            </a:extLst>
          </p:cNvPr>
          <p:cNvSpPr txBox="1"/>
          <p:nvPr/>
        </p:nvSpPr>
        <p:spPr>
          <a:xfrm>
            <a:off x="275435" y="1313638"/>
            <a:ext cx="2191882" cy="707886"/>
          </a:xfrm>
          <a:prstGeom prst="rect">
            <a:avLst/>
          </a:prstGeom>
          <a:noFill/>
        </p:spPr>
        <p:txBody>
          <a:bodyPr wrap="non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de-DE" sz="2000" b="1" i="0" u="none" strike="noStrike" kern="1200" cap="none" spc="0" normalizeH="0" baseline="0" noProof="0" dirty="0" err="1">
                <a:ln>
                  <a:noFill/>
                </a:ln>
                <a:solidFill>
                  <a:srgbClr val="0000FF"/>
                </a:solidFill>
                <a:effectLst/>
                <a:uLnTx/>
                <a:uFillTx/>
                <a:latin typeface="Arial"/>
                <a:ea typeface="+mn-ea"/>
                <a:cs typeface="+mn-cs"/>
              </a:rPr>
              <a:t>Vertical</a:t>
            </a:r>
            <a:r>
              <a:rPr kumimoji="0" lang="de-DE" sz="2000" b="1" i="0" u="none" strike="noStrike" kern="1200" cap="none" spc="0" normalizeH="0" baseline="0" noProof="0" dirty="0">
                <a:ln>
                  <a:noFill/>
                </a:ln>
                <a:solidFill>
                  <a:srgbClr val="0000FF"/>
                </a:solidFill>
                <a:effectLst/>
                <a:uLnTx/>
                <a:uFillTx/>
                <a:latin typeface="Arial"/>
                <a:ea typeface="+mn-ea"/>
                <a:cs typeface="+mn-cs"/>
              </a:rPr>
              <a:t> </a:t>
            </a:r>
            <a:r>
              <a:rPr kumimoji="0" lang="de-DE" sz="2000" b="1" i="0" u="none" strike="noStrike" kern="1200" cap="none" spc="0" normalizeH="0" baseline="0" noProof="0" dirty="0" err="1">
                <a:ln>
                  <a:noFill/>
                </a:ln>
                <a:solidFill>
                  <a:srgbClr val="0000FF"/>
                </a:solidFill>
                <a:effectLst/>
                <a:uLnTx/>
                <a:uFillTx/>
                <a:latin typeface="Arial"/>
                <a:ea typeface="+mn-ea"/>
                <a:cs typeface="+mn-cs"/>
              </a:rPr>
              <a:t>Reactor</a:t>
            </a:r>
            <a:r>
              <a:rPr kumimoji="0" lang="de-DE" sz="2000" b="1" i="0" u="none" strike="noStrike" kern="1200" cap="none" spc="0" normalizeH="0" baseline="0" noProof="0" dirty="0">
                <a:ln>
                  <a:noFill/>
                </a:ln>
                <a:solidFill>
                  <a:srgbClr val="0000FF"/>
                </a:solidFill>
                <a:effectLst/>
                <a:uLnTx/>
                <a:uFillTx/>
                <a:latin typeface="Arial"/>
                <a:ea typeface="+mn-ea"/>
                <a:cs typeface="+mn-cs"/>
              </a:rPr>
              <a:t> </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de-DE" sz="2000" b="1" i="0" u="none" strike="noStrike" kern="1200" cap="none" spc="0" normalizeH="0" baseline="0" noProof="0" dirty="0" err="1">
                <a:ln>
                  <a:noFill/>
                </a:ln>
                <a:solidFill>
                  <a:srgbClr val="0000FF"/>
                </a:solidFill>
                <a:effectLst/>
                <a:uLnTx/>
                <a:uFillTx/>
                <a:latin typeface="Arial"/>
                <a:ea typeface="+mn-ea"/>
                <a:cs typeface="+mn-cs"/>
              </a:rPr>
              <a:t>Coolant</a:t>
            </a:r>
            <a:r>
              <a:rPr kumimoji="0" lang="de-DE" sz="2000" b="1" i="0" u="none" strike="noStrike" kern="1200" cap="none" spc="0" normalizeH="0" baseline="0" noProof="0" dirty="0">
                <a:ln>
                  <a:noFill/>
                </a:ln>
                <a:solidFill>
                  <a:srgbClr val="0000FF"/>
                </a:solidFill>
                <a:effectLst/>
                <a:uLnTx/>
                <a:uFillTx/>
                <a:latin typeface="Arial"/>
                <a:ea typeface="+mn-ea"/>
                <a:cs typeface="+mn-cs"/>
              </a:rPr>
              <a:t> Pumps</a:t>
            </a:r>
          </a:p>
        </p:txBody>
      </p:sp>
      <p:sp>
        <p:nvSpPr>
          <p:cNvPr id="15" name="Textfeld 14">
            <a:extLst>
              <a:ext uri="{FF2B5EF4-FFF2-40B4-BE49-F238E27FC236}">
                <a16:creationId xmlns:a16="http://schemas.microsoft.com/office/drawing/2014/main" id="{0A06A251-51CB-C89A-D53D-E4C9B03CEF0C}"/>
              </a:ext>
            </a:extLst>
          </p:cNvPr>
          <p:cNvSpPr txBox="1"/>
          <p:nvPr/>
        </p:nvSpPr>
        <p:spPr>
          <a:xfrm>
            <a:off x="6117769" y="5848900"/>
            <a:ext cx="6088654" cy="707886"/>
          </a:xfrm>
          <a:prstGeom prst="rect">
            <a:avLst/>
          </a:prstGeom>
          <a:noFill/>
        </p:spPr>
        <p:txBody>
          <a:bodyPr wrap="non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de-DE" sz="2000" b="1" i="0" u="none" strike="noStrike" kern="1200" cap="none" spc="0" normalizeH="0" baseline="0" noProof="0" dirty="0">
                <a:ln>
                  <a:noFill/>
                </a:ln>
                <a:solidFill>
                  <a:srgbClr val="FF0000"/>
                </a:solidFill>
                <a:effectLst/>
                <a:uLnTx/>
                <a:uFillTx/>
                <a:latin typeface="Arial"/>
                <a:ea typeface="+mn-ea"/>
                <a:cs typeface="+mn-cs"/>
              </a:rPr>
              <a:t>  Horizontal                              </a:t>
            </a:r>
            <a:r>
              <a:rPr kumimoji="0" lang="de-DE" sz="2000" b="1" i="0" u="none" strike="noStrike" kern="1200" cap="none" spc="0" normalizeH="0" baseline="0" noProof="0" dirty="0" err="1">
                <a:ln>
                  <a:noFill/>
                </a:ln>
                <a:solidFill>
                  <a:srgbClr val="0000FF"/>
                </a:solidFill>
                <a:effectLst/>
                <a:uLnTx/>
                <a:uFillTx/>
                <a:latin typeface="Arial"/>
                <a:ea typeface="+mn-ea"/>
                <a:cs typeface="+mn-cs"/>
              </a:rPr>
              <a:t>Vertical</a:t>
            </a:r>
            <a:r>
              <a:rPr kumimoji="0" lang="de-DE" sz="2000" b="1" i="0" u="none" strike="noStrike" kern="1200" cap="none" spc="0" normalizeH="0" baseline="0" noProof="0" dirty="0">
                <a:ln>
                  <a:noFill/>
                </a:ln>
                <a:solidFill>
                  <a:srgbClr val="0000FF"/>
                </a:solidFill>
                <a:effectLst/>
                <a:uLnTx/>
                <a:uFillTx/>
                <a:latin typeface="Arial"/>
                <a:ea typeface="+mn-ea"/>
                <a:cs typeface="+mn-cs"/>
              </a:rPr>
              <a:t> </a:t>
            </a:r>
          </a:p>
          <a:p>
            <a:pPr marL="0" marR="0" lvl="0" indent="0" algn="l" defTabSz="914400" rtl="0" eaLnBrk="0" fontAlgn="base" latinLnBrk="0" hangingPunct="0">
              <a:lnSpc>
                <a:spcPct val="100000"/>
              </a:lnSpc>
              <a:spcBef>
                <a:spcPct val="0"/>
              </a:spcBef>
              <a:spcAft>
                <a:spcPct val="0"/>
              </a:spcAft>
              <a:buClrTx/>
              <a:buSzTx/>
              <a:buFontTx/>
              <a:buNone/>
              <a:tabLst/>
              <a:defRPr/>
            </a:pPr>
            <a:r>
              <a:rPr lang="de-DE" sz="2000" dirty="0">
                <a:solidFill>
                  <a:srgbClr val="FF0000"/>
                </a:solidFill>
                <a:latin typeface="Arial"/>
              </a:rPr>
              <a:t>  </a:t>
            </a:r>
            <a:r>
              <a:rPr kumimoji="0" lang="de-DE" sz="2000" b="1" i="0" u="none" strike="noStrike" kern="1200" cap="none" spc="0" normalizeH="0" baseline="0" noProof="0" dirty="0" err="1">
                <a:ln>
                  <a:noFill/>
                </a:ln>
                <a:solidFill>
                  <a:srgbClr val="FF0000"/>
                </a:solidFill>
                <a:effectLst/>
                <a:uLnTx/>
                <a:uFillTx/>
                <a:latin typeface="Arial"/>
                <a:ea typeface="+mn-ea"/>
                <a:cs typeface="+mn-cs"/>
              </a:rPr>
              <a:t>Feedwater</a:t>
            </a:r>
            <a:r>
              <a:rPr kumimoji="0" lang="de-DE" sz="2000" b="1" i="0" u="none" strike="noStrike" kern="1200" cap="none" spc="0" normalizeH="0" baseline="0" noProof="0" dirty="0">
                <a:ln>
                  <a:noFill/>
                </a:ln>
                <a:solidFill>
                  <a:srgbClr val="FF0000"/>
                </a:solidFill>
                <a:effectLst/>
                <a:uLnTx/>
                <a:uFillTx/>
                <a:latin typeface="Arial"/>
                <a:ea typeface="+mn-ea"/>
                <a:cs typeface="+mn-cs"/>
              </a:rPr>
              <a:t> Pump                </a:t>
            </a:r>
            <a:r>
              <a:rPr kumimoji="0" lang="de-DE" sz="2000" b="1" i="0" u="none" strike="noStrike" kern="1200" cap="none" spc="0" normalizeH="0" baseline="0" noProof="0" dirty="0">
                <a:ln>
                  <a:noFill/>
                </a:ln>
                <a:solidFill>
                  <a:srgbClr val="0000FF"/>
                </a:solidFill>
                <a:effectLst/>
                <a:uLnTx/>
                <a:uFillTx/>
                <a:latin typeface="Arial"/>
                <a:ea typeface="+mn-ea"/>
                <a:cs typeface="+mn-cs"/>
              </a:rPr>
              <a:t>Cooling </a:t>
            </a:r>
            <a:r>
              <a:rPr kumimoji="0" lang="de-DE" sz="2000" b="1" i="0" u="none" strike="noStrike" kern="1200" cap="none" spc="0" normalizeH="0" baseline="0" noProof="0" dirty="0" err="1">
                <a:ln>
                  <a:noFill/>
                </a:ln>
                <a:solidFill>
                  <a:srgbClr val="0000FF"/>
                </a:solidFill>
                <a:effectLst/>
                <a:uLnTx/>
                <a:uFillTx/>
                <a:latin typeface="Arial"/>
                <a:ea typeface="+mn-ea"/>
                <a:cs typeface="+mn-cs"/>
              </a:rPr>
              <a:t>Water</a:t>
            </a:r>
            <a:r>
              <a:rPr kumimoji="0" lang="de-DE" sz="2000" b="1" i="0" u="none" strike="noStrike" kern="1200" cap="none" spc="0" normalizeH="0" baseline="0" noProof="0" dirty="0">
                <a:ln>
                  <a:noFill/>
                </a:ln>
                <a:solidFill>
                  <a:srgbClr val="0000FF"/>
                </a:solidFill>
                <a:effectLst/>
                <a:uLnTx/>
                <a:uFillTx/>
                <a:latin typeface="Arial"/>
                <a:ea typeface="+mn-ea"/>
                <a:cs typeface="+mn-cs"/>
              </a:rPr>
              <a:t> Pump </a:t>
            </a:r>
          </a:p>
        </p:txBody>
      </p:sp>
      <p:sp>
        <p:nvSpPr>
          <p:cNvPr id="16" name="Textfeld 15">
            <a:extLst>
              <a:ext uri="{FF2B5EF4-FFF2-40B4-BE49-F238E27FC236}">
                <a16:creationId xmlns:a16="http://schemas.microsoft.com/office/drawing/2014/main" id="{02AABBE1-2CCB-4137-F050-10F414601B54}"/>
              </a:ext>
            </a:extLst>
          </p:cNvPr>
          <p:cNvSpPr txBox="1"/>
          <p:nvPr/>
        </p:nvSpPr>
        <p:spPr>
          <a:xfrm>
            <a:off x="725705" y="291483"/>
            <a:ext cx="9364102" cy="461665"/>
          </a:xfrm>
          <a:prstGeom prst="rect">
            <a:avLst/>
          </a:prstGeom>
          <a:noFill/>
        </p:spPr>
        <p:txBody>
          <a:bodyPr wrap="non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de-DE" sz="2400" b="1" i="0" u="none" strike="noStrike" kern="1200" cap="none" spc="0" normalizeH="0" baseline="0" noProof="0" dirty="0" err="1">
                <a:ln>
                  <a:noFill/>
                </a:ln>
                <a:solidFill>
                  <a:srgbClr val="0000FF"/>
                </a:solidFill>
                <a:effectLst/>
                <a:uLnTx/>
                <a:uFillTx/>
                <a:latin typeface="Arial"/>
                <a:ea typeface="+mn-ea"/>
                <a:cs typeface="+mn-cs"/>
              </a:rPr>
              <a:t>Vertical</a:t>
            </a:r>
            <a:r>
              <a:rPr kumimoji="0" lang="de-DE" sz="2400" b="1" i="0" u="none" strike="noStrike" kern="1200" cap="none" spc="0" normalizeH="0" baseline="0" noProof="0" dirty="0">
                <a:ln>
                  <a:noFill/>
                </a:ln>
                <a:solidFill>
                  <a:srgbClr val="0000FF"/>
                </a:solidFill>
                <a:effectLst/>
                <a:uLnTx/>
                <a:uFillTx/>
                <a:latin typeface="Arial"/>
                <a:ea typeface="+mn-ea"/>
                <a:cs typeface="+mn-cs"/>
              </a:rPr>
              <a:t> and Horizontal Pump Systems in </a:t>
            </a:r>
            <a:r>
              <a:rPr kumimoji="0" lang="de-DE" sz="2400" b="1" i="0" u="none" strike="noStrike" kern="1200" cap="none" spc="0" normalizeH="0" baseline="0" noProof="0" dirty="0" err="1">
                <a:ln>
                  <a:noFill/>
                </a:ln>
                <a:solidFill>
                  <a:srgbClr val="0000FF"/>
                </a:solidFill>
                <a:effectLst/>
                <a:uLnTx/>
                <a:uFillTx/>
                <a:latin typeface="Arial"/>
                <a:ea typeface="+mn-ea"/>
                <a:cs typeface="+mn-cs"/>
              </a:rPr>
              <a:t>Nuclear</a:t>
            </a:r>
            <a:r>
              <a:rPr kumimoji="0" lang="de-DE" sz="2400" b="1" i="0" u="none" strike="noStrike" kern="1200" cap="none" spc="0" normalizeH="0" baseline="0" noProof="0" dirty="0">
                <a:ln>
                  <a:noFill/>
                </a:ln>
                <a:solidFill>
                  <a:srgbClr val="0000FF"/>
                </a:solidFill>
                <a:effectLst/>
                <a:uLnTx/>
                <a:uFillTx/>
                <a:latin typeface="Arial"/>
                <a:ea typeface="+mn-ea"/>
                <a:cs typeface="+mn-cs"/>
              </a:rPr>
              <a:t> </a:t>
            </a:r>
            <a:r>
              <a:rPr kumimoji="0" lang="de-DE" sz="2400" b="1" i="0" u="none" strike="noStrike" kern="1200" cap="none" spc="0" normalizeH="0" baseline="0" noProof="0" dirty="0" err="1">
                <a:ln>
                  <a:noFill/>
                </a:ln>
                <a:solidFill>
                  <a:srgbClr val="0000FF"/>
                </a:solidFill>
                <a:effectLst/>
                <a:uLnTx/>
                <a:uFillTx/>
                <a:latin typeface="Arial"/>
                <a:ea typeface="+mn-ea"/>
                <a:cs typeface="+mn-cs"/>
              </a:rPr>
              <a:t>Powet</a:t>
            </a:r>
            <a:r>
              <a:rPr kumimoji="0" lang="de-DE" sz="2400" b="1" i="0" u="none" strike="noStrike" kern="1200" cap="none" spc="0" normalizeH="0" baseline="0" noProof="0" dirty="0">
                <a:ln>
                  <a:noFill/>
                </a:ln>
                <a:solidFill>
                  <a:srgbClr val="0000FF"/>
                </a:solidFill>
                <a:effectLst/>
                <a:uLnTx/>
                <a:uFillTx/>
                <a:latin typeface="Arial"/>
                <a:ea typeface="+mn-ea"/>
                <a:cs typeface="+mn-cs"/>
              </a:rPr>
              <a:t> Plants</a:t>
            </a:r>
          </a:p>
        </p:txBody>
      </p:sp>
      <p:cxnSp>
        <p:nvCxnSpPr>
          <p:cNvPr id="13" name="Gerader Verbinder 12">
            <a:extLst>
              <a:ext uri="{FF2B5EF4-FFF2-40B4-BE49-F238E27FC236}">
                <a16:creationId xmlns:a16="http://schemas.microsoft.com/office/drawing/2014/main" id="{8C28094D-B20F-32F4-1607-81EC962712C6}"/>
              </a:ext>
            </a:extLst>
          </p:cNvPr>
          <p:cNvCxnSpPr>
            <a:cxnSpLocks/>
          </p:cNvCxnSpPr>
          <p:nvPr/>
        </p:nvCxnSpPr>
        <p:spPr>
          <a:xfrm flipV="1">
            <a:off x="4093026" y="4761234"/>
            <a:ext cx="0" cy="1795552"/>
          </a:xfrm>
          <a:prstGeom prst="line">
            <a:avLst/>
          </a:prstGeom>
          <a:ln w="571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23" name="Gerader Verbinder 22">
            <a:extLst>
              <a:ext uri="{FF2B5EF4-FFF2-40B4-BE49-F238E27FC236}">
                <a16:creationId xmlns:a16="http://schemas.microsoft.com/office/drawing/2014/main" id="{7B626485-F3BC-593D-AD73-E9A08366C341}"/>
              </a:ext>
            </a:extLst>
          </p:cNvPr>
          <p:cNvCxnSpPr>
            <a:cxnSpLocks/>
          </p:cNvCxnSpPr>
          <p:nvPr/>
        </p:nvCxnSpPr>
        <p:spPr>
          <a:xfrm>
            <a:off x="4071257" y="4776297"/>
            <a:ext cx="2191652" cy="0"/>
          </a:xfrm>
          <a:prstGeom prst="line">
            <a:avLst/>
          </a:prstGeom>
          <a:ln w="571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27" name="Gerader Verbinder 26">
            <a:extLst>
              <a:ext uri="{FF2B5EF4-FFF2-40B4-BE49-F238E27FC236}">
                <a16:creationId xmlns:a16="http://schemas.microsoft.com/office/drawing/2014/main" id="{741E79FA-75F9-ED50-65B0-E6634B35A436}"/>
              </a:ext>
            </a:extLst>
          </p:cNvPr>
          <p:cNvCxnSpPr>
            <a:cxnSpLocks/>
          </p:cNvCxnSpPr>
          <p:nvPr/>
        </p:nvCxnSpPr>
        <p:spPr>
          <a:xfrm flipH="1">
            <a:off x="6241140" y="4815940"/>
            <a:ext cx="21769" cy="1792057"/>
          </a:xfrm>
          <a:prstGeom prst="line">
            <a:avLst/>
          </a:prstGeom>
          <a:ln w="571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3" name="Gerader Verbinder 32">
            <a:extLst>
              <a:ext uri="{FF2B5EF4-FFF2-40B4-BE49-F238E27FC236}">
                <a16:creationId xmlns:a16="http://schemas.microsoft.com/office/drawing/2014/main" id="{FE0130AD-1005-620B-3C35-E2AC7E4E664C}"/>
              </a:ext>
            </a:extLst>
          </p:cNvPr>
          <p:cNvCxnSpPr>
            <a:cxnSpLocks/>
          </p:cNvCxnSpPr>
          <p:nvPr/>
        </p:nvCxnSpPr>
        <p:spPr>
          <a:xfrm flipV="1">
            <a:off x="4063993" y="6556786"/>
            <a:ext cx="2144490" cy="18325"/>
          </a:xfrm>
          <a:prstGeom prst="line">
            <a:avLst/>
          </a:prstGeom>
          <a:ln w="57150">
            <a:solidFill>
              <a:srgbClr val="FF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4933162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5" name="Textfeld 4">
                <a:extLst>
                  <a:ext uri="{FF2B5EF4-FFF2-40B4-BE49-F238E27FC236}">
                    <a16:creationId xmlns:a16="http://schemas.microsoft.com/office/drawing/2014/main" id="{2C20FB92-A2CE-869C-4BFD-305A30E8FD9A}"/>
                  </a:ext>
                </a:extLst>
              </p:cNvPr>
              <p:cNvSpPr txBox="1"/>
              <p:nvPr/>
            </p:nvSpPr>
            <p:spPr>
              <a:xfrm>
                <a:off x="599508" y="1488880"/>
                <a:ext cx="10728892" cy="4734120"/>
              </a:xfrm>
              <a:prstGeom prst="rect">
                <a:avLst/>
              </a:prstGeom>
              <a:solidFill>
                <a:schemeClr val="lt1"/>
              </a:solidFill>
              <a:ln w="38100">
                <a:solidFill>
                  <a:schemeClr val="bg1"/>
                </a:solidFill>
              </a:ln>
            </p:spPr>
            <p:txBody>
              <a:bodyPr rot="0" spcFirstLastPara="0"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7000"/>
                  </a:lnSpc>
                  <a:spcBef>
                    <a:spcPts val="0"/>
                  </a:spcBef>
                  <a:spcAft>
                    <a:spcPts val="800"/>
                  </a:spcAft>
                  <a:buClrTx/>
                  <a:buSzTx/>
                  <a:buFontTx/>
                  <a:buNone/>
                  <a:tabLst/>
                  <a:defRPr/>
                </a:pPr>
                <a:r>
                  <a:rPr kumimoji="0" lang="de-DE" sz="2200" b="0" i="0" u="none" strike="noStrike" kern="100" cap="none" spc="0" normalizeH="0" baseline="0" noProof="0" dirty="0">
                    <a:ln>
                      <a:noFill/>
                    </a:ln>
                    <a:solidFill>
                      <a:prstClr val="black"/>
                    </a:solidFill>
                    <a:effectLst/>
                    <a:uLnTx/>
                    <a:uFillTx/>
                    <a:latin typeface="+mn-lt"/>
                    <a:ea typeface="Calibri" panose="020F0502020204030204" pitchFamily="34" charset="0"/>
                    <a:cs typeface="Arial" panose="020B0604020202020204" pitchFamily="34" charset="0"/>
                  </a:rPr>
                  <a:t>In </a:t>
                </a:r>
                <a:r>
                  <a:rPr kumimoji="0" lang="de-DE" sz="2200" b="0" i="0" u="none" strike="noStrike" kern="100" cap="none" spc="0" normalizeH="0" baseline="0" noProof="0" dirty="0" err="1">
                    <a:ln>
                      <a:noFill/>
                    </a:ln>
                    <a:solidFill>
                      <a:prstClr val="black"/>
                    </a:solidFill>
                    <a:effectLst/>
                    <a:uLnTx/>
                    <a:uFillTx/>
                    <a:latin typeface="+mn-lt"/>
                    <a:ea typeface="Calibri" panose="020F0502020204030204" pitchFamily="34" charset="0"/>
                    <a:cs typeface="Arial" panose="020B0604020202020204" pitchFamily="34" charset="0"/>
                  </a:rPr>
                  <a:t>the</a:t>
                </a:r>
                <a:r>
                  <a:rPr kumimoji="0" lang="de-DE" sz="2200" b="0" i="0" u="none" strike="noStrike" kern="100" cap="none" spc="0" normalizeH="0" baseline="0" noProof="0" dirty="0">
                    <a:ln>
                      <a:noFill/>
                    </a:ln>
                    <a:solidFill>
                      <a:prstClr val="black"/>
                    </a:solidFill>
                    <a:effectLst/>
                    <a:uLnTx/>
                    <a:uFillTx/>
                    <a:latin typeface="+mn-lt"/>
                    <a:ea typeface="Calibri" panose="020F0502020204030204" pitchFamily="34" charset="0"/>
                    <a:cs typeface="Arial" panose="020B0604020202020204" pitchFamily="34" charset="0"/>
                  </a:rPr>
                  <a:t> </a:t>
                </a:r>
                <a:r>
                  <a:rPr kumimoji="0" lang="de-DE" sz="2200" b="0" i="0" u="none" strike="noStrike" kern="100" cap="none" spc="0" normalizeH="0" baseline="0" noProof="0" dirty="0" err="1">
                    <a:ln>
                      <a:noFill/>
                    </a:ln>
                    <a:solidFill>
                      <a:prstClr val="black"/>
                    </a:solidFill>
                    <a:effectLst/>
                    <a:uLnTx/>
                    <a:uFillTx/>
                    <a:latin typeface="+mn-lt"/>
                    <a:ea typeface="Calibri" panose="020F0502020204030204" pitchFamily="34" charset="0"/>
                    <a:cs typeface="Arial" panose="020B0604020202020204" pitchFamily="34" charset="0"/>
                  </a:rPr>
                  <a:t>literature</a:t>
                </a:r>
                <a:r>
                  <a:rPr kumimoji="0" lang="de-DE" sz="2200" b="0" i="0" u="none" strike="noStrike" kern="100" cap="none" spc="0" normalizeH="0" baseline="0" noProof="0" dirty="0">
                    <a:ln>
                      <a:noFill/>
                    </a:ln>
                    <a:solidFill>
                      <a:prstClr val="black"/>
                    </a:solidFill>
                    <a:effectLst/>
                    <a:uLnTx/>
                    <a:uFillTx/>
                    <a:latin typeface="+mn-lt"/>
                    <a:ea typeface="Calibri" panose="020F0502020204030204" pitchFamily="34" charset="0"/>
                    <a:cs typeface="Arial" panose="020B0604020202020204" pitchFamily="34" charset="0"/>
                  </a:rPr>
                  <a:t> a </a:t>
                </a:r>
                <a:r>
                  <a:rPr kumimoji="0" lang="de-DE" sz="2200" b="0" i="0" u="none" strike="noStrike" kern="100" cap="none" spc="0" normalizeH="0" baseline="0" noProof="0" dirty="0" err="1">
                    <a:ln>
                      <a:noFill/>
                    </a:ln>
                    <a:solidFill>
                      <a:prstClr val="black"/>
                    </a:solidFill>
                    <a:effectLst/>
                    <a:uLnTx/>
                    <a:uFillTx/>
                    <a:latin typeface="+mn-lt"/>
                    <a:ea typeface="Calibri" panose="020F0502020204030204" pitchFamily="34" charset="0"/>
                    <a:cs typeface="Arial" panose="020B0604020202020204" pitchFamily="34" charset="0"/>
                  </a:rPr>
                  <a:t>formula</a:t>
                </a:r>
                <a:r>
                  <a:rPr kumimoji="0" lang="de-DE" sz="2200" b="0" i="0" u="none" strike="noStrike" kern="100" cap="none" spc="0" normalizeH="0" baseline="0" noProof="0" dirty="0">
                    <a:ln>
                      <a:noFill/>
                    </a:ln>
                    <a:solidFill>
                      <a:prstClr val="black"/>
                    </a:solidFill>
                    <a:effectLst/>
                    <a:uLnTx/>
                    <a:uFillTx/>
                    <a:latin typeface="+mn-lt"/>
                    <a:ea typeface="Calibri" panose="020F0502020204030204" pitchFamily="34" charset="0"/>
                    <a:cs typeface="Arial" panose="020B0604020202020204" pitchFamily="34" charset="0"/>
                  </a:rPr>
                  <a:t> </a:t>
                </a:r>
                <a:r>
                  <a:rPr kumimoji="0" lang="de-DE" sz="2200" b="0" i="0" u="none" strike="noStrike" kern="100" cap="none" spc="0" normalizeH="0" baseline="0" noProof="0" dirty="0" err="1">
                    <a:ln>
                      <a:noFill/>
                    </a:ln>
                    <a:solidFill>
                      <a:prstClr val="black"/>
                    </a:solidFill>
                    <a:effectLst/>
                    <a:uLnTx/>
                    <a:uFillTx/>
                    <a:latin typeface="+mn-lt"/>
                    <a:ea typeface="Calibri" panose="020F0502020204030204" pitchFamily="34" charset="0"/>
                    <a:cs typeface="Arial" panose="020B0604020202020204" pitchFamily="34" charset="0"/>
                  </a:rPr>
                  <a:t>can</a:t>
                </a:r>
                <a:r>
                  <a:rPr kumimoji="0" lang="de-DE" sz="2200" b="0" i="0" u="none" strike="noStrike" kern="100" cap="none" spc="0" normalizeH="0" baseline="0" noProof="0" dirty="0">
                    <a:ln>
                      <a:noFill/>
                    </a:ln>
                    <a:solidFill>
                      <a:prstClr val="black"/>
                    </a:solidFill>
                    <a:effectLst/>
                    <a:uLnTx/>
                    <a:uFillTx/>
                    <a:latin typeface="+mn-lt"/>
                    <a:ea typeface="Calibri" panose="020F0502020204030204" pitchFamily="34" charset="0"/>
                    <a:cs typeface="Arial" panose="020B0604020202020204" pitchFamily="34" charset="0"/>
                  </a:rPr>
                  <a:t> </a:t>
                </a:r>
                <a:r>
                  <a:rPr kumimoji="0" lang="de-DE" sz="2200" b="0" i="0" u="none" strike="noStrike" kern="100" cap="none" spc="0" normalizeH="0" baseline="0" noProof="0" dirty="0" err="1">
                    <a:ln>
                      <a:noFill/>
                    </a:ln>
                    <a:solidFill>
                      <a:prstClr val="black"/>
                    </a:solidFill>
                    <a:effectLst/>
                    <a:uLnTx/>
                    <a:uFillTx/>
                    <a:latin typeface="+mn-lt"/>
                    <a:ea typeface="Calibri" panose="020F0502020204030204" pitchFamily="34" charset="0"/>
                    <a:cs typeface="Arial" panose="020B0604020202020204" pitchFamily="34" charset="0"/>
                  </a:rPr>
                  <a:t>be</a:t>
                </a:r>
                <a:r>
                  <a:rPr kumimoji="0" lang="de-DE" sz="2200" b="0" i="0" u="none" strike="noStrike" kern="100" cap="none" spc="0" normalizeH="0" baseline="0" noProof="0" dirty="0">
                    <a:ln>
                      <a:noFill/>
                    </a:ln>
                    <a:solidFill>
                      <a:prstClr val="black"/>
                    </a:solidFill>
                    <a:effectLst/>
                    <a:uLnTx/>
                    <a:uFillTx/>
                    <a:latin typeface="+mn-lt"/>
                    <a:ea typeface="Calibri" panose="020F0502020204030204" pitchFamily="34" charset="0"/>
                    <a:cs typeface="Arial" panose="020B0604020202020204" pitchFamily="34" charset="0"/>
                  </a:rPr>
                  <a:t> </a:t>
                </a:r>
                <a:r>
                  <a:rPr kumimoji="0" lang="de-DE" sz="2200" b="0" i="0" u="none" strike="noStrike" kern="100" cap="none" spc="0" normalizeH="0" baseline="0" noProof="0" dirty="0" err="1">
                    <a:ln>
                      <a:noFill/>
                    </a:ln>
                    <a:solidFill>
                      <a:prstClr val="black"/>
                    </a:solidFill>
                    <a:effectLst/>
                    <a:uLnTx/>
                    <a:uFillTx/>
                    <a:latin typeface="+mn-lt"/>
                    <a:ea typeface="Calibri" panose="020F0502020204030204" pitchFamily="34" charset="0"/>
                    <a:cs typeface="Arial" panose="020B0604020202020204" pitchFamily="34" charset="0"/>
                  </a:rPr>
                  <a:t>found</a:t>
                </a:r>
                <a:r>
                  <a:rPr kumimoji="0" lang="de-DE" sz="2200" b="0" i="0" u="none" strike="noStrike" kern="100" cap="none" spc="0" normalizeH="0" baseline="0" noProof="0" dirty="0">
                    <a:ln>
                      <a:noFill/>
                    </a:ln>
                    <a:solidFill>
                      <a:prstClr val="black"/>
                    </a:solidFill>
                    <a:effectLst/>
                    <a:uLnTx/>
                    <a:uFillTx/>
                    <a:latin typeface="+mn-lt"/>
                    <a:ea typeface="Calibri" panose="020F0502020204030204" pitchFamily="34" charset="0"/>
                    <a:cs typeface="Arial" panose="020B0604020202020204" pitchFamily="34" charset="0"/>
                  </a:rPr>
                  <a:t>, by </a:t>
                </a:r>
                <a:r>
                  <a:rPr kumimoji="0" lang="de-DE" sz="2200" b="0" i="0" u="none" strike="noStrike" kern="100" cap="none" spc="0" normalizeH="0" baseline="0" noProof="0" dirty="0" err="1">
                    <a:ln>
                      <a:noFill/>
                    </a:ln>
                    <a:solidFill>
                      <a:prstClr val="black"/>
                    </a:solidFill>
                    <a:effectLst/>
                    <a:uLnTx/>
                    <a:uFillTx/>
                    <a:latin typeface="+mn-lt"/>
                    <a:ea typeface="Calibri" panose="020F0502020204030204" pitchFamily="34" charset="0"/>
                    <a:cs typeface="Arial" panose="020B0604020202020204" pitchFamily="34" charset="0"/>
                  </a:rPr>
                  <a:t>which</a:t>
                </a:r>
                <a:r>
                  <a:rPr kumimoji="0" lang="de-DE" sz="2200" b="0" i="0" u="none" strike="noStrike" kern="100" cap="none" spc="0" normalizeH="0" baseline="0" noProof="0" dirty="0">
                    <a:ln>
                      <a:noFill/>
                    </a:ln>
                    <a:solidFill>
                      <a:prstClr val="black"/>
                    </a:solidFill>
                    <a:effectLst/>
                    <a:uLnTx/>
                    <a:uFillTx/>
                    <a:latin typeface="+mn-lt"/>
                    <a:ea typeface="Calibri" panose="020F0502020204030204" pitchFamily="34" charset="0"/>
                    <a:cs typeface="Arial" panose="020B0604020202020204" pitchFamily="34" charset="0"/>
                  </a:rPr>
                  <a:t> different </a:t>
                </a:r>
                <a:r>
                  <a:rPr lang="de-DE" sz="2200" kern="100" dirty="0">
                    <a:solidFill>
                      <a:srgbClr val="0000FF"/>
                    </a:solidFill>
                    <a:latin typeface="+mn-lt"/>
                    <a:ea typeface="Calibri" panose="020F0502020204030204" pitchFamily="34" charset="0"/>
                    <a:cs typeface="Arial" panose="020B0604020202020204" pitchFamily="34" charset="0"/>
                  </a:rPr>
                  <a:t>R</a:t>
                </a:r>
                <a:r>
                  <a:rPr kumimoji="0" lang="de-DE" sz="2200" i="0" u="none" strike="noStrike" kern="100" cap="none" spc="0" normalizeH="0" baseline="0" noProof="0" dirty="0" err="1">
                    <a:ln>
                      <a:noFill/>
                    </a:ln>
                    <a:solidFill>
                      <a:srgbClr val="0000FF"/>
                    </a:solidFill>
                    <a:effectLst/>
                    <a:uLnTx/>
                    <a:uFillTx/>
                    <a:latin typeface="+mn-lt"/>
                    <a:ea typeface="Calibri" panose="020F0502020204030204" pitchFamily="34" charset="0"/>
                    <a:cs typeface="Arial" panose="020B0604020202020204" pitchFamily="34" charset="0"/>
                  </a:rPr>
                  <a:t>adial</a:t>
                </a:r>
                <a:r>
                  <a:rPr kumimoji="0" lang="de-DE" sz="2200" i="0" u="none" strike="noStrike" kern="100" cap="none" spc="0" normalizeH="0" baseline="0" noProof="0" dirty="0">
                    <a:ln>
                      <a:noFill/>
                    </a:ln>
                    <a:solidFill>
                      <a:srgbClr val="0000FF"/>
                    </a:solidFill>
                    <a:effectLst/>
                    <a:uLnTx/>
                    <a:uFillTx/>
                    <a:latin typeface="+mn-lt"/>
                    <a:ea typeface="Calibri" panose="020F0502020204030204" pitchFamily="34" charset="0"/>
                    <a:cs typeface="Arial" panose="020B0604020202020204" pitchFamily="34" charset="0"/>
                  </a:rPr>
                  <a:t> </a:t>
                </a:r>
                <a:r>
                  <a:rPr lang="de-DE" sz="2200" kern="100" dirty="0">
                    <a:solidFill>
                      <a:srgbClr val="0000FF"/>
                    </a:solidFill>
                    <a:latin typeface="+mn-lt"/>
                    <a:ea typeface="Calibri" panose="020F0502020204030204" pitchFamily="34" charset="0"/>
                    <a:cs typeface="Arial" panose="020B0604020202020204" pitchFamily="34" charset="0"/>
                  </a:rPr>
                  <a:t>H</a:t>
                </a:r>
                <a:r>
                  <a:rPr kumimoji="0" lang="de-DE" sz="2200" i="0" u="none" strike="noStrike" kern="100" cap="none" spc="0" normalizeH="0" baseline="0" noProof="0" dirty="0" err="1">
                    <a:ln>
                      <a:noFill/>
                    </a:ln>
                    <a:solidFill>
                      <a:srgbClr val="0000FF"/>
                    </a:solidFill>
                    <a:effectLst/>
                    <a:uLnTx/>
                    <a:uFillTx/>
                    <a:latin typeface="+mn-lt"/>
                    <a:ea typeface="Calibri" panose="020F0502020204030204" pitchFamily="34" charset="0"/>
                    <a:cs typeface="Arial" panose="020B0604020202020204" pitchFamily="34" charset="0"/>
                  </a:rPr>
                  <a:t>ydraulic</a:t>
                </a:r>
                <a:r>
                  <a:rPr kumimoji="0" lang="de-DE" sz="2200" i="0" u="none" strike="noStrike" kern="100" cap="none" spc="0" normalizeH="0" baseline="0" noProof="0" dirty="0">
                    <a:ln>
                      <a:noFill/>
                    </a:ln>
                    <a:solidFill>
                      <a:srgbClr val="0000FF"/>
                    </a:solidFill>
                    <a:effectLst/>
                    <a:uLnTx/>
                    <a:uFillTx/>
                    <a:latin typeface="+mn-lt"/>
                    <a:ea typeface="Calibri" panose="020F0502020204030204" pitchFamily="34" charset="0"/>
                    <a:cs typeface="Arial" panose="020B0604020202020204" pitchFamily="34" charset="0"/>
                  </a:rPr>
                  <a:t> Fluid Forces </a:t>
                </a:r>
                <a:r>
                  <a:rPr kumimoji="0" lang="de-DE" sz="2200" b="0" i="0" u="none" strike="noStrike" kern="100" cap="none" spc="0" normalizeH="0" baseline="0" noProof="0" dirty="0">
                    <a:ln>
                      <a:noFill/>
                    </a:ln>
                    <a:solidFill>
                      <a:prstClr val="black"/>
                    </a:solidFill>
                    <a:effectLst/>
                    <a:uLnTx/>
                    <a:uFillTx/>
                    <a:latin typeface="+mn-lt"/>
                    <a:ea typeface="Calibri" panose="020F0502020204030204" pitchFamily="34" charset="0"/>
                    <a:cs typeface="Arial" panose="020B0604020202020204" pitchFamily="34" charset="0"/>
                  </a:rPr>
                  <a:t>(</a:t>
                </a:r>
                <a:r>
                  <a:rPr kumimoji="0" lang="de-DE" sz="2200" b="0" i="0" u="none" strike="noStrike" kern="100" cap="none" spc="0" normalizeH="0" baseline="0" noProof="0" dirty="0" err="1">
                    <a:ln>
                      <a:noFill/>
                    </a:ln>
                    <a:solidFill>
                      <a:prstClr val="black"/>
                    </a:solidFill>
                    <a:effectLst/>
                    <a:uLnTx/>
                    <a:uFillTx/>
                    <a:latin typeface="+mn-lt"/>
                    <a:ea typeface="Calibri" panose="020F0502020204030204" pitchFamily="34" charset="0"/>
                    <a:cs typeface="Arial" panose="020B0604020202020204" pitchFamily="34" charset="0"/>
                  </a:rPr>
                  <a:t>Hydraulic</a:t>
                </a:r>
                <a:r>
                  <a:rPr kumimoji="0" lang="de-DE" sz="2200" b="0" i="0" u="none" strike="noStrike" kern="100" cap="none" spc="0" normalizeH="0" baseline="0" noProof="0" dirty="0">
                    <a:ln>
                      <a:noFill/>
                    </a:ln>
                    <a:solidFill>
                      <a:prstClr val="black"/>
                    </a:solidFill>
                    <a:effectLst/>
                    <a:uLnTx/>
                    <a:uFillTx/>
                    <a:latin typeface="+mn-lt"/>
                    <a:ea typeface="Calibri" panose="020F0502020204030204" pitchFamily="34" charset="0"/>
                    <a:cs typeface="Arial" panose="020B0604020202020204" pitchFamily="34" charset="0"/>
                  </a:rPr>
                  <a:t> </a:t>
                </a:r>
                <a:r>
                  <a:rPr kumimoji="0" lang="de-DE" sz="2200" b="0" i="0" u="none" strike="noStrike" kern="100" cap="none" spc="0" normalizeH="0" baseline="0" noProof="0" dirty="0" err="1">
                    <a:ln>
                      <a:noFill/>
                    </a:ln>
                    <a:solidFill>
                      <a:prstClr val="black"/>
                    </a:solidFill>
                    <a:effectLst/>
                    <a:uLnTx/>
                    <a:uFillTx/>
                    <a:latin typeface="+mn-lt"/>
                    <a:ea typeface="Calibri" panose="020F0502020204030204" pitchFamily="34" charset="0"/>
                    <a:cs typeface="Arial" panose="020B0604020202020204" pitchFamily="34" charset="0"/>
                  </a:rPr>
                  <a:t>Unbalance</a:t>
                </a:r>
                <a:r>
                  <a:rPr kumimoji="0" lang="de-DE" sz="2200" b="0" i="0" u="none" strike="noStrike" kern="100" cap="none" spc="0" normalizeH="0" baseline="0" noProof="0" dirty="0">
                    <a:ln>
                      <a:noFill/>
                    </a:ln>
                    <a:solidFill>
                      <a:prstClr val="black"/>
                    </a:solidFill>
                    <a:effectLst/>
                    <a:uLnTx/>
                    <a:uFillTx/>
                    <a:latin typeface="+mn-lt"/>
                    <a:ea typeface="Calibri" panose="020F0502020204030204" pitchFamily="34" charset="0"/>
                    <a:cs typeface="Arial" panose="020B0604020202020204" pitchFamily="34" charset="0"/>
                  </a:rPr>
                  <a:t> Forces, </a:t>
                </a:r>
                <a:r>
                  <a:rPr kumimoji="0" lang="de-DE" sz="2200" b="0" i="0" u="none" strike="noStrike" kern="100" cap="none" spc="0" normalizeH="0" baseline="0" noProof="0" dirty="0" err="1">
                    <a:ln>
                      <a:noFill/>
                    </a:ln>
                    <a:solidFill>
                      <a:prstClr val="black"/>
                    </a:solidFill>
                    <a:effectLst/>
                    <a:uLnTx/>
                    <a:uFillTx/>
                    <a:latin typeface="+mn-lt"/>
                    <a:ea typeface="Calibri" panose="020F0502020204030204" pitchFamily="34" charset="0"/>
                    <a:cs typeface="Arial" panose="020B0604020202020204" pitchFamily="34" charset="0"/>
                  </a:rPr>
                  <a:t>Hydraulic</a:t>
                </a:r>
                <a:r>
                  <a:rPr kumimoji="0" lang="de-DE" sz="2200" b="0" i="0" u="none" strike="noStrike" kern="100" cap="none" spc="0" normalizeH="0" baseline="0" noProof="0" dirty="0">
                    <a:ln>
                      <a:noFill/>
                    </a:ln>
                    <a:solidFill>
                      <a:prstClr val="black"/>
                    </a:solidFill>
                    <a:effectLst/>
                    <a:uLnTx/>
                    <a:uFillTx/>
                    <a:latin typeface="+mn-lt"/>
                    <a:ea typeface="Calibri" panose="020F0502020204030204" pitchFamily="34" charset="0"/>
                    <a:cs typeface="Arial" panose="020B0604020202020204" pitchFamily="34" charset="0"/>
                  </a:rPr>
                  <a:t> Forces </a:t>
                </a:r>
                <a:r>
                  <a:rPr kumimoji="0" lang="de-DE" sz="2200" b="0" i="0" u="none" strike="noStrike" kern="100" cap="none" spc="0" normalizeH="0" baseline="0" noProof="0" dirty="0" err="1">
                    <a:ln>
                      <a:noFill/>
                    </a:ln>
                    <a:solidFill>
                      <a:prstClr val="black"/>
                    </a:solidFill>
                    <a:effectLst/>
                    <a:uLnTx/>
                    <a:uFillTx/>
                    <a:latin typeface="+mn-lt"/>
                    <a:ea typeface="Calibri" panose="020F0502020204030204" pitchFamily="34" charset="0"/>
                    <a:cs typeface="Arial" panose="020B0604020202020204" pitchFamily="34" charset="0"/>
                  </a:rPr>
                  <a:t>for</a:t>
                </a:r>
                <a:r>
                  <a:rPr kumimoji="0" lang="de-DE" sz="2200" b="0" i="0" u="none" strike="noStrike" kern="100" cap="none" spc="0" normalizeH="0" baseline="0" noProof="0" dirty="0">
                    <a:ln>
                      <a:noFill/>
                    </a:ln>
                    <a:solidFill>
                      <a:prstClr val="black"/>
                    </a:solidFill>
                    <a:effectLst/>
                    <a:uLnTx/>
                    <a:uFillTx/>
                    <a:latin typeface="+mn-lt"/>
                    <a:ea typeface="Calibri" panose="020F0502020204030204" pitchFamily="34" charset="0"/>
                    <a:cs typeface="Arial" panose="020B0604020202020204" pitchFamily="34" charset="0"/>
                  </a:rPr>
                  <a:t> Vane Passing </a:t>
                </a:r>
                <a:r>
                  <a:rPr kumimoji="0" lang="de-DE" sz="2200" b="0" i="0" u="none" strike="noStrike" kern="100" cap="none" spc="0" normalizeH="0" baseline="0" noProof="0" dirty="0" err="1">
                    <a:ln>
                      <a:noFill/>
                    </a:ln>
                    <a:solidFill>
                      <a:prstClr val="black"/>
                    </a:solidFill>
                    <a:effectLst/>
                    <a:uLnTx/>
                    <a:uFillTx/>
                    <a:latin typeface="+mn-lt"/>
                    <a:ea typeface="Calibri" panose="020F0502020204030204" pitchFamily="34" charset="0"/>
                    <a:cs typeface="Arial" panose="020B0604020202020204" pitchFamily="34" charset="0"/>
                  </a:rPr>
                  <a:t>Frequency</a:t>
                </a:r>
                <a:r>
                  <a:rPr lang="de-DE" sz="2200" b="0" kern="100" dirty="0">
                    <a:solidFill>
                      <a:prstClr val="black"/>
                    </a:solidFill>
                    <a:latin typeface="+mn-lt"/>
                    <a:ea typeface="Calibri" panose="020F0502020204030204" pitchFamily="34" charset="0"/>
                    <a:cs typeface="Arial" panose="020B0604020202020204" pitchFamily="34" charset="0"/>
                  </a:rPr>
                  <a:t>, </a:t>
                </a:r>
                <a:r>
                  <a:rPr kumimoji="0" lang="de-DE" sz="2200" b="0" i="0" u="none" strike="noStrike" kern="100" cap="none" spc="0" normalizeH="0" baseline="0" noProof="0" dirty="0">
                    <a:ln>
                      <a:noFill/>
                    </a:ln>
                    <a:solidFill>
                      <a:prstClr val="black"/>
                    </a:solidFill>
                    <a:effectLst/>
                    <a:uLnTx/>
                    <a:uFillTx/>
                    <a:latin typeface="+mn-lt"/>
                    <a:ea typeface="Calibri" panose="020F0502020204030204" pitchFamily="34" charset="0"/>
                    <a:cs typeface="Arial" panose="020B0604020202020204" pitchFamily="34" charset="0"/>
                  </a:rPr>
                  <a:t>etc…) </a:t>
                </a:r>
                <a:r>
                  <a:rPr kumimoji="0" lang="de-DE" sz="2200" b="0" i="0" u="none" strike="noStrike" kern="100" cap="none" spc="0" normalizeH="0" baseline="0" noProof="0" dirty="0" err="1">
                    <a:ln>
                      <a:noFill/>
                    </a:ln>
                    <a:solidFill>
                      <a:prstClr val="black"/>
                    </a:solidFill>
                    <a:effectLst/>
                    <a:uLnTx/>
                    <a:uFillTx/>
                    <a:latin typeface="+mn-lt"/>
                    <a:ea typeface="Calibri" panose="020F0502020204030204" pitchFamily="34" charset="0"/>
                    <a:cs typeface="Arial" panose="020B0604020202020204" pitchFamily="34" charset="0"/>
                  </a:rPr>
                  <a:t>acting</a:t>
                </a:r>
                <a:r>
                  <a:rPr kumimoji="0" lang="de-DE" sz="2200" b="0" i="0" u="none" strike="noStrike" kern="100" cap="none" spc="0" normalizeH="0" baseline="0" noProof="0" dirty="0">
                    <a:ln>
                      <a:noFill/>
                    </a:ln>
                    <a:solidFill>
                      <a:prstClr val="black"/>
                    </a:solidFill>
                    <a:effectLst/>
                    <a:uLnTx/>
                    <a:uFillTx/>
                    <a:latin typeface="+mn-lt"/>
                    <a:ea typeface="Calibri" panose="020F0502020204030204" pitchFamily="34" charset="0"/>
                    <a:cs typeface="Arial" panose="020B0604020202020204" pitchFamily="34" charset="0"/>
                  </a:rPr>
                  <a:t> at </a:t>
                </a:r>
                <a:r>
                  <a:rPr kumimoji="0" lang="de-DE" sz="2200" b="0" i="0" u="none" strike="noStrike" kern="100" cap="none" spc="0" normalizeH="0" baseline="0" noProof="0" dirty="0" err="1">
                    <a:ln>
                      <a:noFill/>
                    </a:ln>
                    <a:solidFill>
                      <a:prstClr val="black"/>
                    </a:solidFill>
                    <a:effectLst/>
                    <a:uLnTx/>
                    <a:uFillTx/>
                    <a:latin typeface="+mn-lt"/>
                    <a:ea typeface="Calibri" panose="020F0502020204030204" pitchFamily="34" charset="0"/>
                    <a:cs typeface="Arial" panose="020B0604020202020204" pitchFamily="34" charset="0"/>
                  </a:rPr>
                  <a:t>the</a:t>
                </a:r>
                <a:r>
                  <a:rPr kumimoji="0" lang="de-DE" sz="2200" b="0" i="0" u="none" strike="noStrike" kern="100" cap="none" spc="0" normalizeH="0" baseline="0" noProof="0" dirty="0">
                    <a:ln>
                      <a:noFill/>
                    </a:ln>
                    <a:solidFill>
                      <a:prstClr val="black"/>
                    </a:solidFill>
                    <a:effectLst/>
                    <a:uLnTx/>
                    <a:uFillTx/>
                    <a:latin typeface="+mn-lt"/>
                    <a:ea typeface="Calibri" panose="020F0502020204030204" pitchFamily="34" charset="0"/>
                    <a:cs typeface="Arial" panose="020B0604020202020204" pitchFamily="34" charset="0"/>
                  </a:rPr>
                  <a:t> Impeller </a:t>
                </a:r>
                <a:r>
                  <a:rPr kumimoji="0" lang="de-DE" sz="2200" b="0" i="0" u="none" strike="noStrike" kern="100" cap="none" spc="0" normalizeH="0" baseline="0" noProof="0" dirty="0" err="1">
                    <a:ln>
                      <a:noFill/>
                    </a:ln>
                    <a:solidFill>
                      <a:prstClr val="black"/>
                    </a:solidFill>
                    <a:effectLst/>
                    <a:uLnTx/>
                    <a:uFillTx/>
                    <a:latin typeface="+mn-lt"/>
                    <a:ea typeface="Calibri" panose="020F0502020204030204" pitchFamily="34" charset="0"/>
                    <a:cs typeface="Arial" panose="020B0604020202020204" pitchFamily="34" charset="0"/>
                  </a:rPr>
                  <a:t>can</a:t>
                </a:r>
                <a:r>
                  <a:rPr kumimoji="0" lang="de-DE" sz="2200" b="0" i="0" u="none" strike="noStrike" kern="100" cap="none" spc="0" normalizeH="0" baseline="0" noProof="0" dirty="0">
                    <a:ln>
                      <a:noFill/>
                    </a:ln>
                    <a:solidFill>
                      <a:prstClr val="black"/>
                    </a:solidFill>
                    <a:effectLst/>
                    <a:uLnTx/>
                    <a:uFillTx/>
                    <a:latin typeface="+mn-lt"/>
                    <a:ea typeface="Calibri" panose="020F0502020204030204" pitchFamily="34" charset="0"/>
                    <a:cs typeface="Arial" panose="020B0604020202020204" pitchFamily="34" charset="0"/>
                  </a:rPr>
                  <a:t> </a:t>
                </a:r>
                <a:r>
                  <a:rPr kumimoji="0" lang="de-DE" sz="2200" b="0" i="0" u="none" strike="noStrike" kern="100" cap="none" spc="0" normalizeH="0" baseline="0" noProof="0" dirty="0" err="1">
                    <a:ln>
                      <a:noFill/>
                    </a:ln>
                    <a:solidFill>
                      <a:prstClr val="black"/>
                    </a:solidFill>
                    <a:effectLst/>
                    <a:uLnTx/>
                    <a:uFillTx/>
                    <a:latin typeface="+mn-lt"/>
                    <a:ea typeface="Calibri" panose="020F0502020204030204" pitchFamily="34" charset="0"/>
                    <a:cs typeface="Arial" panose="020B0604020202020204" pitchFamily="34" charset="0"/>
                  </a:rPr>
                  <a:t>be</a:t>
                </a:r>
                <a:r>
                  <a:rPr kumimoji="0" lang="de-DE" sz="2200" b="0" i="0" u="none" strike="noStrike" kern="100" cap="none" spc="0" normalizeH="0" baseline="0" noProof="0" dirty="0">
                    <a:ln>
                      <a:noFill/>
                    </a:ln>
                    <a:solidFill>
                      <a:prstClr val="black"/>
                    </a:solidFill>
                    <a:effectLst/>
                    <a:uLnTx/>
                    <a:uFillTx/>
                    <a:latin typeface="+mn-lt"/>
                    <a:ea typeface="Calibri" panose="020F0502020204030204" pitchFamily="34" charset="0"/>
                    <a:cs typeface="Arial" panose="020B0604020202020204" pitchFamily="34" charset="0"/>
                  </a:rPr>
                  <a:t> </a:t>
                </a:r>
                <a:r>
                  <a:rPr kumimoji="0" lang="de-DE" sz="2200" i="0" u="none" strike="noStrike" kern="100" cap="none" spc="0" normalizeH="0" baseline="0" noProof="0" dirty="0" err="1">
                    <a:ln>
                      <a:noFill/>
                    </a:ln>
                    <a:solidFill>
                      <a:srgbClr val="0000FF"/>
                    </a:solidFill>
                    <a:effectLst/>
                    <a:uLnTx/>
                    <a:uFillTx/>
                    <a:latin typeface="+mn-lt"/>
                    <a:ea typeface="Calibri" panose="020F0502020204030204" pitchFamily="34" charset="0"/>
                    <a:cs typeface="Arial" panose="020B0604020202020204" pitchFamily="34" charset="0"/>
                  </a:rPr>
                  <a:t>calculated</a:t>
                </a:r>
                <a:r>
                  <a:rPr kumimoji="0" lang="de-DE" sz="2200" b="0" i="0" u="none" strike="noStrike" kern="100" cap="none" spc="0" normalizeH="0" baseline="0" noProof="0" dirty="0">
                    <a:ln>
                      <a:noFill/>
                    </a:ln>
                    <a:solidFill>
                      <a:prstClr val="black"/>
                    </a:solidFill>
                    <a:effectLst/>
                    <a:uLnTx/>
                    <a:uFillTx/>
                    <a:latin typeface="+mn-lt"/>
                    <a:ea typeface="Calibri" panose="020F0502020204030204" pitchFamily="34" charset="0"/>
                    <a:cs typeface="Arial" panose="020B0604020202020204" pitchFamily="34" charset="0"/>
                  </a:rPr>
                  <a:t>.</a:t>
                </a: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de-DE" sz="2200" b="0" i="0" u="none" strike="noStrike" kern="100" cap="none" spc="0" normalizeH="0" baseline="0" noProof="0" dirty="0">
                    <a:ln>
                      <a:noFill/>
                    </a:ln>
                    <a:solidFill>
                      <a:prstClr val="black"/>
                    </a:solidFill>
                    <a:effectLst/>
                    <a:uLnTx/>
                    <a:uFillTx/>
                    <a:latin typeface="+mn-lt"/>
                    <a:ea typeface="Calibri" panose="020F0502020204030204" pitchFamily="34" charset="0"/>
                    <a:cs typeface="Arial" panose="020B0604020202020204" pitchFamily="34" charset="0"/>
                  </a:rPr>
                  <a:t>In </a:t>
                </a:r>
                <a:r>
                  <a:rPr kumimoji="0" lang="de-DE" sz="2200" b="0" i="0" u="none" strike="noStrike" kern="100" cap="none" spc="0" normalizeH="0" baseline="0" noProof="0" dirty="0" err="1">
                    <a:ln>
                      <a:noFill/>
                    </a:ln>
                    <a:solidFill>
                      <a:prstClr val="black"/>
                    </a:solidFill>
                    <a:effectLst/>
                    <a:uLnTx/>
                    <a:uFillTx/>
                    <a:latin typeface="+mn-lt"/>
                    <a:ea typeface="Calibri" panose="020F0502020204030204" pitchFamily="34" charset="0"/>
                    <a:cs typeface="Arial" panose="020B0604020202020204" pitchFamily="34" charset="0"/>
                  </a:rPr>
                  <a:t>this</a:t>
                </a:r>
                <a:r>
                  <a:rPr kumimoji="0" lang="de-DE" sz="2200" b="0" i="0" u="none" strike="noStrike" kern="100" cap="none" spc="0" normalizeH="0" baseline="0" noProof="0" dirty="0">
                    <a:ln>
                      <a:noFill/>
                    </a:ln>
                    <a:solidFill>
                      <a:prstClr val="black"/>
                    </a:solidFill>
                    <a:effectLst/>
                    <a:uLnTx/>
                    <a:uFillTx/>
                    <a:latin typeface="+mn-lt"/>
                    <a:ea typeface="Calibri" panose="020F0502020204030204" pitchFamily="34" charset="0"/>
                    <a:cs typeface="Arial" panose="020B0604020202020204" pitchFamily="34" charset="0"/>
                  </a:rPr>
                  <a:t> </a:t>
                </a:r>
                <a:r>
                  <a:rPr kumimoji="0" lang="de-DE" sz="2200" b="0" i="0" u="none" strike="noStrike" kern="100" cap="none" spc="0" normalizeH="0" baseline="0" noProof="0" dirty="0" err="1">
                    <a:ln>
                      <a:noFill/>
                    </a:ln>
                    <a:solidFill>
                      <a:prstClr val="black"/>
                    </a:solidFill>
                    <a:effectLst/>
                    <a:uLnTx/>
                    <a:uFillTx/>
                    <a:latin typeface="+mn-lt"/>
                    <a:ea typeface="Calibri" panose="020F0502020204030204" pitchFamily="34" charset="0"/>
                    <a:cs typeface="Arial" panose="020B0604020202020204" pitchFamily="34" charset="0"/>
                  </a:rPr>
                  <a:t>formula</a:t>
                </a:r>
                <a:r>
                  <a:rPr kumimoji="0" lang="de-DE" sz="2200" b="0" i="0" u="none" strike="noStrike" kern="100" cap="none" spc="0" normalizeH="0" baseline="0" noProof="0" dirty="0">
                    <a:ln>
                      <a:noFill/>
                    </a:ln>
                    <a:solidFill>
                      <a:prstClr val="black"/>
                    </a:solidFill>
                    <a:effectLst/>
                    <a:uLnTx/>
                    <a:uFillTx/>
                    <a:latin typeface="+mn-lt"/>
                    <a:ea typeface="Calibri" panose="020F0502020204030204" pitchFamily="34" charset="0"/>
                    <a:cs typeface="Arial" panose="020B0604020202020204" pitchFamily="34" charset="0"/>
                  </a:rPr>
                  <a:t> </a:t>
                </a:r>
                <a:r>
                  <a:rPr kumimoji="0" lang="de-DE" sz="2200" b="0" i="0" u="none" strike="noStrike" kern="100" cap="none" spc="0" normalizeH="0" baseline="0" noProof="0" dirty="0" err="1">
                    <a:ln>
                      <a:noFill/>
                    </a:ln>
                    <a:solidFill>
                      <a:prstClr val="black"/>
                    </a:solidFill>
                    <a:effectLst/>
                    <a:uLnTx/>
                    <a:uFillTx/>
                    <a:latin typeface="+mn-lt"/>
                    <a:ea typeface="Calibri" panose="020F0502020204030204" pitchFamily="34" charset="0"/>
                    <a:cs typeface="Arial" panose="020B0604020202020204" pitchFamily="34" charset="0"/>
                  </a:rPr>
                  <a:t>the</a:t>
                </a:r>
                <a:r>
                  <a:rPr kumimoji="0" lang="de-DE" sz="2200" b="0" i="0" u="none" strike="noStrike" kern="100" cap="none" spc="0" normalizeH="0" baseline="0" noProof="0" dirty="0">
                    <a:ln>
                      <a:noFill/>
                    </a:ln>
                    <a:solidFill>
                      <a:prstClr val="black"/>
                    </a:solidFill>
                    <a:effectLst/>
                    <a:uLnTx/>
                    <a:uFillTx/>
                    <a:latin typeface="+mn-lt"/>
                    <a:ea typeface="Calibri" panose="020F0502020204030204" pitchFamily="34" charset="0"/>
                    <a:cs typeface="Arial" panose="020B0604020202020204" pitchFamily="34" charset="0"/>
                  </a:rPr>
                  <a:t> </a:t>
                </a:r>
                <a:r>
                  <a:rPr kumimoji="0" lang="de-DE" sz="2200" b="0" i="0" u="none" strike="noStrike" kern="100" cap="none" spc="0" normalizeH="0" baseline="0" noProof="0" dirty="0" err="1">
                    <a:ln>
                      <a:noFill/>
                    </a:ln>
                    <a:solidFill>
                      <a:prstClr val="black"/>
                    </a:solidFill>
                    <a:effectLst/>
                    <a:uLnTx/>
                    <a:uFillTx/>
                    <a:latin typeface="+mn-lt"/>
                    <a:ea typeface="Calibri" panose="020F0502020204030204" pitchFamily="34" charset="0"/>
                    <a:cs typeface="Arial" panose="020B0604020202020204" pitchFamily="34" charset="0"/>
                  </a:rPr>
                  <a:t>Hydraulic</a:t>
                </a:r>
                <a:r>
                  <a:rPr kumimoji="0" lang="de-DE" sz="2200" b="0" i="0" u="none" strike="noStrike" kern="100" cap="none" spc="0" normalizeH="0" baseline="0" noProof="0" dirty="0">
                    <a:ln>
                      <a:noFill/>
                    </a:ln>
                    <a:solidFill>
                      <a:prstClr val="black"/>
                    </a:solidFill>
                    <a:effectLst/>
                    <a:uLnTx/>
                    <a:uFillTx/>
                    <a:latin typeface="+mn-lt"/>
                    <a:ea typeface="Calibri" panose="020F0502020204030204" pitchFamily="34" charset="0"/>
                    <a:cs typeface="Arial" panose="020B0604020202020204" pitchFamily="34" charset="0"/>
                  </a:rPr>
                  <a:t> Fluid Forces </a:t>
                </a:r>
                <a:r>
                  <a:rPr kumimoji="0" lang="de-DE" sz="2200" b="0" i="0" u="none" strike="noStrike" kern="100" cap="none" spc="0" normalizeH="0" baseline="0" noProof="0" dirty="0" err="1">
                    <a:ln>
                      <a:noFill/>
                    </a:ln>
                    <a:solidFill>
                      <a:prstClr val="black"/>
                    </a:solidFill>
                    <a:effectLst/>
                    <a:uLnTx/>
                    <a:uFillTx/>
                    <a:latin typeface="+mn-lt"/>
                    <a:ea typeface="Calibri" panose="020F0502020204030204" pitchFamily="34" charset="0"/>
                    <a:cs typeface="Arial" panose="020B0604020202020204" pitchFamily="34" charset="0"/>
                  </a:rPr>
                  <a:t>are</a:t>
                </a:r>
                <a:r>
                  <a:rPr kumimoji="0" lang="de-DE" sz="2200" b="0" i="0" u="none" strike="noStrike" kern="100" cap="none" spc="0" normalizeH="0" baseline="0" noProof="0" dirty="0">
                    <a:ln>
                      <a:noFill/>
                    </a:ln>
                    <a:solidFill>
                      <a:prstClr val="black"/>
                    </a:solidFill>
                    <a:effectLst/>
                    <a:uLnTx/>
                    <a:uFillTx/>
                    <a:latin typeface="+mn-lt"/>
                    <a:ea typeface="Calibri" panose="020F0502020204030204" pitchFamily="34" charset="0"/>
                    <a:cs typeface="Arial" panose="020B0604020202020204" pitchFamily="34" charset="0"/>
                  </a:rPr>
                  <a:t> </a:t>
                </a:r>
                <a:r>
                  <a:rPr kumimoji="0" lang="de-DE" sz="2200" b="0" i="0" u="none" strike="noStrike" kern="100" cap="none" spc="0" normalizeH="0" baseline="0" noProof="0" dirty="0" err="1">
                    <a:ln>
                      <a:noFill/>
                    </a:ln>
                    <a:solidFill>
                      <a:prstClr val="black"/>
                    </a:solidFill>
                    <a:effectLst/>
                    <a:uLnTx/>
                    <a:uFillTx/>
                    <a:latin typeface="+mn-lt"/>
                    <a:ea typeface="Calibri" panose="020F0502020204030204" pitchFamily="34" charset="0"/>
                    <a:cs typeface="Arial" panose="020B0604020202020204" pitchFamily="34" charset="0"/>
                  </a:rPr>
                  <a:t>expressed</a:t>
                </a:r>
                <a:r>
                  <a:rPr kumimoji="0" lang="de-DE" sz="2200" b="0" i="0" u="none" strike="noStrike" kern="100" cap="none" spc="0" normalizeH="0" baseline="0" noProof="0" dirty="0">
                    <a:ln>
                      <a:noFill/>
                    </a:ln>
                    <a:solidFill>
                      <a:prstClr val="black"/>
                    </a:solidFill>
                    <a:effectLst/>
                    <a:uLnTx/>
                    <a:uFillTx/>
                    <a:latin typeface="+mn-lt"/>
                    <a:ea typeface="Calibri" panose="020F0502020204030204" pitchFamily="34" charset="0"/>
                    <a:cs typeface="Arial" panose="020B0604020202020204" pitchFamily="34" charset="0"/>
                  </a:rPr>
                  <a:t> by </a:t>
                </a:r>
                <a:r>
                  <a:rPr kumimoji="0" lang="de-DE" sz="2200" b="0" i="0" u="none" strike="noStrike" kern="100" cap="none" spc="0" normalizeH="0" baseline="0" noProof="0" dirty="0" err="1">
                    <a:ln>
                      <a:noFill/>
                    </a:ln>
                    <a:solidFill>
                      <a:prstClr val="black"/>
                    </a:solidFill>
                    <a:effectLst/>
                    <a:uLnTx/>
                    <a:uFillTx/>
                    <a:latin typeface="+mn-lt"/>
                    <a:ea typeface="Calibri" panose="020F0502020204030204" pitchFamily="34" charset="0"/>
                    <a:cs typeface="Arial" panose="020B0604020202020204" pitchFamily="34" charset="0"/>
                  </a:rPr>
                  <a:t>the</a:t>
                </a:r>
                <a:r>
                  <a:rPr kumimoji="0" lang="de-DE" sz="2200" b="0" i="0" u="none" strike="noStrike" kern="100" cap="none" spc="0" normalizeH="0" baseline="0" noProof="0" dirty="0">
                    <a:ln>
                      <a:noFill/>
                    </a:ln>
                    <a:solidFill>
                      <a:prstClr val="black"/>
                    </a:solidFill>
                    <a:effectLst/>
                    <a:uLnTx/>
                    <a:uFillTx/>
                    <a:latin typeface="+mn-lt"/>
                    <a:ea typeface="Calibri" panose="020F0502020204030204" pitchFamily="34" charset="0"/>
                    <a:cs typeface="Arial" panose="020B0604020202020204" pitchFamily="34" charset="0"/>
                  </a:rPr>
                  <a:t> </a:t>
                </a:r>
                <a:r>
                  <a:rPr kumimoji="0" lang="de-DE" sz="2200" i="0" u="none" strike="noStrike" kern="100" cap="none" spc="0" normalizeH="0" baseline="0" noProof="0" dirty="0">
                    <a:ln>
                      <a:noFill/>
                    </a:ln>
                    <a:solidFill>
                      <a:srgbClr val="0000FF"/>
                    </a:solidFill>
                    <a:effectLst/>
                    <a:uLnTx/>
                    <a:uFillTx/>
                    <a:latin typeface="+mn-lt"/>
                    <a:ea typeface="Calibri" panose="020F0502020204030204" pitchFamily="34" charset="0"/>
                    <a:cs typeface="Arial" panose="020B0604020202020204" pitchFamily="34" charset="0"/>
                  </a:rPr>
                  <a:t>fluid</a:t>
                </a:r>
                <a:r>
                  <a:rPr kumimoji="0" lang="de-DE" sz="2200" b="0" i="0" u="none" strike="noStrike" kern="100" cap="none" spc="0" normalizeH="0" baseline="0" noProof="0" dirty="0">
                    <a:ln>
                      <a:noFill/>
                    </a:ln>
                    <a:solidFill>
                      <a:prstClr val="black"/>
                    </a:solidFill>
                    <a:effectLst/>
                    <a:uLnTx/>
                    <a:uFillTx/>
                    <a:latin typeface="+mn-lt"/>
                    <a:ea typeface="Calibri" panose="020F0502020204030204" pitchFamily="34" charset="0"/>
                    <a:cs typeface="Arial" panose="020B0604020202020204" pitchFamily="34" charset="0"/>
                  </a:rPr>
                  <a:t> </a:t>
                </a:r>
                <a:r>
                  <a:rPr kumimoji="0" lang="de-DE" sz="2200" i="0" u="none" strike="noStrike" kern="100" cap="none" spc="0" normalizeH="0" baseline="0" noProof="0" dirty="0">
                    <a:ln>
                      <a:noFill/>
                    </a:ln>
                    <a:solidFill>
                      <a:srgbClr val="0000FF"/>
                    </a:solidFill>
                    <a:effectLst/>
                    <a:uLnTx/>
                    <a:uFillTx/>
                    <a:latin typeface="+mn-lt"/>
                    <a:ea typeface="Calibri" panose="020F0502020204030204" pitchFamily="34" charset="0"/>
                    <a:cs typeface="Arial" panose="020B0604020202020204" pitchFamily="34" charset="0"/>
                  </a:rPr>
                  <a:t>density </a:t>
                </a:r>
                <a14:m>
                  <m:oMath xmlns:m="http://schemas.openxmlformats.org/officeDocument/2006/math">
                    <m:r>
                      <a:rPr kumimoji="0" lang="de-DE" sz="2200" b="1" i="1" u="none" strike="noStrike" kern="100" cap="none" spc="0" normalizeH="0" baseline="0" noProof="0" smtClean="0">
                        <a:ln>
                          <a:noFill/>
                        </a:ln>
                        <a:solidFill>
                          <a:srgbClr val="0000FF"/>
                        </a:solidFill>
                        <a:effectLst/>
                        <a:uLnTx/>
                        <a:uFillTx/>
                        <a:latin typeface="Cambria Math" panose="02040503050406030204" pitchFamily="18" charset="0"/>
                        <a:ea typeface="Cambria Math" panose="02040503050406030204" pitchFamily="18" charset="0"/>
                        <a:cs typeface="Arial" panose="020B0604020202020204" pitchFamily="34" charset="0"/>
                      </a:rPr>
                      <m:t>𝝔</m:t>
                    </m:r>
                  </m:oMath>
                </a14:m>
                <a:r>
                  <a:rPr kumimoji="0" lang="de-DE" sz="2200" i="0" u="none" strike="noStrike" kern="100" cap="none" spc="0" normalizeH="0" baseline="0" noProof="0" dirty="0">
                    <a:ln>
                      <a:noFill/>
                    </a:ln>
                    <a:solidFill>
                      <a:srgbClr val="0000FF"/>
                    </a:solidFill>
                    <a:effectLst/>
                    <a:uLnTx/>
                    <a:uFillTx/>
                    <a:latin typeface="+mn-lt"/>
                    <a:ea typeface="Calibri" panose="020F0502020204030204" pitchFamily="34" charset="0"/>
                    <a:cs typeface="Arial" panose="020B0604020202020204" pitchFamily="34" charset="0"/>
                  </a:rPr>
                  <a:t> </a:t>
                </a:r>
                <a:r>
                  <a:rPr kumimoji="0" lang="de-DE" sz="2200" b="0" i="0" u="none" strike="noStrike" kern="100" cap="none" spc="0" normalizeH="0" baseline="0" noProof="0" dirty="0">
                    <a:ln>
                      <a:noFill/>
                    </a:ln>
                    <a:effectLst/>
                    <a:uLnTx/>
                    <a:uFillTx/>
                    <a:latin typeface="+mn-lt"/>
                    <a:ea typeface="Calibri" panose="020F0502020204030204" pitchFamily="34" charset="0"/>
                    <a:cs typeface="Arial" panose="020B0604020202020204" pitchFamily="34" charset="0"/>
                  </a:rPr>
                  <a:t>(891 kg/m</a:t>
                </a:r>
                <a:r>
                  <a:rPr kumimoji="0" lang="de-DE" sz="2200" b="0" i="0" u="none" strike="noStrike" kern="100" cap="none" spc="0" normalizeH="0" baseline="30000" noProof="0" dirty="0">
                    <a:ln>
                      <a:noFill/>
                    </a:ln>
                    <a:effectLst/>
                    <a:uLnTx/>
                    <a:uFillTx/>
                    <a:latin typeface="+mn-lt"/>
                    <a:ea typeface="Calibri" panose="020F0502020204030204" pitchFamily="34" charset="0"/>
                    <a:cs typeface="Arial" panose="020B0604020202020204" pitchFamily="34" charset="0"/>
                  </a:rPr>
                  <a:t>3</a:t>
                </a:r>
                <a:r>
                  <a:rPr kumimoji="0" lang="de-DE" sz="2200" b="0" i="0" u="none" strike="noStrike" kern="100" cap="none" spc="0" normalizeH="0" baseline="0" noProof="0" dirty="0">
                    <a:ln>
                      <a:noFill/>
                    </a:ln>
                    <a:effectLst/>
                    <a:uLnTx/>
                    <a:uFillTx/>
                    <a:latin typeface="+mn-lt"/>
                    <a:ea typeface="Calibri" panose="020F0502020204030204" pitchFamily="34" charset="0"/>
                    <a:cs typeface="Arial" panose="020B0604020202020204" pitchFamily="34" charset="0"/>
                  </a:rPr>
                  <a:t>) </a:t>
                </a:r>
                <a:r>
                  <a:rPr kumimoji="0" lang="de-DE" sz="2200" b="0" i="0" u="none" strike="noStrike" kern="100" cap="none" spc="0" normalizeH="0" baseline="0" noProof="0" dirty="0">
                    <a:ln>
                      <a:noFill/>
                    </a:ln>
                    <a:solidFill>
                      <a:prstClr val="black"/>
                    </a:solidFill>
                    <a:effectLst/>
                    <a:uLnTx/>
                    <a:uFillTx/>
                    <a:latin typeface="+mn-lt"/>
                    <a:ea typeface="Calibri" panose="020F0502020204030204" pitchFamily="34" charset="0"/>
                    <a:cs typeface="Arial" panose="020B0604020202020204" pitchFamily="34" charset="0"/>
                  </a:rPr>
                  <a:t>, </a:t>
                </a:r>
                <a:r>
                  <a:rPr kumimoji="0" lang="de-DE" sz="2200" b="0" i="0" u="none" strike="noStrike" kern="100" cap="none" spc="0" normalizeH="0" baseline="0" noProof="0" dirty="0" err="1">
                    <a:ln>
                      <a:noFill/>
                    </a:ln>
                    <a:solidFill>
                      <a:prstClr val="black"/>
                    </a:solidFill>
                    <a:effectLst/>
                    <a:uLnTx/>
                    <a:uFillTx/>
                    <a:latin typeface="+mn-lt"/>
                    <a:ea typeface="Calibri" panose="020F0502020204030204" pitchFamily="34" charset="0"/>
                    <a:cs typeface="Arial" panose="020B0604020202020204" pitchFamily="34" charset="0"/>
                  </a:rPr>
                  <a:t>the</a:t>
                </a:r>
                <a:r>
                  <a:rPr kumimoji="0" lang="de-DE" sz="2200" b="0" i="0" u="none" strike="noStrike" kern="100" cap="none" spc="0" normalizeH="0" baseline="0" noProof="0" dirty="0">
                    <a:ln>
                      <a:noFill/>
                    </a:ln>
                    <a:solidFill>
                      <a:prstClr val="black"/>
                    </a:solidFill>
                    <a:effectLst/>
                    <a:uLnTx/>
                    <a:uFillTx/>
                    <a:latin typeface="+mn-lt"/>
                    <a:ea typeface="Calibri" panose="020F0502020204030204" pitchFamily="34" charset="0"/>
                    <a:cs typeface="Arial" panose="020B0604020202020204" pitchFamily="34" charset="0"/>
                  </a:rPr>
                  <a:t> </a:t>
                </a:r>
                <a:r>
                  <a:rPr kumimoji="0" lang="de-DE" sz="2200" i="0" u="none" strike="noStrike" kern="100" cap="none" spc="0" normalizeH="0" baseline="0" noProof="0" dirty="0" err="1">
                    <a:ln>
                      <a:noFill/>
                    </a:ln>
                    <a:solidFill>
                      <a:srgbClr val="0000FF"/>
                    </a:solidFill>
                    <a:effectLst/>
                    <a:uLnTx/>
                    <a:uFillTx/>
                    <a:latin typeface="+mn-lt"/>
                    <a:ea typeface="Calibri" panose="020F0502020204030204" pitchFamily="34" charset="0"/>
                    <a:cs typeface="Arial" panose="020B0604020202020204" pitchFamily="34" charset="0"/>
                  </a:rPr>
                  <a:t>gravity</a:t>
                </a:r>
                <a:r>
                  <a:rPr kumimoji="0" lang="de-DE" sz="2200" i="0" u="none" strike="noStrike" kern="100" cap="none" spc="0" normalizeH="0" baseline="0" noProof="0" dirty="0">
                    <a:ln>
                      <a:noFill/>
                    </a:ln>
                    <a:solidFill>
                      <a:srgbClr val="0000FF"/>
                    </a:solidFill>
                    <a:effectLst/>
                    <a:uLnTx/>
                    <a:uFillTx/>
                    <a:latin typeface="+mn-lt"/>
                    <a:ea typeface="Calibri" panose="020F0502020204030204" pitchFamily="34" charset="0"/>
                    <a:cs typeface="Arial" panose="020B0604020202020204" pitchFamily="34" charset="0"/>
                  </a:rPr>
                  <a:t> </a:t>
                </a:r>
                <a:r>
                  <a:rPr kumimoji="0" lang="de-DE" sz="2200" i="0" u="none" strike="noStrike" kern="100" cap="none" spc="0" normalizeH="0" baseline="0" noProof="0" dirty="0" err="1">
                    <a:ln>
                      <a:noFill/>
                    </a:ln>
                    <a:solidFill>
                      <a:srgbClr val="0000FF"/>
                    </a:solidFill>
                    <a:effectLst/>
                    <a:uLnTx/>
                    <a:uFillTx/>
                    <a:latin typeface="+mn-lt"/>
                    <a:ea typeface="Calibri" panose="020F0502020204030204" pitchFamily="34" charset="0"/>
                    <a:cs typeface="Arial" panose="020B0604020202020204" pitchFamily="34" charset="0"/>
                  </a:rPr>
                  <a:t>acceleration</a:t>
                </a:r>
                <a:r>
                  <a:rPr kumimoji="0" lang="de-DE" sz="2200" i="0" u="none" strike="noStrike" kern="100" cap="none" spc="0" normalizeH="0" baseline="0" noProof="0" dirty="0">
                    <a:ln>
                      <a:noFill/>
                    </a:ln>
                    <a:solidFill>
                      <a:srgbClr val="0000FF"/>
                    </a:solidFill>
                    <a:effectLst/>
                    <a:uLnTx/>
                    <a:uFillTx/>
                    <a:latin typeface="+mn-lt"/>
                    <a:ea typeface="Calibri" panose="020F0502020204030204" pitchFamily="34" charset="0"/>
                    <a:cs typeface="Arial" panose="020B0604020202020204" pitchFamily="34" charset="0"/>
                  </a:rPr>
                  <a:t> g </a:t>
                </a:r>
                <a:r>
                  <a:rPr kumimoji="0" lang="de-DE" sz="2200" b="0" i="0" u="none" strike="noStrike" kern="100" cap="none" spc="0" normalizeH="0" baseline="0" noProof="0" dirty="0">
                    <a:ln>
                      <a:noFill/>
                    </a:ln>
                    <a:effectLst/>
                    <a:uLnTx/>
                    <a:uFillTx/>
                    <a:latin typeface="+mn-lt"/>
                    <a:ea typeface="Calibri" panose="020F0502020204030204" pitchFamily="34" charset="0"/>
                    <a:cs typeface="Arial" panose="020B0604020202020204" pitchFamily="34" charset="0"/>
                  </a:rPr>
                  <a:t>(9,81 m</a:t>
                </a:r>
                <a:r>
                  <a:rPr kumimoji="0" lang="de-DE" sz="2200" b="0" i="0" u="none" strike="noStrike" kern="100" cap="none" spc="0" normalizeH="0" baseline="30000" noProof="0" dirty="0">
                    <a:ln>
                      <a:noFill/>
                    </a:ln>
                    <a:effectLst/>
                    <a:uLnTx/>
                    <a:uFillTx/>
                    <a:latin typeface="+mn-lt"/>
                    <a:ea typeface="Calibri" panose="020F0502020204030204" pitchFamily="34" charset="0"/>
                    <a:cs typeface="Arial" panose="020B0604020202020204" pitchFamily="34" charset="0"/>
                  </a:rPr>
                  <a:t>2</a:t>
                </a:r>
                <a:r>
                  <a:rPr kumimoji="0" lang="de-DE" sz="2200" b="0" i="0" u="none" strike="noStrike" kern="100" cap="none" spc="0" normalizeH="0" baseline="0" noProof="0" dirty="0">
                    <a:ln>
                      <a:noFill/>
                    </a:ln>
                    <a:effectLst/>
                    <a:uLnTx/>
                    <a:uFillTx/>
                    <a:latin typeface="+mn-lt"/>
                    <a:ea typeface="Calibri" panose="020F0502020204030204" pitchFamily="34" charset="0"/>
                    <a:cs typeface="Arial" panose="020B0604020202020204" pitchFamily="34" charset="0"/>
                  </a:rPr>
                  <a:t>/s), </a:t>
                </a:r>
                <a:r>
                  <a:rPr kumimoji="0" lang="de-DE" sz="2200" b="0" i="0" u="none" strike="noStrike" kern="100" cap="none" spc="0" normalizeH="0" baseline="0" noProof="0" dirty="0" err="1">
                    <a:ln>
                      <a:noFill/>
                    </a:ln>
                    <a:solidFill>
                      <a:prstClr val="black"/>
                    </a:solidFill>
                    <a:effectLst/>
                    <a:uLnTx/>
                    <a:uFillTx/>
                    <a:latin typeface="+mn-lt"/>
                    <a:ea typeface="Calibri" panose="020F0502020204030204" pitchFamily="34" charset="0"/>
                    <a:cs typeface="Arial" panose="020B0604020202020204" pitchFamily="34" charset="0"/>
                  </a:rPr>
                  <a:t>the</a:t>
                </a:r>
                <a:r>
                  <a:rPr kumimoji="0" lang="de-DE" sz="2200" b="0" i="0" u="none" strike="noStrike" kern="100" cap="none" spc="0" normalizeH="0" baseline="0" noProof="0" dirty="0">
                    <a:ln>
                      <a:noFill/>
                    </a:ln>
                    <a:solidFill>
                      <a:prstClr val="black"/>
                    </a:solidFill>
                    <a:effectLst/>
                    <a:uLnTx/>
                    <a:uFillTx/>
                    <a:latin typeface="+mn-lt"/>
                    <a:ea typeface="Calibri" panose="020F0502020204030204" pitchFamily="34" charset="0"/>
                    <a:cs typeface="Arial" panose="020B0604020202020204" pitchFamily="34" charset="0"/>
                  </a:rPr>
                  <a:t> </a:t>
                </a:r>
                <a:r>
                  <a:rPr kumimoji="0" lang="de-DE" sz="2200" i="0" u="none" strike="noStrike" kern="100" cap="none" spc="0" normalizeH="0" baseline="0" noProof="0" dirty="0" err="1">
                    <a:ln>
                      <a:noFill/>
                    </a:ln>
                    <a:solidFill>
                      <a:srgbClr val="0000FF"/>
                    </a:solidFill>
                    <a:effectLst/>
                    <a:uLnTx/>
                    <a:uFillTx/>
                    <a:latin typeface="+mn-lt"/>
                    <a:ea typeface="Calibri" panose="020F0502020204030204" pitchFamily="34" charset="0"/>
                    <a:cs typeface="Arial" panose="020B0604020202020204" pitchFamily="34" charset="0"/>
                  </a:rPr>
                  <a:t>pumping</a:t>
                </a:r>
                <a:r>
                  <a:rPr kumimoji="0" lang="de-DE" sz="2200" i="0" u="none" strike="noStrike" kern="100" cap="none" spc="0" normalizeH="0" baseline="0" noProof="0" dirty="0">
                    <a:ln>
                      <a:noFill/>
                    </a:ln>
                    <a:solidFill>
                      <a:srgbClr val="0000FF"/>
                    </a:solidFill>
                    <a:effectLst/>
                    <a:uLnTx/>
                    <a:uFillTx/>
                    <a:latin typeface="+mn-lt"/>
                    <a:ea typeface="Calibri" panose="020F0502020204030204" pitchFamily="34" charset="0"/>
                    <a:cs typeface="Arial" panose="020B0604020202020204" pitchFamily="34" charset="0"/>
                  </a:rPr>
                  <a:t> </a:t>
                </a:r>
                <a:r>
                  <a:rPr kumimoji="0" lang="de-DE" sz="2200" i="0" u="none" strike="noStrike" kern="100" cap="none" spc="0" normalizeH="0" baseline="0" noProof="0" dirty="0" err="1">
                    <a:ln>
                      <a:noFill/>
                    </a:ln>
                    <a:solidFill>
                      <a:srgbClr val="0000FF"/>
                    </a:solidFill>
                    <a:effectLst/>
                    <a:uLnTx/>
                    <a:uFillTx/>
                    <a:latin typeface="+mn-lt"/>
                    <a:ea typeface="Calibri" panose="020F0502020204030204" pitchFamily="34" charset="0"/>
                    <a:cs typeface="Arial" panose="020B0604020202020204" pitchFamily="34" charset="0"/>
                  </a:rPr>
                  <a:t>head</a:t>
                </a:r>
                <a:r>
                  <a:rPr kumimoji="0" lang="de-DE" sz="2200" i="0" u="none" strike="noStrike" kern="100" cap="none" spc="0" normalizeH="0" baseline="0" noProof="0" dirty="0">
                    <a:ln>
                      <a:noFill/>
                    </a:ln>
                    <a:solidFill>
                      <a:srgbClr val="0000FF"/>
                    </a:solidFill>
                    <a:effectLst/>
                    <a:uLnTx/>
                    <a:uFillTx/>
                    <a:latin typeface="+mn-lt"/>
                    <a:ea typeface="Calibri" panose="020F0502020204030204" pitchFamily="34" charset="0"/>
                    <a:cs typeface="Arial" panose="020B0604020202020204" pitchFamily="34" charset="0"/>
                  </a:rPr>
                  <a:t> H </a:t>
                </a:r>
                <a:r>
                  <a:rPr kumimoji="0" lang="de-DE" sz="2200" b="0" i="0" u="none" strike="noStrike" kern="100" cap="none" spc="0" normalizeH="0" baseline="0" noProof="0" dirty="0">
                    <a:ln>
                      <a:noFill/>
                    </a:ln>
                    <a:effectLst/>
                    <a:uLnTx/>
                    <a:uFillTx/>
                    <a:latin typeface="+mn-lt"/>
                    <a:ea typeface="Calibri" panose="020F0502020204030204" pitchFamily="34" charset="0"/>
                    <a:cs typeface="Arial" panose="020B0604020202020204" pitchFamily="34" charset="0"/>
                  </a:rPr>
                  <a:t>(1032 m), </a:t>
                </a:r>
                <a:r>
                  <a:rPr kumimoji="0" lang="de-DE" sz="2200" b="0" i="0" u="none" strike="noStrike" kern="100" cap="none" spc="0" normalizeH="0" baseline="0" noProof="0" dirty="0" err="1">
                    <a:ln>
                      <a:noFill/>
                    </a:ln>
                    <a:solidFill>
                      <a:prstClr val="black"/>
                    </a:solidFill>
                    <a:effectLst/>
                    <a:uLnTx/>
                    <a:uFillTx/>
                    <a:latin typeface="+mn-lt"/>
                    <a:ea typeface="Calibri" panose="020F0502020204030204" pitchFamily="34" charset="0"/>
                    <a:cs typeface="Arial" panose="020B0604020202020204" pitchFamily="34" charset="0"/>
                  </a:rPr>
                  <a:t>the</a:t>
                </a:r>
                <a:r>
                  <a:rPr kumimoji="0" lang="de-DE" sz="2200" b="0" i="0" u="none" strike="noStrike" kern="100" cap="none" spc="0" normalizeH="0" baseline="0" noProof="0" dirty="0">
                    <a:ln>
                      <a:noFill/>
                    </a:ln>
                    <a:solidFill>
                      <a:prstClr val="black"/>
                    </a:solidFill>
                    <a:effectLst/>
                    <a:uLnTx/>
                    <a:uFillTx/>
                    <a:latin typeface="+mn-lt"/>
                    <a:ea typeface="Calibri" panose="020F0502020204030204" pitchFamily="34" charset="0"/>
                    <a:cs typeface="Arial" panose="020B0604020202020204" pitchFamily="34" charset="0"/>
                  </a:rPr>
                  <a:t> </a:t>
                </a:r>
                <a:r>
                  <a:rPr kumimoji="0" lang="de-DE" sz="2200" b="0" i="0" u="none" strike="noStrike" kern="100" cap="none" spc="0" normalizeH="0" baseline="0" noProof="0" dirty="0" err="1">
                    <a:ln>
                      <a:noFill/>
                    </a:ln>
                    <a:solidFill>
                      <a:prstClr val="black"/>
                    </a:solidFill>
                    <a:effectLst/>
                    <a:uLnTx/>
                    <a:uFillTx/>
                    <a:latin typeface="+mn-lt"/>
                    <a:ea typeface="Calibri" panose="020F0502020204030204" pitchFamily="34" charset="0"/>
                    <a:cs typeface="Arial" panose="020B0604020202020204" pitchFamily="34" charset="0"/>
                  </a:rPr>
                  <a:t>geometrical</a:t>
                </a:r>
                <a:r>
                  <a:rPr kumimoji="0" lang="de-DE" sz="2200" b="0" i="0" u="none" strike="noStrike" kern="100" cap="none" spc="0" normalizeH="0" baseline="0" noProof="0" dirty="0">
                    <a:ln>
                      <a:noFill/>
                    </a:ln>
                    <a:solidFill>
                      <a:prstClr val="black"/>
                    </a:solidFill>
                    <a:effectLst/>
                    <a:uLnTx/>
                    <a:uFillTx/>
                    <a:latin typeface="+mn-lt"/>
                    <a:ea typeface="Calibri" panose="020F0502020204030204" pitchFamily="34" charset="0"/>
                    <a:cs typeface="Arial" panose="020B0604020202020204" pitchFamily="34" charset="0"/>
                  </a:rPr>
                  <a:t> </a:t>
                </a:r>
                <a:r>
                  <a:rPr kumimoji="0" lang="de-DE" sz="2200" b="0" i="0" u="none" strike="noStrike" kern="100" cap="none" spc="0" normalizeH="0" baseline="0" noProof="0" dirty="0" err="1">
                    <a:ln>
                      <a:noFill/>
                    </a:ln>
                    <a:solidFill>
                      <a:prstClr val="black"/>
                    </a:solidFill>
                    <a:effectLst/>
                    <a:uLnTx/>
                    <a:uFillTx/>
                    <a:latin typeface="+mn-lt"/>
                    <a:ea typeface="Calibri" panose="020F0502020204030204" pitchFamily="34" charset="0"/>
                    <a:cs typeface="Arial" panose="020B0604020202020204" pitchFamily="34" charset="0"/>
                  </a:rPr>
                  <a:t>data</a:t>
                </a:r>
                <a:r>
                  <a:rPr kumimoji="0" lang="de-DE" sz="2200" b="0" i="0" u="none" strike="noStrike" kern="100" cap="none" spc="0" normalizeH="0" baseline="0" noProof="0" dirty="0">
                    <a:ln>
                      <a:noFill/>
                    </a:ln>
                    <a:solidFill>
                      <a:prstClr val="black"/>
                    </a:solidFill>
                    <a:effectLst/>
                    <a:uLnTx/>
                    <a:uFillTx/>
                    <a:latin typeface="+mn-lt"/>
                    <a:ea typeface="Calibri" panose="020F0502020204030204" pitchFamily="34" charset="0"/>
                    <a:cs typeface="Arial" panose="020B0604020202020204" pitchFamily="34" charset="0"/>
                  </a:rPr>
                  <a:t> </a:t>
                </a:r>
                <a:r>
                  <a:rPr kumimoji="0" lang="de-DE" sz="2200" b="0" i="0" u="none" strike="noStrike" kern="100" cap="none" spc="0" normalizeH="0" baseline="0" noProof="0" dirty="0" err="1">
                    <a:ln>
                      <a:noFill/>
                    </a:ln>
                    <a:solidFill>
                      <a:prstClr val="black"/>
                    </a:solidFill>
                    <a:effectLst/>
                    <a:uLnTx/>
                    <a:uFillTx/>
                    <a:latin typeface="+mn-lt"/>
                    <a:ea typeface="Calibri" panose="020F0502020204030204" pitchFamily="34" charset="0"/>
                    <a:cs typeface="Arial" panose="020B0604020202020204" pitchFamily="34" charset="0"/>
                  </a:rPr>
                  <a:t>of</a:t>
                </a:r>
                <a:r>
                  <a:rPr kumimoji="0" lang="de-DE" sz="2200" b="0" i="0" u="none" strike="noStrike" kern="100" cap="none" spc="0" normalizeH="0" baseline="0" noProof="0" dirty="0">
                    <a:ln>
                      <a:noFill/>
                    </a:ln>
                    <a:solidFill>
                      <a:prstClr val="black"/>
                    </a:solidFill>
                    <a:effectLst/>
                    <a:uLnTx/>
                    <a:uFillTx/>
                    <a:latin typeface="+mn-lt"/>
                    <a:ea typeface="Calibri" panose="020F0502020204030204" pitchFamily="34" charset="0"/>
                    <a:cs typeface="Arial" panose="020B0604020202020204" pitchFamily="34" charset="0"/>
                  </a:rPr>
                  <a:t> </a:t>
                </a:r>
                <a:r>
                  <a:rPr kumimoji="0" lang="de-DE" sz="2200" b="0" i="0" u="none" strike="noStrike" kern="100" cap="none" spc="0" normalizeH="0" baseline="0" noProof="0" dirty="0" err="1">
                    <a:ln>
                      <a:noFill/>
                    </a:ln>
                    <a:solidFill>
                      <a:prstClr val="black"/>
                    </a:solidFill>
                    <a:effectLst/>
                    <a:uLnTx/>
                    <a:uFillTx/>
                    <a:latin typeface="+mn-lt"/>
                    <a:ea typeface="Calibri" panose="020F0502020204030204" pitchFamily="34" charset="0"/>
                    <a:cs typeface="Arial" panose="020B0604020202020204" pitchFamily="34" charset="0"/>
                  </a:rPr>
                  <a:t>the</a:t>
                </a:r>
                <a:r>
                  <a:rPr kumimoji="0" lang="de-DE" sz="2200" b="0" i="0" u="none" strike="noStrike" kern="100" cap="none" spc="0" normalizeH="0" baseline="0" noProof="0" dirty="0">
                    <a:ln>
                      <a:noFill/>
                    </a:ln>
                    <a:solidFill>
                      <a:prstClr val="black"/>
                    </a:solidFill>
                    <a:effectLst/>
                    <a:uLnTx/>
                    <a:uFillTx/>
                    <a:latin typeface="+mn-lt"/>
                    <a:ea typeface="Calibri" panose="020F0502020204030204" pitchFamily="34" charset="0"/>
                    <a:cs typeface="Arial" panose="020B0604020202020204" pitchFamily="34" charset="0"/>
                  </a:rPr>
                  <a:t> </a:t>
                </a:r>
                <a:r>
                  <a:rPr lang="de-DE" sz="2200" kern="100" noProof="0" dirty="0">
                    <a:solidFill>
                      <a:srgbClr val="0000FF"/>
                    </a:solidFill>
                    <a:latin typeface="+mn-lt"/>
                    <a:ea typeface="Calibri" panose="020F0502020204030204" pitchFamily="34" charset="0"/>
                    <a:cs typeface="Arial" panose="020B0604020202020204" pitchFamily="34" charset="0"/>
                  </a:rPr>
                  <a:t>I</a:t>
                </a:r>
                <a:r>
                  <a:rPr kumimoji="0" lang="de-DE" sz="2200" i="0" u="none" strike="noStrike" kern="100" cap="none" spc="0" normalizeH="0" baseline="0" noProof="0" dirty="0">
                    <a:ln>
                      <a:noFill/>
                    </a:ln>
                    <a:solidFill>
                      <a:srgbClr val="0000FF"/>
                    </a:solidFill>
                    <a:effectLst/>
                    <a:uLnTx/>
                    <a:uFillTx/>
                    <a:latin typeface="+mn-lt"/>
                    <a:ea typeface="Calibri" panose="020F0502020204030204" pitchFamily="34" charset="0"/>
                    <a:cs typeface="Arial" panose="020B0604020202020204" pitchFamily="34" charset="0"/>
                  </a:rPr>
                  <a:t>mpeller </a:t>
                </a:r>
                <a:r>
                  <a:rPr kumimoji="0" lang="de-DE" sz="2200" i="0" u="none" strike="noStrike" kern="100" cap="none" spc="0" normalizeH="0" baseline="0" noProof="0" dirty="0" err="1">
                    <a:ln>
                      <a:noFill/>
                    </a:ln>
                    <a:solidFill>
                      <a:srgbClr val="0000FF"/>
                    </a:solidFill>
                    <a:effectLst/>
                    <a:uLnTx/>
                    <a:uFillTx/>
                    <a:latin typeface="+mn-lt"/>
                    <a:ea typeface="Calibri" panose="020F0502020204030204" pitchFamily="34" charset="0"/>
                    <a:cs typeface="Arial" panose="020B0604020202020204" pitchFamily="34" charset="0"/>
                  </a:rPr>
                  <a:t>diameter</a:t>
                </a:r>
                <a:r>
                  <a:rPr kumimoji="0" lang="de-DE" sz="2200" i="0" u="none" strike="noStrike" kern="100" cap="none" spc="0" normalizeH="0" baseline="0" noProof="0" dirty="0">
                    <a:ln>
                      <a:noFill/>
                    </a:ln>
                    <a:solidFill>
                      <a:srgbClr val="0000FF"/>
                    </a:solidFill>
                    <a:effectLst/>
                    <a:uLnTx/>
                    <a:uFillTx/>
                    <a:latin typeface="+mn-lt"/>
                    <a:ea typeface="Calibri" panose="020F0502020204030204" pitchFamily="34" charset="0"/>
                    <a:cs typeface="Arial" panose="020B0604020202020204" pitchFamily="34" charset="0"/>
                  </a:rPr>
                  <a:t> D </a:t>
                </a:r>
                <a:r>
                  <a:rPr kumimoji="0" lang="de-DE" sz="2200" b="0" i="0" u="none" strike="noStrike" kern="100" cap="none" spc="0" normalizeH="0" baseline="0" noProof="0" dirty="0">
                    <a:ln>
                      <a:noFill/>
                    </a:ln>
                    <a:effectLst/>
                    <a:uLnTx/>
                    <a:uFillTx/>
                    <a:latin typeface="+mn-lt"/>
                    <a:ea typeface="Calibri" panose="020F0502020204030204" pitchFamily="34" charset="0"/>
                    <a:cs typeface="Arial" panose="020B0604020202020204" pitchFamily="34" charset="0"/>
                  </a:rPr>
                  <a:t>(0,45 m), </a:t>
                </a:r>
                <a:r>
                  <a:rPr kumimoji="0" lang="de-DE" sz="2200" b="0" i="0" u="none" strike="noStrike" kern="100" cap="none" spc="0" normalizeH="0" baseline="0" noProof="0" dirty="0" err="1">
                    <a:ln>
                      <a:noFill/>
                    </a:ln>
                    <a:solidFill>
                      <a:prstClr val="black"/>
                    </a:solidFill>
                    <a:effectLst/>
                    <a:uLnTx/>
                    <a:uFillTx/>
                    <a:latin typeface="+mn-lt"/>
                    <a:ea typeface="Calibri" panose="020F0502020204030204" pitchFamily="34" charset="0"/>
                    <a:cs typeface="Arial" panose="020B0604020202020204" pitchFamily="34" charset="0"/>
                  </a:rPr>
                  <a:t>the</a:t>
                </a:r>
                <a:r>
                  <a:rPr kumimoji="0" lang="de-DE" sz="2200" b="0" i="0" u="none" strike="noStrike" kern="100" cap="none" spc="0" normalizeH="0" baseline="0" noProof="0" dirty="0">
                    <a:ln>
                      <a:noFill/>
                    </a:ln>
                    <a:solidFill>
                      <a:prstClr val="black"/>
                    </a:solidFill>
                    <a:effectLst/>
                    <a:uLnTx/>
                    <a:uFillTx/>
                    <a:latin typeface="+mn-lt"/>
                    <a:ea typeface="Calibri" panose="020F0502020204030204" pitchFamily="34" charset="0"/>
                    <a:cs typeface="Arial" panose="020B0604020202020204" pitchFamily="34" charset="0"/>
                  </a:rPr>
                  <a:t> </a:t>
                </a:r>
                <a:r>
                  <a:rPr kumimoji="0" lang="de-DE" sz="2200" i="0" u="none" strike="noStrike" kern="100" cap="none" spc="0" normalizeH="0" baseline="0" noProof="0" dirty="0" err="1">
                    <a:ln>
                      <a:noFill/>
                    </a:ln>
                    <a:solidFill>
                      <a:srgbClr val="0000FF"/>
                    </a:solidFill>
                    <a:effectLst/>
                    <a:uLnTx/>
                    <a:uFillTx/>
                    <a:latin typeface="+mn-lt"/>
                    <a:ea typeface="Calibri" panose="020F0502020204030204" pitchFamily="34" charset="0"/>
                    <a:cs typeface="Arial" panose="020B0604020202020204" pitchFamily="34" charset="0"/>
                  </a:rPr>
                  <a:t>width</a:t>
                </a:r>
                <a:r>
                  <a:rPr kumimoji="0" lang="de-DE" sz="2200" i="0" u="none" strike="noStrike" kern="100" cap="none" spc="0" normalizeH="0" baseline="0" noProof="0" dirty="0">
                    <a:ln>
                      <a:noFill/>
                    </a:ln>
                    <a:solidFill>
                      <a:srgbClr val="0000FF"/>
                    </a:solidFill>
                    <a:effectLst/>
                    <a:uLnTx/>
                    <a:uFillTx/>
                    <a:latin typeface="+mn-lt"/>
                    <a:ea typeface="Calibri" panose="020F0502020204030204" pitchFamily="34" charset="0"/>
                    <a:cs typeface="Arial" panose="020B0604020202020204" pitchFamily="34" charset="0"/>
                  </a:rPr>
                  <a:t> B </a:t>
                </a:r>
                <a:r>
                  <a:rPr kumimoji="0" lang="de-DE" sz="2200" b="0" i="0" u="none" strike="noStrike" kern="100" cap="none" spc="0" normalizeH="0" baseline="0" noProof="0" dirty="0">
                    <a:ln>
                      <a:noFill/>
                    </a:ln>
                    <a:effectLst/>
                    <a:uLnTx/>
                    <a:uFillTx/>
                    <a:latin typeface="+mn-lt"/>
                    <a:ea typeface="Calibri" panose="020F0502020204030204" pitchFamily="34" charset="0"/>
                    <a:cs typeface="Arial" panose="020B0604020202020204" pitchFamily="34" charset="0"/>
                  </a:rPr>
                  <a:t>(0,085 m) </a:t>
                </a:r>
                <a:r>
                  <a:rPr kumimoji="0" lang="de-DE" sz="2200" i="0" u="none" strike="noStrike" kern="100" cap="none" spc="0" normalizeH="0" baseline="0" noProof="0" dirty="0">
                    <a:ln>
                      <a:noFill/>
                    </a:ln>
                    <a:solidFill>
                      <a:srgbClr val="0000FF"/>
                    </a:solidFill>
                    <a:effectLst/>
                    <a:uLnTx/>
                    <a:uFillTx/>
                    <a:latin typeface="+mn-lt"/>
                    <a:ea typeface="Calibri" panose="020F0502020204030204" pitchFamily="34" charset="0"/>
                    <a:cs typeface="Arial" panose="020B0604020202020204" pitchFamily="34" charset="0"/>
                  </a:rPr>
                  <a:t>at </a:t>
                </a:r>
                <a:r>
                  <a:rPr kumimoji="0" lang="de-DE" sz="2200" i="0" u="none" strike="noStrike" kern="100" cap="none" spc="0" normalizeH="0" baseline="0" noProof="0" dirty="0" err="1">
                    <a:ln>
                      <a:noFill/>
                    </a:ln>
                    <a:solidFill>
                      <a:srgbClr val="0000FF"/>
                    </a:solidFill>
                    <a:effectLst/>
                    <a:uLnTx/>
                    <a:uFillTx/>
                    <a:latin typeface="+mn-lt"/>
                    <a:ea typeface="Calibri" panose="020F0502020204030204" pitchFamily="34" charset="0"/>
                    <a:cs typeface="Arial" panose="020B0604020202020204" pitchFamily="34" charset="0"/>
                  </a:rPr>
                  <a:t>the</a:t>
                </a:r>
                <a:r>
                  <a:rPr kumimoji="0" lang="de-DE" sz="2200" i="0" u="none" strike="noStrike" kern="100" cap="none" spc="0" normalizeH="0" baseline="0" noProof="0" dirty="0">
                    <a:ln>
                      <a:noFill/>
                    </a:ln>
                    <a:solidFill>
                      <a:srgbClr val="0000FF"/>
                    </a:solidFill>
                    <a:effectLst/>
                    <a:uLnTx/>
                    <a:uFillTx/>
                    <a:latin typeface="+mn-lt"/>
                    <a:ea typeface="Calibri" panose="020F0502020204030204" pitchFamily="34" charset="0"/>
                    <a:cs typeface="Arial" panose="020B0604020202020204" pitchFamily="34" charset="0"/>
                  </a:rPr>
                  <a:t> </a:t>
                </a:r>
                <a:r>
                  <a:rPr kumimoji="0" lang="de-DE" sz="2200" i="0" u="none" strike="noStrike" kern="100" cap="none" spc="0" normalizeH="0" baseline="0" noProof="0" dirty="0" err="1">
                    <a:ln>
                      <a:noFill/>
                    </a:ln>
                    <a:solidFill>
                      <a:srgbClr val="0000FF"/>
                    </a:solidFill>
                    <a:effectLst/>
                    <a:uLnTx/>
                    <a:uFillTx/>
                    <a:latin typeface="+mn-lt"/>
                    <a:ea typeface="Calibri" panose="020F0502020204030204" pitchFamily="34" charset="0"/>
                    <a:cs typeface="Arial" panose="020B0604020202020204" pitchFamily="34" charset="0"/>
                  </a:rPr>
                  <a:t>impeller</a:t>
                </a:r>
                <a:r>
                  <a:rPr kumimoji="0" lang="de-DE" sz="2200" i="0" u="none" strike="noStrike" kern="100" cap="none" spc="0" normalizeH="0" baseline="0" noProof="0" dirty="0">
                    <a:ln>
                      <a:noFill/>
                    </a:ln>
                    <a:solidFill>
                      <a:srgbClr val="0000FF"/>
                    </a:solidFill>
                    <a:effectLst/>
                    <a:uLnTx/>
                    <a:uFillTx/>
                    <a:latin typeface="+mn-lt"/>
                    <a:ea typeface="Calibri" panose="020F0502020204030204" pitchFamily="34" charset="0"/>
                    <a:cs typeface="Arial" panose="020B0604020202020204" pitchFamily="34" charset="0"/>
                  </a:rPr>
                  <a:t> </a:t>
                </a:r>
                <a:r>
                  <a:rPr kumimoji="0" lang="de-DE" sz="2200" i="0" u="none" strike="noStrike" kern="100" cap="none" spc="0" normalizeH="0" baseline="0" noProof="0" dirty="0" err="1">
                    <a:ln>
                      <a:noFill/>
                    </a:ln>
                    <a:solidFill>
                      <a:srgbClr val="0000FF"/>
                    </a:solidFill>
                    <a:effectLst/>
                    <a:uLnTx/>
                    <a:uFillTx/>
                    <a:latin typeface="+mn-lt"/>
                    <a:ea typeface="Calibri" panose="020F0502020204030204" pitchFamily="34" charset="0"/>
                    <a:cs typeface="Arial" panose="020B0604020202020204" pitchFamily="34" charset="0"/>
                  </a:rPr>
                  <a:t>outlet</a:t>
                </a:r>
                <a:r>
                  <a:rPr kumimoji="0" lang="de-DE" sz="2200" b="0" i="0" u="none" strike="noStrike" kern="100" cap="none" spc="0" normalizeH="0" baseline="0" noProof="0" dirty="0">
                    <a:ln>
                      <a:noFill/>
                    </a:ln>
                    <a:solidFill>
                      <a:prstClr val="black"/>
                    </a:solidFill>
                    <a:effectLst/>
                    <a:uLnTx/>
                    <a:uFillTx/>
                    <a:latin typeface="+mn-lt"/>
                    <a:ea typeface="Calibri" panose="020F0502020204030204" pitchFamily="34" charset="0"/>
                    <a:cs typeface="Arial" panose="020B0604020202020204" pitchFamily="34" charset="0"/>
                  </a:rPr>
                  <a:t> and a </a:t>
                </a:r>
                <a:r>
                  <a:rPr kumimoji="0" lang="de-DE" sz="2200" i="0" u="none" strike="noStrike" kern="100" cap="none" spc="0" normalizeH="0" baseline="0" noProof="0" dirty="0" err="1">
                    <a:ln>
                      <a:noFill/>
                    </a:ln>
                    <a:solidFill>
                      <a:srgbClr val="0000FF"/>
                    </a:solidFill>
                    <a:effectLst/>
                    <a:uLnTx/>
                    <a:uFillTx/>
                    <a:latin typeface="+mn-lt"/>
                    <a:ea typeface="Calibri" panose="020F0502020204030204" pitchFamily="34" charset="0"/>
                    <a:cs typeface="Arial" panose="020B0604020202020204" pitchFamily="34" charset="0"/>
                  </a:rPr>
                  <a:t>normalized</a:t>
                </a:r>
                <a:r>
                  <a:rPr kumimoji="0" lang="de-DE" sz="2200" i="0" u="none" strike="noStrike" kern="100" cap="none" spc="0" normalizeH="0" baseline="0" noProof="0" dirty="0">
                    <a:ln>
                      <a:noFill/>
                    </a:ln>
                    <a:solidFill>
                      <a:srgbClr val="0000FF"/>
                    </a:solidFill>
                    <a:effectLst/>
                    <a:uLnTx/>
                    <a:uFillTx/>
                    <a:latin typeface="+mn-lt"/>
                    <a:ea typeface="Calibri" panose="020F0502020204030204" pitchFamily="34" charset="0"/>
                    <a:cs typeface="Arial" panose="020B0604020202020204" pitchFamily="34" charset="0"/>
                  </a:rPr>
                  <a:t> </a:t>
                </a:r>
                <a:r>
                  <a:rPr lang="de-DE" sz="2200" kern="100" dirty="0">
                    <a:solidFill>
                      <a:srgbClr val="0000FF"/>
                    </a:solidFill>
                    <a:latin typeface="+mn-lt"/>
                    <a:ea typeface="Calibri" panose="020F0502020204030204" pitchFamily="34" charset="0"/>
                    <a:cs typeface="Arial" panose="020B0604020202020204" pitchFamily="34" charset="0"/>
                  </a:rPr>
                  <a:t>F</a:t>
                </a:r>
                <a:r>
                  <a:rPr kumimoji="0" lang="de-DE" sz="2200" i="0" u="none" strike="noStrike" kern="100" cap="none" spc="0" normalizeH="0" baseline="0" noProof="0" dirty="0" err="1">
                    <a:ln>
                      <a:noFill/>
                    </a:ln>
                    <a:solidFill>
                      <a:srgbClr val="0000FF"/>
                    </a:solidFill>
                    <a:effectLst/>
                    <a:uLnTx/>
                    <a:uFillTx/>
                    <a:latin typeface="+mn-lt"/>
                    <a:ea typeface="Calibri" panose="020F0502020204030204" pitchFamily="34" charset="0"/>
                    <a:cs typeface="Arial" panose="020B0604020202020204" pitchFamily="34" charset="0"/>
                  </a:rPr>
                  <a:t>orce</a:t>
                </a:r>
                <a:r>
                  <a:rPr kumimoji="0" lang="de-DE" sz="2200" i="0" u="none" strike="noStrike" kern="100" cap="none" spc="0" normalizeH="0" baseline="0" noProof="0" dirty="0">
                    <a:ln>
                      <a:noFill/>
                    </a:ln>
                    <a:solidFill>
                      <a:srgbClr val="0000FF"/>
                    </a:solidFill>
                    <a:effectLst/>
                    <a:uLnTx/>
                    <a:uFillTx/>
                    <a:latin typeface="+mn-lt"/>
                    <a:ea typeface="Calibri" panose="020F0502020204030204" pitchFamily="34" charset="0"/>
                    <a:cs typeface="Arial" panose="020B0604020202020204" pitchFamily="34" charset="0"/>
                  </a:rPr>
                  <a:t> </a:t>
                </a:r>
                <a:r>
                  <a:rPr lang="de-DE" sz="2200" kern="100" dirty="0">
                    <a:solidFill>
                      <a:srgbClr val="0000FF"/>
                    </a:solidFill>
                    <a:latin typeface="+mn-lt"/>
                    <a:ea typeface="Calibri" panose="020F0502020204030204" pitchFamily="34" charset="0"/>
                    <a:cs typeface="Arial" panose="020B0604020202020204" pitchFamily="34" charset="0"/>
                  </a:rPr>
                  <a:t>C</a:t>
                </a:r>
                <a:r>
                  <a:rPr kumimoji="0" lang="de-DE" sz="2200" i="0" u="none" strike="noStrike" kern="100" cap="none" spc="0" normalizeH="0" baseline="0" noProof="0" dirty="0" err="1">
                    <a:ln>
                      <a:noFill/>
                    </a:ln>
                    <a:solidFill>
                      <a:srgbClr val="0000FF"/>
                    </a:solidFill>
                    <a:effectLst/>
                    <a:uLnTx/>
                    <a:uFillTx/>
                    <a:latin typeface="+mn-lt"/>
                    <a:ea typeface="Calibri" panose="020F0502020204030204" pitchFamily="34" charset="0"/>
                    <a:cs typeface="Arial" panose="020B0604020202020204" pitchFamily="34" charset="0"/>
                  </a:rPr>
                  <a:t>oefficient</a:t>
                </a:r>
                <a:r>
                  <a:rPr kumimoji="0" lang="de-DE" sz="2200" i="0" u="none" strike="noStrike" kern="100" cap="none" spc="0" normalizeH="0" baseline="0" noProof="0" dirty="0">
                    <a:ln>
                      <a:noFill/>
                    </a:ln>
                    <a:solidFill>
                      <a:srgbClr val="0000FF"/>
                    </a:solidFill>
                    <a:effectLst/>
                    <a:uLnTx/>
                    <a:uFillTx/>
                    <a:latin typeface="+mn-lt"/>
                    <a:ea typeface="Calibri" panose="020F0502020204030204" pitchFamily="34" charset="0"/>
                    <a:cs typeface="Arial" panose="020B0604020202020204" pitchFamily="34" charset="0"/>
                  </a:rPr>
                  <a:t> </a:t>
                </a:r>
                <a:r>
                  <a:rPr kumimoji="0" lang="de-DE" sz="2200" i="0" u="none" strike="noStrike" kern="100" cap="none" spc="0" normalizeH="0" baseline="0" noProof="0" dirty="0" err="1">
                    <a:ln>
                      <a:noFill/>
                    </a:ln>
                    <a:solidFill>
                      <a:srgbClr val="0000FF"/>
                    </a:solidFill>
                    <a:effectLst/>
                    <a:uLnTx/>
                    <a:uFillTx/>
                    <a:latin typeface="+mn-lt"/>
                    <a:ea typeface="Calibri" panose="020F0502020204030204" pitchFamily="34" charset="0"/>
                    <a:cs typeface="Arial" panose="020B0604020202020204" pitchFamily="34" charset="0"/>
                  </a:rPr>
                  <a:t>k</a:t>
                </a:r>
                <a:r>
                  <a:rPr kumimoji="0" lang="de-DE" sz="2200" i="0" u="none" strike="noStrike" kern="100" cap="none" spc="0" normalizeH="0" baseline="-25000" noProof="0" dirty="0" err="1">
                    <a:ln>
                      <a:noFill/>
                    </a:ln>
                    <a:solidFill>
                      <a:srgbClr val="0000FF"/>
                    </a:solidFill>
                    <a:effectLst/>
                    <a:uLnTx/>
                    <a:uFillTx/>
                    <a:latin typeface="+mn-lt"/>
                    <a:ea typeface="Calibri" panose="020F0502020204030204" pitchFamily="34" charset="0"/>
                    <a:cs typeface="Arial" panose="020B0604020202020204" pitchFamily="34" charset="0"/>
                  </a:rPr>
                  <a:t>H</a:t>
                </a:r>
                <a:r>
                  <a:rPr kumimoji="0" lang="de-DE" sz="2200" i="0" u="none" strike="noStrike" kern="100" cap="none" spc="0" normalizeH="0" baseline="0" noProof="0" dirty="0">
                    <a:ln>
                      <a:noFill/>
                    </a:ln>
                    <a:solidFill>
                      <a:srgbClr val="0000FF"/>
                    </a:solidFill>
                    <a:effectLst/>
                    <a:uLnTx/>
                    <a:uFillTx/>
                    <a:latin typeface="+mn-lt"/>
                    <a:ea typeface="Calibri" panose="020F0502020204030204" pitchFamily="34" charset="0"/>
                    <a:cs typeface="Arial" panose="020B0604020202020204" pitchFamily="34" charset="0"/>
                  </a:rPr>
                  <a:t> </a:t>
                </a:r>
                <a:r>
                  <a:rPr kumimoji="0" lang="de-DE" sz="2200" b="0" i="0" u="none" strike="noStrike" kern="100" cap="none" spc="0" normalizeH="0" baseline="0" noProof="0" dirty="0" err="1">
                    <a:ln>
                      <a:noFill/>
                    </a:ln>
                    <a:solidFill>
                      <a:prstClr val="black"/>
                    </a:solidFill>
                    <a:effectLst/>
                    <a:uLnTx/>
                    <a:uFillTx/>
                    <a:latin typeface="+mn-lt"/>
                    <a:ea typeface="Calibri" panose="020F0502020204030204" pitchFamily="34" charset="0"/>
                    <a:cs typeface="Arial" panose="020B0604020202020204" pitchFamily="34" charset="0"/>
                  </a:rPr>
                  <a:t>from</a:t>
                </a:r>
                <a:r>
                  <a:rPr kumimoji="0" lang="de-DE" sz="2200" b="0" i="0" u="none" strike="noStrike" kern="100" cap="none" spc="0" normalizeH="0" baseline="0" noProof="0" dirty="0">
                    <a:ln>
                      <a:noFill/>
                    </a:ln>
                    <a:solidFill>
                      <a:prstClr val="black"/>
                    </a:solidFill>
                    <a:effectLst/>
                    <a:uLnTx/>
                    <a:uFillTx/>
                    <a:latin typeface="+mn-lt"/>
                    <a:ea typeface="Calibri" panose="020F0502020204030204" pitchFamily="34" charset="0"/>
                    <a:cs typeface="Arial" panose="020B0604020202020204" pitchFamily="34" charset="0"/>
                  </a:rPr>
                  <a:t> experimental </a:t>
                </a:r>
                <a:r>
                  <a:rPr kumimoji="0" lang="de-DE" sz="2200" b="0" i="0" u="none" strike="noStrike" kern="100" cap="none" spc="0" normalizeH="0" baseline="0" noProof="0" dirty="0" err="1">
                    <a:ln>
                      <a:noFill/>
                    </a:ln>
                    <a:solidFill>
                      <a:prstClr val="black"/>
                    </a:solidFill>
                    <a:effectLst/>
                    <a:uLnTx/>
                    <a:uFillTx/>
                    <a:latin typeface="+mn-lt"/>
                    <a:ea typeface="Calibri" panose="020F0502020204030204" pitchFamily="34" charset="0"/>
                    <a:cs typeface="Arial" panose="020B0604020202020204" pitchFamily="34" charset="0"/>
                  </a:rPr>
                  <a:t>investigations</a:t>
                </a:r>
                <a:r>
                  <a:rPr kumimoji="0" lang="de-DE" sz="2200" b="0" i="0" u="none" strike="noStrike" kern="100" cap="none" spc="0" normalizeH="0" baseline="0" noProof="0" dirty="0">
                    <a:ln>
                      <a:noFill/>
                    </a:ln>
                    <a:solidFill>
                      <a:prstClr val="black"/>
                    </a:solidFill>
                    <a:effectLst/>
                    <a:uLnTx/>
                    <a:uFillTx/>
                    <a:latin typeface="+mn-lt"/>
                    <a:ea typeface="Calibri" panose="020F0502020204030204" pitchFamily="34" charset="0"/>
                    <a:cs typeface="Arial" panose="020B0604020202020204" pitchFamily="34" charset="0"/>
                  </a:rPr>
                  <a:t> </a:t>
                </a:r>
                <a:r>
                  <a:rPr kumimoji="0" lang="de-DE" sz="2200" b="0" i="0" u="none" strike="noStrike" kern="100" cap="none" spc="0" normalizeH="0" baseline="0" noProof="0" dirty="0" err="1">
                    <a:ln>
                      <a:noFill/>
                    </a:ln>
                    <a:solidFill>
                      <a:prstClr val="black"/>
                    </a:solidFill>
                    <a:effectLst/>
                    <a:uLnTx/>
                    <a:uFillTx/>
                    <a:latin typeface="+mn-lt"/>
                    <a:ea typeface="Calibri" panose="020F0502020204030204" pitchFamily="34" charset="0"/>
                    <a:cs typeface="Arial" panose="020B0604020202020204" pitchFamily="34" charset="0"/>
                  </a:rPr>
                  <a:t>for</a:t>
                </a:r>
                <a:r>
                  <a:rPr kumimoji="0" lang="de-DE" sz="2200" b="0" i="0" u="none" strike="noStrike" kern="100" cap="none" spc="0" normalizeH="0" baseline="0" noProof="0" dirty="0">
                    <a:ln>
                      <a:noFill/>
                    </a:ln>
                    <a:solidFill>
                      <a:prstClr val="black"/>
                    </a:solidFill>
                    <a:effectLst/>
                    <a:uLnTx/>
                    <a:uFillTx/>
                    <a:latin typeface="+mn-lt"/>
                    <a:ea typeface="Calibri" panose="020F0502020204030204" pitchFamily="34" charset="0"/>
                    <a:cs typeface="Arial" panose="020B0604020202020204" pitchFamily="34" charset="0"/>
                  </a:rPr>
                  <a:t> </a:t>
                </a:r>
                <a:r>
                  <a:rPr kumimoji="0" lang="de-DE" sz="2200" b="0" i="0" u="none" strike="noStrike" kern="100" cap="none" spc="0" normalizeH="0" baseline="0" noProof="0" dirty="0" err="1">
                    <a:ln>
                      <a:noFill/>
                    </a:ln>
                    <a:solidFill>
                      <a:prstClr val="black"/>
                    </a:solidFill>
                    <a:effectLst/>
                    <a:uLnTx/>
                    <a:uFillTx/>
                    <a:latin typeface="+mn-lt"/>
                    <a:ea typeface="Calibri" panose="020F0502020204030204" pitchFamily="34" charset="0"/>
                    <a:cs typeface="Arial" panose="020B0604020202020204" pitchFamily="34" charset="0"/>
                  </a:rPr>
                  <a:t>the</a:t>
                </a:r>
                <a:r>
                  <a:rPr kumimoji="0" lang="de-DE" sz="2200" b="0" i="0" u="none" strike="noStrike" kern="100" cap="none" spc="0" normalizeH="0" baseline="0" noProof="0" dirty="0">
                    <a:ln>
                      <a:noFill/>
                    </a:ln>
                    <a:solidFill>
                      <a:prstClr val="black"/>
                    </a:solidFill>
                    <a:effectLst/>
                    <a:uLnTx/>
                    <a:uFillTx/>
                    <a:latin typeface="+mn-lt"/>
                    <a:ea typeface="Calibri" panose="020F0502020204030204" pitchFamily="34" charset="0"/>
                    <a:cs typeface="Arial" panose="020B0604020202020204" pitchFamily="34" charset="0"/>
                  </a:rPr>
                  <a:t> different </a:t>
                </a:r>
                <a:r>
                  <a:rPr kumimoji="0" lang="de-DE" sz="2200" b="0" i="0" u="none" strike="noStrike" kern="100" cap="none" spc="0" normalizeH="0" baseline="0" noProof="0" dirty="0" err="1">
                    <a:ln>
                      <a:noFill/>
                    </a:ln>
                    <a:solidFill>
                      <a:prstClr val="black"/>
                    </a:solidFill>
                    <a:effectLst/>
                    <a:uLnTx/>
                    <a:uFillTx/>
                    <a:latin typeface="+mn-lt"/>
                    <a:ea typeface="Calibri" panose="020F0502020204030204" pitchFamily="34" charset="0"/>
                    <a:cs typeface="Arial" panose="020B0604020202020204" pitchFamily="34" charset="0"/>
                  </a:rPr>
                  <a:t>cases</a:t>
                </a:r>
                <a:r>
                  <a:rPr kumimoji="0" lang="de-DE" sz="2200" b="0" i="0" u="none" strike="noStrike" kern="100" cap="none" spc="0" normalizeH="0" baseline="0" noProof="0" dirty="0">
                    <a:ln>
                      <a:noFill/>
                    </a:ln>
                    <a:solidFill>
                      <a:prstClr val="black"/>
                    </a:solidFill>
                    <a:effectLst/>
                    <a:uLnTx/>
                    <a:uFillTx/>
                    <a:latin typeface="+mn-lt"/>
                    <a:ea typeface="Calibri" panose="020F0502020204030204" pitchFamily="34" charset="0"/>
                    <a:cs typeface="Arial" panose="020B0604020202020204" pitchFamily="34" charset="0"/>
                  </a:rPr>
                  <a:t> </a:t>
                </a:r>
                <a:r>
                  <a:rPr kumimoji="0" lang="de-DE" sz="2200" b="0" i="0" u="none" strike="noStrike" kern="100" cap="none" spc="0" normalizeH="0" baseline="0" noProof="0" dirty="0" err="1">
                    <a:ln>
                      <a:noFill/>
                    </a:ln>
                    <a:solidFill>
                      <a:prstClr val="black"/>
                    </a:solidFill>
                    <a:effectLst/>
                    <a:uLnTx/>
                    <a:uFillTx/>
                    <a:latin typeface="+mn-lt"/>
                    <a:ea typeface="Calibri" panose="020F0502020204030204" pitchFamily="34" charset="0"/>
                    <a:cs typeface="Arial" panose="020B0604020202020204" pitchFamily="34" charset="0"/>
                  </a:rPr>
                  <a:t>of</a:t>
                </a:r>
                <a:r>
                  <a:rPr kumimoji="0" lang="de-DE" sz="2200" b="0" i="0" u="none" strike="noStrike" kern="100" cap="none" spc="0" normalizeH="0" baseline="0" noProof="0" dirty="0">
                    <a:ln>
                      <a:noFill/>
                    </a:ln>
                    <a:solidFill>
                      <a:prstClr val="black"/>
                    </a:solidFill>
                    <a:effectLst/>
                    <a:uLnTx/>
                    <a:uFillTx/>
                    <a:latin typeface="+mn-lt"/>
                    <a:ea typeface="Calibri" panose="020F0502020204030204" pitchFamily="34" charset="0"/>
                    <a:cs typeface="Arial" panose="020B0604020202020204" pitchFamily="34" charset="0"/>
                  </a:rPr>
                  <a:t> </a:t>
                </a:r>
                <a:r>
                  <a:rPr kumimoji="0" lang="de-DE" sz="2200" b="0" i="0" u="none" strike="noStrike" kern="100" cap="none" spc="0" normalizeH="0" baseline="0" noProof="0" dirty="0" err="1">
                    <a:ln>
                      <a:noFill/>
                    </a:ln>
                    <a:solidFill>
                      <a:prstClr val="black"/>
                    </a:solidFill>
                    <a:effectLst/>
                    <a:uLnTx/>
                    <a:uFillTx/>
                    <a:latin typeface="+mn-lt"/>
                    <a:ea typeface="Calibri" panose="020F0502020204030204" pitchFamily="34" charset="0"/>
                    <a:cs typeface="Arial" panose="020B0604020202020204" pitchFamily="34" charset="0"/>
                  </a:rPr>
                  <a:t>Hydraulic</a:t>
                </a:r>
                <a:r>
                  <a:rPr kumimoji="0" lang="de-DE" sz="2200" b="0" i="0" u="none" strike="noStrike" kern="100" cap="none" spc="0" normalizeH="0" baseline="0" noProof="0" dirty="0">
                    <a:ln>
                      <a:noFill/>
                    </a:ln>
                    <a:solidFill>
                      <a:prstClr val="black"/>
                    </a:solidFill>
                    <a:effectLst/>
                    <a:uLnTx/>
                    <a:uFillTx/>
                    <a:latin typeface="+mn-lt"/>
                    <a:ea typeface="Calibri" panose="020F0502020204030204" pitchFamily="34" charset="0"/>
                    <a:cs typeface="Arial" panose="020B0604020202020204" pitchFamily="34" charset="0"/>
                  </a:rPr>
                  <a:t> </a:t>
                </a:r>
                <a:r>
                  <a:rPr kumimoji="0" lang="de-DE" sz="2200" b="0" i="0" u="none" strike="noStrike" kern="100" cap="none" spc="0" normalizeH="0" baseline="0" noProof="0" dirty="0" err="1">
                    <a:ln>
                      <a:noFill/>
                    </a:ln>
                    <a:solidFill>
                      <a:prstClr val="black"/>
                    </a:solidFill>
                    <a:effectLst/>
                    <a:uLnTx/>
                    <a:uFillTx/>
                    <a:latin typeface="+mn-lt"/>
                    <a:ea typeface="Calibri" panose="020F0502020204030204" pitchFamily="34" charset="0"/>
                    <a:cs typeface="Arial" panose="020B0604020202020204" pitchFamily="34" charset="0"/>
                  </a:rPr>
                  <a:t>Excitation</a:t>
                </a:r>
                <a:r>
                  <a:rPr kumimoji="0" lang="de-DE" sz="2200" b="0" i="0" u="none" strike="noStrike" kern="100" cap="none" spc="0" normalizeH="0" baseline="0" noProof="0" dirty="0">
                    <a:ln>
                      <a:noFill/>
                    </a:ln>
                    <a:solidFill>
                      <a:prstClr val="black"/>
                    </a:solidFill>
                    <a:effectLst/>
                    <a:uLnTx/>
                    <a:uFillTx/>
                    <a:latin typeface="+mn-lt"/>
                    <a:ea typeface="Calibri" panose="020F0502020204030204" pitchFamily="34" charset="0"/>
                    <a:cs typeface="Arial" panose="020B0604020202020204" pitchFamily="34" charset="0"/>
                  </a:rPr>
                  <a:t> Forces.</a:t>
                </a:r>
              </a:p>
              <a:p>
                <a:pPr marL="0" marR="0" lvl="0" indent="0" algn="l" defTabSz="914400" rtl="0" eaLnBrk="1" fontAlgn="auto" latinLnBrk="0" hangingPunct="1">
                  <a:lnSpc>
                    <a:spcPct val="107000"/>
                  </a:lnSpc>
                  <a:spcBef>
                    <a:spcPts val="0"/>
                  </a:spcBef>
                  <a:spcAft>
                    <a:spcPts val="800"/>
                  </a:spcAft>
                  <a:buClrTx/>
                  <a:buSzTx/>
                  <a:buFontTx/>
                  <a:buNone/>
                  <a:tabLst/>
                  <a:defRPr/>
                </a:pPr>
                <a:r>
                  <a:rPr lang="de-DE" sz="2200" b="0" kern="100" dirty="0">
                    <a:solidFill>
                      <a:prstClr val="black"/>
                    </a:solidFill>
                    <a:latin typeface="+mn-lt"/>
                    <a:ea typeface="Calibri" panose="020F0502020204030204" pitchFamily="34" charset="0"/>
                    <a:cs typeface="Arial" panose="020B0604020202020204" pitchFamily="34" charset="0"/>
                  </a:rPr>
                  <a:t>The </a:t>
                </a:r>
                <a:r>
                  <a:rPr lang="de-DE" sz="2200" b="0" kern="100" dirty="0" err="1">
                    <a:solidFill>
                      <a:prstClr val="black"/>
                    </a:solidFill>
                    <a:latin typeface="+mn-lt"/>
                    <a:ea typeface="Calibri" panose="020F0502020204030204" pitchFamily="34" charset="0"/>
                    <a:cs typeface="Arial" panose="020B0604020202020204" pitchFamily="34" charset="0"/>
                  </a:rPr>
                  <a:t>formula</a:t>
                </a:r>
                <a:r>
                  <a:rPr lang="de-DE" sz="2200" b="0" kern="100" dirty="0">
                    <a:solidFill>
                      <a:prstClr val="black"/>
                    </a:solidFill>
                    <a:latin typeface="+mn-lt"/>
                    <a:ea typeface="Calibri" panose="020F0502020204030204" pitchFamily="34" charset="0"/>
                    <a:cs typeface="Arial" panose="020B0604020202020204" pitchFamily="34" charset="0"/>
                  </a:rPr>
                  <a:t> </a:t>
                </a:r>
                <a:r>
                  <a:rPr lang="de-DE" sz="2200" b="0" kern="100" dirty="0" err="1">
                    <a:solidFill>
                      <a:prstClr val="black"/>
                    </a:solidFill>
                    <a:latin typeface="+mn-lt"/>
                    <a:ea typeface="Calibri" panose="020F0502020204030204" pitchFamily="34" charset="0"/>
                    <a:cs typeface="Arial" panose="020B0604020202020204" pitchFamily="34" charset="0"/>
                  </a:rPr>
                  <a:t>is</a:t>
                </a:r>
                <a:r>
                  <a:rPr lang="de-DE" sz="2200" b="0" kern="100" dirty="0">
                    <a:solidFill>
                      <a:prstClr val="black"/>
                    </a:solidFill>
                    <a:latin typeface="+mn-lt"/>
                    <a:ea typeface="Calibri" panose="020F0502020204030204" pitchFamily="34" charset="0"/>
                    <a:cs typeface="Arial" panose="020B0604020202020204" pitchFamily="34" charset="0"/>
                  </a:rPr>
                  <a:t> </a:t>
                </a:r>
                <a:r>
                  <a:rPr lang="de-DE" sz="2200" b="0" kern="100" dirty="0" err="1">
                    <a:solidFill>
                      <a:prstClr val="black"/>
                    </a:solidFill>
                    <a:latin typeface="+mn-lt"/>
                    <a:ea typeface="Calibri" panose="020F0502020204030204" pitchFamily="34" charset="0"/>
                    <a:cs typeface="Arial" panose="020B0604020202020204" pitchFamily="34" charset="0"/>
                  </a:rPr>
                  <a:t>shown</a:t>
                </a:r>
                <a:r>
                  <a:rPr lang="de-DE" sz="2200" b="0" kern="100" dirty="0">
                    <a:solidFill>
                      <a:prstClr val="black"/>
                    </a:solidFill>
                    <a:latin typeface="+mn-lt"/>
                    <a:ea typeface="Calibri" panose="020F0502020204030204" pitchFamily="34" charset="0"/>
                    <a:cs typeface="Arial" panose="020B0604020202020204" pitchFamily="34" charset="0"/>
                  </a:rPr>
                  <a:t> in </a:t>
                </a:r>
                <a:r>
                  <a:rPr lang="de-DE" sz="2200" b="0" kern="100" dirty="0" err="1">
                    <a:solidFill>
                      <a:prstClr val="black"/>
                    </a:solidFill>
                    <a:latin typeface="+mn-lt"/>
                    <a:ea typeface="Calibri" panose="020F0502020204030204" pitchFamily="34" charset="0"/>
                    <a:cs typeface="Arial" panose="020B0604020202020204" pitchFamily="34" charset="0"/>
                  </a:rPr>
                  <a:t>the</a:t>
                </a:r>
                <a:r>
                  <a:rPr lang="de-DE" sz="2200" b="0" kern="100" dirty="0">
                    <a:solidFill>
                      <a:prstClr val="black"/>
                    </a:solidFill>
                    <a:latin typeface="+mn-lt"/>
                    <a:ea typeface="Calibri" panose="020F0502020204030204" pitchFamily="34" charset="0"/>
                    <a:cs typeface="Arial" panose="020B0604020202020204" pitchFamily="34" charset="0"/>
                  </a:rPr>
                  <a:t> </a:t>
                </a:r>
                <a:r>
                  <a:rPr lang="de-DE" sz="2200" b="0" kern="100" dirty="0" err="1">
                    <a:solidFill>
                      <a:prstClr val="black"/>
                    </a:solidFill>
                    <a:latin typeface="+mn-lt"/>
                    <a:ea typeface="Calibri" panose="020F0502020204030204" pitchFamily="34" charset="0"/>
                    <a:cs typeface="Arial" panose="020B0604020202020204" pitchFamily="34" charset="0"/>
                  </a:rPr>
                  <a:t>next</a:t>
                </a:r>
                <a:r>
                  <a:rPr lang="de-DE" sz="2200" b="0" kern="100" dirty="0">
                    <a:solidFill>
                      <a:prstClr val="black"/>
                    </a:solidFill>
                    <a:latin typeface="+mn-lt"/>
                    <a:ea typeface="Calibri" panose="020F0502020204030204" pitchFamily="34" charset="0"/>
                    <a:cs typeface="Arial" panose="020B0604020202020204" pitchFamily="34" charset="0"/>
                  </a:rPr>
                  <a:t> </a:t>
                </a:r>
                <a:r>
                  <a:rPr lang="de-DE" sz="2200" b="0" kern="100" dirty="0" err="1">
                    <a:solidFill>
                      <a:prstClr val="black"/>
                    </a:solidFill>
                    <a:latin typeface="+mn-lt"/>
                    <a:ea typeface="Calibri" panose="020F0502020204030204" pitchFamily="34" charset="0"/>
                    <a:cs typeface="Arial" panose="020B0604020202020204" pitchFamily="34" charset="0"/>
                  </a:rPr>
                  <a:t>slide</a:t>
                </a:r>
                <a:r>
                  <a:rPr lang="de-DE" sz="2200" b="0" kern="100" dirty="0">
                    <a:solidFill>
                      <a:prstClr val="black"/>
                    </a:solidFill>
                    <a:latin typeface="+mn-lt"/>
                    <a:ea typeface="Calibri" panose="020F0502020204030204" pitchFamily="34" charset="0"/>
                    <a:cs typeface="Arial" panose="020B0604020202020204" pitchFamily="34" charset="0"/>
                  </a:rPr>
                  <a:t>.</a:t>
                </a:r>
              </a:p>
              <a:p>
                <a:pPr marL="0" marR="0" lvl="0" indent="0" algn="l" defTabSz="914400" rtl="0" eaLnBrk="1" fontAlgn="auto" latinLnBrk="0" hangingPunct="1">
                  <a:lnSpc>
                    <a:spcPct val="107000"/>
                  </a:lnSpc>
                  <a:spcBef>
                    <a:spcPts val="0"/>
                  </a:spcBef>
                  <a:spcAft>
                    <a:spcPts val="800"/>
                  </a:spcAft>
                  <a:buClrTx/>
                  <a:buSzTx/>
                  <a:buFontTx/>
                  <a:buNone/>
                  <a:tabLst/>
                  <a:defRPr/>
                </a:pPr>
                <a:r>
                  <a:rPr lang="de-DE" sz="2200" b="0" kern="100" dirty="0" err="1">
                    <a:solidFill>
                      <a:prstClr val="black"/>
                    </a:solidFill>
                    <a:latin typeface="+mn-lt"/>
                    <a:ea typeface="Calibri" panose="020F0502020204030204" pitchFamily="34" charset="0"/>
                    <a:cs typeface="Arial" panose="020B0604020202020204" pitchFamily="34" charset="0"/>
                  </a:rPr>
                  <a:t>For</a:t>
                </a:r>
                <a:r>
                  <a:rPr lang="de-DE" sz="2200" b="0" kern="100" dirty="0">
                    <a:solidFill>
                      <a:prstClr val="black"/>
                    </a:solidFill>
                    <a:latin typeface="+mn-lt"/>
                    <a:ea typeface="Calibri" panose="020F0502020204030204" pitchFamily="34" charset="0"/>
                    <a:cs typeface="Arial" panose="020B0604020202020204" pitchFamily="34" charset="0"/>
                  </a:rPr>
                  <a:t> </a:t>
                </a:r>
                <a:r>
                  <a:rPr lang="de-DE" sz="2200" b="0" kern="100" dirty="0" err="1">
                    <a:solidFill>
                      <a:prstClr val="black"/>
                    </a:solidFill>
                    <a:latin typeface="+mn-lt"/>
                    <a:ea typeface="Calibri" panose="020F0502020204030204" pitchFamily="34" charset="0"/>
                    <a:cs typeface="Arial" panose="020B0604020202020204" pitchFamily="34" charset="0"/>
                  </a:rPr>
                  <a:t>the</a:t>
                </a:r>
                <a:r>
                  <a:rPr lang="de-DE" sz="2200" b="0" kern="100" dirty="0">
                    <a:solidFill>
                      <a:prstClr val="black"/>
                    </a:solidFill>
                    <a:latin typeface="+mn-lt"/>
                    <a:ea typeface="Calibri" panose="020F0502020204030204" pitchFamily="34" charset="0"/>
                    <a:cs typeface="Arial" panose="020B0604020202020204" pitchFamily="34" charset="0"/>
                  </a:rPr>
                  <a:t> </a:t>
                </a:r>
                <a:r>
                  <a:rPr lang="de-DE" sz="2200" b="0" kern="100" dirty="0" err="1">
                    <a:solidFill>
                      <a:prstClr val="black"/>
                    </a:solidFill>
                    <a:latin typeface="+mn-lt"/>
                    <a:ea typeface="Calibri" panose="020F0502020204030204" pitchFamily="34" charset="0"/>
                    <a:cs typeface="Arial" panose="020B0604020202020204" pitchFamily="34" charset="0"/>
                  </a:rPr>
                  <a:t>calculation</a:t>
                </a:r>
                <a:r>
                  <a:rPr lang="de-DE" sz="2200" b="0" kern="100" dirty="0">
                    <a:solidFill>
                      <a:prstClr val="black"/>
                    </a:solidFill>
                    <a:latin typeface="+mn-lt"/>
                    <a:ea typeface="Calibri" panose="020F0502020204030204" pitchFamily="34" charset="0"/>
                    <a:cs typeface="Arial" panose="020B0604020202020204" pitchFamily="34" charset="0"/>
                  </a:rPr>
                  <a:t> </a:t>
                </a:r>
                <a:r>
                  <a:rPr lang="de-DE" sz="2200" b="0" kern="100" dirty="0" err="1">
                    <a:solidFill>
                      <a:prstClr val="black"/>
                    </a:solidFill>
                    <a:latin typeface="+mn-lt"/>
                    <a:ea typeface="Calibri" panose="020F0502020204030204" pitchFamily="34" charset="0"/>
                    <a:cs typeface="Arial" panose="020B0604020202020204" pitchFamily="34" charset="0"/>
                  </a:rPr>
                  <a:t>of</a:t>
                </a:r>
                <a:r>
                  <a:rPr lang="de-DE" sz="2200" b="0" kern="100" dirty="0">
                    <a:solidFill>
                      <a:prstClr val="black"/>
                    </a:solidFill>
                    <a:latin typeface="+mn-lt"/>
                    <a:ea typeface="Calibri" panose="020F0502020204030204" pitchFamily="34" charset="0"/>
                    <a:cs typeface="Arial" panose="020B0604020202020204" pitchFamily="34" charset="0"/>
                  </a:rPr>
                  <a:t> </a:t>
                </a:r>
                <a:r>
                  <a:rPr lang="de-DE" sz="2200" b="0" kern="100" dirty="0" err="1">
                    <a:solidFill>
                      <a:prstClr val="black"/>
                    </a:solidFill>
                    <a:latin typeface="+mn-lt"/>
                    <a:ea typeface="Calibri" panose="020F0502020204030204" pitchFamily="34" charset="0"/>
                    <a:cs typeface="Arial" panose="020B0604020202020204" pitchFamily="34" charset="0"/>
                  </a:rPr>
                  <a:t>the</a:t>
                </a:r>
                <a:r>
                  <a:rPr lang="de-DE" sz="2200" b="0" kern="100" dirty="0">
                    <a:solidFill>
                      <a:prstClr val="black"/>
                    </a:solidFill>
                    <a:latin typeface="+mn-lt"/>
                    <a:ea typeface="Calibri" panose="020F0502020204030204" pitchFamily="34" charset="0"/>
                    <a:cs typeface="Arial" panose="020B0604020202020204" pitchFamily="34" charset="0"/>
                  </a:rPr>
                  <a:t> </a:t>
                </a:r>
                <a:r>
                  <a:rPr lang="de-DE" sz="2200" kern="100" dirty="0" err="1">
                    <a:solidFill>
                      <a:srgbClr val="0000FF"/>
                    </a:solidFill>
                    <a:latin typeface="+mn-lt"/>
                    <a:ea typeface="Calibri" panose="020F0502020204030204" pitchFamily="34" charset="0"/>
                    <a:cs typeface="Arial" panose="020B0604020202020204" pitchFamily="34" charset="0"/>
                  </a:rPr>
                  <a:t>Hydraulic</a:t>
                </a:r>
                <a:r>
                  <a:rPr lang="de-DE" sz="2200" kern="100" dirty="0">
                    <a:solidFill>
                      <a:srgbClr val="0000FF"/>
                    </a:solidFill>
                    <a:latin typeface="+mn-lt"/>
                    <a:ea typeface="Calibri" panose="020F0502020204030204" pitchFamily="34" charset="0"/>
                    <a:cs typeface="Arial" panose="020B0604020202020204" pitchFamily="34" charset="0"/>
                  </a:rPr>
                  <a:t> Fluid Forces </a:t>
                </a:r>
                <a:r>
                  <a:rPr lang="de-DE" sz="2200" b="0" kern="100" dirty="0" err="1">
                    <a:solidFill>
                      <a:prstClr val="black"/>
                    </a:solidFill>
                    <a:latin typeface="+mn-lt"/>
                    <a:ea typeface="Calibri" panose="020F0502020204030204" pitchFamily="34" charset="0"/>
                    <a:cs typeface="Arial" panose="020B0604020202020204" pitchFamily="34" charset="0"/>
                  </a:rPr>
                  <a:t>the</a:t>
                </a:r>
                <a:r>
                  <a:rPr lang="de-DE" sz="2200" b="0" kern="100" dirty="0">
                    <a:solidFill>
                      <a:prstClr val="black"/>
                    </a:solidFill>
                    <a:latin typeface="+mn-lt"/>
                    <a:ea typeface="Calibri" panose="020F0502020204030204" pitchFamily="34" charset="0"/>
                    <a:cs typeface="Arial" panose="020B0604020202020204" pitchFamily="34" charset="0"/>
                  </a:rPr>
                  <a:t> </a:t>
                </a:r>
                <a:r>
                  <a:rPr lang="de-DE" sz="2200" kern="100" dirty="0" err="1">
                    <a:solidFill>
                      <a:srgbClr val="0000FF"/>
                    </a:solidFill>
                    <a:latin typeface="+mn-lt"/>
                    <a:ea typeface="Calibri" panose="020F0502020204030204" pitchFamily="34" charset="0"/>
                    <a:cs typeface="Arial" panose="020B0604020202020204" pitchFamily="34" charset="0"/>
                  </a:rPr>
                  <a:t>values</a:t>
                </a:r>
                <a:r>
                  <a:rPr lang="de-DE" sz="2200" kern="100" dirty="0">
                    <a:solidFill>
                      <a:srgbClr val="0000FF"/>
                    </a:solidFill>
                    <a:latin typeface="+mn-lt"/>
                    <a:ea typeface="Calibri" panose="020F0502020204030204" pitchFamily="34" charset="0"/>
                    <a:cs typeface="Arial" panose="020B0604020202020204" pitchFamily="34" charset="0"/>
                  </a:rPr>
                  <a:t> </a:t>
                </a:r>
                <a:r>
                  <a:rPr lang="de-DE" sz="2200" kern="100" dirty="0" err="1">
                    <a:solidFill>
                      <a:srgbClr val="0000FF"/>
                    </a:solidFill>
                    <a:latin typeface="+mn-lt"/>
                    <a:ea typeface="Calibri" panose="020F0502020204030204" pitchFamily="34" charset="0"/>
                    <a:cs typeface="Arial" panose="020B0604020202020204" pitchFamily="34" charset="0"/>
                  </a:rPr>
                  <a:t>of</a:t>
                </a:r>
                <a:r>
                  <a:rPr lang="de-DE" sz="2200" kern="100" dirty="0">
                    <a:solidFill>
                      <a:srgbClr val="0000FF"/>
                    </a:solidFill>
                    <a:latin typeface="+mn-lt"/>
                    <a:ea typeface="Calibri" panose="020F0502020204030204" pitchFamily="34" charset="0"/>
                    <a:cs typeface="Arial" panose="020B0604020202020204" pitchFamily="34" charset="0"/>
                  </a:rPr>
                  <a:t> </a:t>
                </a:r>
                <a:r>
                  <a:rPr lang="de-DE" sz="2200" kern="100" dirty="0" err="1">
                    <a:solidFill>
                      <a:srgbClr val="0000FF"/>
                    </a:solidFill>
                    <a:latin typeface="+mn-lt"/>
                    <a:ea typeface="Calibri" panose="020F0502020204030204" pitchFamily="34" charset="0"/>
                    <a:cs typeface="Arial" panose="020B0604020202020204" pitchFamily="34" charset="0"/>
                  </a:rPr>
                  <a:t>k</a:t>
                </a:r>
                <a:r>
                  <a:rPr lang="de-DE" sz="2200" kern="100" baseline="-25000" dirty="0" err="1">
                    <a:solidFill>
                      <a:srgbClr val="0000FF"/>
                    </a:solidFill>
                    <a:latin typeface="+mn-lt"/>
                    <a:ea typeface="Calibri" panose="020F0502020204030204" pitchFamily="34" charset="0"/>
                    <a:cs typeface="Arial" panose="020B0604020202020204" pitchFamily="34" charset="0"/>
                  </a:rPr>
                  <a:t>H</a:t>
                </a:r>
                <a:r>
                  <a:rPr lang="de-DE" sz="2200" kern="100" dirty="0">
                    <a:solidFill>
                      <a:srgbClr val="0000FF"/>
                    </a:solidFill>
                    <a:latin typeface="+mn-lt"/>
                    <a:ea typeface="Calibri" panose="020F0502020204030204" pitchFamily="34" charset="0"/>
                    <a:cs typeface="Arial" panose="020B0604020202020204" pitchFamily="34" charset="0"/>
                  </a:rPr>
                  <a:t>  </a:t>
                </a:r>
                <a:r>
                  <a:rPr lang="de-DE" sz="2200" b="0" kern="100" dirty="0" err="1">
                    <a:solidFill>
                      <a:prstClr val="black"/>
                    </a:solidFill>
                    <a:latin typeface="+mn-lt"/>
                    <a:ea typeface="Calibri" panose="020F0502020204030204" pitchFamily="34" charset="0"/>
                    <a:cs typeface="Arial" panose="020B0604020202020204" pitchFamily="34" charset="0"/>
                  </a:rPr>
                  <a:t>are</a:t>
                </a:r>
                <a:r>
                  <a:rPr lang="de-DE" sz="2200" b="0" kern="100" dirty="0">
                    <a:solidFill>
                      <a:prstClr val="black"/>
                    </a:solidFill>
                    <a:latin typeface="+mn-lt"/>
                    <a:ea typeface="Calibri" panose="020F0502020204030204" pitchFamily="34" charset="0"/>
                    <a:cs typeface="Arial" panose="020B0604020202020204" pitchFamily="34" charset="0"/>
                  </a:rPr>
                  <a:t> </a:t>
                </a:r>
                <a:r>
                  <a:rPr lang="de-DE" sz="2200" b="0" kern="100" dirty="0" err="1">
                    <a:solidFill>
                      <a:prstClr val="black"/>
                    </a:solidFill>
                    <a:latin typeface="+mn-lt"/>
                    <a:ea typeface="Calibri" panose="020F0502020204030204" pitchFamily="34" charset="0"/>
                    <a:cs typeface="Arial" panose="020B0604020202020204" pitchFamily="34" charset="0"/>
                  </a:rPr>
                  <a:t>needed</a:t>
                </a:r>
                <a:r>
                  <a:rPr lang="de-DE" sz="2200" b="0" kern="100" dirty="0">
                    <a:solidFill>
                      <a:prstClr val="black"/>
                    </a:solidFill>
                    <a:latin typeface="+mn-lt"/>
                    <a:ea typeface="Calibri" panose="020F0502020204030204" pitchFamily="34" charset="0"/>
                    <a:cs typeface="Arial" panose="020B0604020202020204" pitchFamily="34" charset="0"/>
                  </a:rPr>
                  <a:t>. </a:t>
                </a:r>
                <a:r>
                  <a:rPr lang="de-DE" sz="2200" b="0" kern="100" dirty="0" err="1">
                    <a:solidFill>
                      <a:prstClr val="black"/>
                    </a:solidFill>
                    <a:latin typeface="+mn-lt"/>
                    <a:ea typeface="Calibri" panose="020F0502020204030204" pitchFamily="34" charset="0"/>
                    <a:cs typeface="Arial" panose="020B0604020202020204" pitchFamily="34" charset="0"/>
                  </a:rPr>
                  <a:t>They</a:t>
                </a:r>
                <a:r>
                  <a:rPr lang="de-DE" sz="2200" b="0" kern="100" dirty="0">
                    <a:solidFill>
                      <a:prstClr val="black"/>
                    </a:solidFill>
                    <a:latin typeface="+mn-lt"/>
                    <a:ea typeface="Calibri" panose="020F0502020204030204" pitchFamily="34" charset="0"/>
                    <a:cs typeface="Arial" panose="020B0604020202020204" pitchFamily="34" charset="0"/>
                  </a:rPr>
                  <a:t> </a:t>
                </a:r>
                <a:r>
                  <a:rPr lang="de-DE" sz="2200" b="0" kern="100" dirty="0" err="1">
                    <a:solidFill>
                      <a:prstClr val="black"/>
                    </a:solidFill>
                    <a:latin typeface="+mn-lt"/>
                    <a:ea typeface="Calibri" panose="020F0502020204030204" pitchFamily="34" charset="0"/>
                    <a:cs typeface="Arial" panose="020B0604020202020204" pitchFamily="34" charset="0"/>
                  </a:rPr>
                  <a:t>are</a:t>
                </a:r>
                <a:r>
                  <a:rPr lang="de-DE" sz="2200" b="0" kern="100" dirty="0">
                    <a:solidFill>
                      <a:prstClr val="black"/>
                    </a:solidFill>
                    <a:latin typeface="+mn-lt"/>
                    <a:ea typeface="Calibri" panose="020F0502020204030204" pitchFamily="34" charset="0"/>
                    <a:cs typeface="Arial" panose="020B0604020202020204" pitchFamily="34" charset="0"/>
                  </a:rPr>
                  <a:t> </a:t>
                </a:r>
                <a:r>
                  <a:rPr lang="de-DE" sz="2200" b="0" kern="100" dirty="0" err="1">
                    <a:solidFill>
                      <a:prstClr val="black"/>
                    </a:solidFill>
                    <a:latin typeface="+mn-lt"/>
                    <a:ea typeface="Calibri" panose="020F0502020204030204" pitchFamily="34" charset="0"/>
                    <a:cs typeface="Arial" panose="020B0604020202020204" pitchFamily="34" charset="0"/>
                  </a:rPr>
                  <a:t>dependent</a:t>
                </a:r>
                <a:r>
                  <a:rPr lang="de-DE" sz="2200" b="0" kern="100" dirty="0">
                    <a:solidFill>
                      <a:prstClr val="black"/>
                    </a:solidFill>
                    <a:latin typeface="+mn-lt"/>
                    <a:ea typeface="Calibri" panose="020F0502020204030204" pitchFamily="34" charset="0"/>
                    <a:cs typeface="Arial" panose="020B0604020202020204" pitchFamily="34" charset="0"/>
                  </a:rPr>
                  <a:t> on </a:t>
                </a:r>
                <a:r>
                  <a:rPr lang="de-DE" sz="2200" b="0" kern="100" dirty="0" err="1">
                    <a:solidFill>
                      <a:prstClr val="black"/>
                    </a:solidFill>
                    <a:latin typeface="+mn-lt"/>
                    <a:ea typeface="Calibri" panose="020F0502020204030204" pitchFamily="34" charset="0"/>
                    <a:cs typeface="Arial" panose="020B0604020202020204" pitchFamily="34" charset="0"/>
                  </a:rPr>
                  <a:t>the</a:t>
                </a:r>
                <a:r>
                  <a:rPr lang="de-DE" sz="2200" b="0" kern="100" dirty="0">
                    <a:solidFill>
                      <a:prstClr val="black"/>
                    </a:solidFill>
                    <a:latin typeface="+mn-lt"/>
                    <a:ea typeface="Calibri" panose="020F0502020204030204" pitchFamily="34" charset="0"/>
                    <a:cs typeface="Arial" panose="020B0604020202020204" pitchFamily="34" charset="0"/>
                  </a:rPr>
                  <a:t> </a:t>
                </a:r>
                <a:r>
                  <a:rPr lang="de-DE" sz="2200" kern="100" dirty="0" err="1">
                    <a:solidFill>
                      <a:srgbClr val="0000FF"/>
                    </a:solidFill>
                    <a:latin typeface="+mn-lt"/>
                    <a:ea typeface="Calibri" panose="020F0502020204030204" pitchFamily="34" charset="0"/>
                    <a:cs typeface="Arial" panose="020B0604020202020204" pitchFamily="34" charset="0"/>
                  </a:rPr>
                  <a:t>dimensionless</a:t>
                </a:r>
                <a:r>
                  <a:rPr lang="de-DE" sz="2200" kern="100" dirty="0">
                    <a:solidFill>
                      <a:srgbClr val="0000FF"/>
                    </a:solidFill>
                    <a:latin typeface="+mn-lt"/>
                    <a:ea typeface="Calibri" panose="020F0502020204030204" pitchFamily="34" charset="0"/>
                    <a:cs typeface="Arial" panose="020B0604020202020204" pitchFamily="34" charset="0"/>
                  </a:rPr>
                  <a:t> Fluid Flow Q/</a:t>
                </a:r>
                <a:r>
                  <a:rPr lang="de-DE" sz="2200" kern="100" dirty="0" err="1">
                    <a:solidFill>
                      <a:srgbClr val="0000FF"/>
                    </a:solidFill>
                    <a:latin typeface="+mn-lt"/>
                    <a:ea typeface="Calibri" panose="020F0502020204030204" pitchFamily="34" charset="0"/>
                    <a:cs typeface="Arial" panose="020B0604020202020204" pitchFamily="34" charset="0"/>
                  </a:rPr>
                  <a:t>Q</a:t>
                </a:r>
                <a:r>
                  <a:rPr lang="de-DE" sz="2200" kern="100" baseline="-25000" dirty="0" err="1">
                    <a:solidFill>
                      <a:srgbClr val="0000FF"/>
                    </a:solidFill>
                    <a:latin typeface="+mn-lt"/>
                    <a:ea typeface="Calibri" panose="020F0502020204030204" pitchFamily="34" charset="0"/>
                    <a:cs typeface="Arial" panose="020B0604020202020204" pitchFamily="34" charset="0"/>
                  </a:rPr>
                  <a:t>opt</a:t>
                </a:r>
                <a:r>
                  <a:rPr lang="de-DE" sz="2200" kern="100" dirty="0">
                    <a:solidFill>
                      <a:srgbClr val="0000FF"/>
                    </a:solidFill>
                    <a:latin typeface="+mn-lt"/>
                    <a:ea typeface="Calibri" panose="020F0502020204030204" pitchFamily="34" charset="0"/>
                    <a:cs typeface="Arial" panose="020B0604020202020204" pitchFamily="34" charset="0"/>
                  </a:rPr>
                  <a:t> </a:t>
                </a:r>
                <a:r>
                  <a:rPr lang="de-DE" sz="2200" b="0" kern="100" dirty="0">
                    <a:solidFill>
                      <a:prstClr val="black"/>
                    </a:solidFill>
                    <a:latin typeface="+mn-lt"/>
                    <a:ea typeface="Calibri" panose="020F0502020204030204" pitchFamily="34" charset="0"/>
                    <a:cs typeface="Arial" panose="020B0604020202020204" pitchFamily="34" charset="0"/>
                  </a:rPr>
                  <a:t>and </a:t>
                </a:r>
                <a:r>
                  <a:rPr lang="de-DE" sz="2200" b="0" kern="100" dirty="0" err="1">
                    <a:solidFill>
                      <a:prstClr val="black"/>
                    </a:solidFill>
                    <a:latin typeface="+mn-lt"/>
                    <a:ea typeface="Calibri" panose="020F0502020204030204" pitchFamily="34" charset="0"/>
                    <a:cs typeface="Arial" panose="020B0604020202020204" pitchFamily="34" charset="0"/>
                  </a:rPr>
                  <a:t>can</a:t>
                </a:r>
                <a:r>
                  <a:rPr lang="de-DE" sz="2200" b="0" kern="100" dirty="0">
                    <a:solidFill>
                      <a:prstClr val="black"/>
                    </a:solidFill>
                    <a:latin typeface="+mn-lt"/>
                    <a:ea typeface="Calibri" panose="020F0502020204030204" pitchFamily="34" charset="0"/>
                    <a:cs typeface="Arial" panose="020B0604020202020204" pitchFamily="34" charset="0"/>
                  </a:rPr>
                  <a:t> </a:t>
                </a:r>
                <a:r>
                  <a:rPr lang="de-DE" sz="2200" b="0" kern="100" dirty="0" err="1">
                    <a:solidFill>
                      <a:prstClr val="black"/>
                    </a:solidFill>
                    <a:latin typeface="+mn-lt"/>
                    <a:ea typeface="Calibri" panose="020F0502020204030204" pitchFamily="34" charset="0"/>
                    <a:cs typeface="Arial" panose="020B0604020202020204" pitchFamily="34" charset="0"/>
                  </a:rPr>
                  <a:t>be</a:t>
                </a:r>
                <a:r>
                  <a:rPr lang="de-DE" sz="2200" b="0" kern="100" dirty="0">
                    <a:solidFill>
                      <a:prstClr val="black"/>
                    </a:solidFill>
                    <a:latin typeface="+mn-lt"/>
                    <a:ea typeface="Calibri" panose="020F0502020204030204" pitchFamily="34" charset="0"/>
                    <a:cs typeface="Arial" panose="020B0604020202020204" pitchFamily="34" charset="0"/>
                  </a:rPr>
                  <a:t> </a:t>
                </a:r>
                <a:r>
                  <a:rPr lang="de-DE" sz="2200" b="0" kern="100" dirty="0" err="1">
                    <a:solidFill>
                      <a:prstClr val="black"/>
                    </a:solidFill>
                    <a:latin typeface="+mn-lt"/>
                    <a:ea typeface="Calibri" panose="020F0502020204030204" pitchFamily="34" charset="0"/>
                    <a:cs typeface="Arial" panose="020B0604020202020204" pitchFamily="34" charset="0"/>
                  </a:rPr>
                  <a:t>found</a:t>
                </a:r>
                <a:r>
                  <a:rPr lang="de-DE" sz="2200" b="0" kern="100" dirty="0">
                    <a:solidFill>
                      <a:prstClr val="black"/>
                    </a:solidFill>
                    <a:latin typeface="+mn-lt"/>
                    <a:ea typeface="Calibri" panose="020F0502020204030204" pitchFamily="34" charset="0"/>
                    <a:cs typeface="Arial" panose="020B0604020202020204" pitchFamily="34" charset="0"/>
                  </a:rPr>
                  <a:t> </a:t>
                </a:r>
                <a:r>
                  <a:rPr lang="de-DE" sz="2200" b="0" kern="100" dirty="0" err="1">
                    <a:solidFill>
                      <a:prstClr val="black"/>
                    </a:solidFill>
                    <a:latin typeface="+mn-lt"/>
                    <a:ea typeface="Calibri" panose="020F0502020204030204" pitchFamily="34" charset="0"/>
                    <a:cs typeface="Arial" panose="020B0604020202020204" pitchFamily="34" charset="0"/>
                  </a:rPr>
                  <a:t>for</a:t>
                </a:r>
                <a:r>
                  <a:rPr lang="de-DE" sz="2200" b="0" kern="100" dirty="0">
                    <a:solidFill>
                      <a:prstClr val="black"/>
                    </a:solidFill>
                    <a:latin typeface="+mn-lt"/>
                    <a:ea typeface="Calibri" panose="020F0502020204030204" pitchFamily="34" charset="0"/>
                    <a:cs typeface="Arial" panose="020B0604020202020204" pitchFamily="34" charset="0"/>
                  </a:rPr>
                  <a:t> </a:t>
                </a:r>
                <a:r>
                  <a:rPr lang="de-DE" sz="2200" b="0" kern="100" dirty="0" err="1">
                    <a:solidFill>
                      <a:prstClr val="black"/>
                    </a:solidFill>
                    <a:latin typeface="+mn-lt"/>
                    <a:ea typeface="Calibri" panose="020F0502020204030204" pitchFamily="34" charset="0"/>
                    <a:cs typeface="Arial" panose="020B0604020202020204" pitchFamily="34" charset="0"/>
                  </a:rPr>
                  <a:t>the</a:t>
                </a:r>
                <a:r>
                  <a:rPr lang="de-DE" sz="2200" b="0" kern="100" dirty="0">
                    <a:solidFill>
                      <a:prstClr val="black"/>
                    </a:solidFill>
                    <a:latin typeface="+mn-lt"/>
                    <a:ea typeface="Calibri" panose="020F0502020204030204" pitchFamily="34" charset="0"/>
                    <a:cs typeface="Arial" panose="020B0604020202020204" pitchFamily="34" charset="0"/>
                  </a:rPr>
                  <a:t> different </a:t>
                </a:r>
                <a:r>
                  <a:rPr lang="de-DE" sz="2200" b="0" kern="100" dirty="0" err="1">
                    <a:solidFill>
                      <a:prstClr val="black"/>
                    </a:solidFill>
                    <a:latin typeface="+mn-lt"/>
                    <a:ea typeface="Calibri" panose="020F0502020204030204" pitchFamily="34" charset="0"/>
                    <a:cs typeface="Arial" panose="020B0604020202020204" pitchFamily="34" charset="0"/>
                  </a:rPr>
                  <a:t>cases</a:t>
                </a:r>
                <a:r>
                  <a:rPr lang="de-DE" sz="2200" b="0" kern="100" dirty="0">
                    <a:solidFill>
                      <a:prstClr val="black"/>
                    </a:solidFill>
                    <a:latin typeface="+mn-lt"/>
                    <a:ea typeface="Calibri" panose="020F0502020204030204" pitchFamily="34" charset="0"/>
                    <a:cs typeface="Arial" panose="020B0604020202020204" pitchFamily="34" charset="0"/>
                  </a:rPr>
                  <a:t> in </a:t>
                </a:r>
                <a:r>
                  <a:rPr lang="de-DE" sz="2200" b="0" kern="100" dirty="0" err="1">
                    <a:solidFill>
                      <a:prstClr val="black"/>
                    </a:solidFill>
                    <a:latin typeface="+mn-lt"/>
                    <a:ea typeface="Calibri" panose="020F0502020204030204" pitchFamily="34" charset="0"/>
                    <a:cs typeface="Arial" panose="020B0604020202020204" pitchFamily="34" charset="0"/>
                  </a:rPr>
                  <a:t>diagrams</a:t>
                </a:r>
                <a:r>
                  <a:rPr lang="de-DE" sz="2200" b="0" kern="100" dirty="0">
                    <a:solidFill>
                      <a:prstClr val="black"/>
                    </a:solidFill>
                    <a:latin typeface="+mn-lt"/>
                    <a:ea typeface="Calibri" panose="020F0502020204030204" pitchFamily="34" charset="0"/>
                    <a:cs typeface="Arial" panose="020B0604020202020204" pitchFamily="34" charset="0"/>
                  </a:rPr>
                  <a:t> </a:t>
                </a:r>
                <a:r>
                  <a:rPr lang="de-DE" sz="2200" b="0" kern="100" dirty="0" err="1">
                    <a:solidFill>
                      <a:prstClr val="black"/>
                    </a:solidFill>
                    <a:latin typeface="+mn-lt"/>
                    <a:ea typeface="Calibri" panose="020F0502020204030204" pitchFamily="34" charset="0"/>
                    <a:cs typeface="Arial" panose="020B0604020202020204" pitchFamily="34" charset="0"/>
                  </a:rPr>
                  <a:t>of</a:t>
                </a:r>
                <a:r>
                  <a:rPr lang="de-DE" sz="2200" b="0" kern="100" dirty="0">
                    <a:solidFill>
                      <a:prstClr val="black"/>
                    </a:solidFill>
                    <a:latin typeface="+mn-lt"/>
                    <a:ea typeface="Calibri" panose="020F0502020204030204" pitchFamily="34" charset="0"/>
                    <a:cs typeface="Arial" panose="020B0604020202020204" pitchFamily="34" charset="0"/>
                  </a:rPr>
                  <a:t> a </a:t>
                </a:r>
                <a:r>
                  <a:rPr lang="de-DE" sz="2200" b="0" kern="100" dirty="0" err="1">
                    <a:solidFill>
                      <a:prstClr val="black"/>
                    </a:solidFill>
                    <a:latin typeface="+mn-lt"/>
                    <a:ea typeface="Calibri" panose="020F0502020204030204" pitchFamily="34" charset="0"/>
                    <a:cs typeface="Arial" panose="020B0604020202020204" pitchFamily="34" charset="0"/>
                  </a:rPr>
                  <a:t>paper</a:t>
                </a:r>
                <a:r>
                  <a:rPr lang="de-DE" sz="2200" b="0" kern="100" dirty="0">
                    <a:solidFill>
                      <a:prstClr val="black"/>
                    </a:solidFill>
                    <a:latin typeface="+mn-lt"/>
                    <a:ea typeface="Calibri" panose="020F0502020204030204" pitchFamily="34" charset="0"/>
                    <a:cs typeface="Arial" panose="020B0604020202020204" pitchFamily="34" charset="0"/>
                  </a:rPr>
                  <a:t> </a:t>
                </a:r>
                <a:r>
                  <a:rPr lang="de-DE" sz="2200" b="0" kern="100" dirty="0" err="1">
                    <a:solidFill>
                      <a:prstClr val="black"/>
                    </a:solidFill>
                    <a:latin typeface="+mn-lt"/>
                    <a:ea typeface="Calibri" panose="020F0502020204030204" pitchFamily="34" charset="0"/>
                    <a:cs typeface="Arial" panose="020B0604020202020204" pitchFamily="34" charset="0"/>
                  </a:rPr>
                  <a:t>from</a:t>
                </a:r>
                <a:r>
                  <a:rPr lang="de-DE" sz="2200" b="0" kern="100" dirty="0">
                    <a:solidFill>
                      <a:prstClr val="black"/>
                    </a:solidFill>
                    <a:latin typeface="+mn-lt"/>
                    <a:ea typeface="Calibri" panose="020F0502020204030204" pitchFamily="34" charset="0"/>
                    <a:cs typeface="Arial" panose="020B0604020202020204" pitchFamily="34" charset="0"/>
                  </a:rPr>
                  <a:t> </a:t>
                </a:r>
                <a:r>
                  <a:rPr lang="de-DE" sz="2200" b="0" kern="100" dirty="0" err="1">
                    <a:solidFill>
                      <a:prstClr val="black"/>
                    </a:solidFill>
                    <a:latin typeface="+mn-lt"/>
                    <a:ea typeface="Calibri" panose="020F0502020204030204" pitchFamily="34" charset="0"/>
                    <a:cs typeface="Arial" panose="020B0604020202020204" pitchFamily="34" charset="0"/>
                  </a:rPr>
                  <a:t>Floriancic</a:t>
                </a:r>
                <a:r>
                  <a:rPr lang="de-DE" sz="2200" b="0" kern="100" dirty="0">
                    <a:solidFill>
                      <a:prstClr val="black"/>
                    </a:solidFill>
                    <a:latin typeface="+mn-lt"/>
                    <a:ea typeface="Calibri" panose="020F0502020204030204" pitchFamily="34" charset="0"/>
                    <a:cs typeface="Arial" panose="020B0604020202020204" pitchFamily="34" charset="0"/>
                  </a:rPr>
                  <a:t> and Frei</a:t>
                </a:r>
                <a:endParaRPr lang="de-DE" sz="2400" b="0" kern="100" dirty="0">
                  <a:solidFill>
                    <a:prstClr val="black"/>
                  </a:solidFill>
                  <a:latin typeface="Arial" panose="020B0604020202020204" pitchFamily="34" charset="0"/>
                  <a:ea typeface="Calibri" panose="020F0502020204030204" pitchFamily="34" charset="0"/>
                  <a:cs typeface="Arial" panose="020B0604020202020204" pitchFamily="34"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endParaRPr kumimoji="0" lang="de-DE" sz="24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endParaRPr kumimoji="0" lang="de-DE" sz="24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endParaRPr>
              </a:p>
              <a:p>
                <a:pPr marL="342900" marR="0" lvl="0" indent="-342900" algn="l" defTabSz="914400" rtl="0" eaLnBrk="1" fontAlgn="auto" latinLnBrk="0" hangingPunct="1">
                  <a:lnSpc>
                    <a:spcPct val="107000"/>
                  </a:lnSpc>
                  <a:spcBef>
                    <a:spcPts val="0"/>
                  </a:spcBef>
                  <a:spcAft>
                    <a:spcPts val="800"/>
                  </a:spcAft>
                  <a:buClrTx/>
                  <a:buSzTx/>
                  <a:buFontTx/>
                  <a:buChar char="-"/>
                  <a:tabLst/>
                  <a:defRPr/>
                </a:pPr>
                <a:endParaRPr kumimoji="0" lang="de-DE" sz="24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de-DE" sz="24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  </a:t>
                </a:r>
              </a:p>
              <a:p>
                <a:pPr marL="0" marR="0" lvl="0" indent="0" algn="l" defTabSz="914400" rtl="0" eaLnBrk="1" fontAlgn="auto" latinLnBrk="0" hangingPunct="1">
                  <a:lnSpc>
                    <a:spcPct val="107000"/>
                  </a:lnSpc>
                  <a:spcBef>
                    <a:spcPts val="0"/>
                  </a:spcBef>
                  <a:spcAft>
                    <a:spcPts val="800"/>
                  </a:spcAft>
                  <a:buClrTx/>
                  <a:buSzTx/>
                  <a:buFontTx/>
                  <a:buNone/>
                  <a:tabLst/>
                  <a:defRPr/>
                </a:pPr>
                <a:endParaRPr kumimoji="0" lang="de-DE" sz="24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6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Times New Roman" panose="02020603050405020304" pitchFamily="18" charset="0"/>
                  </a:rPr>
                  <a:t> </a:t>
                </a:r>
                <a:endParaRPr kumimoji="0" lang="de-DE" sz="1100" b="0" i="0" u="none" strike="noStrike" kern="1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6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Times New Roman" panose="02020603050405020304" pitchFamily="18" charset="0"/>
                  </a:rPr>
                  <a:t> </a:t>
                </a:r>
                <a:endParaRPr kumimoji="0" lang="de-DE" sz="1100" b="0" i="0" u="none" strike="noStrike" kern="1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6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Times New Roman" panose="02020603050405020304" pitchFamily="18" charset="0"/>
                  </a:rPr>
                  <a:t> </a:t>
                </a:r>
                <a:endParaRPr kumimoji="0" lang="de-DE" sz="1100" b="0" i="0" u="none" strike="noStrike" kern="1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6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Times New Roman" panose="02020603050405020304" pitchFamily="18" charset="0"/>
                  </a:rPr>
                  <a:t> </a:t>
                </a:r>
                <a:endParaRPr kumimoji="0" lang="de-DE" sz="1100" b="0" i="0" u="none" strike="noStrike" kern="1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6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Times New Roman" panose="02020603050405020304" pitchFamily="18" charset="0"/>
                  </a:rPr>
                  <a:t> </a:t>
                </a:r>
                <a:endParaRPr kumimoji="0" lang="de-DE" sz="1100" b="0" i="0" u="none" strike="noStrike" kern="1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6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Times New Roman" panose="02020603050405020304" pitchFamily="18" charset="0"/>
                  </a:rPr>
                  <a:t> </a:t>
                </a:r>
                <a:endParaRPr kumimoji="0" lang="de-DE" sz="1100" b="0" i="0" u="none" strike="noStrike" kern="1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6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Times New Roman" panose="02020603050405020304" pitchFamily="18" charset="0"/>
                  </a:rPr>
                  <a:t> </a:t>
                </a:r>
                <a:endParaRPr kumimoji="0" lang="de-DE" sz="1100" b="0" i="0" u="none" strike="noStrike" kern="1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6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Times New Roman" panose="02020603050405020304" pitchFamily="18" charset="0"/>
                  </a:rPr>
                  <a:t> </a:t>
                </a:r>
                <a:endParaRPr kumimoji="0" lang="de-DE" sz="1100" b="0" i="0" u="none" strike="noStrike" kern="1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6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Times New Roman" panose="02020603050405020304" pitchFamily="18" charset="0"/>
                  </a:rPr>
                  <a:t> </a:t>
                </a:r>
                <a:endParaRPr kumimoji="0" lang="de-DE" sz="1100" b="0" i="0" u="none" strike="noStrike" kern="1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6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Times New Roman" panose="02020603050405020304" pitchFamily="18" charset="0"/>
                  </a:rPr>
                  <a:t> </a:t>
                </a:r>
                <a:endParaRPr kumimoji="0" lang="de-DE" sz="1100" b="0" i="0" u="none" strike="noStrike" kern="1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6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Times New Roman" panose="02020603050405020304" pitchFamily="18" charset="0"/>
                  </a:rPr>
                  <a:t> </a:t>
                </a:r>
                <a:endParaRPr kumimoji="0" lang="de-DE" sz="1100" b="0" i="0" u="none" strike="noStrike" kern="1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p:txBody>
          </p:sp>
        </mc:Choice>
        <mc:Fallback xmlns="">
          <p:sp>
            <p:nvSpPr>
              <p:cNvPr id="5" name="Textfeld 4">
                <a:extLst>
                  <a:ext uri="{FF2B5EF4-FFF2-40B4-BE49-F238E27FC236}">
                    <a16:creationId xmlns:a16="http://schemas.microsoft.com/office/drawing/2014/main" id="{2C20FB92-A2CE-869C-4BFD-305A30E8FD9A}"/>
                  </a:ext>
                </a:extLst>
              </p:cNvPr>
              <p:cNvSpPr txBox="1">
                <a:spLocks noRot="1" noChangeAspect="1" noMove="1" noResize="1" noEditPoints="1" noAdjustHandles="1" noChangeArrowheads="1" noChangeShapeType="1" noTextEdit="1"/>
              </p:cNvSpPr>
              <p:nvPr/>
            </p:nvSpPr>
            <p:spPr>
              <a:xfrm>
                <a:off x="599508" y="1488880"/>
                <a:ext cx="10728892" cy="4734120"/>
              </a:xfrm>
              <a:prstGeom prst="rect">
                <a:avLst/>
              </a:prstGeom>
              <a:blipFill>
                <a:blip r:embed="rId2"/>
                <a:stretch>
                  <a:fillRect l="-566" t="-511" r="-849" b="-1149"/>
                </a:stretch>
              </a:blipFill>
              <a:ln w="38100">
                <a:solidFill>
                  <a:schemeClr val="bg1"/>
                </a:solidFill>
              </a:ln>
            </p:spPr>
            <p:txBody>
              <a:bodyPr/>
              <a:lstStyle/>
              <a:p>
                <a:r>
                  <a:rPr lang="de-DE">
                    <a:noFill/>
                  </a:rPr>
                  <a:t> </a:t>
                </a:r>
              </a:p>
            </p:txBody>
          </p:sp>
        </mc:Fallback>
      </mc:AlternateContent>
      <p:sp>
        <p:nvSpPr>
          <p:cNvPr id="2" name="Textfeld 1">
            <a:extLst>
              <a:ext uri="{FF2B5EF4-FFF2-40B4-BE49-F238E27FC236}">
                <a16:creationId xmlns:a16="http://schemas.microsoft.com/office/drawing/2014/main" id="{82269E2E-BAAE-9140-6741-F11DD03D2704}"/>
              </a:ext>
            </a:extLst>
          </p:cNvPr>
          <p:cNvSpPr txBox="1"/>
          <p:nvPr/>
        </p:nvSpPr>
        <p:spPr>
          <a:xfrm>
            <a:off x="437575" y="116896"/>
            <a:ext cx="11068131" cy="830997"/>
          </a:xfrm>
          <a:prstGeom prst="rect">
            <a:avLst/>
          </a:prstGeom>
          <a:noFill/>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de-DE" sz="2400" b="1" i="0" u="none" strike="noStrike" kern="1200" cap="none" spc="0" normalizeH="0" baseline="0" noProof="0" dirty="0">
                <a:ln>
                  <a:noFill/>
                </a:ln>
                <a:solidFill>
                  <a:srgbClr val="0000FF"/>
                </a:solidFill>
                <a:effectLst/>
                <a:uLnTx/>
                <a:uFillTx/>
                <a:latin typeface="Arial"/>
                <a:ea typeface="+mn-ea"/>
                <a:cs typeface="+mn-cs"/>
              </a:rPr>
              <a:t>Vibration </a:t>
            </a:r>
            <a:r>
              <a:rPr kumimoji="0" lang="de-DE" sz="2400" b="1" i="0" u="none" strike="noStrike" kern="1200" cap="none" spc="0" normalizeH="0" baseline="0" noProof="0" dirty="0" err="1">
                <a:ln>
                  <a:noFill/>
                </a:ln>
                <a:solidFill>
                  <a:srgbClr val="0000FF"/>
                </a:solidFill>
                <a:effectLst/>
                <a:uLnTx/>
                <a:uFillTx/>
                <a:latin typeface="Arial"/>
                <a:ea typeface="+mn-ea"/>
                <a:cs typeface="+mn-cs"/>
              </a:rPr>
              <a:t>Phenomena</a:t>
            </a:r>
            <a:r>
              <a:rPr kumimoji="0" lang="de-DE" sz="2400" b="1" i="0" u="none" strike="noStrike" kern="1200" cap="none" spc="0" normalizeH="0" baseline="0" noProof="0" dirty="0">
                <a:ln>
                  <a:noFill/>
                </a:ln>
                <a:solidFill>
                  <a:srgbClr val="0000FF"/>
                </a:solidFill>
                <a:effectLst/>
                <a:uLnTx/>
                <a:uFillTx/>
                <a:latin typeface="Arial"/>
                <a:ea typeface="+mn-ea"/>
                <a:cs typeface="+mn-cs"/>
              </a:rPr>
              <a:t> </a:t>
            </a:r>
            <a:r>
              <a:rPr kumimoji="0" lang="de-DE" sz="2400" b="1" i="0" u="none" strike="noStrike" kern="1200" cap="none" spc="0" normalizeH="0" baseline="0" noProof="0" dirty="0" err="1">
                <a:ln>
                  <a:noFill/>
                </a:ln>
                <a:solidFill>
                  <a:srgbClr val="0000FF"/>
                </a:solidFill>
                <a:effectLst/>
                <a:uLnTx/>
                <a:uFillTx/>
                <a:latin typeface="Arial"/>
                <a:ea typeface="+mn-ea"/>
                <a:cs typeface="+mn-cs"/>
              </a:rPr>
              <a:t>of</a:t>
            </a:r>
            <a:r>
              <a:rPr kumimoji="0" lang="de-DE" sz="2400" b="1" i="0" u="none" strike="noStrike" kern="1200" cap="none" spc="0" normalizeH="0" baseline="0" noProof="0" dirty="0">
                <a:ln>
                  <a:noFill/>
                </a:ln>
                <a:solidFill>
                  <a:srgbClr val="0000FF"/>
                </a:solidFill>
                <a:effectLst/>
                <a:uLnTx/>
                <a:uFillTx/>
                <a:latin typeface="Arial"/>
                <a:ea typeface="+mn-ea"/>
                <a:cs typeface="+mn-cs"/>
              </a:rPr>
              <a:t> </a:t>
            </a:r>
            <a:r>
              <a:rPr kumimoji="0" lang="de-DE" sz="2400" b="1" i="0" u="none" strike="noStrike" kern="1200" cap="none" spc="0" normalizeH="0" baseline="0" noProof="0" dirty="0" err="1">
                <a:ln>
                  <a:noFill/>
                </a:ln>
                <a:solidFill>
                  <a:srgbClr val="0000FF"/>
                </a:solidFill>
                <a:effectLst/>
                <a:uLnTx/>
                <a:uFillTx/>
                <a:latin typeface="Arial"/>
                <a:ea typeface="+mn-ea"/>
                <a:cs typeface="+mn-cs"/>
              </a:rPr>
              <a:t>the</a:t>
            </a:r>
            <a:r>
              <a:rPr kumimoji="0" lang="de-DE" sz="2400" b="1" i="0" u="none" strike="noStrike" kern="1200" cap="none" spc="0" normalizeH="0" baseline="0" noProof="0" dirty="0">
                <a:ln>
                  <a:noFill/>
                </a:ln>
                <a:solidFill>
                  <a:srgbClr val="0000FF"/>
                </a:solidFill>
                <a:effectLst/>
                <a:uLnTx/>
                <a:uFillTx/>
                <a:latin typeface="Arial"/>
                <a:ea typeface="+mn-ea"/>
                <a:cs typeface="+mn-cs"/>
              </a:rPr>
              <a:t> Horizontal </a:t>
            </a:r>
            <a:r>
              <a:rPr kumimoji="0" lang="de-DE" sz="2400" b="1" i="0" u="none" strike="noStrike" kern="1200" cap="none" spc="0" normalizeH="0" baseline="0" noProof="0" dirty="0" err="1">
                <a:ln>
                  <a:noFill/>
                </a:ln>
                <a:solidFill>
                  <a:srgbClr val="0000FF"/>
                </a:solidFill>
                <a:effectLst/>
                <a:uLnTx/>
                <a:uFillTx/>
                <a:latin typeface="Arial"/>
                <a:ea typeface="+mn-ea"/>
                <a:cs typeface="+mn-cs"/>
              </a:rPr>
              <a:t>Feedwater</a:t>
            </a:r>
            <a:r>
              <a:rPr kumimoji="0" lang="de-DE" sz="2400" b="1" i="0" u="none" strike="noStrike" kern="1200" cap="none" spc="0" normalizeH="0" baseline="0" noProof="0" dirty="0">
                <a:ln>
                  <a:noFill/>
                </a:ln>
                <a:solidFill>
                  <a:srgbClr val="0000FF"/>
                </a:solidFill>
                <a:effectLst/>
                <a:uLnTx/>
                <a:uFillTx/>
                <a:latin typeface="Arial"/>
                <a:ea typeface="+mn-ea"/>
                <a:cs typeface="+mn-cs"/>
              </a:rPr>
              <a:t> Pump </a:t>
            </a:r>
            <a:r>
              <a:rPr lang="de-DE" sz="2400" dirty="0">
                <a:solidFill>
                  <a:srgbClr val="0000FF"/>
                </a:solidFill>
                <a:latin typeface="Arial"/>
              </a:rPr>
              <a:t>OL3</a:t>
            </a:r>
            <a:r>
              <a:rPr kumimoji="0" lang="de-DE" sz="2400" b="1" i="0" u="none" strike="noStrike" kern="1200" cap="none" spc="0" normalizeH="0" baseline="0" noProof="0" dirty="0">
                <a:ln>
                  <a:noFill/>
                </a:ln>
                <a:solidFill>
                  <a:srgbClr val="0000FF"/>
                </a:solidFill>
                <a:effectLst/>
                <a:uLnTx/>
                <a:uFillTx/>
                <a:latin typeface="Arial"/>
                <a:ea typeface="+mn-ea"/>
                <a:cs typeface="+mn-cs"/>
              </a:rPr>
              <a:t> </a:t>
            </a:r>
          </a:p>
          <a:p>
            <a:pPr marL="0" marR="0" lvl="0" indent="0" algn="l" defTabSz="914400" rtl="0" eaLnBrk="0" fontAlgn="base" latinLnBrk="0" hangingPunct="0">
              <a:lnSpc>
                <a:spcPct val="100000"/>
              </a:lnSpc>
              <a:spcBef>
                <a:spcPct val="0"/>
              </a:spcBef>
              <a:spcAft>
                <a:spcPct val="0"/>
              </a:spcAft>
              <a:buClrTx/>
              <a:buSzTx/>
              <a:buFontTx/>
              <a:buNone/>
              <a:tabLst/>
              <a:defRPr/>
            </a:pPr>
            <a:r>
              <a:rPr lang="de-DE" sz="2400" b="0" dirty="0" err="1">
                <a:latin typeface="Arial"/>
              </a:rPr>
              <a:t>Hydraulic</a:t>
            </a:r>
            <a:r>
              <a:rPr lang="de-DE" sz="2400" b="0" dirty="0">
                <a:latin typeface="Arial"/>
              </a:rPr>
              <a:t> </a:t>
            </a:r>
            <a:r>
              <a:rPr lang="de-DE" sz="2400" b="0" dirty="0" err="1">
                <a:latin typeface="Arial"/>
              </a:rPr>
              <a:t>Excitation</a:t>
            </a:r>
            <a:r>
              <a:rPr lang="de-DE" sz="2400" b="0" dirty="0">
                <a:latin typeface="Arial"/>
              </a:rPr>
              <a:t> Forces </a:t>
            </a:r>
            <a:r>
              <a:rPr lang="de-DE" sz="2400" b="0" dirty="0" err="1">
                <a:latin typeface="Arial"/>
              </a:rPr>
              <a:t>expressed</a:t>
            </a:r>
            <a:r>
              <a:rPr lang="de-DE" sz="2400" b="0" dirty="0">
                <a:latin typeface="Arial"/>
              </a:rPr>
              <a:t> by a </a:t>
            </a:r>
            <a:r>
              <a:rPr lang="de-DE" sz="2400" b="0" dirty="0" err="1">
                <a:latin typeface="Arial"/>
              </a:rPr>
              <a:t>normalized</a:t>
            </a:r>
            <a:r>
              <a:rPr lang="de-DE" sz="2400" b="0" dirty="0">
                <a:latin typeface="Arial"/>
              </a:rPr>
              <a:t> Force </a:t>
            </a:r>
            <a:r>
              <a:rPr lang="de-DE" sz="2400" b="0" dirty="0" err="1">
                <a:latin typeface="Arial"/>
              </a:rPr>
              <a:t>Coefficient</a:t>
            </a:r>
            <a:endParaRPr kumimoji="0" lang="de-DE" sz="2400" b="0" i="0" u="none" strike="noStrike" kern="1200" cap="none" spc="0" normalizeH="0" baseline="0" noProof="0" dirty="0">
              <a:ln>
                <a:noFill/>
              </a:ln>
              <a:effectLst/>
              <a:uLnTx/>
              <a:uFillTx/>
              <a:latin typeface="Arial"/>
              <a:ea typeface="+mn-ea"/>
              <a:cs typeface="+mn-cs"/>
            </a:endParaRPr>
          </a:p>
        </p:txBody>
      </p:sp>
    </p:spTree>
    <p:extLst>
      <p:ext uri="{BB962C8B-B14F-4D97-AF65-F5344CB8AC3E}">
        <p14:creationId xmlns:p14="http://schemas.microsoft.com/office/powerpoint/2010/main" val="202827413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Grafik 1">
            <a:extLst>
              <a:ext uri="{FF2B5EF4-FFF2-40B4-BE49-F238E27FC236}">
                <a16:creationId xmlns:a16="http://schemas.microsoft.com/office/drawing/2014/main" id="{3BE1CD9E-42E3-DAE3-2E0C-894B896B7B51}"/>
              </a:ext>
            </a:extLst>
          </p:cNvPr>
          <p:cNvPicPr>
            <a:picLocks noChangeAspect="1"/>
          </p:cNvPicPr>
          <p:nvPr/>
        </p:nvPicPr>
        <p:blipFill>
          <a:blip r:embed="rId2"/>
          <a:stretch>
            <a:fillRect/>
          </a:stretch>
        </p:blipFill>
        <p:spPr>
          <a:xfrm>
            <a:off x="813330" y="2756959"/>
            <a:ext cx="9701212" cy="3800474"/>
          </a:xfrm>
          <a:prstGeom prst="rect">
            <a:avLst/>
          </a:prstGeom>
        </p:spPr>
      </p:pic>
      <p:sp>
        <p:nvSpPr>
          <p:cNvPr id="3" name="Textfeld 2">
            <a:extLst>
              <a:ext uri="{FF2B5EF4-FFF2-40B4-BE49-F238E27FC236}">
                <a16:creationId xmlns:a16="http://schemas.microsoft.com/office/drawing/2014/main" id="{4BA3BC6A-CB7E-4C39-B895-29F017EDAA5E}"/>
              </a:ext>
            </a:extLst>
          </p:cNvPr>
          <p:cNvSpPr txBox="1"/>
          <p:nvPr/>
        </p:nvSpPr>
        <p:spPr>
          <a:xfrm>
            <a:off x="554581" y="1243209"/>
            <a:ext cx="10418219" cy="1203658"/>
          </a:xfrm>
          <a:prstGeom prst="rect">
            <a:avLst/>
          </a:prstGeom>
          <a:solidFill>
            <a:schemeClr val="lt1"/>
          </a:solidFill>
          <a:ln w="38100">
            <a:solidFill>
              <a:schemeClr val="bg1"/>
            </a:solidFill>
          </a:ln>
        </p:spPr>
        <p:txBody>
          <a:bodyPr rot="0" spcFirstLastPara="0" vert="horz" wrap="square" lIns="91440" tIns="45720" rIns="91440" bIns="45720" numCol="1" spcCol="0" rtlCol="0" fromWordArt="0" anchor="t" anchorCtr="0" forceAA="0" compatLnSpc="1">
            <a:prstTxWarp prst="textNoShape">
              <a:avLst/>
            </a:prstTxWarp>
            <a:noAutofit/>
          </a:bodyPr>
          <a:lstStyle/>
          <a:p>
            <a:pPr marL="342900" marR="0" lvl="0" indent="-342900" algn="l" defTabSz="914400" rtl="0" eaLnBrk="1" fontAlgn="auto" latinLnBrk="0" hangingPunct="1">
              <a:lnSpc>
                <a:spcPct val="107000"/>
              </a:lnSpc>
              <a:spcBef>
                <a:spcPts val="0"/>
              </a:spcBef>
              <a:spcAft>
                <a:spcPts val="800"/>
              </a:spcAft>
              <a:buClrTx/>
              <a:buSzTx/>
              <a:buFontTx/>
              <a:buChar char="-"/>
              <a:tabLst/>
              <a:defRPr/>
            </a:pPr>
            <a:r>
              <a:rPr kumimoji="0" lang="de-DE" sz="2200" b="0" i="0" u="none" strike="noStrike" kern="100" cap="none" spc="0" normalizeH="0" baseline="0" noProof="0" dirty="0">
                <a:ln>
                  <a:noFill/>
                </a:ln>
                <a:solidFill>
                  <a:srgbClr val="000000"/>
                </a:solidFill>
                <a:effectLst/>
                <a:uLnTx/>
                <a:uFillTx/>
                <a:latin typeface="Arial" panose="020B0604020202020204" pitchFamily="34" charset="0"/>
                <a:ea typeface="Calibri" panose="020F0502020204030204" pitchFamily="34" charset="0"/>
                <a:cs typeface="Arial" panose="020B0604020202020204" pitchFamily="34" charset="0"/>
              </a:rPr>
              <a:t>The </a:t>
            </a:r>
            <a:r>
              <a:rPr kumimoji="0" lang="de-DE" sz="2200" i="0" u="none" strike="noStrike" kern="100" cap="none" spc="0" normalizeH="0" baseline="0" noProof="0" dirty="0" err="1">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formula</a:t>
            </a:r>
            <a:r>
              <a:rPr kumimoji="0" lang="de-DE" sz="2200" b="0" i="0" u="none" strike="noStrike" kern="100" cap="none" spc="0" normalizeH="0" baseline="0" noProof="0" dirty="0">
                <a:ln>
                  <a:noFill/>
                </a:ln>
                <a:solidFill>
                  <a:srgbClr val="000000"/>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200" b="0" i="0" u="none" strike="noStrike" kern="100" cap="none" spc="0" normalizeH="0" baseline="0" noProof="0" dirty="0" err="1">
                <a:ln>
                  <a:noFill/>
                </a:ln>
                <a:solidFill>
                  <a:srgbClr val="000000"/>
                </a:solidFill>
                <a:effectLst/>
                <a:uLnTx/>
                <a:uFillTx/>
                <a:latin typeface="Arial" panose="020B0604020202020204" pitchFamily="34" charset="0"/>
                <a:ea typeface="Calibri" panose="020F0502020204030204" pitchFamily="34" charset="0"/>
                <a:cs typeface="Arial" panose="020B0604020202020204" pitchFamily="34" charset="0"/>
              </a:rPr>
              <a:t>can</a:t>
            </a:r>
            <a:r>
              <a:rPr kumimoji="0" lang="de-DE" sz="2200" b="0" i="0" u="none" strike="noStrike" kern="100" cap="none" spc="0" normalizeH="0" baseline="0" noProof="0" dirty="0">
                <a:ln>
                  <a:noFill/>
                </a:ln>
                <a:solidFill>
                  <a:srgbClr val="000000"/>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200" b="0" i="0" u="none" strike="noStrike" kern="100" cap="none" spc="0" normalizeH="0" baseline="0" noProof="0" dirty="0" err="1">
                <a:ln>
                  <a:noFill/>
                </a:ln>
                <a:solidFill>
                  <a:srgbClr val="000000"/>
                </a:solidFill>
                <a:effectLst/>
                <a:uLnTx/>
                <a:uFillTx/>
                <a:latin typeface="Arial" panose="020B0604020202020204" pitchFamily="34" charset="0"/>
                <a:ea typeface="Calibri" panose="020F0502020204030204" pitchFamily="34" charset="0"/>
                <a:cs typeface="Arial" panose="020B0604020202020204" pitchFamily="34" charset="0"/>
              </a:rPr>
              <a:t>be</a:t>
            </a:r>
            <a:r>
              <a:rPr kumimoji="0" lang="de-DE" sz="2200" b="0" i="0" u="none" strike="noStrike" kern="100" cap="none" spc="0" normalizeH="0" baseline="0" noProof="0" dirty="0">
                <a:ln>
                  <a:noFill/>
                </a:ln>
                <a:solidFill>
                  <a:srgbClr val="000000"/>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200" b="0" i="0" u="none" strike="noStrike" kern="100" cap="none" spc="0" normalizeH="0" baseline="0" noProof="0" dirty="0" err="1">
                <a:ln>
                  <a:noFill/>
                </a:ln>
                <a:solidFill>
                  <a:srgbClr val="000000"/>
                </a:solidFill>
                <a:effectLst/>
                <a:uLnTx/>
                <a:uFillTx/>
                <a:latin typeface="Arial" panose="020B0604020202020204" pitchFamily="34" charset="0"/>
                <a:ea typeface="Calibri" panose="020F0502020204030204" pitchFamily="34" charset="0"/>
                <a:cs typeface="Arial" panose="020B0604020202020204" pitchFamily="34" charset="0"/>
              </a:rPr>
              <a:t>used</a:t>
            </a:r>
            <a:r>
              <a:rPr kumimoji="0" lang="de-DE" sz="2200" b="0" i="0" u="none" strike="noStrike" kern="100" cap="none" spc="0" normalizeH="0" baseline="0" noProof="0" dirty="0">
                <a:ln>
                  <a:noFill/>
                </a:ln>
                <a:solidFill>
                  <a:srgbClr val="000000"/>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200" b="0" i="0" u="none" strike="noStrike" kern="100" cap="none" spc="0" normalizeH="0" baseline="0" noProof="0" dirty="0" err="1">
                <a:ln>
                  <a:noFill/>
                </a:ln>
                <a:solidFill>
                  <a:srgbClr val="000000"/>
                </a:solidFill>
                <a:effectLst/>
                <a:uLnTx/>
                <a:uFillTx/>
                <a:latin typeface="Arial" panose="020B0604020202020204" pitchFamily="34" charset="0"/>
                <a:ea typeface="Calibri" panose="020F0502020204030204" pitchFamily="34" charset="0"/>
                <a:cs typeface="Arial" panose="020B0604020202020204" pitchFamily="34" charset="0"/>
              </a:rPr>
              <a:t>to</a:t>
            </a:r>
            <a:r>
              <a:rPr kumimoji="0" lang="de-DE" sz="2200" b="0" i="0" u="none" strike="noStrike" kern="100" cap="none" spc="0" normalizeH="0" baseline="0" noProof="0" dirty="0">
                <a:ln>
                  <a:noFill/>
                </a:ln>
                <a:solidFill>
                  <a:srgbClr val="000000"/>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200" b="0" i="0" u="none" strike="noStrike" kern="100" cap="none" spc="0" normalizeH="0" baseline="0" noProof="0" dirty="0" err="1">
                <a:ln>
                  <a:noFill/>
                </a:ln>
                <a:solidFill>
                  <a:srgbClr val="000000"/>
                </a:solidFill>
                <a:effectLst/>
                <a:uLnTx/>
                <a:uFillTx/>
                <a:latin typeface="Arial" panose="020B0604020202020204" pitchFamily="34" charset="0"/>
                <a:ea typeface="Calibri" panose="020F0502020204030204" pitchFamily="34" charset="0"/>
                <a:cs typeface="Arial" panose="020B0604020202020204" pitchFamily="34" charset="0"/>
              </a:rPr>
              <a:t>calculate</a:t>
            </a:r>
            <a:r>
              <a:rPr kumimoji="0" lang="de-DE" sz="2200" b="0" i="0" u="none" strike="noStrike" kern="100" cap="none" spc="0" normalizeH="0" baseline="0" noProof="0" dirty="0">
                <a:ln>
                  <a:noFill/>
                </a:ln>
                <a:solidFill>
                  <a:srgbClr val="000000"/>
                </a:solidFill>
                <a:effectLst/>
                <a:uLnTx/>
                <a:uFillTx/>
                <a:latin typeface="Arial" panose="020B0604020202020204" pitchFamily="34" charset="0"/>
                <a:ea typeface="Calibri" panose="020F0502020204030204" pitchFamily="34" charset="0"/>
                <a:cs typeface="Arial" panose="020B0604020202020204" pitchFamily="34" charset="0"/>
              </a:rPr>
              <a:t> different </a:t>
            </a:r>
            <a:r>
              <a:rPr kumimoji="0" lang="de-DE" sz="2200" b="0" i="0" u="none" strike="noStrike" kern="100" cap="none" spc="0" normalizeH="0" baseline="0" noProof="0" dirty="0" err="1">
                <a:ln>
                  <a:noFill/>
                </a:ln>
                <a:solidFill>
                  <a:srgbClr val="000000"/>
                </a:solidFill>
                <a:effectLst/>
                <a:uLnTx/>
                <a:uFillTx/>
                <a:latin typeface="Arial" panose="020B0604020202020204" pitchFamily="34" charset="0"/>
                <a:ea typeface="Calibri" panose="020F0502020204030204" pitchFamily="34" charset="0"/>
                <a:cs typeface="Arial" panose="020B0604020202020204" pitchFamily="34" charset="0"/>
              </a:rPr>
              <a:t>types</a:t>
            </a:r>
            <a:r>
              <a:rPr kumimoji="0" lang="de-DE" sz="2200" b="0" i="0" u="none" strike="noStrike" kern="100" cap="none" spc="0" normalizeH="0" baseline="0" noProof="0" dirty="0">
                <a:ln>
                  <a:noFill/>
                </a:ln>
                <a:solidFill>
                  <a:srgbClr val="000000"/>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200" b="0" i="0" u="none" strike="noStrike" kern="100" cap="none" spc="0" normalizeH="0" baseline="0" noProof="0" dirty="0" err="1">
                <a:ln>
                  <a:noFill/>
                </a:ln>
                <a:solidFill>
                  <a:srgbClr val="000000"/>
                </a:solidFill>
                <a:effectLst/>
                <a:uLnTx/>
                <a:uFillTx/>
                <a:latin typeface="Arial" panose="020B0604020202020204" pitchFamily="34" charset="0"/>
                <a:ea typeface="Calibri" panose="020F0502020204030204" pitchFamily="34" charset="0"/>
                <a:cs typeface="Arial" panose="020B0604020202020204" pitchFamily="34" charset="0"/>
              </a:rPr>
              <a:t>of</a:t>
            </a:r>
            <a:r>
              <a:rPr kumimoji="0" lang="de-DE" sz="2200" b="0" i="0" u="none" strike="noStrike" kern="100" cap="none" spc="0" normalizeH="0" baseline="0" noProof="0" dirty="0">
                <a:ln>
                  <a:noFill/>
                </a:ln>
                <a:solidFill>
                  <a:srgbClr val="000000"/>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200" i="0" u="none" strike="noStrike" kern="100" cap="none" spc="0" normalizeH="0" baseline="0" noProof="0" dirty="0" err="1">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Hydraulic</a:t>
            </a:r>
            <a:r>
              <a:rPr kumimoji="0" lang="de-DE" sz="2200" i="0" u="none" strike="noStrike" kern="100" cap="none" spc="0" normalizeH="0" baseline="0" noProof="0" dirty="0">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 Radial Forces</a:t>
            </a:r>
            <a:r>
              <a:rPr kumimoji="0" lang="de-DE" sz="2200" b="0" i="0" u="none" strike="noStrike" kern="100" cap="none" spc="0" normalizeH="0" baseline="0" noProof="0" dirty="0">
                <a:ln>
                  <a:noFill/>
                </a:ln>
                <a:solidFill>
                  <a:srgbClr val="000000"/>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200" b="0" i="0" u="none" strike="noStrike" kern="100" cap="none" spc="0" normalizeH="0" baseline="0" noProof="0" dirty="0" err="1">
                <a:ln>
                  <a:noFill/>
                </a:ln>
                <a:solidFill>
                  <a:srgbClr val="000000"/>
                </a:solidFill>
                <a:effectLst/>
                <a:uLnTx/>
                <a:uFillTx/>
                <a:latin typeface="Arial" panose="020B0604020202020204" pitchFamily="34" charset="0"/>
                <a:ea typeface="Calibri" panose="020F0502020204030204" pitchFamily="34" charset="0"/>
                <a:cs typeface="Arial" panose="020B0604020202020204" pitchFamily="34" charset="0"/>
              </a:rPr>
              <a:t>acting</a:t>
            </a:r>
            <a:r>
              <a:rPr kumimoji="0" lang="de-DE" sz="2200" b="0" i="0" u="none" strike="noStrike" kern="100" cap="none" spc="0" normalizeH="0" baseline="0" noProof="0" dirty="0">
                <a:ln>
                  <a:noFill/>
                </a:ln>
                <a:solidFill>
                  <a:srgbClr val="000000"/>
                </a:solidFill>
                <a:effectLst/>
                <a:uLnTx/>
                <a:uFillTx/>
                <a:latin typeface="Arial" panose="020B0604020202020204" pitchFamily="34" charset="0"/>
                <a:ea typeface="Calibri" panose="020F0502020204030204" pitchFamily="34" charset="0"/>
                <a:cs typeface="Arial" panose="020B0604020202020204" pitchFamily="34" charset="0"/>
              </a:rPr>
              <a:t> at </a:t>
            </a:r>
            <a:r>
              <a:rPr kumimoji="0" lang="de-DE" sz="2200" b="0" i="0" u="none" strike="noStrike" kern="100" cap="none" spc="0" normalizeH="0" baseline="0" noProof="0" dirty="0" err="1">
                <a:ln>
                  <a:noFill/>
                </a:ln>
                <a:solidFill>
                  <a:srgbClr val="000000"/>
                </a:solidFill>
                <a:effectLst/>
                <a:uLnTx/>
                <a:uFillTx/>
                <a:latin typeface="Arial" panose="020B0604020202020204" pitchFamily="34" charset="0"/>
                <a:ea typeface="Calibri" panose="020F0502020204030204" pitchFamily="34" charset="0"/>
                <a:cs typeface="Arial" panose="020B0604020202020204" pitchFamily="34" charset="0"/>
              </a:rPr>
              <a:t>the</a:t>
            </a:r>
            <a:r>
              <a:rPr kumimoji="0" lang="de-DE" sz="2200" b="0" i="0" u="none" strike="noStrike" kern="100" cap="none" spc="0" normalizeH="0" baseline="0" noProof="0" dirty="0">
                <a:ln>
                  <a:noFill/>
                </a:ln>
                <a:solidFill>
                  <a:srgbClr val="000000"/>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200" b="0" i="0" u="none" strike="noStrike" kern="100" cap="none" spc="0" normalizeH="0" baseline="0" noProof="0" dirty="0" err="1">
                <a:ln>
                  <a:noFill/>
                </a:ln>
                <a:solidFill>
                  <a:srgbClr val="000000"/>
                </a:solidFill>
                <a:effectLst/>
                <a:uLnTx/>
                <a:uFillTx/>
                <a:latin typeface="Arial" panose="020B0604020202020204" pitchFamily="34" charset="0"/>
                <a:ea typeface="Calibri" panose="020F0502020204030204" pitchFamily="34" charset="0"/>
                <a:cs typeface="Arial" panose="020B0604020202020204" pitchFamily="34" charset="0"/>
              </a:rPr>
              <a:t>impeller</a:t>
            </a:r>
            <a:r>
              <a:rPr kumimoji="0" lang="de-DE" sz="2200" b="0" i="0" u="none" strike="noStrike" kern="100" cap="none" spc="0" normalizeH="0" baseline="0" noProof="0" dirty="0">
                <a:ln>
                  <a:noFill/>
                </a:ln>
                <a:solidFill>
                  <a:srgbClr val="000000"/>
                </a:solidFill>
                <a:effectLst/>
                <a:uLnTx/>
                <a:uFillTx/>
                <a:latin typeface="Arial" panose="020B0604020202020204" pitchFamily="34" charset="0"/>
                <a:ea typeface="Calibri" panose="020F0502020204030204" pitchFamily="34" charset="0"/>
                <a:cs typeface="Arial" panose="020B0604020202020204" pitchFamily="34" charset="0"/>
              </a:rPr>
              <a:t>  e.g. </a:t>
            </a:r>
            <a:r>
              <a:rPr kumimoji="0" lang="de-DE" sz="2200" i="0" u="none" strike="noStrike" kern="100" cap="none" spc="0" normalizeH="0" baseline="0" noProof="0" dirty="0" err="1">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Hydraulic</a:t>
            </a:r>
            <a:r>
              <a:rPr kumimoji="0" lang="de-DE" sz="2200" i="0" u="none" strike="noStrike" kern="100" cap="none" spc="0" normalizeH="0" baseline="0" noProof="0" dirty="0">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200" i="0" u="none" strike="noStrike" kern="100" cap="none" spc="0" normalizeH="0" baseline="0" noProof="0" dirty="0" err="1">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Unbalance</a:t>
            </a:r>
            <a:r>
              <a:rPr kumimoji="0" lang="de-DE" sz="2200" i="0" u="none" strike="noStrike" kern="100" cap="none" spc="0" normalizeH="0" baseline="0" noProof="0" dirty="0">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 Forces</a:t>
            </a:r>
            <a:r>
              <a:rPr kumimoji="0" lang="de-DE" sz="2200" b="0" i="0" u="none" strike="noStrike" kern="100" cap="none" spc="0" normalizeH="0" baseline="0" noProof="0" dirty="0">
                <a:ln>
                  <a:noFill/>
                </a:ln>
                <a:solidFill>
                  <a:srgbClr val="000000"/>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200" b="0" i="0" u="none" strike="noStrike" kern="100" cap="none" spc="0" normalizeH="0" baseline="0" noProof="0" dirty="0" err="1">
                <a:ln>
                  <a:noFill/>
                </a:ln>
                <a:solidFill>
                  <a:srgbClr val="000000"/>
                </a:solidFill>
                <a:effectLst/>
                <a:uLnTx/>
                <a:uFillTx/>
                <a:latin typeface="Arial" panose="020B0604020202020204" pitchFamily="34" charset="0"/>
                <a:ea typeface="Calibri" panose="020F0502020204030204" pitchFamily="34" charset="0"/>
                <a:cs typeface="Arial" panose="020B0604020202020204" pitchFamily="34" charset="0"/>
              </a:rPr>
              <a:t>Hydraulic</a:t>
            </a:r>
            <a:r>
              <a:rPr kumimoji="0" lang="de-DE" sz="2200" b="0" i="0" u="none" strike="noStrike" kern="100" cap="none" spc="0" normalizeH="0" baseline="0" noProof="0" dirty="0">
                <a:ln>
                  <a:noFill/>
                </a:ln>
                <a:solidFill>
                  <a:srgbClr val="000000"/>
                </a:solidFill>
                <a:effectLst/>
                <a:uLnTx/>
                <a:uFillTx/>
                <a:latin typeface="Arial" panose="020B0604020202020204" pitchFamily="34" charset="0"/>
                <a:ea typeface="Calibri" panose="020F0502020204030204" pitchFamily="34" charset="0"/>
                <a:cs typeface="Arial" panose="020B0604020202020204" pitchFamily="34" charset="0"/>
              </a:rPr>
              <a:t> Forces </a:t>
            </a:r>
            <a:r>
              <a:rPr kumimoji="0" lang="de-DE" sz="2200" b="0" i="0" u="none" strike="noStrike" kern="100" cap="none" spc="0" normalizeH="0" baseline="0" noProof="0" dirty="0" err="1">
                <a:ln>
                  <a:noFill/>
                </a:ln>
                <a:solidFill>
                  <a:srgbClr val="000000"/>
                </a:solidFill>
                <a:effectLst/>
                <a:uLnTx/>
                <a:uFillTx/>
                <a:latin typeface="Arial" panose="020B0604020202020204" pitchFamily="34" charset="0"/>
                <a:ea typeface="Calibri" panose="020F0502020204030204" pitchFamily="34" charset="0"/>
                <a:cs typeface="Arial" panose="020B0604020202020204" pitchFamily="34" charset="0"/>
              </a:rPr>
              <a:t>for</a:t>
            </a:r>
            <a:r>
              <a:rPr kumimoji="0" lang="de-DE" sz="2200" b="0" i="0" u="none" strike="noStrike" kern="100" cap="none" spc="0" normalizeH="0" baseline="0" noProof="0" dirty="0">
                <a:ln>
                  <a:noFill/>
                </a:ln>
                <a:solidFill>
                  <a:srgbClr val="000000"/>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200" i="0" u="none" strike="noStrike" kern="100" cap="none" spc="0" normalizeH="0" baseline="0" noProof="0" dirty="0">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Vane Passing </a:t>
            </a:r>
            <a:r>
              <a:rPr kumimoji="0" lang="de-DE" sz="2200" i="0" u="none" strike="noStrike" kern="100" cap="none" spc="0" normalizeH="0" baseline="0" noProof="0" dirty="0" err="1">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Frequenies</a:t>
            </a:r>
            <a:r>
              <a:rPr kumimoji="0" lang="de-DE" sz="2200" b="0" i="0" u="none" strike="noStrike" kern="100" cap="none" spc="0" normalizeH="0" baseline="0" noProof="0" dirty="0">
                <a:ln>
                  <a:noFill/>
                </a:ln>
                <a:solidFill>
                  <a:srgbClr val="000000"/>
                </a:solidFill>
                <a:effectLst/>
                <a:uLnTx/>
                <a:uFillTx/>
                <a:latin typeface="Arial" panose="020B0604020202020204" pitchFamily="34" charset="0"/>
                <a:ea typeface="Calibri" panose="020F0502020204030204" pitchFamily="34" charset="0"/>
                <a:cs typeface="Arial" panose="020B0604020202020204" pitchFamily="34" charset="0"/>
              </a:rPr>
              <a:t>, etc….).</a:t>
            </a:r>
          </a:p>
        </p:txBody>
      </p:sp>
      <p:sp>
        <p:nvSpPr>
          <p:cNvPr id="5" name="Textfeld 4">
            <a:extLst>
              <a:ext uri="{FF2B5EF4-FFF2-40B4-BE49-F238E27FC236}">
                <a16:creationId xmlns:a16="http://schemas.microsoft.com/office/drawing/2014/main" id="{2EF2AB2C-83D9-00B5-8337-768093BA3AAC}"/>
              </a:ext>
            </a:extLst>
          </p:cNvPr>
          <p:cNvSpPr txBox="1"/>
          <p:nvPr/>
        </p:nvSpPr>
        <p:spPr>
          <a:xfrm>
            <a:off x="437575" y="116896"/>
            <a:ext cx="11068131" cy="830997"/>
          </a:xfrm>
          <a:prstGeom prst="rect">
            <a:avLst/>
          </a:prstGeom>
          <a:noFill/>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de-DE" sz="2400" b="1" i="0" u="none" strike="noStrike" kern="1200" cap="none" spc="0" normalizeH="0" baseline="0" noProof="0" dirty="0">
                <a:ln>
                  <a:noFill/>
                </a:ln>
                <a:solidFill>
                  <a:srgbClr val="0000FF"/>
                </a:solidFill>
                <a:effectLst/>
                <a:uLnTx/>
                <a:uFillTx/>
                <a:latin typeface="Arial"/>
                <a:ea typeface="+mn-ea"/>
                <a:cs typeface="+mn-cs"/>
              </a:rPr>
              <a:t>Vibration </a:t>
            </a:r>
            <a:r>
              <a:rPr kumimoji="0" lang="de-DE" sz="2400" b="1" i="0" u="none" strike="noStrike" kern="1200" cap="none" spc="0" normalizeH="0" baseline="0" noProof="0" dirty="0" err="1">
                <a:ln>
                  <a:noFill/>
                </a:ln>
                <a:solidFill>
                  <a:srgbClr val="0000FF"/>
                </a:solidFill>
                <a:effectLst/>
                <a:uLnTx/>
                <a:uFillTx/>
                <a:latin typeface="Arial"/>
                <a:ea typeface="+mn-ea"/>
                <a:cs typeface="+mn-cs"/>
              </a:rPr>
              <a:t>Phenomena</a:t>
            </a:r>
            <a:r>
              <a:rPr kumimoji="0" lang="de-DE" sz="2400" b="1" i="0" u="none" strike="noStrike" kern="1200" cap="none" spc="0" normalizeH="0" baseline="0" noProof="0" dirty="0">
                <a:ln>
                  <a:noFill/>
                </a:ln>
                <a:solidFill>
                  <a:srgbClr val="0000FF"/>
                </a:solidFill>
                <a:effectLst/>
                <a:uLnTx/>
                <a:uFillTx/>
                <a:latin typeface="Arial"/>
                <a:ea typeface="+mn-ea"/>
                <a:cs typeface="+mn-cs"/>
              </a:rPr>
              <a:t> </a:t>
            </a:r>
            <a:r>
              <a:rPr kumimoji="0" lang="de-DE" sz="2400" b="1" i="0" u="none" strike="noStrike" kern="1200" cap="none" spc="0" normalizeH="0" baseline="0" noProof="0" dirty="0" err="1">
                <a:ln>
                  <a:noFill/>
                </a:ln>
                <a:solidFill>
                  <a:srgbClr val="0000FF"/>
                </a:solidFill>
                <a:effectLst/>
                <a:uLnTx/>
                <a:uFillTx/>
                <a:latin typeface="Arial"/>
                <a:ea typeface="+mn-ea"/>
                <a:cs typeface="+mn-cs"/>
              </a:rPr>
              <a:t>of</a:t>
            </a:r>
            <a:r>
              <a:rPr kumimoji="0" lang="de-DE" sz="2400" b="1" i="0" u="none" strike="noStrike" kern="1200" cap="none" spc="0" normalizeH="0" baseline="0" noProof="0" dirty="0">
                <a:ln>
                  <a:noFill/>
                </a:ln>
                <a:solidFill>
                  <a:srgbClr val="0000FF"/>
                </a:solidFill>
                <a:effectLst/>
                <a:uLnTx/>
                <a:uFillTx/>
                <a:latin typeface="Arial"/>
                <a:ea typeface="+mn-ea"/>
                <a:cs typeface="+mn-cs"/>
              </a:rPr>
              <a:t> </a:t>
            </a:r>
            <a:r>
              <a:rPr kumimoji="0" lang="de-DE" sz="2400" b="1" i="0" u="none" strike="noStrike" kern="1200" cap="none" spc="0" normalizeH="0" baseline="0" noProof="0" dirty="0" err="1">
                <a:ln>
                  <a:noFill/>
                </a:ln>
                <a:solidFill>
                  <a:srgbClr val="0000FF"/>
                </a:solidFill>
                <a:effectLst/>
                <a:uLnTx/>
                <a:uFillTx/>
                <a:latin typeface="Arial"/>
                <a:ea typeface="+mn-ea"/>
                <a:cs typeface="+mn-cs"/>
              </a:rPr>
              <a:t>the</a:t>
            </a:r>
            <a:r>
              <a:rPr kumimoji="0" lang="de-DE" sz="2400" b="1" i="0" u="none" strike="noStrike" kern="1200" cap="none" spc="0" normalizeH="0" baseline="0" noProof="0" dirty="0">
                <a:ln>
                  <a:noFill/>
                </a:ln>
                <a:solidFill>
                  <a:srgbClr val="0000FF"/>
                </a:solidFill>
                <a:effectLst/>
                <a:uLnTx/>
                <a:uFillTx/>
                <a:latin typeface="Arial"/>
                <a:ea typeface="+mn-ea"/>
                <a:cs typeface="+mn-cs"/>
              </a:rPr>
              <a:t> Horizontal </a:t>
            </a:r>
            <a:r>
              <a:rPr kumimoji="0" lang="de-DE" sz="2400" b="1" i="0" u="none" strike="noStrike" kern="1200" cap="none" spc="0" normalizeH="0" baseline="0" noProof="0" dirty="0" err="1">
                <a:ln>
                  <a:noFill/>
                </a:ln>
                <a:solidFill>
                  <a:srgbClr val="0000FF"/>
                </a:solidFill>
                <a:effectLst/>
                <a:uLnTx/>
                <a:uFillTx/>
                <a:latin typeface="Arial"/>
                <a:ea typeface="+mn-ea"/>
                <a:cs typeface="+mn-cs"/>
              </a:rPr>
              <a:t>Feedwater</a:t>
            </a:r>
            <a:r>
              <a:rPr kumimoji="0" lang="de-DE" sz="2400" b="1" i="0" u="none" strike="noStrike" kern="1200" cap="none" spc="0" normalizeH="0" baseline="0" noProof="0" dirty="0">
                <a:ln>
                  <a:noFill/>
                </a:ln>
                <a:solidFill>
                  <a:srgbClr val="0000FF"/>
                </a:solidFill>
                <a:effectLst/>
                <a:uLnTx/>
                <a:uFillTx/>
                <a:latin typeface="Arial"/>
                <a:ea typeface="+mn-ea"/>
                <a:cs typeface="+mn-cs"/>
              </a:rPr>
              <a:t> Pump </a:t>
            </a:r>
            <a:r>
              <a:rPr lang="de-DE" sz="2400" dirty="0">
                <a:solidFill>
                  <a:srgbClr val="0000FF"/>
                </a:solidFill>
                <a:latin typeface="Arial"/>
              </a:rPr>
              <a:t>OL3</a:t>
            </a:r>
            <a:r>
              <a:rPr kumimoji="0" lang="de-DE" sz="2400" b="1" i="0" u="none" strike="noStrike" kern="1200" cap="none" spc="0" normalizeH="0" baseline="0" noProof="0" dirty="0">
                <a:ln>
                  <a:noFill/>
                </a:ln>
                <a:solidFill>
                  <a:srgbClr val="0000FF"/>
                </a:solidFill>
                <a:effectLst/>
                <a:uLnTx/>
                <a:uFillTx/>
                <a:latin typeface="Arial"/>
                <a:ea typeface="+mn-ea"/>
                <a:cs typeface="+mn-cs"/>
              </a:rPr>
              <a:t> </a:t>
            </a:r>
          </a:p>
          <a:p>
            <a:pPr marL="0" marR="0" lvl="0" indent="0" algn="l" defTabSz="914400" rtl="0" eaLnBrk="0" fontAlgn="base" latinLnBrk="0" hangingPunct="0">
              <a:lnSpc>
                <a:spcPct val="100000"/>
              </a:lnSpc>
              <a:spcBef>
                <a:spcPct val="0"/>
              </a:spcBef>
              <a:spcAft>
                <a:spcPct val="0"/>
              </a:spcAft>
              <a:buClrTx/>
              <a:buSzTx/>
              <a:buFontTx/>
              <a:buNone/>
              <a:tabLst/>
              <a:defRPr/>
            </a:pPr>
            <a:r>
              <a:rPr lang="de-DE" sz="2400" b="0" dirty="0">
                <a:latin typeface="Arial"/>
              </a:rPr>
              <a:t>Force </a:t>
            </a:r>
            <a:r>
              <a:rPr lang="de-DE" sz="2400" b="0" dirty="0" err="1">
                <a:latin typeface="Arial"/>
              </a:rPr>
              <a:t>Coefficient</a:t>
            </a:r>
            <a:r>
              <a:rPr lang="de-DE" sz="2400" b="0" dirty="0">
                <a:latin typeface="Arial"/>
              </a:rPr>
              <a:t> </a:t>
            </a:r>
            <a:r>
              <a:rPr lang="de-DE" sz="2400" b="0" dirty="0" err="1">
                <a:latin typeface="Arial"/>
              </a:rPr>
              <a:t>for</a:t>
            </a:r>
            <a:r>
              <a:rPr lang="de-DE" sz="2400" b="0" dirty="0">
                <a:latin typeface="Arial"/>
              </a:rPr>
              <a:t> </a:t>
            </a:r>
            <a:r>
              <a:rPr lang="de-DE" sz="2400" b="0" dirty="0" err="1">
                <a:latin typeface="Arial"/>
              </a:rPr>
              <a:t>Hydraulic</a:t>
            </a:r>
            <a:r>
              <a:rPr lang="de-DE" sz="2400" b="0" dirty="0">
                <a:latin typeface="Arial"/>
              </a:rPr>
              <a:t> </a:t>
            </a:r>
            <a:r>
              <a:rPr lang="de-DE" sz="2400" b="0" dirty="0" err="1">
                <a:latin typeface="Arial"/>
              </a:rPr>
              <a:t>Excitation</a:t>
            </a:r>
            <a:r>
              <a:rPr lang="de-DE" sz="2400" b="0" dirty="0">
                <a:latin typeface="Arial"/>
              </a:rPr>
              <a:t> Forces in Pump Impellers</a:t>
            </a:r>
            <a:endParaRPr kumimoji="0" lang="de-DE" sz="2400" b="0" i="0" u="none" strike="noStrike" kern="1200" cap="none" spc="0" normalizeH="0" baseline="0" noProof="0" dirty="0">
              <a:ln>
                <a:noFill/>
              </a:ln>
              <a:effectLst/>
              <a:uLnTx/>
              <a:uFillTx/>
              <a:latin typeface="Arial"/>
              <a:ea typeface="+mn-ea"/>
              <a:cs typeface="+mn-cs"/>
            </a:endParaRPr>
          </a:p>
        </p:txBody>
      </p:sp>
    </p:spTree>
    <p:extLst>
      <p:ext uri="{BB962C8B-B14F-4D97-AF65-F5344CB8AC3E}">
        <p14:creationId xmlns:p14="http://schemas.microsoft.com/office/powerpoint/2010/main" val="371371581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Grafik 2">
            <a:extLst>
              <a:ext uri="{FF2B5EF4-FFF2-40B4-BE49-F238E27FC236}">
                <a16:creationId xmlns:a16="http://schemas.microsoft.com/office/drawing/2014/main" id="{D8EA026C-6416-85BD-91C6-397A034218F0}"/>
              </a:ext>
            </a:extLst>
          </p:cNvPr>
          <p:cNvPicPr>
            <a:picLocks noChangeAspect="1"/>
          </p:cNvPicPr>
          <p:nvPr/>
        </p:nvPicPr>
        <p:blipFill>
          <a:blip r:embed="rId2"/>
          <a:stretch>
            <a:fillRect/>
          </a:stretch>
        </p:blipFill>
        <p:spPr>
          <a:xfrm>
            <a:off x="458424" y="1312516"/>
            <a:ext cx="11275151" cy="5370285"/>
          </a:xfrm>
          <a:prstGeom prst="rect">
            <a:avLst/>
          </a:prstGeom>
          <a:solidFill>
            <a:srgbClr val="FF0000"/>
          </a:solidFill>
        </p:spPr>
      </p:pic>
      <p:sp>
        <p:nvSpPr>
          <p:cNvPr id="21" name="Textfeld 20">
            <a:extLst>
              <a:ext uri="{FF2B5EF4-FFF2-40B4-BE49-F238E27FC236}">
                <a16:creationId xmlns:a16="http://schemas.microsoft.com/office/drawing/2014/main" id="{863F315D-C954-B47C-7C12-14964D086CDA}"/>
              </a:ext>
            </a:extLst>
          </p:cNvPr>
          <p:cNvSpPr txBox="1"/>
          <p:nvPr/>
        </p:nvSpPr>
        <p:spPr>
          <a:xfrm>
            <a:off x="1413933" y="1723088"/>
            <a:ext cx="8785333" cy="400110"/>
          </a:xfrm>
          <a:prstGeom prst="rect">
            <a:avLst/>
          </a:prstGeom>
          <a:noFill/>
        </p:spPr>
        <p:txBody>
          <a:bodyPr wrap="square" rtlCol="0">
            <a:spAutoFit/>
          </a:bodyPr>
          <a:lstStyle/>
          <a:p>
            <a:r>
              <a:rPr lang="de-DE" sz="2000" dirty="0" err="1">
                <a:solidFill>
                  <a:srgbClr val="0000FF"/>
                </a:solidFill>
                <a:latin typeface="Arial" panose="020B0604020202020204" pitchFamily="34" charset="0"/>
                <a:cs typeface="Arial" panose="020B0604020202020204" pitchFamily="34" charset="0"/>
              </a:rPr>
              <a:t>Hydraulic</a:t>
            </a:r>
            <a:r>
              <a:rPr lang="de-DE" sz="2000" dirty="0">
                <a:solidFill>
                  <a:srgbClr val="0000FF"/>
                </a:solidFill>
                <a:latin typeface="Arial" panose="020B0604020202020204" pitchFamily="34" charset="0"/>
                <a:cs typeface="Arial" panose="020B0604020202020204" pitchFamily="34" charset="0"/>
              </a:rPr>
              <a:t> </a:t>
            </a:r>
            <a:r>
              <a:rPr lang="de-DE" sz="2000" dirty="0" err="1">
                <a:solidFill>
                  <a:srgbClr val="0000FF"/>
                </a:solidFill>
                <a:latin typeface="Arial" panose="020B0604020202020204" pitchFamily="34" charset="0"/>
                <a:cs typeface="Arial" panose="020B0604020202020204" pitchFamily="34" charset="0"/>
              </a:rPr>
              <a:t>Unbalance</a:t>
            </a:r>
            <a:r>
              <a:rPr lang="de-DE" sz="2000" dirty="0">
                <a:solidFill>
                  <a:srgbClr val="0000FF"/>
                </a:solidFill>
                <a:latin typeface="Arial" panose="020B0604020202020204" pitchFamily="34" charset="0"/>
                <a:cs typeface="Arial" panose="020B0604020202020204" pitchFamily="34" charset="0"/>
              </a:rPr>
              <a:t>                                           Vane Pass </a:t>
            </a:r>
            <a:r>
              <a:rPr lang="de-DE" sz="2000" dirty="0" err="1">
                <a:solidFill>
                  <a:srgbClr val="0000FF"/>
                </a:solidFill>
                <a:latin typeface="Arial" panose="020B0604020202020204" pitchFamily="34" charset="0"/>
                <a:cs typeface="Arial" panose="020B0604020202020204" pitchFamily="34" charset="0"/>
              </a:rPr>
              <a:t>Frequency</a:t>
            </a:r>
            <a:endParaRPr lang="de-DE" sz="2000" dirty="0">
              <a:solidFill>
                <a:srgbClr val="0000FF"/>
              </a:solidFill>
              <a:latin typeface="Arial" panose="020B0604020202020204" pitchFamily="34" charset="0"/>
              <a:cs typeface="Arial" panose="020B0604020202020204" pitchFamily="34" charset="0"/>
            </a:endParaRPr>
          </a:p>
        </p:txBody>
      </p:sp>
      <p:sp>
        <p:nvSpPr>
          <p:cNvPr id="4" name="Textfeld 3">
            <a:extLst>
              <a:ext uri="{FF2B5EF4-FFF2-40B4-BE49-F238E27FC236}">
                <a16:creationId xmlns:a16="http://schemas.microsoft.com/office/drawing/2014/main" id="{8E581FF9-183C-B00D-774F-C3B3E9E6D5B3}"/>
              </a:ext>
            </a:extLst>
          </p:cNvPr>
          <p:cNvSpPr txBox="1"/>
          <p:nvPr/>
        </p:nvSpPr>
        <p:spPr>
          <a:xfrm>
            <a:off x="726509" y="100208"/>
            <a:ext cx="10739671" cy="830997"/>
          </a:xfrm>
          <a:prstGeom prst="rect">
            <a:avLst/>
          </a:prstGeom>
          <a:noFill/>
        </p:spPr>
        <p:txBody>
          <a:bodyPr wrap="none" rtlCol="0">
            <a:spAutoFit/>
          </a:bodyPr>
          <a:lstStyle/>
          <a:p>
            <a:r>
              <a:rPr lang="de-DE" sz="2400" dirty="0">
                <a:solidFill>
                  <a:srgbClr val="0000FF"/>
                </a:solidFill>
                <a:latin typeface="Arial" panose="020B0604020202020204" pitchFamily="34" charset="0"/>
                <a:cs typeface="Arial" panose="020B0604020202020204" pitchFamily="34" charset="0"/>
              </a:rPr>
              <a:t>Vibration </a:t>
            </a:r>
            <a:r>
              <a:rPr lang="de-DE" sz="2400" dirty="0" err="1">
                <a:solidFill>
                  <a:srgbClr val="0000FF"/>
                </a:solidFill>
                <a:latin typeface="Arial" panose="020B0604020202020204" pitchFamily="34" charset="0"/>
                <a:cs typeface="Arial" panose="020B0604020202020204" pitchFamily="34" charset="0"/>
              </a:rPr>
              <a:t>Phenomena</a:t>
            </a:r>
            <a:r>
              <a:rPr lang="de-DE" sz="2400" dirty="0">
                <a:solidFill>
                  <a:srgbClr val="0000FF"/>
                </a:solidFill>
                <a:latin typeface="Arial" panose="020B0604020202020204" pitchFamily="34" charset="0"/>
                <a:cs typeface="Arial" panose="020B0604020202020204" pitchFamily="34" charset="0"/>
              </a:rPr>
              <a:t> </a:t>
            </a:r>
            <a:r>
              <a:rPr lang="de-DE" sz="2400" dirty="0" err="1">
                <a:solidFill>
                  <a:srgbClr val="0000FF"/>
                </a:solidFill>
                <a:latin typeface="Arial" panose="020B0604020202020204" pitchFamily="34" charset="0"/>
                <a:cs typeface="Arial" panose="020B0604020202020204" pitchFamily="34" charset="0"/>
              </a:rPr>
              <a:t>of</a:t>
            </a:r>
            <a:r>
              <a:rPr lang="de-DE" sz="2400" dirty="0">
                <a:solidFill>
                  <a:srgbClr val="0000FF"/>
                </a:solidFill>
                <a:latin typeface="Arial" panose="020B0604020202020204" pitchFamily="34" charset="0"/>
                <a:cs typeface="Arial" panose="020B0604020202020204" pitchFamily="34" charset="0"/>
              </a:rPr>
              <a:t> </a:t>
            </a:r>
            <a:r>
              <a:rPr lang="de-DE" sz="2400" dirty="0" err="1">
                <a:solidFill>
                  <a:srgbClr val="0000FF"/>
                </a:solidFill>
                <a:latin typeface="Arial" panose="020B0604020202020204" pitchFamily="34" charset="0"/>
                <a:cs typeface="Arial" panose="020B0604020202020204" pitchFamily="34" charset="0"/>
              </a:rPr>
              <a:t>the</a:t>
            </a:r>
            <a:r>
              <a:rPr lang="de-DE" sz="2400" dirty="0">
                <a:solidFill>
                  <a:srgbClr val="0000FF"/>
                </a:solidFill>
                <a:latin typeface="Arial" panose="020B0604020202020204" pitchFamily="34" charset="0"/>
                <a:cs typeface="Arial" panose="020B0604020202020204" pitchFamily="34" charset="0"/>
              </a:rPr>
              <a:t> Horizontal </a:t>
            </a:r>
            <a:r>
              <a:rPr lang="de-DE" sz="2400" dirty="0" err="1">
                <a:solidFill>
                  <a:srgbClr val="0000FF"/>
                </a:solidFill>
                <a:latin typeface="Arial" panose="020B0604020202020204" pitchFamily="34" charset="0"/>
                <a:cs typeface="Arial" panose="020B0604020202020204" pitchFamily="34" charset="0"/>
              </a:rPr>
              <a:t>Feedwater</a:t>
            </a:r>
            <a:r>
              <a:rPr lang="de-DE" sz="2400" dirty="0">
                <a:solidFill>
                  <a:srgbClr val="0000FF"/>
                </a:solidFill>
                <a:latin typeface="Arial" panose="020B0604020202020204" pitchFamily="34" charset="0"/>
                <a:cs typeface="Arial" panose="020B0604020202020204" pitchFamily="34" charset="0"/>
              </a:rPr>
              <a:t> Pump OL3</a:t>
            </a:r>
          </a:p>
          <a:p>
            <a:r>
              <a:rPr lang="de-DE" sz="2400" b="0" dirty="0" err="1">
                <a:latin typeface="Arial" panose="020B0604020202020204" pitchFamily="34" charset="0"/>
                <a:cs typeface="Arial" panose="020B0604020202020204" pitchFamily="34" charset="0"/>
              </a:rPr>
              <a:t>Normalized</a:t>
            </a:r>
            <a:r>
              <a:rPr lang="de-DE" sz="2400" b="0" dirty="0">
                <a:latin typeface="Arial" panose="020B0604020202020204" pitchFamily="34" charset="0"/>
                <a:cs typeface="Arial" panose="020B0604020202020204" pitchFamily="34" charset="0"/>
              </a:rPr>
              <a:t> Force </a:t>
            </a:r>
            <a:r>
              <a:rPr lang="de-DE" sz="2400" b="0" dirty="0" err="1">
                <a:latin typeface="Arial" panose="020B0604020202020204" pitchFamily="34" charset="0"/>
                <a:cs typeface="Arial" panose="020B0604020202020204" pitchFamily="34" charset="0"/>
              </a:rPr>
              <a:t>Coefficients</a:t>
            </a:r>
            <a:r>
              <a:rPr lang="de-DE" sz="2400" b="0" dirty="0">
                <a:latin typeface="Arial" panose="020B0604020202020204" pitchFamily="34" charset="0"/>
                <a:cs typeface="Arial" panose="020B0604020202020204" pitchFamily="34" charset="0"/>
              </a:rPr>
              <a:t> </a:t>
            </a:r>
            <a:r>
              <a:rPr lang="de-DE" sz="2400" b="0" dirty="0" err="1">
                <a:latin typeface="Arial" panose="020B0604020202020204" pitchFamily="34" charset="0"/>
                <a:cs typeface="Arial" panose="020B0604020202020204" pitchFamily="34" charset="0"/>
              </a:rPr>
              <a:t>for</a:t>
            </a:r>
            <a:r>
              <a:rPr lang="de-DE" sz="2400" b="0" dirty="0">
                <a:latin typeface="Arial" panose="020B0604020202020204" pitchFamily="34" charset="0"/>
                <a:cs typeface="Arial" panose="020B0604020202020204" pitchFamily="34" charset="0"/>
              </a:rPr>
              <a:t> </a:t>
            </a:r>
            <a:r>
              <a:rPr lang="de-DE" sz="2400" b="0" dirty="0" err="1">
                <a:latin typeface="Arial" panose="020B0604020202020204" pitchFamily="34" charset="0"/>
                <a:cs typeface="Arial" panose="020B0604020202020204" pitchFamily="34" charset="0"/>
              </a:rPr>
              <a:t>Hydraulich</a:t>
            </a:r>
            <a:r>
              <a:rPr lang="de-DE" sz="2400" b="0" dirty="0">
                <a:latin typeface="Arial" panose="020B0604020202020204" pitchFamily="34" charset="0"/>
                <a:cs typeface="Arial" panose="020B0604020202020204" pitchFamily="34" charset="0"/>
              </a:rPr>
              <a:t> Forces (Sources </a:t>
            </a:r>
            <a:r>
              <a:rPr lang="de-DE" sz="2400" b="0" dirty="0" err="1">
                <a:latin typeface="Arial" panose="020B0604020202020204" pitchFamily="34" charset="0"/>
                <a:cs typeface="Arial" panose="020B0604020202020204" pitchFamily="34" charset="0"/>
              </a:rPr>
              <a:t>from</a:t>
            </a:r>
            <a:r>
              <a:rPr lang="de-DE" sz="2400" b="0" dirty="0">
                <a:latin typeface="Arial" panose="020B0604020202020204" pitchFamily="34" charset="0"/>
                <a:cs typeface="Arial" panose="020B0604020202020204" pitchFamily="34" charset="0"/>
              </a:rPr>
              <a:t> </a:t>
            </a:r>
            <a:r>
              <a:rPr lang="de-DE" sz="2400" b="0" dirty="0" err="1">
                <a:latin typeface="Arial" panose="020B0604020202020204" pitchFamily="34" charset="0"/>
                <a:cs typeface="Arial" panose="020B0604020202020204" pitchFamily="34" charset="0"/>
              </a:rPr>
              <a:t>Literature</a:t>
            </a:r>
            <a:r>
              <a:rPr lang="de-DE" sz="2400" b="0" dirty="0">
                <a:latin typeface="Arial" panose="020B0604020202020204" pitchFamily="34" charset="0"/>
                <a:cs typeface="Arial" panose="020B0604020202020204" pitchFamily="34" charset="0"/>
              </a:rPr>
              <a:t>)</a:t>
            </a:r>
          </a:p>
        </p:txBody>
      </p:sp>
      <p:sp>
        <p:nvSpPr>
          <p:cNvPr id="2" name="Stern: 5 Zacken 1">
            <a:extLst>
              <a:ext uri="{FF2B5EF4-FFF2-40B4-BE49-F238E27FC236}">
                <a16:creationId xmlns:a16="http://schemas.microsoft.com/office/drawing/2014/main" id="{5E16226B-2171-F4EF-5091-1966BAF0D05B}"/>
              </a:ext>
            </a:extLst>
          </p:cNvPr>
          <p:cNvSpPr/>
          <p:nvPr/>
        </p:nvSpPr>
        <p:spPr>
          <a:xfrm>
            <a:off x="4038600" y="2878667"/>
            <a:ext cx="262468" cy="228600"/>
          </a:xfrm>
          <a:prstGeom prst="star5">
            <a:avLst/>
          </a:prstGeom>
          <a:solidFill>
            <a:srgbClr val="FF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 name="Stern: 5 Zacken 6">
            <a:extLst>
              <a:ext uri="{FF2B5EF4-FFF2-40B4-BE49-F238E27FC236}">
                <a16:creationId xmlns:a16="http://schemas.microsoft.com/office/drawing/2014/main" id="{18DCEB90-8EE1-D578-1D95-73164A8C4610}"/>
              </a:ext>
            </a:extLst>
          </p:cNvPr>
          <p:cNvSpPr/>
          <p:nvPr/>
        </p:nvSpPr>
        <p:spPr>
          <a:xfrm>
            <a:off x="9347196" y="3107267"/>
            <a:ext cx="262469" cy="311090"/>
          </a:xfrm>
          <a:prstGeom prst="star5">
            <a:avLst/>
          </a:prstGeom>
          <a:solidFill>
            <a:srgbClr val="FF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Stern: 5 Zacken 7">
            <a:extLst>
              <a:ext uri="{FF2B5EF4-FFF2-40B4-BE49-F238E27FC236}">
                <a16:creationId xmlns:a16="http://schemas.microsoft.com/office/drawing/2014/main" id="{4FF8FEF1-1C2E-5AC6-298D-A90773DEE68A}"/>
              </a:ext>
            </a:extLst>
          </p:cNvPr>
          <p:cNvSpPr/>
          <p:nvPr/>
        </p:nvSpPr>
        <p:spPr>
          <a:xfrm>
            <a:off x="7573432" y="2386632"/>
            <a:ext cx="262468" cy="228600"/>
          </a:xfrm>
          <a:prstGeom prst="star5">
            <a:avLst/>
          </a:prstGeom>
          <a:solidFill>
            <a:srgbClr val="FF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378603579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feld 1">
            <a:extLst>
              <a:ext uri="{FF2B5EF4-FFF2-40B4-BE49-F238E27FC236}">
                <a16:creationId xmlns:a16="http://schemas.microsoft.com/office/drawing/2014/main" id="{B4688C7A-0566-FD3E-7139-4C16A8D87CBF}"/>
              </a:ext>
            </a:extLst>
          </p:cNvPr>
          <p:cNvSpPr txBox="1"/>
          <p:nvPr/>
        </p:nvSpPr>
        <p:spPr>
          <a:xfrm>
            <a:off x="624115" y="116896"/>
            <a:ext cx="10179394" cy="830997"/>
          </a:xfrm>
          <a:prstGeom prst="rect">
            <a:avLst/>
          </a:prstGeom>
          <a:noFill/>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de-DE" sz="2400" b="1" i="0" u="none" strike="noStrike" kern="1200" cap="none" spc="0" normalizeH="0" baseline="0" noProof="0" dirty="0">
                <a:ln>
                  <a:noFill/>
                </a:ln>
                <a:solidFill>
                  <a:srgbClr val="0000FF"/>
                </a:solidFill>
                <a:effectLst/>
                <a:uLnTx/>
                <a:uFillTx/>
                <a:latin typeface="Arial"/>
                <a:ea typeface="+mn-ea"/>
                <a:cs typeface="+mn-cs"/>
              </a:rPr>
              <a:t>Vibration </a:t>
            </a:r>
            <a:r>
              <a:rPr kumimoji="0" lang="de-DE" sz="2400" b="1" i="0" u="none" strike="noStrike" kern="1200" cap="none" spc="0" normalizeH="0" baseline="0" noProof="0" dirty="0" err="1">
                <a:ln>
                  <a:noFill/>
                </a:ln>
                <a:solidFill>
                  <a:srgbClr val="0000FF"/>
                </a:solidFill>
                <a:effectLst/>
                <a:uLnTx/>
                <a:uFillTx/>
                <a:latin typeface="Arial"/>
                <a:ea typeface="+mn-ea"/>
                <a:cs typeface="+mn-cs"/>
              </a:rPr>
              <a:t>Phenomena</a:t>
            </a:r>
            <a:r>
              <a:rPr kumimoji="0" lang="de-DE" sz="2400" b="1" i="0" u="none" strike="noStrike" kern="1200" cap="none" spc="0" normalizeH="0" baseline="0" noProof="0" dirty="0">
                <a:ln>
                  <a:noFill/>
                </a:ln>
                <a:solidFill>
                  <a:srgbClr val="0000FF"/>
                </a:solidFill>
                <a:effectLst/>
                <a:uLnTx/>
                <a:uFillTx/>
                <a:latin typeface="Arial"/>
                <a:ea typeface="+mn-ea"/>
                <a:cs typeface="+mn-cs"/>
              </a:rPr>
              <a:t> </a:t>
            </a:r>
            <a:r>
              <a:rPr kumimoji="0" lang="de-DE" sz="2400" b="1" i="0" u="none" strike="noStrike" kern="1200" cap="none" spc="0" normalizeH="0" baseline="0" noProof="0" dirty="0" err="1">
                <a:ln>
                  <a:noFill/>
                </a:ln>
                <a:solidFill>
                  <a:srgbClr val="0000FF"/>
                </a:solidFill>
                <a:effectLst/>
                <a:uLnTx/>
                <a:uFillTx/>
                <a:latin typeface="Arial"/>
                <a:ea typeface="+mn-ea"/>
                <a:cs typeface="+mn-cs"/>
              </a:rPr>
              <a:t>of</a:t>
            </a:r>
            <a:r>
              <a:rPr kumimoji="0" lang="de-DE" sz="2400" b="1" i="0" u="none" strike="noStrike" kern="1200" cap="none" spc="0" normalizeH="0" baseline="0" noProof="0" dirty="0">
                <a:ln>
                  <a:noFill/>
                </a:ln>
                <a:solidFill>
                  <a:srgbClr val="0000FF"/>
                </a:solidFill>
                <a:effectLst/>
                <a:uLnTx/>
                <a:uFillTx/>
                <a:latin typeface="Arial"/>
                <a:ea typeface="+mn-ea"/>
                <a:cs typeface="+mn-cs"/>
              </a:rPr>
              <a:t>  </a:t>
            </a:r>
            <a:r>
              <a:rPr kumimoji="0" lang="de-DE" sz="2400" b="1" i="0" u="none" strike="noStrike" kern="1200" cap="none" spc="0" normalizeH="0" baseline="0" noProof="0" dirty="0" err="1">
                <a:ln>
                  <a:noFill/>
                </a:ln>
                <a:solidFill>
                  <a:srgbClr val="0000FF"/>
                </a:solidFill>
                <a:effectLst/>
                <a:uLnTx/>
                <a:uFillTx/>
                <a:latin typeface="Arial"/>
                <a:ea typeface="+mn-ea"/>
                <a:cs typeface="+mn-cs"/>
              </a:rPr>
              <a:t>the</a:t>
            </a:r>
            <a:r>
              <a:rPr kumimoji="0" lang="de-DE" sz="2400" b="1" i="0" u="none" strike="noStrike" kern="1200" cap="none" spc="0" normalizeH="0" baseline="0" noProof="0" dirty="0">
                <a:ln>
                  <a:noFill/>
                </a:ln>
                <a:solidFill>
                  <a:srgbClr val="0000FF"/>
                </a:solidFill>
                <a:effectLst/>
                <a:uLnTx/>
                <a:uFillTx/>
                <a:latin typeface="Arial"/>
                <a:ea typeface="+mn-ea"/>
                <a:cs typeface="+mn-cs"/>
              </a:rPr>
              <a:t> Horizontal </a:t>
            </a:r>
            <a:r>
              <a:rPr kumimoji="0" lang="de-DE" sz="2400" b="1" i="0" u="none" strike="noStrike" kern="1200" cap="none" spc="0" normalizeH="0" baseline="0" noProof="0" dirty="0" err="1">
                <a:ln>
                  <a:noFill/>
                </a:ln>
                <a:solidFill>
                  <a:srgbClr val="0000FF"/>
                </a:solidFill>
                <a:effectLst/>
                <a:uLnTx/>
                <a:uFillTx/>
                <a:latin typeface="Arial"/>
                <a:ea typeface="+mn-ea"/>
                <a:cs typeface="+mn-cs"/>
              </a:rPr>
              <a:t>Feedwater</a:t>
            </a:r>
            <a:r>
              <a:rPr kumimoji="0" lang="de-DE" sz="2400" b="1" i="0" u="none" strike="noStrike" kern="1200" cap="none" spc="0" normalizeH="0" baseline="0" noProof="0" dirty="0">
                <a:ln>
                  <a:noFill/>
                </a:ln>
                <a:solidFill>
                  <a:srgbClr val="0000FF"/>
                </a:solidFill>
                <a:effectLst/>
                <a:uLnTx/>
                <a:uFillTx/>
                <a:latin typeface="Arial"/>
                <a:ea typeface="+mn-ea"/>
                <a:cs typeface="+mn-cs"/>
              </a:rPr>
              <a:t> Pump </a:t>
            </a:r>
            <a:r>
              <a:rPr lang="de-DE" sz="2400" dirty="0">
                <a:solidFill>
                  <a:srgbClr val="0000FF"/>
                </a:solidFill>
                <a:latin typeface="Arial"/>
              </a:rPr>
              <a:t>OL3</a:t>
            </a:r>
            <a:r>
              <a:rPr kumimoji="0" lang="de-DE" sz="2400" b="1" i="0" u="none" strike="noStrike" kern="1200" cap="none" spc="0" normalizeH="0" baseline="0" noProof="0" dirty="0">
                <a:ln>
                  <a:noFill/>
                </a:ln>
                <a:solidFill>
                  <a:srgbClr val="0000FF"/>
                </a:solidFill>
                <a:effectLst/>
                <a:uLnTx/>
                <a:uFillTx/>
                <a:latin typeface="Arial"/>
                <a:ea typeface="+mn-ea"/>
                <a:cs typeface="+mn-cs"/>
              </a:rPr>
              <a:t> </a:t>
            </a:r>
            <a:r>
              <a:rPr lang="de-DE" sz="2400" b="0" dirty="0" err="1">
                <a:latin typeface="Arial"/>
              </a:rPr>
              <a:t>Estimation</a:t>
            </a:r>
            <a:r>
              <a:rPr lang="de-DE" sz="2400" b="0" dirty="0">
                <a:latin typeface="Arial"/>
              </a:rPr>
              <a:t> </a:t>
            </a:r>
            <a:r>
              <a:rPr lang="de-DE" sz="2400" b="0" dirty="0" err="1">
                <a:latin typeface="Arial"/>
              </a:rPr>
              <a:t>of</a:t>
            </a:r>
            <a:r>
              <a:rPr lang="de-DE" sz="2400" b="0" dirty="0">
                <a:latin typeface="Arial"/>
              </a:rPr>
              <a:t> Fluid Forces </a:t>
            </a:r>
            <a:r>
              <a:rPr lang="de-DE" sz="2400" b="0" dirty="0" err="1">
                <a:latin typeface="Arial"/>
              </a:rPr>
              <a:t>for</a:t>
            </a:r>
            <a:r>
              <a:rPr lang="de-DE" sz="2400" b="0" dirty="0">
                <a:latin typeface="Arial"/>
              </a:rPr>
              <a:t> </a:t>
            </a:r>
            <a:r>
              <a:rPr lang="de-DE" sz="2400" b="0" dirty="0" err="1">
                <a:latin typeface="Arial"/>
              </a:rPr>
              <a:t>the</a:t>
            </a:r>
            <a:r>
              <a:rPr lang="de-DE" sz="2400" b="0" dirty="0">
                <a:latin typeface="Arial"/>
              </a:rPr>
              <a:t> </a:t>
            </a:r>
            <a:r>
              <a:rPr lang="de-DE" sz="2400" b="0" dirty="0" err="1">
                <a:latin typeface="Arial"/>
              </a:rPr>
              <a:t>case</a:t>
            </a:r>
            <a:r>
              <a:rPr lang="de-DE" sz="2400" b="0" dirty="0">
                <a:latin typeface="Arial"/>
              </a:rPr>
              <a:t> </a:t>
            </a:r>
            <a:r>
              <a:rPr lang="de-DE" sz="2400" b="0" dirty="0" err="1">
                <a:latin typeface="Arial"/>
              </a:rPr>
              <a:t>of</a:t>
            </a:r>
            <a:r>
              <a:rPr lang="de-DE" sz="2400" b="0" dirty="0">
                <a:latin typeface="Arial"/>
              </a:rPr>
              <a:t> Vane Pass </a:t>
            </a:r>
            <a:r>
              <a:rPr lang="de-DE" sz="2400" b="0" dirty="0" err="1">
                <a:latin typeface="Arial"/>
              </a:rPr>
              <a:t>frequency</a:t>
            </a:r>
            <a:endParaRPr kumimoji="0" lang="de-DE" sz="2400" b="0" i="0" u="none" strike="noStrike" kern="1200" cap="none" spc="0" normalizeH="0" baseline="0" noProof="0" dirty="0">
              <a:ln>
                <a:noFill/>
              </a:ln>
              <a:effectLst/>
              <a:uLnTx/>
              <a:uFillTx/>
              <a:latin typeface="Arial"/>
              <a:ea typeface="+mn-ea"/>
              <a:cs typeface="+mn-cs"/>
            </a:endParaRPr>
          </a:p>
        </p:txBody>
      </p:sp>
      <p:sp>
        <p:nvSpPr>
          <p:cNvPr id="3" name="Textfeld 2">
            <a:extLst>
              <a:ext uri="{FF2B5EF4-FFF2-40B4-BE49-F238E27FC236}">
                <a16:creationId xmlns:a16="http://schemas.microsoft.com/office/drawing/2014/main" id="{CCC7D658-191A-CFED-326E-B1D5CF155FCE}"/>
              </a:ext>
            </a:extLst>
          </p:cNvPr>
          <p:cNvSpPr txBox="1"/>
          <p:nvPr/>
        </p:nvSpPr>
        <p:spPr>
          <a:xfrm>
            <a:off x="798286" y="1413585"/>
            <a:ext cx="10858500" cy="406265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dirty="0">
                <a:ln>
                  <a:noFill/>
                </a:ln>
                <a:solidFill>
                  <a:prstClr val="black"/>
                </a:solidFill>
                <a:effectLst/>
                <a:uLnTx/>
                <a:uFillTx/>
                <a:latin typeface="Frutiger LT Com 45 Light"/>
                <a:ea typeface="+mn-ea"/>
                <a:cs typeface="+mn-cs"/>
              </a:rPr>
              <a:t> </a:t>
            </a:r>
            <a:endParaRPr kumimoji="0" lang="de-DE" sz="2400" b="0" i="0" u="none" strike="noStrike" kern="1200" cap="none" spc="0" normalizeH="0" baseline="0" noProof="0" dirty="0">
              <a:ln>
                <a:noFill/>
              </a:ln>
              <a:solidFill>
                <a:prstClr val="black"/>
              </a:solidFill>
              <a:effectLst/>
              <a:uLnTx/>
              <a:uFillTx/>
              <a:latin typeface="Frutiger LT Com 45 Ligh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2400" b="0" i="0" u="none" strike="noStrike" kern="1200" cap="none" spc="0" normalizeH="0" baseline="0" noProof="0" dirty="0">
                <a:ln>
                  <a:noFill/>
                </a:ln>
                <a:solidFill>
                  <a:prstClr val="black"/>
                </a:solidFill>
                <a:effectLst/>
                <a:uLnTx/>
                <a:uFillTx/>
                <a:latin typeface="Frutiger LT Com 45 Light"/>
                <a:ea typeface="+mn-ea"/>
                <a:cs typeface="+mn-cs"/>
              </a:rPr>
              <a:t>The </a:t>
            </a:r>
            <a:r>
              <a:rPr kumimoji="0" lang="de-DE" sz="2400" b="0" i="0" u="none" strike="noStrike" kern="1200" cap="none" spc="0" normalizeH="0" baseline="0" noProof="0" dirty="0" err="1">
                <a:ln>
                  <a:noFill/>
                </a:ln>
                <a:solidFill>
                  <a:prstClr val="black"/>
                </a:solidFill>
                <a:effectLst/>
                <a:uLnTx/>
                <a:uFillTx/>
                <a:latin typeface="Frutiger LT Com 45 Light"/>
                <a:ea typeface="+mn-ea"/>
                <a:cs typeface="+mn-cs"/>
              </a:rPr>
              <a:t>normalized</a:t>
            </a:r>
            <a:r>
              <a:rPr kumimoji="0" lang="de-DE" sz="2400" b="0" i="0" u="none" strike="noStrike" kern="1200" cap="none" spc="0" normalizeH="0" baseline="0" noProof="0" dirty="0">
                <a:ln>
                  <a:noFill/>
                </a:ln>
                <a:solidFill>
                  <a:prstClr val="black"/>
                </a:solidFill>
                <a:effectLst/>
                <a:uLnTx/>
                <a:uFillTx/>
                <a:latin typeface="Frutiger LT Com 45 Light"/>
                <a:ea typeface="+mn-ea"/>
                <a:cs typeface="+mn-cs"/>
              </a:rPr>
              <a:t> Force </a:t>
            </a:r>
            <a:r>
              <a:rPr kumimoji="0" lang="de-DE" sz="2400" b="0" i="0" u="none" strike="noStrike" kern="1200" cap="none" spc="0" normalizeH="0" baseline="0" noProof="0" dirty="0" err="1">
                <a:ln>
                  <a:noFill/>
                </a:ln>
                <a:solidFill>
                  <a:prstClr val="black"/>
                </a:solidFill>
                <a:effectLst/>
                <a:uLnTx/>
                <a:uFillTx/>
                <a:latin typeface="Frutiger LT Com 45 Light"/>
                <a:ea typeface="+mn-ea"/>
                <a:cs typeface="+mn-cs"/>
              </a:rPr>
              <a:t>Coefficients</a:t>
            </a:r>
            <a:r>
              <a:rPr kumimoji="0" lang="de-DE" sz="2400" b="0" i="0" u="none" strike="noStrike" kern="1200" cap="none" spc="0" normalizeH="0" baseline="0" noProof="0" dirty="0">
                <a:ln>
                  <a:noFill/>
                </a:ln>
                <a:solidFill>
                  <a:prstClr val="black"/>
                </a:solidFill>
                <a:effectLst/>
                <a:uLnTx/>
                <a:uFillTx/>
                <a:latin typeface="Frutiger LT Com 45 Light"/>
                <a:ea typeface="+mn-ea"/>
                <a:cs typeface="+mn-cs"/>
              </a:rPr>
              <a:t> </a:t>
            </a:r>
            <a:r>
              <a:rPr kumimoji="0" lang="de-DE" sz="2400" b="0" i="0" u="none" strike="noStrike" kern="1200" cap="none" spc="0" normalizeH="0" baseline="0" noProof="0" dirty="0" err="1">
                <a:ln>
                  <a:noFill/>
                </a:ln>
                <a:solidFill>
                  <a:prstClr val="black"/>
                </a:solidFill>
                <a:effectLst/>
                <a:uLnTx/>
                <a:uFillTx/>
                <a:latin typeface="Frutiger LT Com 45 Light"/>
                <a:ea typeface="+mn-ea"/>
                <a:cs typeface="+mn-cs"/>
              </a:rPr>
              <a:t>k</a:t>
            </a:r>
            <a:r>
              <a:rPr kumimoji="0" lang="de-DE" sz="2400" b="0" i="0" u="none" strike="noStrike" kern="1200" cap="none" spc="0" normalizeH="0" baseline="-25000" noProof="0" dirty="0" err="1">
                <a:ln>
                  <a:noFill/>
                </a:ln>
                <a:solidFill>
                  <a:prstClr val="black"/>
                </a:solidFill>
                <a:effectLst/>
                <a:uLnTx/>
                <a:uFillTx/>
                <a:latin typeface="Frutiger LT Com 45 Light"/>
                <a:ea typeface="+mn-ea"/>
                <a:cs typeface="+mn-cs"/>
              </a:rPr>
              <a:t>H</a:t>
            </a:r>
            <a:r>
              <a:rPr kumimoji="0" lang="de-DE" sz="2400" b="0" i="0" u="none" strike="noStrike" kern="1200" cap="none" spc="0" normalizeH="0" baseline="0" noProof="0" dirty="0">
                <a:ln>
                  <a:noFill/>
                </a:ln>
                <a:solidFill>
                  <a:prstClr val="black"/>
                </a:solidFill>
                <a:effectLst/>
                <a:uLnTx/>
                <a:uFillTx/>
                <a:latin typeface="Frutiger LT Com 45 Light"/>
                <a:ea typeface="+mn-ea"/>
                <a:cs typeface="+mn-cs"/>
              </a:rPr>
              <a:t> </a:t>
            </a:r>
            <a:r>
              <a:rPr kumimoji="0" lang="de-DE" sz="2400" b="0" i="0" u="none" strike="noStrike" kern="1200" cap="none" spc="0" normalizeH="0" baseline="0" noProof="0" dirty="0" err="1">
                <a:ln>
                  <a:noFill/>
                </a:ln>
                <a:solidFill>
                  <a:prstClr val="black"/>
                </a:solidFill>
                <a:effectLst/>
                <a:uLnTx/>
                <a:uFillTx/>
                <a:latin typeface="Frutiger LT Com 45 Light"/>
                <a:ea typeface="+mn-ea"/>
                <a:cs typeface="+mn-cs"/>
              </a:rPr>
              <a:t>for</a:t>
            </a:r>
            <a:r>
              <a:rPr kumimoji="0" lang="de-DE" sz="2400" b="0" i="0" u="none" strike="noStrike" kern="1200" cap="none" spc="0" normalizeH="0" baseline="0" noProof="0" dirty="0">
                <a:ln>
                  <a:noFill/>
                </a:ln>
                <a:solidFill>
                  <a:prstClr val="black"/>
                </a:solidFill>
                <a:effectLst/>
                <a:uLnTx/>
                <a:uFillTx/>
                <a:latin typeface="Frutiger LT Com 45 Light"/>
                <a:ea typeface="+mn-ea"/>
                <a:cs typeface="+mn-cs"/>
              </a:rPr>
              <a:t> </a:t>
            </a:r>
            <a:r>
              <a:rPr kumimoji="0" lang="de-DE" sz="2400" b="0" i="0" u="none" strike="noStrike" kern="1200" cap="none" spc="0" normalizeH="0" baseline="0" noProof="0" dirty="0" err="1">
                <a:ln>
                  <a:noFill/>
                </a:ln>
                <a:solidFill>
                  <a:prstClr val="black"/>
                </a:solidFill>
                <a:effectLst/>
                <a:uLnTx/>
                <a:uFillTx/>
                <a:latin typeface="Frutiger LT Com 45 Light"/>
                <a:ea typeface="+mn-ea"/>
                <a:cs typeface="+mn-cs"/>
              </a:rPr>
              <a:t>the</a:t>
            </a:r>
            <a:r>
              <a:rPr kumimoji="0" lang="de-DE" sz="2400" b="0" i="0" u="none" strike="noStrike" kern="1200" cap="none" spc="0" normalizeH="0" baseline="0" noProof="0" dirty="0">
                <a:ln>
                  <a:noFill/>
                </a:ln>
                <a:solidFill>
                  <a:prstClr val="black"/>
                </a:solidFill>
                <a:effectLst/>
                <a:uLnTx/>
                <a:uFillTx/>
                <a:latin typeface="Frutiger LT Com 45 Light"/>
                <a:ea typeface="+mn-ea"/>
                <a:cs typeface="+mn-cs"/>
              </a:rPr>
              <a:t> </a:t>
            </a:r>
            <a:r>
              <a:rPr kumimoji="0" lang="de-DE" sz="2400" b="0" i="0" u="none" strike="noStrike" kern="1200" cap="none" spc="0" normalizeH="0" baseline="0" noProof="0" dirty="0" err="1">
                <a:ln>
                  <a:noFill/>
                </a:ln>
                <a:solidFill>
                  <a:prstClr val="black"/>
                </a:solidFill>
                <a:effectLst/>
                <a:uLnTx/>
                <a:uFillTx/>
                <a:latin typeface="Frutiger LT Com 45 Light"/>
                <a:ea typeface="+mn-ea"/>
                <a:cs typeface="+mn-cs"/>
              </a:rPr>
              <a:t>case</a:t>
            </a:r>
            <a:r>
              <a:rPr kumimoji="0" lang="de-DE" sz="2400" b="0" i="0" u="none" strike="noStrike" kern="1200" cap="none" spc="0" normalizeH="0" baseline="0" noProof="0" dirty="0">
                <a:ln>
                  <a:noFill/>
                </a:ln>
                <a:solidFill>
                  <a:prstClr val="black"/>
                </a:solidFill>
                <a:effectLst/>
                <a:uLnTx/>
                <a:uFillTx/>
                <a:latin typeface="Frutiger LT Com 45 Light"/>
                <a:ea typeface="+mn-ea"/>
                <a:cs typeface="+mn-cs"/>
              </a:rPr>
              <a:t> </a:t>
            </a:r>
            <a:r>
              <a:rPr kumimoji="0" lang="de-DE" sz="2400" b="0" i="0" u="none" strike="noStrike" kern="1200" cap="none" spc="0" normalizeH="0" baseline="0" noProof="0" dirty="0" err="1">
                <a:ln>
                  <a:noFill/>
                </a:ln>
                <a:solidFill>
                  <a:prstClr val="black"/>
                </a:solidFill>
                <a:effectLst/>
                <a:uLnTx/>
                <a:uFillTx/>
                <a:latin typeface="Frutiger LT Com 45 Light"/>
                <a:ea typeface="+mn-ea"/>
                <a:cs typeface="+mn-cs"/>
              </a:rPr>
              <a:t>of</a:t>
            </a:r>
            <a:r>
              <a:rPr kumimoji="0" lang="de-DE" sz="2400" b="0" i="0" u="none" strike="noStrike" kern="1200" cap="none" spc="0" normalizeH="0" baseline="0" noProof="0" dirty="0">
                <a:ln>
                  <a:noFill/>
                </a:ln>
                <a:solidFill>
                  <a:prstClr val="black"/>
                </a:solidFill>
                <a:effectLst/>
                <a:uLnTx/>
                <a:uFillTx/>
                <a:latin typeface="Frutiger LT Com 45 Light"/>
                <a:ea typeface="+mn-ea"/>
                <a:cs typeface="+mn-cs"/>
              </a:rPr>
              <a:t> </a:t>
            </a:r>
            <a:r>
              <a:rPr kumimoji="0" lang="de-DE" sz="2400" i="0" u="none" strike="noStrike" kern="1200" cap="none" spc="0" normalizeH="0" baseline="0" noProof="0" dirty="0">
                <a:ln>
                  <a:noFill/>
                </a:ln>
                <a:solidFill>
                  <a:srgbClr val="0000FF"/>
                </a:solidFill>
                <a:effectLst/>
                <a:uLnTx/>
                <a:uFillTx/>
                <a:latin typeface="Frutiger LT Com 45 Light"/>
                <a:ea typeface="+mn-ea"/>
                <a:cs typeface="+mn-cs"/>
              </a:rPr>
              <a:t>Vane Pass </a:t>
            </a:r>
            <a:r>
              <a:rPr kumimoji="0" lang="de-DE" sz="2400" i="0" u="none" strike="noStrike" kern="1200" cap="none" spc="0" normalizeH="0" baseline="0" noProof="0" dirty="0" err="1">
                <a:ln>
                  <a:noFill/>
                </a:ln>
                <a:solidFill>
                  <a:srgbClr val="0000FF"/>
                </a:solidFill>
                <a:effectLst/>
                <a:uLnTx/>
                <a:uFillTx/>
                <a:latin typeface="Frutiger LT Com 45 Light"/>
                <a:ea typeface="+mn-ea"/>
                <a:cs typeface="+mn-cs"/>
              </a:rPr>
              <a:t>Frequency</a:t>
            </a:r>
            <a:r>
              <a:rPr kumimoji="0" lang="de-DE" sz="2400" i="0" u="none" strike="noStrike" kern="1200" cap="none" spc="0" normalizeH="0" baseline="0" noProof="0" dirty="0">
                <a:ln>
                  <a:noFill/>
                </a:ln>
                <a:solidFill>
                  <a:srgbClr val="0000FF"/>
                </a:solidFill>
                <a:effectLst/>
                <a:uLnTx/>
                <a:uFillTx/>
                <a:latin typeface="Frutiger LT Com 45 Light"/>
                <a:ea typeface="+mn-ea"/>
                <a:cs typeface="+mn-cs"/>
              </a:rPr>
              <a:t> </a:t>
            </a:r>
            <a:r>
              <a:rPr kumimoji="0" lang="de-DE" sz="2400" i="0" u="none" strike="noStrike" kern="1200" cap="none" spc="0" normalizeH="0" baseline="0" noProof="0" dirty="0" err="1">
                <a:ln>
                  <a:noFill/>
                </a:ln>
                <a:solidFill>
                  <a:srgbClr val="0000FF"/>
                </a:solidFill>
                <a:effectLst/>
                <a:uLnTx/>
                <a:uFillTx/>
                <a:latin typeface="Frutiger LT Com 45 Light"/>
                <a:ea typeface="+mn-ea"/>
                <a:cs typeface="+mn-cs"/>
              </a:rPr>
              <a:t>Exciation</a:t>
            </a:r>
            <a:r>
              <a:rPr kumimoji="0" lang="de-DE" sz="2400" i="0" u="none" strike="noStrike" kern="1200" cap="none" spc="0" normalizeH="0" baseline="0" noProof="0" dirty="0">
                <a:ln>
                  <a:noFill/>
                </a:ln>
                <a:solidFill>
                  <a:srgbClr val="0000FF"/>
                </a:solidFill>
                <a:effectLst/>
                <a:uLnTx/>
                <a:uFillTx/>
                <a:latin typeface="Frutiger LT Com 45 Light"/>
                <a:ea typeface="+mn-ea"/>
                <a:cs typeface="+mn-cs"/>
              </a:rPr>
              <a:t> </a:t>
            </a:r>
            <a:r>
              <a:rPr kumimoji="0" lang="de-DE" sz="2400" b="0" i="0" u="none" strike="noStrike" kern="1200" cap="none" spc="0" normalizeH="0" baseline="0" noProof="0" dirty="0" err="1">
                <a:ln>
                  <a:noFill/>
                </a:ln>
                <a:solidFill>
                  <a:prstClr val="black"/>
                </a:solidFill>
                <a:effectLst/>
                <a:uLnTx/>
                <a:uFillTx/>
                <a:latin typeface="Frutiger LT Com 45 Light"/>
                <a:ea typeface="+mn-ea"/>
                <a:cs typeface="+mn-cs"/>
              </a:rPr>
              <a:t>are</a:t>
            </a:r>
            <a:r>
              <a:rPr kumimoji="0" lang="de-DE" sz="2400" b="0" i="0" u="none" strike="noStrike" kern="1200" cap="none" spc="0" normalizeH="0" baseline="0" noProof="0" dirty="0">
                <a:ln>
                  <a:noFill/>
                </a:ln>
                <a:solidFill>
                  <a:prstClr val="black"/>
                </a:solidFill>
                <a:effectLst/>
                <a:uLnTx/>
                <a:uFillTx/>
                <a:latin typeface="Frutiger LT Com 45 Light"/>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2400" b="0" i="0" u="none" strike="noStrike" kern="1200" cap="none" spc="0" normalizeH="0" baseline="0" noProof="0" dirty="0">
              <a:ln>
                <a:noFill/>
              </a:ln>
              <a:solidFill>
                <a:prstClr val="black"/>
              </a:solidFill>
              <a:effectLst/>
              <a:uLnTx/>
              <a:uFillTx/>
              <a:latin typeface="Frutiger LT Com 45 Ligh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2400" b="0" i="0" u="none" strike="noStrike" kern="1200" cap="none" spc="0" normalizeH="0" baseline="0" noProof="0" dirty="0">
                <a:ln>
                  <a:noFill/>
                </a:ln>
                <a:solidFill>
                  <a:prstClr val="black"/>
                </a:solidFill>
                <a:effectLst/>
                <a:uLnTx/>
                <a:uFillTx/>
                <a:latin typeface="Frutiger LT Com 45 Light"/>
                <a:ea typeface="+mn-ea"/>
                <a:cs typeface="+mn-cs"/>
              </a:rPr>
              <a:t>	</a:t>
            </a:r>
            <a:r>
              <a:rPr kumimoji="0" lang="de-DE" sz="2400" b="0" i="0" u="none" strike="noStrike" kern="1200" cap="none" spc="0" normalizeH="0" baseline="0" noProof="0" dirty="0" err="1">
                <a:ln>
                  <a:noFill/>
                </a:ln>
                <a:solidFill>
                  <a:prstClr val="black"/>
                </a:solidFill>
                <a:effectLst/>
                <a:uLnTx/>
                <a:uFillTx/>
                <a:latin typeface="Frutiger LT Com 45 Light"/>
                <a:ea typeface="+mn-ea"/>
                <a:cs typeface="+mn-cs"/>
              </a:rPr>
              <a:t>for</a:t>
            </a:r>
            <a:r>
              <a:rPr kumimoji="0" lang="de-DE" sz="2400" b="0" i="0" u="none" strike="noStrike" kern="1200" cap="none" spc="0" normalizeH="0" baseline="0" noProof="0" dirty="0">
                <a:ln>
                  <a:noFill/>
                </a:ln>
                <a:solidFill>
                  <a:prstClr val="black"/>
                </a:solidFill>
                <a:effectLst/>
                <a:uLnTx/>
                <a:uFillTx/>
                <a:latin typeface="Frutiger LT Com 45 Light"/>
                <a:ea typeface="+mn-ea"/>
                <a:cs typeface="+mn-cs"/>
              </a:rPr>
              <a:t> </a:t>
            </a:r>
            <a:r>
              <a:rPr kumimoji="0" lang="de-DE" sz="2400" b="0" i="0" u="none" strike="noStrike" kern="1200" cap="none" spc="0" normalizeH="0" baseline="0" noProof="0" dirty="0" err="1">
                <a:ln>
                  <a:noFill/>
                </a:ln>
                <a:solidFill>
                  <a:prstClr val="black"/>
                </a:solidFill>
                <a:effectLst/>
                <a:uLnTx/>
                <a:uFillTx/>
                <a:latin typeface="Frutiger LT Com 45 Light"/>
                <a:ea typeface="+mn-ea"/>
                <a:cs typeface="+mn-cs"/>
              </a:rPr>
              <a:t>the</a:t>
            </a:r>
            <a:r>
              <a:rPr kumimoji="0" lang="de-DE" sz="2400" b="0" i="0" u="none" strike="noStrike" kern="1200" cap="none" spc="0" normalizeH="0" baseline="0" noProof="0" dirty="0">
                <a:ln>
                  <a:noFill/>
                </a:ln>
                <a:solidFill>
                  <a:prstClr val="black"/>
                </a:solidFill>
                <a:effectLst/>
                <a:uLnTx/>
                <a:uFillTx/>
                <a:latin typeface="Frutiger LT Com 45 Light"/>
                <a:ea typeface="+mn-ea"/>
                <a:cs typeface="+mn-cs"/>
              </a:rPr>
              <a:t>  Optimal </a:t>
            </a:r>
            <a:r>
              <a:rPr kumimoji="0" lang="de-DE" sz="2400" b="0" i="0" u="none" strike="noStrike" kern="1200" cap="none" spc="0" normalizeH="0" baseline="0" noProof="0" dirty="0" err="1">
                <a:ln>
                  <a:noFill/>
                </a:ln>
                <a:solidFill>
                  <a:prstClr val="black"/>
                </a:solidFill>
                <a:effectLst/>
                <a:uLnTx/>
                <a:uFillTx/>
                <a:latin typeface="Frutiger LT Com 45 Light"/>
                <a:ea typeface="+mn-ea"/>
                <a:cs typeface="+mn-cs"/>
              </a:rPr>
              <a:t>case</a:t>
            </a:r>
            <a:r>
              <a:rPr kumimoji="0" lang="de-DE" sz="2400" b="0" i="0" u="none" strike="noStrike" kern="1200" cap="none" spc="0" normalizeH="0" baseline="0" noProof="0" dirty="0">
                <a:ln>
                  <a:noFill/>
                </a:ln>
                <a:solidFill>
                  <a:prstClr val="black"/>
                </a:solidFill>
                <a:effectLst/>
                <a:uLnTx/>
                <a:uFillTx/>
                <a:latin typeface="Frutiger LT Com 45 Light"/>
                <a:ea typeface="+mn-ea"/>
                <a:cs typeface="+mn-cs"/>
              </a:rPr>
              <a:t>               Q/</a:t>
            </a:r>
            <a:r>
              <a:rPr kumimoji="0" lang="de-DE" sz="2400" b="0" i="0" u="none" strike="noStrike" kern="1200" cap="none" spc="0" normalizeH="0" baseline="0" noProof="0" dirty="0" err="1">
                <a:ln>
                  <a:noFill/>
                </a:ln>
                <a:solidFill>
                  <a:prstClr val="black"/>
                </a:solidFill>
                <a:effectLst/>
                <a:uLnTx/>
                <a:uFillTx/>
                <a:latin typeface="Frutiger LT Com 45 Light"/>
                <a:ea typeface="+mn-ea"/>
                <a:cs typeface="+mn-cs"/>
              </a:rPr>
              <a:t>Qopt</a:t>
            </a:r>
            <a:r>
              <a:rPr kumimoji="0" lang="de-DE" sz="2400" b="0" i="0" u="none" strike="noStrike" kern="1200" cap="none" spc="0" normalizeH="0" baseline="0" noProof="0" dirty="0">
                <a:ln>
                  <a:noFill/>
                </a:ln>
                <a:solidFill>
                  <a:prstClr val="black"/>
                </a:solidFill>
                <a:effectLst/>
                <a:uLnTx/>
                <a:uFillTx/>
                <a:latin typeface="Frutiger LT Com 45 Light"/>
                <a:ea typeface="+mn-ea"/>
                <a:cs typeface="+mn-cs"/>
              </a:rPr>
              <a:t>  =  1    :    </a:t>
            </a:r>
            <a:r>
              <a:rPr kumimoji="0" lang="de-DE" sz="2400" i="0" u="none" strike="noStrike" kern="1200" cap="none" spc="0" normalizeH="0" baseline="0" noProof="0" dirty="0">
                <a:ln>
                  <a:noFill/>
                </a:ln>
                <a:solidFill>
                  <a:srgbClr val="0000FF"/>
                </a:solidFill>
                <a:effectLst/>
                <a:uLnTx/>
                <a:uFillTx/>
                <a:latin typeface="Frutiger LT Com 45 Light"/>
                <a:ea typeface="+mn-ea"/>
                <a:cs typeface="+mn-cs"/>
              </a:rPr>
              <a:t>K</a:t>
            </a:r>
            <a:r>
              <a:rPr kumimoji="0" lang="de-DE" sz="2400" i="0" u="none" strike="noStrike" kern="1200" cap="none" spc="0" normalizeH="0" baseline="-25000" noProof="0" dirty="0">
                <a:ln>
                  <a:noFill/>
                </a:ln>
                <a:solidFill>
                  <a:srgbClr val="0000FF"/>
                </a:solidFill>
                <a:effectLst/>
                <a:uLnTx/>
                <a:uFillTx/>
                <a:latin typeface="Frutiger LT Com 45 Light"/>
                <a:ea typeface="+mn-ea"/>
                <a:cs typeface="+mn-cs"/>
              </a:rPr>
              <a:t>H</a:t>
            </a:r>
            <a:r>
              <a:rPr kumimoji="0" lang="de-DE" sz="2400" i="0" u="none" strike="noStrike" kern="1200" cap="none" spc="0" normalizeH="0" baseline="0" noProof="0" dirty="0">
                <a:ln>
                  <a:noFill/>
                </a:ln>
                <a:solidFill>
                  <a:srgbClr val="0000FF"/>
                </a:solidFill>
                <a:effectLst/>
                <a:uLnTx/>
                <a:uFillTx/>
                <a:latin typeface="Frutiger LT Com 45 Light"/>
                <a:ea typeface="+mn-ea"/>
                <a:cs typeface="+mn-cs"/>
              </a:rPr>
              <a:t>  =  0,05</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2400" b="0" i="0" u="none" strike="noStrike" kern="1200" cap="none" spc="0" normalizeH="0" baseline="0" noProof="0" dirty="0">
                <a:ln>
                  <a:noFill/>
                </a:ln>
                <a:solidFill>
                  <a:prstClr val="black"/>
                </a:solidFill>
                <a:effectLst/>
                <a:uLnTx/>
                <a:uFillTx/>
                <a:latin typeface="Frutiger LT Com 45 Light"/>
                <a:ea typeface="+mn-ea"/>
                <a:cs typeface="+mn-cs"/>
              </a:rPr>
              <a:t>	</a:t>
            </a:r>
            <a:r>
              <a:rPr kumimoji="0" lang="de-DE" sz="2400" b="0" i="0" u="none" strike="noStrike" kern="1200" cap="none" spc="0" normalizeH="0" baseline="0" noProof="0" dirty="0" err="1">
                <a:ln>
                  <a:noFill/>
                </a:ln>
                <a:solidFill>
                  <a:prstClr val="black"/>
                </a:solidFill>
                <a:effectLst/>
                <a:uLnTx/>
                <a:uFillTx/>
                <a:latin typeface="Frutiger LT Com 45 Light"/>
                <a:ea typeface="+mn-ea"/>
                <a:cs typeface="+mn-cs"/>
              </a:rPr>
              <a:t>for</a:t>
            </a:r>
            <a:r>
              <a:rPr kumimoji="0" lang="de-DE" sz="2400" b="0" i="0" u="none" strike="noStrike" kern="1200" cap="none" spc="0" normalizeH="0" baseline="0" noProof="0" dirty="0">
                <a:ln>
                  <a:noFill/>
                </a:ln>
                <a:solidFill>
                  <a:prstClr val="black"/>
                </a:solidFill>
                <a:effectLst/>
                <a:uLnTx/>
                <a:uFillTx/>
                <a:latin typeface="Frutiger LT Com 45 Light"/>
                <a:ea typeface="+mn-ea"/>
                <a:cs typeface="+mn-cs"/>
              </a:rPr>
              <a:t> </a:t>
            </a:r>
            <a:r>
              <a:rPr kumimoji="0" lang="de-DE" sz="2400" b="0" i="0" u="none" strike="noStrike" kern="1200" cap="none" spc="0" normalizeH="0" baseline="0" noProof="0" dirty="0" err="1">
                <a:ln>
                  <a:noFill/>
                </a:ln>
                <a:solidFill>
                  <a:prstClr val="black"/>
                </a:solidFill>
                <a:effectLst/>
                <a:uLnTx/>
                <a:uFillTx/>
                <a:latin typeface="Frutiger LT Com 45 Light"/>
                <a:ea typeface="+mn-ea"/>
                <a:cs typeface="+mn-cs"/>
              </a:rPr>
              <a:t>the</a:t>
            </a:r>
            <a:r>
              <a:rPr kumimoji="0" lang="de-DE" sz="2400" b="0" i="0" u="none" strike="noStrike" kern="1200" cap="none" spc="0" normalizeH="0" baseline="0" noProof="0" dirty="0">
                <a:ln>
                  <a:noFill/>
                </a:ln>
                <a:solidFill>
                  <a:prstClr val="black"/>
                </a:solidFill>
                <a:effectLst/>
                <a:uLnTx/>
                <a:uFillTx/>
                <a:latin typeface="Frutiger LT Com 45 Light"/>
                <a:ea typeface="+mn-ea"/>
                <a:cs typeface="+mn-cs"/>
              </a:rPr>
              <a:t> </a:t>
            </a:r>
            <a:r>
              <a:rPr kumimoji="0" lang="de-DE" sz="2400" b="0" i="0" u="none" strike="noStrike" kern="1200" cap="none" spc="0" normalizeH="0" baseline="0" noProof="0" dirty="0" err="1">
                <a:ln>
                  <a:noFill/>
                </a:ln>
                <a:solidFill>
                  <a:prstClr val="black"/>
                </a:solidFill>
                <a:effectLst/>
                <a:uLnTx/>
                <a:uFillTx/>
                <a:latin typeface="Frutiger LT Com 45 Light"/>
                <a:ea typeface="+mn-ea"/>
                <a:cs typeface="+mn-cs"/>
              </a:rPr>
              <a:t>part</a:t>
            </a:r>
            <a:r>
              <a:rPr kumimoji="0" lang="de-DE" sz="2400" b="0" i="0" u="none" strike="noStrike" kern="1200" cap="none" spc="0" normalizeH="0" baseline="0" noProof="0" dirty="0">
                <a:ln>
                  <a:noFill/>
                </a:ln>
                <a:solidFill>
                  <a:prstClr val="black"/>
                </a:solidFill>
                <a:effectLst/>
                <a:uLnTx/>
                <a:uFillTx/>
                <a:latin typeface="Frutiger LT Com 45 Light"/>
                <a:ea typeface="+mn-ea"/>
                <a:cs typeface="+mn-cs"/>
              </a:rPr>
              <a:t> Load </a:t>
            </a:r>
            <a:r>
              <a:rPr kumimoji="0" lang="de-DE" sz="2400" b="0" i="0" u="none" strike="noStrike" kern="1200" cap="none" spc="0" normalizeH="0" baseline="0" noProof="0" dirty="0" err="1">
                <a:ln>
                  <a:noFill/>
                </a:ln>
                <a:solidFill>
                  <a:prstClr val="black"/>
                </a:solidFill>
                <a:effectLst/>
                <a:uLnTx/>
                <a:uFillTx/>
                <a:latin typeface="Frutiger LT Com 45 Light"/>
                <a:ea typeface="+mn-ea"/>
                <a:cs typeface="+mn-cs"/>
              </a:rPr>
              <a:t>case</a:t>
            </a:r>
            <a:r>
              <a:rPr lang="de-DE" sz="2400" b="0" dirty="0">
                <a:solidFill>
                  <a:prstClr val="black"/>
                </a:solidFill>
                <a:latin typeface="Frutiger LT Com 45 Light"/>
              </a:rPr>
              <a:t>, e.g.     </a:t>
            </a:r>
            <a:r>
              <a:rPr kumimoji="0" lang="de-DE" sz="2400" b="0" i="0" u="none" strike="noStrike" kern="1200" cap="none" spc="0" normalizeH="0" baseline="0" noProof="0" dirty="0">
                <a:ln>
                  <a:noFill/>
                </a:ln>
                <a:solidFill>
                  <a:prstClr val="black"/>
                </a:solidFill>
                <a:effectLst/>
                <a:uLnTx/>
                <a:uFillTx/>
                <a:latin typeface="Frutiger LT Com 45 Light"/>
                <a:ea typeface="+mn-ea"/>
                <a:cs typeface="+mn-cs"/>
              </a:rPr>
              <a:t>Q/</a:t>
            </a:r>
            <a:r>
              <a:rPr kumimoji="0" lang="de-DE" sz="2400" b="0" i="0" u="none" strike="noStrike" kern="1200" cap="none" spc="0" normalizeH="0" baseline="0" noProof="0" dirty="0" err="1">
                <a:ln>
                  <a:noFill/>
                </a:ln>
                <a:solidFill>
                  <a:prstClr val="black"/>
                </a:solidFill>
                <a:effectLst/>
                <a:uLnTx/>
                <a:uFillTx/>
                <a:latin typeface="Frutiger LT Com 45 Light"/>
                <a:ea typeface="+mn-ea"/>
                <a:cs typeface="+mn-cs"/>
              </a:rPr>
              <a:t>Qopt</a:t>
            </a:r>
            <a:r>
              <a:rPr kumimoji="0" lang="de-DE" sz="2400" b="0" i="0" u="none" strike="noStrike" kern="1200" cap="none" spc="0" normalizeH="0" baseline="0" noProof="0" dirty="0">
                <a:ln>
                  <a:noFill/>
                </a:ln>
                <a:solidFill>
                  <a:prstClr val="black"/>
                </a:solidFill>
                <a:effectLst/>
                <a:uLnTx/>
                <a:uFillTx/>
                <a:latin typeface="Frutiger LT Com 45 Light"/>
                <a:ea typeface="+mn-ea"/>
                <a:cs typeface="+mn-cs"/>
              </a:rPr>
              <a:t>  = 0,3 :    </a:t>
            </a:r>
            <a:r>
              <a:rPr kumimoji="0" lang="de-DE" sz="2400" i="0" u="none" strike="noStrike" kern="1200" cap="none" spc="0" normalizeH="0" baseline="0" noProof="0" dirty="0">
                <a:ln>
                  <a:noFill/>
                </a:ln>
                <a:solidFill>
                  <a:srgbClr val="0000FF"/>
                </a:solidFill>
                <a:effectLst/>
                <a:uLnTx/>
                <a:uFillTx/>
                <a:latin typeface="Frutiger LT Com 45 Light"/>
                <a:ea typeface="+mn-ea"/>
                <a:cs typeface="+mn-cs"/>
              </a:rPr>
              <a:t>K</a:t>
            </a:r>
            <a:r>
              <a:rPr kumimoji="0" lang="de-DE" sz="2400" i="0" u="none" strike="noStrike" kern="1200" cap="none" spc="0" normalizeH="0" baseline="-25000" noProof="0" dirty="0">
                <a:ln>
                  <a:noFill/>
                </a:ln>
                <a:solidFill>
                  <a:srgbClr val="0000FF"/>
                </a:solidFill>
                <a:effectLst/>
                <a:uLnTx/>
                <a:uFillTx/>
                <a:latin typeface="Frutiger LT Com 45 Light"/>
                <a:ea typeface="+mn-ea"/>
                <a:cs typeface="+mn-cs"/>
              </a:rPr>
              <a:t>H</a:t>
            </a:r>
            <a:r>
              <a:rPr kumimoji="0" lang="de-DE" sz="2400" i="0" u="none" strike="noStrike" kern="1200" cap="none" spc="0" normalizeH="0" baseline="0" noProof="0" dirty="0">
                <a:ln>
                  <a:noFill/>
                </a:ln>
                <a:solidFill>
                  <a:srgbClr val="0000FF"/>
                </a:solidFill>
                <a:effectLst/>
                <a:uLnTx/>
                <a:uFillTx/>
                <a:latin typeface="Frutiger LT Com 45 Light"/>
                <a:ea typeface="+mn-ea"/>
                <a:cs typeface="+mn-cs"/>
              </a:rPr>
              <a:t>  =  0,10</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2400" b="0" i="0" u="none" strike="noStrike" kern="1200" cap="none" spc="0" normalizeH="0" baseline="0" noProof="0" dirty="0">
              <a:ln>
                <a:noFill/>
              </a:ln>
              <a:solidFill>
                <a:prstClr val="black"/>
              </a:solidFill>
              <a:effectLst/>
              <a:uLnTx/>
              <a:uFillTx/>
              <a:latin typeface="Frutiger LT Com 45 Ligh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2400" b="0" i="0" u="none" strike="noStrike" kern="1200" cap="none" spc="0" normalizeH="0" baseline="0" noProof="0" dirty="0" err="1">
                <a:ln>
                  <a:noFill/>
                </a:ln>
                <a:solidFill>
                  <a:prstClr val="black"/>
                </a:solidFill>
                <a:effectLst/>
                <a:uLnTx/>
                <a:uFillTx/>
                <a:latin typeface="Frutiger LT Com 45 Light"/>
                <a:ea typeface="+mn-ea"/>
                <a:cs typeface="+mn-cs"/>
              </a:rPr>
              <a:t>For</a:t>
            </a:r>
            <a:r>
              <a:rPr kumimoji="0" lang="de-DE" sz="2400" b="0" i="0" u="none" strike="noStrike" kern="1200" cap="none" spc="0" normalizeH="0" baseline="0" noProof="0" dirty="0">
                <a:ln>
                  <a:noFill/>
                </a:ln>
                <a:solidFill>
                  <a:prstClr val="black"/>
                </a:solidFill>
                <a:effectLst/>
                <a:uLnTx/>
                <a:uFillTx/>
                <a:latin typeface="Frutiger LT Com 45 Light"/>
                <a:ea typeface="+mn-ea"/>
                <a:cs typeface="+mn-cs"/>
              </a:rPr>
              <a:t> </a:t>
            </a:r>
            <a:r>
              <a:rPr kumimoji="0" lang="de-DE" sz="2400" b="0" i="0" u="none" strike="noStrike" kern="1200" cap="none" spc="0" normalizeH="0" baseline="0" noProof="0" dirty="0" err="1">
                <a:ln>
                  <a:noFill/>
                </a:ln>
                <a:solidFill>
                  <a:prstClr val="black"/>
                </a:solidFill>
                <a:effectLst/>
                <a:uLnTx/>
                <a:uFillTx/>
                <a:latin typeface="Frutiger LT Com 45 Light"/>
                <a:ea typeface="+mn-ea"/>
                <a:cs typeface="+mn-cs"/>
              </a:rPr>
              <a:t>the</a:t>
            </a:r>
            <a:r>
              <a:rPr kumimoji="0" lang="de-DE" sz="2400" b="0" i="0" u="none" strike="noStrike" kern="1200" cap="none" spc="0" normalizeH="0" baseline="0" noProof="0" dirty="0">
                <a:ln>
                  <a:noFill/>
                </a:ln>
                <a:solidFill>
                  <a:prstClr val="black"/>
                </a:solidFill>
                <a:effectLst/>
                <a:uLnTx/>
                <a:uFillTx/>
                <a:latin typeface="Frutiger LT Com 45 Light"/>
                <a:ea typeface="+mn-ea"/>
                <a:cs typeface="+mn-cs"/>
              </a:rPr>
              <a:t> </a:t>
            </a:r>
            <a:r>
              <a:rPr kumimoji="0" lang="de-DE" sz="2400" b="0" i="0" u="none" strike="noStrike" kern="1200" cap="none" spc="0" normalizeH="0" baseline="0" noProof="0" dirty="0" err="1">
                <a:ln>
                  <a:noFill/>
                </a:ln>
                <a:solidFill>
                  <a:prstClr val="black"/>
                </a:solidFill>
                <a:effectLst/>
                <a:uLnTx/>
                <a:uFillTx/>
                <a:latin typeface="Frutiger LT Com 45 Light"/>
                <a:ea typeface="+mn-ea"/>
                <a:cs typeface="+mn-cs"/>
              </a:rPr>
              <a:t>two</a:t>
            </a:r>
            <a:r>
              <a:rPr kumimoji="0" lang="de-DE" sz="2400" b="0" i="0" u="none" strike="noStrike" kern="1200" cap="none" spc="0" normalizeH="0" baseline="0" noProof="0" dirty="0">
                <a:ln>
                  <a:noFill/>
                </a:ln>
                <a:solidFill>
                  <a:prstClr val="black"/>
                </a:solidFill>
                <a:effectLst/>
                <a:uLnTx/>
                <a:uFillTx/>
                <a:latin typeface="Frutiger LT Com 45 Light"/>
                <a:ea typeface="+mn-ea"/>
                <a:cs typeface="+mn-cs"/>
              </a:rPr>
              <a:t> </a:t>
            </a:r>
            <a:r>
              <a:rPr kumimoji="0" lang="de-DE" sz="2400" b="0" i="0" u="none" strike="noStrike" kern="1200" cap="none" spc="0" normalizeH="0" baseline="0" noProof="0" dirty="0" err="1">
                <a:ln>
                  <a:noFill/>
                </a:ln>
                <a:solidFill>
                  <a:prstClr val="black"/>
                </a:solidFill>
                <a:effectLst/>
                <a:uLnTx/>
                <a:uFillTx/>
                <a:latin typeface="Frutiger LT Com 45 Light"/>
                <a:ea typeface="+mn-ea"/>
                <a:cs typeface="+mn-cs"/>
              </a:rPr>
              <a:t>cases</a:t>
            </a:r>
            <a:r>
              <a:rPr kumimoji="0" lang="de-DE" sz="2400" b="0" i="0" u="none" strike="noStrike" kern="1200" cap="none" spc="0" normalizeH="0" baseline="0" noProof="0" dirty="0">
                <a:ln>
                  <a:noFill/>
                </a:ln>
                <a:solidFill>
                  <a:prstClr val="black"/>
                </a:solidFill>
                <a:effectLst/>
                <a:uLnTx/>
                <a:uFillTx/>
                <a:latin typeface="Frutiger LT Com 45 Light"/>
                <a:ea typeface="+mn-ea"/>
                <a:cs typeface="+mn-cs"/>
              </a:rPr>
              <a:t> </a:t>
            </a:r>
            <a:r>
              <a:rPr kumimoji="0" lang="de-DE" sz="2400" b="0" i="0" u="none" strike="noStrike" kern="1200" cap="none" spc="0" normalizeH="0" baseline="0" noProof="0" dirty="0" err="1">
                <a:ln>
                  <a:noFill/>
                </a:ln>
                <a:solidFill>
                  <a:prstClr val="black"/>
                </a:solidFill>
                <a:effectLst/>
                <a:uLnTx/>
                <a:uFillTx/>
                <a:latin typeface="Frutiger LT Com 45 Light"/>
                <a:ea typeface="+mn-ea"/>
                <a:cs typeface="+mn-cs"/>
              </a:rPr>
              <a:t>of</a:t>
            </a:r>
            <a:r>
              <a:rPr kumimoji="0" lang="de-DE" sz="2400" b="0" i="0" u="none" strike="noStrike" kern="1200" cap="none" spc="0" normalizeH="0" baseline="0" noProof="0" dirty="0">
                <a:ln>
                  <a:noFill/>
                </a:ln>
                <a:solidFill>
                  <a:prstClr val="black"/>
                </a:solidFill>
                <a:effectLst/>
                <a:uLnTx/>
                <a:uFillTx/>
                <a:latin typeface="Frutiger LT Com 45 Light"/>
                <a:ea typeface="+mn-ea"/>
                <a:cs typeface="+mn-cs"/>
              </a:rPr>
              <a:t> </a:t>
            </a:r>
            <a:r>
              <a:rPr kumimoji="0" lang="de-DE" sz="2400" i="0" u="none" strike="noStrike" kern="1200" cap="none" spc="0" normalizeH="0" baseline="0" noProof="0" dirty="0">
                <a:ln>
                  <a:noFill/>
                </a:ln>
                <a:solidFill>
                  <a:srgbClr val="0000FF"/>
                </a:solidFill>
                <a:effectLst/>
                <a:uLnTx/>
                <a:uFillTx/>
                <a:latin typeface="Frutiger LT Com 45 Light"/>
                <a:ea typeface="+mn-ea"/>
                <a:cs typeface="+mn-cs"/>
              </a:rPr>
              <a:t>Vane Pass </a:t>
            </a:r>
            <a:r>
              <a:rPr kumimoji="0" lang="de-DE" sz="2400" i="0" u="none" strike="noStrike" kern="1200" cap="none" spc="0" normalizeH="0" baseline="0" noProof="0" dirty="0" err="1">
                <a:ln>
                  <a:noFill/>
                </a:ln>
                <a:solidFill>
                  <a:srgbClr val="0000FF"/>
                </a:solidFill>
                <a:effectLst/>
                <a:uLnTx/>
                <a:uFillTx/>
                <a:latin typeface="Frutiger LT Com 45 Light"/>
                <a:ea typeface="+mn-ea"/>
                <a:cs typeface="+mn-cs"/>
              </a:rPr>
              <a:t>Frequency</a:t>
            </a:r>
            <a:r>
              <a:rPr kumimoji="0" lang="de-DE" sz="2400" i="0" u="none" strike="noStrike" kern="1200" cap="none" spc="0" normalizeH="0" baseline="0" noProof="0" dirty="0">
                <a:ln>
                  <a:noFill/>
                </a:ln>
                <a:solidFill>
                  <a:srgbClr val="0000FF"/>
                </a:solidFill>
                <a:effectLst/>
                <a:uLnTx/>
                <a:uFillTx/>
                <a:latin typeface="Frutiger LT Com 45 Light"/>
                <a:ea typeface="+mn-ea"/>
                <a:cs typeface="+mn-cs"/>
              </a:rPr>
              <a:t> </a:t>
            </a:r>
            <a:r>
              <a:rPr kumimoji="0" lang="de-DE" sz="2400" i="0" u="none" strike="noStrike" kern="1200" cap="none" spc="0" normalizeH="0" baseline="0" noProof="0" dirty="0" err="1">
                <a:ln>
                  <a:noFill/>
                </a:ln>
                <a:solidFill>
                  <a:srgbClr val="0000FF"/>
                </a:solidFill>
                <a:effectLst/>
                <a:uLnTx/>
                <a:uFillTx/>
                <a:latin typeface="Frutiger LT Com 45 Light"/>
                <a:ea typeface="+mn-ea"/>
                <a:cs typeface="+mn-cs"/>
              </a:rPr>
              <a:t>Excitation</a:t>
            </a:r>
            <a:r>
              <a:rPr kumimoji="0" lang="de-DE" sz="2400" i="0" u="none" strike="noStrike" kern="1200" cap="none" spc="0" normalizeH="0" baseline="0" noProof="0" dirty="0">
                <a:ln>
                  <a:noFill/>
                </a:ln>
                <a:solidFill>
                  <a:srgbClr val="0000FF"/>
                </a:solidFill>
                <a:effectLst/>
                <a:uLnTx/>
                <a:uFillTx/>
                <a:latin typeface="Frutiger LT Com 45 Light"/>
                <a:ea typeface="+mn-ea"/>
                <a:cs typeface="+mn-cs"/>
              </a:rPr>
              <a:t> </a:t>
            </a:r>
            <a:r>
              <a:rPr kumimoji="0" lang="de-DE" sz="2400" b="0" i="0" u="none" strike="noStrike" kern="1200" cap="none" spc="0" normalizeH="0" baseline="0" noProof="0" dirty="0" err="1">
                <a:ln>
                  <a:noFill/>
                </a:ln>
                <a:solidFill>
                  <a:prstClr val="black"/>
                </a:solidFill>
                <a:effectLst/>
                <a:uLnTx/>
                <a:uFillTx/>
                <a:latin typeface="Frutiger LT Com 45 Light"/>
                <a:ea typeface="+mn-ea"/>
                <a:cs typeface="+mn-cs"/>
              </a:rPr>
              <a:t>the</a:t>
            </a:r>
            <a:r>
              <a:rPr kumimoji="0" lang="de-DE" sz="2400" b="0" i="0" u="none" strike="noStrike" kern="1200" cap="none" spc="0" normalizeH="0" baseline="0" noProof="0" dirty="0">
                <a:ln>
                  <a:noFill/>
                </a:ln>
                <a:solidFill>
                  <a:prstClr val="black"/>
                </a:solidFill>
                <a:effectLst/>
                <a:uLnTx/>
                <a:uFillTx/>
                <a:latin typeface="Frutiger LT Com 45 Light"/>
                <a:ea typeface="+mn-ea"/>
                <a:cs typeface="+mn-cs"/>
              </a:rPr>
              <a:t> Fluid </a:t>
            </a:r>
            <a:r>
              <a:rPr kumimoji="0" lang="de-DE" sz="2400" i="0" u="none" strike="noStrike" kern="1200" cap="none" spc="0" normalizeH="0" baseline="0" noProof="0" dirty="0">
                <a:ln>
                  <a:noFill/>
                </a:ln>
                <a:solidFill>
                  <a:srgbClr val="0000FF"/>
                </a:solidFill>
                <a:effectLst/>
                <a:uLnTx/>
                <a:uFillTx/>
                <a:latin typeface="Frutiger LT Com 45 Light"/>
                <a:ea typeface="+mn-ea"/>
                <a:cs typeface="+mn-cs"/>
              </a:rPr>
              <a:t>Force </a:t>
            </a:r>
            <a:r>
              <a:rPr kumimoji="0" lang="de-DE" sz="2400" i="0" u="none" strike="noStrike" kern="1200" cap="none" spc="0" normalizeH="0" baseline="0" noProof="0" dirty="0" err="1">
                <a:ln>
                  <a:noFill/>
                </a:ln>
                <a:solidFill>
                  <a:srgbClr val="0000FF"/>
                </a:solidFill>
                <a:effectLst/>
                <a:uLnTx/>
                <a:uFillTx/>
                <a:latin typeface="Frutiger LT Com 45 Light"/>
                <a:ea typeface="+mn-ea"/>
                <a:cs typeface="+mn-cs"/>
              </a:rPr>
              <a:t>Amplitudes</a:t>
            </a:r>
            <a:r>
              <a:rPr kumimoji="0" lang="de-DE" sz="2400" i="0" u="none" strike="noStrike" kern="1200" cap="none" spc="0" normalizeH="0" baseline="0" noProof="0" dirty="0">
                <a:ln>
                  <a:noFill/>
                </a:ln>
                <a:solidFill>
                  <a:srgbClr val="0000FF"/>
                </a:solidFill>
                <a:effectLst/>
                <a:uLnTx/>
                <a:uFillTx/>
                <a:latin typeface="Frutiger LT Com 45 Light"/>
                <a:ea typeface="+mn-ea"/>
                <a:cs typeface="+mn-cs"/>
              </a:rPr>
              <a:t> </a:t>
            </a:r>
            <a:r>
              <a:rPr kumimoji="0" lang="de-DE" sz="2400" b="0" i="0" u="none" strike="noStrike" kern="1200" cap="none" spc="0" normalizeH="0" baseline="0" noProof="0" dirty="0" err="1">
                <a:ln>
                  <a:noFill/>
                </a:ln>
                <a:solidFill>
                  <a:prstClr val="black"/>
                </a:solidFill>
                <a:effectLst/>
                <a:uLnTx/>
                <a:uFillTx/>
                <a:latin typeface="Frutiger LT Com 45 Light"/>
                <a:ea typeface="+mn-ea"/>
                <a:cs typeface="+mn-cs"/>
              </a:rPr>
              <a:t>are</a:t>
            </a:r>
            <a:endParaRPr kumimoji="0" lang="de-DE" sz="2400" b="0" i="0" u="none" strike="noStrike" kern="1200" cap="none" spc="0" normalizeH="0" baseline="0" noProof="0" dirty="0">
              <a:ln>
                <a:noFill/>
              </a:ln>
              <a:solidFill>
                <a:prstClr val="black"/>
              </a:solidFill>
              <a:effectLst/>
              <a:uLnTx/>
              <a:uFillTx/>
              <a:latin typeface="Frutiger LT Com 45 Ligh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2400" b="0" i="0" u="none" strike="noStrike" kern="1200" cap="none" spc="0" normalizeH="0" baseline="0" noProof="0" dirty="0">
              <a:ln>
                <a:noFill/>
              </a:ln>
              <a:solidFill>
                <a:prstClr val="black"/>
              </a:solidFill>
              <a:effectLst/>
              <a:uLnTx/>
              <a:uFillTx/>
              <a:latin typeface="Frutiger LT Com 45 Ligh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2400" b="1" i="0" u="none" strike="noStrike" kern="1200" cap="none" spc="0" normalizeH="0" baseline="0" noProof="0" dirty="0">
                <a:ln>
                  <a:noFill/>
                </a:ln>
                <a:solidFill>
                  <a:srgbClr val="0000FF"/>
                </a:solidFill>
                <a:effectLst/>
                <a:uLnTx/>
                <a:uFillTx/>
                <a:latin typeface="Frutiger LT Com 45 Light"/>
                <a:ea typeface="+mn-ea"/>
                <a:cs typeface="+mn-cs"/>
              </a:rPr>
              <a:t>	</a:t>
            </a:r>
            <a:r>
              <a:rPr kumimoji="0" lang="de-DE" sz="2400" b="0" i="0" u="none" strike="noStrike" kern="1200" cap="none" spc="0" normalizeH="0" baseline="0" noProof="0" dirty="0" err="1">
                <a:ln>
                  <a:noFill/>
                </a:ln>
                <a:effectLst/>
                <a:uLnTx/>
                <a:uFillTx/>
                <a:latin typeface="Frutiger LT Com 45 Light"/>
                <a:ea typeface="+mn-ea"/>
                <a:cs typeface="+mn-cs"/>
              </a:rPr>
              <a:t>for</a:t>
            </a:r>
            <a:r>
              <a:rPr kumimoji="0" lang="de-DE" sz="2400" b="0" i="0" u="none" strike="noStrike" kern="1200" cap="none" spc="0" normalizeH="0" baseline="0" noProof="0" dirty="0">
                <a:ln>
                  <a:noFill/>
                </a:ln>
                <a:effectLst/>
                <a:uLnTx/>
                <a:uFillTx/>
                <a:latin typeface="Frutiger LT Com 45 Light"/>
                <a:ea typeface="+mn-ea"/>
                <a:cs typeface="+mn-cs"/>
              </a:rPr>
              <a:t> </a:t>
            </a:r>
            <a:r>
              <a:rPr kumimoji="0" lang="de-DE" sz="2400" b="0" i="0" u="none" strike="noStrike" kern="1200" cap="none" spc="0" normalizeH="0" baseline="0" noProof="0" dirty="0" err="1">
                <a:ln>
                  <a:noFill/>
                </a:ln>
                <a:effectLst/>
                <a:uLnTx/>
                <a:uFillTx/>
                <a:latin typeface="Frutiger LT Com 45 Light"/>
                <a:ea typeface="+mn-ea"/>
                <a:cs typeface="+mn-cs"/>
              </a:rPr>
              <a:t>the</a:t>
            </a:r>
            <a:r>
              <a:rPr kumimoji="0" lang="de-DE" sz="2400" b="0" i="0" u="none" strike="noStrike" kern="1200" cap="none" spc="0" normalizeH="0" baseline="0" noProof="0" dirty="0">
                <a:ln>
                  <a:noFill/>
                </a:ln>
                <a:effectLst/>
                <a:uLnTx/>
                <a:uFillTx/>
                <a:latin typeface="Frutiger LT Com 45 Light"/>
                <a:ea typeface="+mn-ea"/>
                <a:cs typeface="+mn-cs"/>
              </a:rPr>
              <a:t> optimal </a:t>
            </a:r>
            <a:r>
              <a:rPr kumimoji="0" lang="de-DE" sz="2400" b="0" i="0" u="none" strike="noStrike" kern="1200" cap="none" spc="0" normalizeH="0" baseline="0" noProof="0" dirty="0" err="1">
                <a:ln>
                  <a:noFill/>
                </a:ln>
                <a:effectLst/>
                <a:uLnTx/>
                <a:uFillTx/>
                <a:latin typeface="Frutiger LT Com 45 Light"/>
                <a:ea typeface="+mn-ea"/>
                <a:cs typeface="+mn-cs"/>
              </a:rPr>
              <a:t>case</a:t>
            </a:r>
            <a:r>
              <a:rPr kumimoji="0" lang="de-DE" sz="2400" b="0" i="0" u="none" strike="noStrike" kern="1200" cap="none" spc="0" normalizeH="0" baseline="0" noProof="0" dirty="0">
                <a:ln>
                  <a:noFill/>
                </a:ln>
                <a:effectLst/>
                <a:uLnTx/>
                <a:uFillTx/>
                <a:latin typeface="Frutiger LT Com 45 Light"/>
                <a:ea typeface="+mn-ea"/>
                <a:cs typeface="+mn-cs"/>
              </a:rPr>
              <a:t>                 Q/</a:t>
            </a:r>
            <a:r>
              <a:rPr kumimoji="0" lang="de-DE" sz="2400" b="0" i="0" u="none" strike="noStrike" kern="1200" cap="none" spc="0" normalizeH="0" baseline="0" noProof="0" dirty="0" err="1">
                <a:ln>
                  <a:noFill/>
                </a:ln>
                <a:effectLst/>
                <a:uLnTx/>
                <a:uFillTx/>
                <a:latin typeface="Frutiger LT Com 45 Light"/>
                <a:ea typeface="+mn-ea"/>
                <a:cs typeface="+mn-cs"/>
              </a:rPr>
              <a:t>Qopt</a:t>
            </a:r>
            <a:r>
              <a:rPr kumimoji="0" lang="de-DE" sz="2400" b="0" i="0" u="none" strike="noStrike" kern="1200" cap="none" spc="0" normalizeH="0" baseline="0" noProof="0" dirty="0">
                <a:ln>
                  <a:noFill/>
                </a:ln>
                <a:effectLst/>
                <a:uLnTx/>
                <a:uFillTx/>
                <a:latin typeface="Frutiger LT Com 45 Light"/>
                <a:ea typeface="+mn-ea"/>
                <a:cs typeface="+mn-cs"/>
              </a:rPr>
              <a:t>  =  1    : </a:t>
            </a:r>
            <a:r>
              <a:rPr kumimoji="0" lang="de-DE" sz="2400" b="1" i="0" u="none" strike="noStrike" kern="1200" cap="none" spc="0" normalizeH="0" baseline="0" noProof="0" dirty="0">
                <a:ln>
                  <a:noFill/>
                </a:ln>
                <a:effectLst/>
                <a:uLnTx/>
                <a:uFillTx/>
                <a:latin typeface="Frutiger LT Com 45 Light"/>
                <a:ea typeface="+mn-ea"/>
                <a:cs typeface="+mn-cs"/>
              </a:rPr>
              <a:t> </a:t>
            </a:r>
            <a:r>
              <a:rPr kumimoji="0" lang="de-DE" sz="2400" b="1" i="0" u="none" strike="noStrike" kern="1200" cap="none" spc="0" normalizeH="0" baseline="0" noProof="0" dirty="0">
                <a:ln>
                  <a:noFill/>
                </a:ln>
                <a:solidFill>
                  <a:srgbClr val="0000FF"/>
                </a:solidFill>
                <a:effectLst/>
                <a:uLnTx/>
                <a:uFillTx/>
                <a:latin typeface="Frutiger LT Com 45 Light"/>
                <a:ea typeface="+mn-ea"/>
                <a:cs typeface="+mn-cs"/>
              </a:rPr>
              <a:t>  F</a:t>
            </a:r>
            <a:r>
              <a:rPr kumimoji="0" lang="de-DE" sz="2400" b="1" i="0" u="none" strike="noStrike" kern="1200" cap="none" spc="0" normalizeH="0" baseline="-25000" noProof="0" dirty="0">
                <a:ln>
                  <a:noFill/>
                </a:ln>
                <a:solidFill>
                  <a:srgbClr val="0000FF"/>
                </a:solidFill>
                <a:effectLst/>
                <a:uLnTx/>
                <a:uFillTx/>
                <a:latin typeface="Frutiger LT Com 45 Light"/>
                <a:ea typeface="+mn-ea"/>
                <a:cs typeface="+mn-cs"/>
              </a:rPr>
              <a:t>H</a:t>
            </a:r>
            <a:r>
              <a:rPr kumimoji="0" lang="de-DE" sz="2400" b="1" i="0" u="none" strike="noStrike" kern="1200" cap="none" spc="0" normalizeH="0" baseline="0" noProof="0" dirty="0">
                <a:ln>
                  <a:noFill/>
                </a:ln>
                <a:solidFill>
                  <a:srgbClr val="0000FF"/>
                </a:solidFill>
                <a:effectLst/>
                <a:uLnTx/>
                <a:uFillTx/>
                <a:latin typeface="Frutiger LT Com 45 Light"/>
                <a:ea typeface="+mn-ea"/>
                <a:cs typeface="+mn-cs"/>
              </a:rPr>
              <a:t>    =  17,25 k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2400" b="1" i="0" u="none" strike="noStrike" kern="1200" cap="none" spc="0" normalizeH="0" baseline="0" noProof="0" dirty="0">
                <a:ln>
                  <a:noFill/>
                </a:ln>
                <a:solidFill>
                  <a:srgbClr val="0000FF"/>
                </a:solidFill>
                <a:effectLst/>
                <a:uLnTx/>
                <a:uFillTx/>
                <a:latin typeface="Frutiger LT Com 45 Light"/>
                <a:ea typeface="+mn-ea"/>
                <a:cs typeface="+mn-cs"/>
              </a:rPr>
              <a:t>	</a:t>
            </a:r>
            <a:r>
              <a:rPr kumimoji="0" lang="de-DE" sz="2400" b="0" i="0" u="none" strike="noStrike" kern="1200" cap="none" spc="0" normalizeH="0" baseline="0" noProof="0" dirty="0" err="1">
                <a:ln>
                  <a:noFill/>
                </a:ln>
                <a:effectLst/>
                <a:uLnTx/>
                <a:uFillTx/>
                <a:latin typeface="Frutiger LT Com 45 Light"/>
                <a:ea typeface="+mn-ea"/>
                <a:cs typeface="+mn-cs"/>
              </a:rPr>
              <a:t>for</a:t>
            </a:r>
            <a:r>
              <a:rPr kumimoji="0" lang="de-DE" sz="2400" b="0" i="0" u="none" strike="noStrike" kern="1200" cap="none" spc="0" normalizeH="0" baseline="0" noProof="0" dirty="0">
                <a:ln>
                  <a:noFill/>
                </a:ln>
                <a:effectLst/>
                <a:uLnTx/>
                <a:uFillTx/>
                <a:latin typeface="Frutiger LT Com 45 Light"/>
                <a:ea typeface="+mn-ea"/>
                <a:cs typeface="+mn-cs"/>
              </a:rPr>
              <a:t> </a:t>
            </a:r>
            <a:r>
              <a:rPr kumimoji="0" lang="de-DE" sz="2400" b="0" i="0" u="none" strike="noStrike" kern="1200" cap="none" spc="0" normalizeH="0" baseline="0" noProof="0" dirty="0" err="1">
                <a:ln>
                  <a:noFill/>
                </a:ln>
                <a:effectLst/>
                <a:uLnTx/>
                <a:uFillTx/>
                <a:latin typeface="Frutiger LT Com 45 Light"/>
                <a:ea typeface="+mn-ea"/>
                <a:cs typeface="+mn-cs"/>
              </a:rPr>
              <a:t>the</a:t>
            </a:r>
            <a:r>
              <a:rPr kumimoji="0" lang="de-DE" sz="2400" b="0" i="0" u="none" strike="noStrike" kern="1200" cap="none" spc="0" normalizeH="0" baseline="0" noProof="0" dirty="0">
                <a:ln>
                  <a:noFill/>
                </a:ln>
                <a:effectLst/>
                <a:uLnTx/>
                <a:uFillTx/>
                <a:latin typeface="Frutiger LT Com 45 Light"/>
                <a:ea typeface="+mn-ea"/>
                <a:cs typeface="+mn-cs"/>
              </a:rPr>
              <a:t> </a:t>
            </a:r>
            <a:r>
              <a:rPr kumimoji="0" lang="de-DE" sz="2400" b="0" i="0" u="none" strike="noStrike" kern="1200" cap="none" spc="0" normalizeH="0" baseline="0" noProof="0" dirty="0" err="1">
                <a:ln>
                  <a:noFill/>
                </a:ln>
                <a:effectLst/>
                <a:uLnTx/>
                <a:uFillTx/>
                <a:latin typeface="Frutiger LT Com 45 Light"/>
                <a:ea typeface="+mn-ea"/>
                <a:cs typeface="+mn-cs"/>
              </a:rPr>
              <a:t>part</a:t>
            </a:r>
            <a:r>
              <a:rPr kumimoji="0" lang="de-DE" sz="2400" b="0" i="0" u="none" strike="noStrike" kern="1200" cap="none" spc="0" normalizeH="0" baseline="0" noProof="0" dirty="0">
                <a:ln>
                  <a:noFill/>
                </a:ln>
                <a:effectLst/>
                <a:uLnTx/>
                <a:uFillTx/>
                <a:latin typeface="Frutiger LT Com 45 Light"/>
                <a:ea typeface="+mn-ea"/>
                <a:cs typeface="+mn-cs"/>
              </a:rPr>
              <a:t> Load </a:t>
            </a:r>
            <a:r>
              <a:rPr kumimoji="0" lang="de-DE" sz="2400" b="0" i="0" u="none" strike="noStrike" kern="1200" cap="none" spc="0" normalizeH="0" baseline="0" noProof="0" dirty="0" err="1">
                <a:ln>
                  <a:noFill/>
                </a:ln>
                <a:effectLst/>
                <a:uLnTx/>
                <a:uFillTx/>
                <a:latin typeface="Frutiger LT Com 45 Light"/>
                <a:ea typeface="+mn-ea"/>
                <a:cs typeface="+mn-cs"/>
              </a:rPr>
              <a:t>case</a:t>
            </a:r>
            <a:r>
              <a:rPr kumimoji="0" lang="de-DE" sz="2400" b="0" i="0" u="none" strike="noStrike" kern="1200" cap="none" spc="0" normalizeH="0" baseline="0" noProof="0" dirty="0">
                <a:ln>
                  <a:noFill/>
                </a:ln>
                <a:effectLst/>
                <a:uLnTx/>
                <a:uFillTx/>
                <a:latin typeface="Frutiger LT Com 45 Light"/>
                <a:ea typeface="+mn-ea"/>
                <a:cs typeface="+mn-cs"/>
              </a:rPr>
              <a:t>, e.g</a:t>
            </a:r>
            <a:r>
              <a:rPr kumimoji="0" lang="de-DE" sz="2400" b="1" i="0" u="none" strike="noStrike" kern="1200" cap="none" spc="0" normalizeH="0" baseline="0" noProof="0" dirty="0">
                <a:ln>
                  <a:noFill/>
                </a:ln>
                <a:solidFill>
                  <a:srgbClr val="0000FF"/>
                </a:solidFill>
                <a:effectLst/>
                <a:uLnTx/>
                <a:uFillTx/>
                <a:latin typeface="Frutiger LT Com 45 Light"/>
                <a:ea typeface="+mn-ea"/>
                <a:cs typeface="+mn-cs"/>
              </a:rPr>
              <a:t>.     </a:t>
            </a:r>
            <a:r>
              <a:rPr kumimoji="0" lang="de-DE" sz="2400" b="0" i="0" u="none" strike="noStrike" kern="1200" cap="none" spc="0" normalizeH="0" baseline="0" noProof="0" dirty="0">
                <a:ln>
                  <a:noFill/>
                </a:ln>
                <a:effectLst/>
                <a:uLnTx/>
                <a:uFillTx/>
                <a:latin typeface="Frutiger LT Com 45 Light"/>
                <a:ea typeface="+mn-ea"/>
                <a:cs typeface="+mn-cs"/>
              </a:rPr>
              <a:t>Q/</a:t>
            </a:r>
            <a:r>
              <a:rPr kumimoji="0" lang="de-DE" sz="2400" b="0" i="0" u="none" strike="noStrike" kern="1200" cap="none" spc="0" normalizeH="0" baseline="0" noProof="0" dirty="0" err="1">
                <a:ln>
                  <a:noFill/>
                </a:ln>
                <a:effectLst/>
                <a:uLnTx/>
                <a:uFillTx/>
                <a:latin typeface="Frutiger LT Com 45 Light"/>
                <a:ea typeface="+mn-ea"/>
                <a:cs typeface="+mn-cs"/>
              </a:rPr>
              <a:t>Qopt</a:t>
            </a:r>
            <a:r>
              <a:rPr kumimoji="0" lang="de-DE" sz="2400" b="0" i="0" u="none" strike="noStrike" kern="1200" cap="none" spc="0" normalizeH="0" baseline="0" noProof="0" dirty="0">
                <a:ln>
                  <a:noFill/>
                </a:ln>
                <a:effectLst/>
                <a:uLnTx/>
                <a:uFillTx/>
                <a:latin typeface="Frutiger LT Com 45 Light"/>
                <a:ea typeface="+mn-ea"/>
                <a:cs typeface="+mn-cs"/>
              </a:rPr>
              <a:t>  =  0,3 :   </a:t>
            </a:r>
            <a:r>
              <a:rPr kumimoji="0" lang="de-DE" sz="2400" b="1" i="0" u="none" strike="noStrike" kern="1200" cap="none" spc="0" normalizeH="0" baseline="0" noProof="0" dirty="0">
                <a:ln>
                  <a:noFill/>
                </a:ln>
                <a:solidFill>
                  <a:srgbClr val="0000FF"/>
                </a:solidFill>
                <a:effectLst/>
                <a:uLnTx/>
                <a:uFillTx/>
                <a:latin typeface="Frutiger LT Com 45 Light"/>
                <a:ea typeface="+mn-ea"/>
                <a:cs typeface="+mn-cs"/>
              </a:rPr>
              <a:t>F</a:t>
            </a:r>
            <a:r>
              <a:rPr kumimoji="0" lang="de-DE" sz="2400" b="1" i="0" u="none" strike="noStrike" kern="1200" cap="none" spc="0" normalizeH="0" baseline="-25000" noProof="0" dirty="0">
                <a:ln>
                  <a:noFill/>
                </a:ln>
                <a:solidFill>
                  <a:srgbClr val="0000FF"/>
                </a:solidFill>
                <a:effectLst/>
                <a:uLnTx/>
                <a:uFillTx/>
                <a:latin typeface="Frutiger LT Com 45 Light"/>
                <a:ea typeface="+mn-ea"/>
                <a:cs typeface="+mn-cs"/>
              </a:rPr>
              <a:t>H</a:t>
            </a:r>
            <a:r>
              <a:rPr kumimoji="0" lang="de-DE" sz="2400" b="1" i="0" u="none" strike="noStrike" kern="1200" cap="none" spc="0" normalizeH="0" baseline="0" noProof="0" dirty="0">
                <a:ln>
                  <a:noFill/>
                </a:ln>
                <a:solidFill>
                  <a:srgbClr val="0000FF"/>
                </a:solidFill>
                <a:effectLst/>
                <a:uLnTx/>
                <a:uFillTx/>
                <a:latin typeface="Frutiger LT Com 45 Light"/>
                <a:ea typeface="+mn-ea"/>
                <a:cs typeface="+mn-cs"/>
              </a:rPr>
              <a:t>    =  34,50 kN </a:t>
            </a:r>
          </a:p>
        </p:txBody>
      </p:sp>
    </p:spTree>
    <p:extLst>
      <p:ext uri="{BB962C8B-B14F-4D97-AF65-F5344CB8AC3E}">
        <p14:creationId xmlns:p14="http://schemas.microsoft.com/office/powerpoint/2010/main" val="61527123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feld 1">
            <a:extLst>
              <a:ext uri="{FF2B5EF4-FFF2-40B4-BE49-F238E27FC236}">
                <a16:creationId xmlns:a16="http://schemas.microsoft.com/office/drawing/2014/main" id="{B4688C7A-0566-FD3E-7139-4C16A8D87CBF}"/>
              </a:ext>
            </a:extLst>
          </p:cNvPr>
          <p:cNvSpPr txBox="1"/>
          <p:nvPr/>
        </p:nvSpPr>
        <p:spPr>
          <a:xfrm>
            <a:off x="624115" y="116896"/>
            <a:ext cx="10179394" cy="830997"/>
          </a:xfrm>
          <a:prstGeom prst="rect">
            <a:avLst/>
          </a:prstGeom>
          <a:noFill/>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de-DE" sz="2400" b="1" i="0" u="none" strike="noStrike" kern="1200" cap="none" spc="0" normalizeH="0" baseline="0" noProof="0" dirty="0">
                <a:ln>
                  <a:noFill/>
                </a:ln>
                <a:solidFill>
                  <a:srgbClr val="0000FF"/>
                </a:solidFill>
                <a:effectLst/>
                <a:uLnTx/>
                <a:uFillTx/>
                <a:latin typeface="Arial"/>
                <a:ea typeface="+mn-ea"/>
                <a:cs typeface="+mn-cs"/>
              </a:rPr>
              <a:t>Vibration </a:t>
            </a:r>
            <a:r>
              <a:rPr kumimoji="0" lang="de-DE" sz="2400" b="1" i="0" u="none" strike="noStrike" kern="1200" cap="none" spc="0" normalizeH="0" baseline="0" noProof="0" dirty="0" err="1">
                <a:ln>
                  <a:noFill/>
                </a:ln>
                <a:solidFill>
                  <a:srgbClr val="0000FF"/>
                </a:solidFill>
                <a:effectLst/>
                <a:uLnTx/>
                <a:uFillTx/>
                <a:latin typeface="Arial"/>
                <a:ea typeface="+mn-ea"/>
                <a:cs typeface="+mn-cs"/>
              </a:rPr>
              <a:t>Phenomena</a:t>
            </a:r>
            <a:r>
              <a:rPr kumimoji="0" lang="de-DE" sz="2400" b="1" i="0" u="none" strike="noStrike" kern="1200" cap="none" spc="0" normalizeH="0" baseline="0" noProof="0" dirty="0">
                <a:ln>
                  <a:noFill/>
                </a:ln>
                <a:solidFill>
                  <a:srgbClr val="0000FF"/>
                </a:solidFill>
                <a:effectLst/>
                <a:uLnTx/>
                <a:uFillTx/>
                <a:latin typeface="Arial"/>
                <a:ea typeface="+mn-ea"/>
                <a:cs typeface="+mn-cs"/>
              </a:rPr>
              <a:t> </a:t>
            </a:r>
            <a:r>
              <a:rPr kumimoji="0" lang="de-DE" sz="2400" b="1" i="0" u="none" strike="noStrike" kern="1200" cap="none" spc="0" normalizeH="0" baseline="0" noProof="0" dirty="0" err="1">
                <a:ln>
                  <a:noFill/>
                </a:ln>
                <a:solidFill>
                  <a:srgbClr val="0000FF"/>
                </a:solidFill>
                <a:effectLst/>
                <a:uLnTx/>
                <a:uFillTx/>
                <a:latin typeface="Arial"/>
                <a:ea typeface="+mn-ea"/>
                <a:cs typeface="+mn-cs"/>
              </a:rPr>
              <a:t>of</a:t>
            </a:r>
            <a:r>
              <a:rPr kumimoji="0" lang="de-DE" sz="2400" b="1" i="0" u="none" strike="noStrike" kern="1200" cap="none" spc="0" normalizeH="0" baseline="0" noProof="0" dirty="0">
                <a:ln>
                  <a:noFill/>
                </a:ln>
                <a:solidFill>
                  <a:srgbClr val="0000FF"/>
                </a:solidFill>
                <a:effectLst/>
                <a:uLnTx/>
                <a:uFillTx/>
                <a:latin typeface="Arial"/>
                <a:ea typeface="+mn-ea"/>
                <a:cs typeface="+mn-cs"/>
              </a:rPr>
              <a:t>  </a:t>
            </a:r>
            <a:r>
              <a:rPr kumimoji="0" lang="de-DE" sz="2400" b="1" i="0" u="none" strike="noStrike" kern="1200" cap="none" spc="0" normalizeH="0" baseline="0" noProof="0" dirty="0" err="1">
                <a:ln>
                  <a:noFill/>
                </a:ln>
                <a:solidFill>
                  <a:srgbClr val="0000FF"/>
                </a:solidFill>
                <a:effectLst/>
                <a:uLnTx/>
                <a:uFillTx/>
                <a:latin typeface="Arial"/>
                <a:ea typeface="+mn-ea"/>
                <a:cs typeface="+mn-cs"/>
              </a:rPr>
              <a:t>the</a:t>
            </a:r>
            <a:r>
              <a:rPr kumimoji="0" lang="de-DE" sz="2400" b="1" i="0" u="none" strike="noStrike" kern="1200" cap="none" spc="0" normalizeH="0" baseline="0" noProof="0" dirty="0">
                <a:ln>
                  <a:noFill/>
                </a:ln>
                <a:solidFill>
                  <a:srgbClr val="0000FF"/>
                </a:solidFill>
                <a:effectLst/>
                <a:uLnTx/>
                <a:uFillTx/>
                <a:latin typeface="Arial"/>
                <a:ea typeface="+mn-ea"/>
                <a:cs typeface="+mn-cs"/>
              </a:rPr>
              <a:t> Horizontal </a:t>
            </a:r>
            <a:r>
              <a:rPr kumimoji="0" lang="de-DE" sz="2400" b="1" i="0" u="none" strike="noStrike" kern="1200" cap="none" spc="0" normalizeH="0" baseline="0" noProof="0" dirty="0" err="1">
                <a:ln>
                  <a:noFill/>
                </a:ln>
                <a:solidFill>
                  <a:srgbClr val="0000FF"/>
                </a:solidFill>
                <a:effectLst/>
                <a:uLnTx/>
                <a:uFillTx/>
                <a:latin typeface="Arial"/>
                <a:ea typeface="+mn-ea"/>
                <a:cs typeface="+mn-cs"/>
              </a:rPr>
              <a:t>Feedwater</a:t>
            </a:r>
            <a:r>
              <a:rPr kumimoji="0" lang="de-DE" sz="2400" b="1" i="0" u="none" strike="noStrike" kern="1200" cap="none" spc="0" normalizeH="0" baseline="0" noProof="0" dirty="0">
                <a:ln>
                  <a:noFill/>
                </a:ln>
                <a:solidFill>
                  <a:srgbClr val="0000FF"/>
                </a:solidFill>
                <a:effectLst/>
                <a:uLnTx/>
                <a:uFillTx/>
                <a:latin typeface="Arial"/>
                <a:ea typeface="+mn-ea"/>
                <a:cs typeface="+mn-cs"/>
              </a:rPr>
              <a:t> Pump OL3 </a:t>
            </a:r>
            <a:r>
              <a:rPr kumimoji="0" lang="de-DE" sz="2400" b="0" i="0" u="none" strike="noStrike" kern="1200" cap="none" spc="0" normalizeH="0" baseline="0" noProof="0" dirty="0" err="1">
                <a:ln>
                  <a:noFill/>
                </a:ln>
                <a:solidFill>
                  <a:srgbClr val="000000"/>
                </a:solidFill>
                <a:effectLst/>
                <a:uLnTx/>
                <a:uFillTx/>
                <a:latin typeface="Arial"/>
                <a:ea typeface="+mn-ea"/>
                <a:cs typeface="+mn-cs"/>
              </a:rPr>
              <a:t>Estimation</a:t>
            </a:r>
            <a:r>
              <a:rPr kumimoji="0" lang="de-DE" sz="2400" b="0" i="0" u="none" strike="noStrike" kern="1200" cap="none" spc="0" normalizeH="0" baseline="0" noProof="0" dirty="0">
                <a:ln>
                  <a:noFill/>
                </a:ln>
                <a:solidFill>
                  <a:srgbClr val="000000"/>
                </a:solidFill>
                <a:effectLst/>
                <a:uLnTx/>
                <a:uFillTx/>
                <a:latin typeface="Arial"/>
                <a:ea typeface="+mn-ea"/>
                <a:cs typeface="+mn-cs"/>
              </a:rPr>
              <a:t> </a:t>
            </a:r>
            <a:r>
              <a:rPr kumimoji="0" lang="de-DE" sz="2400" b="0" i="0" u="none" strike="noStrike" kern="1200" cap="none" spc="0" normalizeH="0" baseline="0" noProof="0" dirty="0" err="1">
                <a:ln>
                  <a:noFill/>
                </a:ln>
                <a:solidFill>
                  <a:srgbClr val="000000"/>
                </a:solidFill>
                <a:effectLst/>
                <a:uLnTx/>
                <a:uFillTx/>
                <a:latin typeface="Arial"/>
                <a:ea typeface="+mn-ea"/>
                <a:cs typeface="+mn-cs"/>
              </a:rPr>
              <a:t>of</a:t>
            </a:r>
            <a:r>
              <a:rPr kumimoji="0" lang="de-DE" sz="2400" b="0" i="0" u="none" strike="noStrike" kern="1200" cap="none" spc="0" normalizeH="0" baseline="0" noProof="0" dirty="0">
                <a:ln>
                  <a:noFill/>
                </a:ln>
                <a:solidFill>
                  <a:srgbClr val="000000"/>
                </a:solidFill>
                <a:effectLst/>
                <a:uLnTx/>
                <a:uFillTx/>
                <a:latin typeface="Arial"/>
                <a:ea typeface="+mn-ea"/>
                <a:cs typeface="+mn-cs"/>
              </a:rPr>
              <a:t> Fluid Forces </a:t>
            </a:r>
            <a:r>
              <a:rPr kumimoji="0" lang="de-DE" sz="2400" b="0" i="0" u="none" strike="noStrike" kern="1200" cap="none" spc="0" normalizeH="0" baseline="0" noProof="0" dirty="0" err="1">
                <a:ln>
                  <a:noFill/>
                </a:ln>
                <a:solidFill>
                  <a:srgbClr val="000000"/>
                </a:solidFill>
                <a:effectLst/>
                <a:uLnTx/>
                <a:uFillTx/>
                <a:latin typeface="Arial"/>
                <a:ea typeface="+mn-ea"/>
                <a:cs typeface="+mn-cs"/>
              </a:rPr>
              <a:t>for</a:t>
            </a:r>
            <a:r>
              <a:rPr kumimoji="0" lang="de-DE" sz="2400" b="0" i="0" u="none" strike="noStrike" kern="1200" cap="none" spc="0" normalizeH="0" baseline="0" noProof="0" dirty="0">
                <a:ln>
                  <a:noFill/>
                </a:ln>
                <a:solidFill>
                  <a:srgbClr val="000000"/>
                </a:solidFill>
                <a:effectLst/>
                <a:uLnTx/>
                <a:uFillTx/>
                <a:latin typeface="Arial"/>
                <a:ea typeface="+mn-ea"/>
                <a:cs typeface="+mn-cs"/>
              </a:rPr>
              <a:t> </a:t>
            </a:r>
            <a:r>
              <a:rPr kumimoji="0" lang="de-DE" sz="2400" b="0" i="0" u="none" strike="noStrike" kern="1200" cap="none" spc="0" normalizeH="0" baseline="0" noProof="0" dirty="0" err="1">
                <a:ln>
                  <a:noFill/>
                </a:ln>
                <a:solidFill>
                  <a:srgbClr val="000000"/>
                </a:solidFill>
                <a:effectLst/>
                <a:uLnTx/>
                <a:uFillTx/>
                <a:latin typeface="Arial"/>
                <a:ea typeface="+mn-ea"/>
                <a:cs typeface="+mn-cs"/>
              </a:rPr>
              <a:t>the</a:t>
            </a:r>
            <a:r>
              <a:rPr kumimoji="0" lang="de-DE" sz="2400" b="0" i="0" u="none" strike="noStrike" kern="1200" cap="none" spc="0" normalizeH="0" baseline="0" noProof="0" dirty="0">
                <a:ln>
                  <a:noFill/>
                </a:ln>
                <a:solidFill>
                  <a:srgbClr val="000000"/>
                </a:solidFill>
                <a:effectLst/>
                <a:uLnTx/>
                <a:uFillTx/>
                <a:latin typeface="Arial"/>
                <a:ea typeface="+mn-ea"/>
                <a:cs typeface="+mn-cs"/>
              </a:rPr>
              <a:t> </a:t>
            </a:r>
            <a:r>
              <a:rPr kumimoji="0" lang="de-DE" sz="2400" b="0" i="0" u="none" strike="noStrike" kern="1200" cap="none" spc="0" normalizeH="0" baseline="0" noProof="0" dirty="0" err="1">
                <a:ln>
                  <a:noFill/>
                </a:ln>
                <a:solidFill>
                  <a:srgbClr val="000000"/>
                </a:solidFill>
                <a:effectLst/>
                <a:uLnTx/>
                <a:uFillTx/>
                <a:latin typeface="Arial"/>
                <a:ea typeface="+mn-ea"/>
                <a:cs typeface="+mn-cs"/>
              </a:rPr>
              <a:t>case</a:t>
            </a:r>
            <a:r>
              <a:rPr kumimoji="0" lang="de-DE" sz="2400" b="0" i="0" u="none" strike="noStrike" kern="1200" cap="none" spc="0" normalizeH="0" baseline="0" noProof="0" dirty="0">
                <a:ln>
                  <a:noFill/>
                </a:ln>
                <a:solidFill>
                  <a:srgbClr val="000000"/>
                </a:solidFill>
                <a:effectLst/>
                <a:uLnTx/>
                <a:uFillTx/>
                <a:latin typeface="Arial"/>
                <a:ea typeface="+mn-ea"/>
                <a:cs typeface="+mn-cs"/>
              </a:rPr>
              <a:t> </a:t>
            </a:r>
            <a:r>
              <a:rPr kumimoji="0" lang="de-DE" sz="2400" b="0" i="0" u="none" strike="noStrike" kern="1200" cap="none" spc="0" normalizeH="0" baseline="0" noProof="0" dirty="0" err="1">
                <a:ln>
                  <a:noFill/>
                </a:ln>
                <a:solidFill>
                  <a:srgbClr val="000000"/>
                </a:solidFill>
                <a:effectLst/>
                <a:uLnTx/>
                <a:uFillTx/>
                <a:latin typeface="Arial"/>
                <a:ea typeface="+mn-ea"/>
                <a:cs typeface="+mn-cs"/>
              </a:rPr>
              <a:t>of</a:t>
            </a:r>
            <a:r>
              <a:rPr kumimoji="0" lang="de-DE" sz="2400" b="0" i="0" u="none" strike="noStrike" kern="1200" cap="none" spc="0" normalizeH="0" baseline="0" noProof="0" dirty="0">
                <a:ln>
                  <a:noFill/>
                </a:ln>
                <a:solidFill>
                  <a:srgbClr val="000000"/>
                </a:solidFill>
                <a:effectLst/>
                <a:uLnTx/>
                <a:uFillTx/>
                <a:latin typeface="Arial"/>
                <a:ea typeface="+mn-ea"/>
                <a:cs typeface="+mn-cs"/>
              </a:rPr>
              <a:t> </a:t>
            </a:r>
            <a:r>
              <a:rPr kumimoji="0" lang="de-DE" sz="2400" b="0" i="0" u="none" strike="noStrike" kern="1200" cap="none" spc="0" normalizeH="0" baseline="0" noProof="0" dirty="0" err="1">
                <a:ln>
                  <a:noFill/>
                </a:ln>
                <a:solidFill>
                  <a:srgbClr val="000000"/>
                </a:solidFill>
                <a:effectLst/>
                <a:uLnTx/>
                <a:uFillTx/>
                <a:latin typeface="Arial"/>
                <a:ea typeface="+mn-ea"/>
                <a:cs typeface="+mn-cs"/>
              </a:rPr>
              <a:t>Hydraulic</a:t>
            </a:r>
            <a:r>
              <a:rPr kumimoji="0" lang="de-DE" sz="2400" b="0" i="0" u="none" strike="noStrike" kern="1200" cap="none" spc="0" normalizeH="0" baseline="0" noProof="0" dirty="0">
                <a:ln>
                  <a:noFill/>
                </a:ln>
                <a:solidFill>
                  <a:srgbClr val="000000"/>
                </a:solidFill>
                <a:effectLst/>
                <a:uLnTx/>
                <a:uFillTx/>
                <a:latin typeface="Arial"/>
                <a:ea typeface="+mn-ea"/>
                <a:cs typeface="+mn-cs"/>
              </a:rPr>
              <a:t> </a:t>
            </a:r>
            <a:r>
              <a:rPr kumimoji="0" lang="de-DE" sz="2400" b="0" i="0" u="none" strike="noStrike" kern="1200" cap="none" spc="0" normalizeH="0" baseline="0" noProof="0" dirty="0" err="1">
                <a:ln>
                  <a:noFill/>
                </a:ln>
                <a:solidFill>
                  <a:srgbClr val="000000"/>
                </a:solidFill>
                <a:effectLst/>
                <a:uLnTx/>
                <a:uFillTx/>
                <a:latin typeface="Arial"/>
                <a:ea typeface="+mn-ea"/>
                <a:cs typeface="+mn-cs"/>
              </a:rPr>
              <a:t>Unbalance</a:t>
            </a:r>
            <a:endParaRPr kumimoji="0" lang="de-DE" sz="2400" b="0" i="0" u="none" strike="noStrike" kern="1200" cap="none" spc="0" normalizeH="0" baseline="0" noProof="0" dirty="0">
              <a:ln>
                <a:noFill/>
              </a:ln>
              <a:solidFill>
                <a:srgbClr val="000000"/>
              </a:solidFill>
              <a:effectLst/>
              <a:uLnTx/>
              <a:uFillTx/>
              <a:latin typeface="Arial"/>
              <a:ea typeface="+mn-ea"/>
              <a:cs typeface="+mn-cs"/>
            </a:endParaRPr>
          </a:p>
        </p:txBody>
      </p:sp>
      <p:sp>
        <p:nvSpPr>
          <p:cNvPr id="3" name="Textfeld 2">
            <a:extLst>
              <a:ext uri="{FF2B5EF4-FFF2-40B4-BE49-F238E27FC236}">
                <a16:creationId xmlns:a16="http://schemas.microsoft.com/office/drawing/2014/main" id="{CCC7D658-191A-CFED-326E-B1D5CF155FCE}"/>
              </a:ext>
            </a:extLst>
          </p:cNvPr>
          <p:cNvSpPr txBox="1"/>
          <p:nvPr/>
        </p:nvSpPr>
        <p:spPr>
          <a:xfrm>
            <a:off x="747486" y="1650651"/>
            <a:ext cx="10858500" cy="332398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dirty="0">
                <a:ln>
                  <a:noFill/>
                </a:ln>
                <a:solidFill>
                  <a:prstClr val="black"/>
                </a:solidFill>
                <a:effectLst/>
                <a:uLnTx/>
                <a:uFillTx/>
                <a:latin typeface="Frutiger LT Com 45 Light"/>
                <a:ea typeface="+mn-ea"/>
                <a:cs typeface="+mn-cs"/>
              </a:rPr>
              <a:t> </a:t>
            </a:r>
            <a:endParaRPr kumimoji="0" lang="de-DE" sz="2400" b="0" i="0" u="none" strike="noStrike" kern="1200" cap="none" spc="0" normalizeH="0" baseline="0" noProof="0" dirty="0">
              <a:ln>
                <a:noFill/>
              </a:ln>
              <a:solidFill>
                <a:prstClr val="black"/>
              </a:solidFill>
              <a:effectLst/>
              <a:uLnTx/>
              <a:uFillTx/>
              <a:latin typeface="Frutiger LT Com 45 Ligh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2400" b="0" i="0" u="none" strike="noStrike" kern="1200" cap="none" spc="0" normalizeH="0" baseline="0" noProof="0" dirty="0">
                <a:ln>
                  <a:noFill/>
                </a:ln>
                <a:solidFill>
                  <a:prstClr val="black"/>
                </a:solidFill>
                <a:effectLst/>
                <a:uLnTx/>
                <a:uFillTx/>
                <a:latin typeface="Frutiger LT Com 45 Light"/>
                <a:ea typeface="+mn-ea"/>
                <a:cs typeface="+mn-cs"/>
              </a:rPr>
              <a:t>The </a:t>
            </a:r>
            <a:r>
              <a:rPr kumimoji="0" lang="de-DE" sz="2400" b="0" i="0" u="none" strike="noStrike" kern="1200" cap="none" spc="0" normalizeH="0" baseline="0" noProof="0" dirty="0" err="1">
                <a:ln>
                  <a:noFill/>
                </a:ln>
                <a:solidFill>
                  <a:prstClr val="black"/>
                </a:solidFill>
                <a:effectLst/>
                <a:uLnTx/>
                <a:uFillTx/>
                <a:latin typeface="Frutiger LT Com 45 Light"/>
                <a:ea typeface="+mn-ea"/>
                <a:cs typeface="+mn-cs"/>
              </a:rPr>
              <a:t>normalized</a:t>
            </a:r>
            <a:r>
              <a:rPr kumimoji="0" lang="de-DE" sz="2400" b="0" i="0" u="none" strike="noStrike" kern="1200" cap="none" spc="0" normalizeH="0" baseline="0" noProof="0" dirty="0">
                <a:ln>
                  <a:noFill/>
                </a:ln>
                <a:solidFill>
                  <a:prstClr val="black"/>
                </a:solidFill>
                <a:effectLst/>
                <a:uLnTx/>
                <a:uFillTx/>
                <a:latin typeface="Frutiger LT Com 45 Light"/>
                <a:ea typeface="+mn-ea"/>
                <a:cs typeface="+mn-cs"/>
              </a:rPr>
              <a:t> Force </a:t>
            </a:r>
            <a:r>
              <a:rPr kumimoji="0" lang="de-DE" sz="2400" b="0" i="0" u="none" strike="noStrike" kern="1200" cap="none" spc="0" normalizeH="0" baseline="0" noProof="0" dirty="0" err="1">
                <a:ln>
                  <a:noFill/>
                </a:ln>
                <a:solidFill>
                  <a:prstClr val="black"/>
                </a:solidFill>
                <a:effectLst/>
                <a:uLnTx/>
                <a:uFillTx/>
                <a:latin typeface="Frutiger LT Com 45 Light"/>
                <a:ea typeface="+mn-ea"/>
                <a:cs typeface="+mn-cs"/>
              </a:rPr>
              <a:t>Coefficient</a:t>
            </a:r>
            <a:r>
              <a:rPr kumimoji="0" lang="de-DE" sz="2400" b="0" i="0" u="none" strike="noStrike" kern="1200" cap="none" spc="0" normalizeH="0" baseline="0" noProof="0" dirty="0">
                <a:ln>
                  <a:noFill/>
                </a:ln>
                <a:solidFill>
                  <a:prstClr val="black"/>
                </a:solidFill>
                <a:effectLst/>
                <a:uLnTx/>
                <a:uFillTx/>
                <a:latin typeface="Frutiger LT Com 45 Light"/>
                <a:ea typeface="+mn-ea"/>
                <a:cs typeface="+mn-cs"/>
              </a:rPr>
              <a:t> </a:t>
            </a:r>
            <a:r>
              <a:rPr kumimoji="0" lang="de-DE" sz="2400" b="0" i="0" u="none" strike="noStrike" kern="1200" cap="none" spc="0" normalizeH="0" baseline="0" noProof="0" dirty="0" err="1">
                <a:ln>
                  <a:noFill/>
                </a:ln>
                <a:solidFill>
                  <a:prstClr val="black"/>
                </a:solidFill>
                <a:effectLst/>
                <a:uLnTx/>
                <a:uFillTx/>
                <a:latin typeface="Frutiger LT Com 45 Light"/>
                <a:ea typeface="+mn-ea"/>
                <a:cs typeface="+mn-cs"/>
              </a:rPr>
              <a:t>k</a:t>
            </a:r>
            <a:r>
              <a:rPr kumimoji="0" lang="de-DE" sz="2400" b="0" i="0" u="none" strike="noStrike" kern="1200" cap="none" spc="0" normalizeH="0" baseline="-25000" noProof="0" dirty="0" err="1">
                <a:ln>
                  <a:noFill/>
                </a:ln>
                <a:solidFill>
                  <a:prstClr val="black"/>
                </a:solidFill>
                <a:effectLst/>
                <a:uLnTx/>
                <a:uFillTx/>
                <a:latin typeface="Frutiger LT Com 45 Light"/>
                <a:ea typeface="+mn-ea"/>
                <a:cs typeface="+mn-cs"/>
              </a:rPr>
              <a:t>H</a:t>
            </a:r>
            <a:r>
              <a:rPr kumimoji="0" lang="de-DE" sz="2400" b="0" i="0" u="none" strike="noStrike" kern="1200" cap="none" spc="0" normalizeH="0" baseline="0" noProof="0" dirty="0">
                <a:ln>
                  <a:noFill/>
                </a:ln>
                <a:solidFill>
                  <a:prstClr val="black"/>
                </a:solidFill>
                <a:effectLst/>
                <a:uLnTx/>
                <a:uFillTx/>
                <a:latin typeface="Frutiger LT Com 45 Light"/>
                <a:ea typeface="+mn-ea"/>
                <a:cs typeface="+mn-cs"/>
              </a:rPr>
              <a:t> </a:t>
            </a:r>
            <a:r>
              <a:rPr kumimoji="0" lang="de-DE" sz="2400" b="0" i="0" u="none" strike="noStrike" kern="1200" cap="none" spc="0" normalizeH="0" baseline="0" noProof="0" dirty="0" err="1">
                <a:ln>
                  <a:noFill/>
                </a:ln>
                <a:solidFill>
                  <a:prstClr val="black"/>
                </a:solidFill>
                <a:effectLst/>
                <a:uLnTx/>
                <a:uFillTx/>
                <a:latin typeface="Frutiger LT Com 45 Light"/>
                <a:ea typeface="+mn-ea"/>
                <a:cs typeface="+mn-cs"/>
              </a:rPr>
              <a:t>for</a:t>
            </a:r>
            <a:r>
              <a:rPr kumimoji="0" lang="de-DE" sz="2400" b="0" i="0" u="none" strike="noStrike" kern="1200" cap="none" spc="0" normalizeH="0" baseline="0" noProof="0" dirty="0">
                <a:ln>
                  <a:noFill/>
                </a:ln>
                <a:solidFill>
                  <a:prstClr val="black"/>
                </a:solidFill>
                <a:effectLst/>
                <a:uLnTx/>
                <a:uFillTx/>
                <a:latin typeface="Frutiger LT Com 45 Light"/>
                <a:ea typeface="+mn-ea"/>
                <a:cs typeface="+mn-cs"/>
              </a:rPr>
              <a:t> </a:t>
            </a:r>
            <a:r>
              <a:rPr kumimoji="0" lang="de-DE" sz="2400" b="0" i="0" u="none" strike="noStrike" kern="1200" cap="none" spc="0" normalizeH="0" baseline="0" noProof="0" dirty="0" err="1">
                <a:ln>
                  <a:noFill/>
                </a:ln>
                <a:solidFill>
                  <a:prstClr val="black"/>
                </a:solidFill>
                <a:effectLst/>
                <a:uLnTx/>
                <a:uFillTx/>
                <a:latin typeface="Frutiger LT Com 45 Light"/>
                <a:ea typeface="+mn-ea"/>
                <a:cs typeface="+mn-cs"/>
              </a:rPr>
              <a:t>the</a:t>
            </a:r>
            <a:r>
              <a:rPr kumimoji="0" lang="de-DE" sz="2400" b="0" i="0" u="none" strike="noStrike" kern="1200" cap="none" spc="0" normalizeH="0" baseline="0" noProof="0" dirty="0">
                <a:ln>
                  <a:noFill/>
                </a:ln>
                <a:solidFill>
                  <a:prstClr val="black"/>
                </a:solidFill>
                <a:effectLst/>
                <a:uLnTx/>
                <a:uFillTx/>
                <a:latin typeface="Frutiger LT Com 45 Light"/>
                <a:ea typeface="+mn-ea"/>
                <a:cs typeface="+mn-cs"/>
              </a:rPr>
              <a:t> </a:t>
            </a:r>
            <a:r>
              <a:rPr kumimoji="0" lang="de-DE" sz="2400" b="0" i="0" u="none" strike="noStrike" kern="1200" cap="none" spc="0" normalizeH="0" baseline="0" noProof="0" dirty="0" err="1">
                <a:ln>
                  <a:noFill/>
                </a:ln>
                <a:solidFill>
                  <a:prstClr val="black"/>
                </a:solidFill>
                <a:effectLst/>
                <a:uLnTx/>
                <a:uFillTx/>
                <a:latin typeface="Frutiger LT Com 45 Light"/>
                <a:ea typeface="+mn-ea"/>
                <a:cs typeface="+mn-cs"/>
              </a:rPr>
              <a:t>case</a:t>
            </a:r>
            <a:r>
              <a:rPr kumimoji="0" lang="de-DE" sz="2400" b="0" i="0" u="none" strike="noStrike" kern="1200" cap="none" spc="0" normalizeH="0" baseline="0" noProof="0" dirty="0">
                <a:ln>
                  <a:noFill/>
                </a:ln>
                <a:solidFill>
                  <a:prstClr val="black"/>
                </a:solidFill>
                <a:effectLst/>
                <a:uLnTx/>
                <a:uFillTx/>
                <a:latin typeface="Frutiger LT Com 45 Light"/>
                <a:ea typeface="+mn-ea"/>
                <a:cs typeface="+mn-cs"/>
              </a:rPr>
              <a:t> </a:t>
            </a:r>
            <a:r>
              <a:rPr kumimoji="0" lang="de-DE" sz="2400" b="0" i="0" u="none" strike="noStrike" kern="1200" cap="none" spc="0" normalizeH="0" baseline="0" noProof="0" dirty="0" err="1">
                <a:ln>
                  <a:noFill/>
                </a:ln>
                <a:solidFill>
                  <a:prstClr val="black"/>
                </a:solidFill>
                <a:effectLst/>
                <a:uLnTx/>
                <a:uFillTx/>
                <a:latin typeface="Frutiger LT Com 45 Light"/>
                <a:ea typeface="+mn-ea"/>
                <a:cs typeface="+mn-cs"/>
              </a:rPr>
              <a:t>of</a:t>
            </a:r>
            <a:r>
              <a:rPr kumimoji="0" lang="de-DE" sz="2400" b="0" i="0" u="none" strike="noStrike" kern="1200" cap="none" spc="0" normalizeH="0" baseline="0" noProof="0" dirty="0">
                <a:ln>
                  <a:noFill/>
                </a:ln>
                <a:solidFill>
                  <a:prstClr val="black"/>
                </a:solidFill>
                <a:effectLst/>
                <a:uLnTx/>
                <a:uFillTx/>
                <a:latin typeface="Frutiger LT Com 45 Light"/>
                <a:ea typeface="+mn-ea"/>
                <a:cs typeface="+mn-cs"/>
              </a:rPr>
              <a:t> </a:t>
            </a:r>
            <a:r>
              <a:rPr kumimoji="0" lang="de-DE" sz="2400" i="0" u="none" strike="noStrike" kern="1200" cap="none" spc="0" normalizeH="0" baseline="0" noProof="0" dirty="0" err="1">
                <a:ln>
                  <a:noFill/>
                </a:ln>
                <a:solidFill>
                  <a:srgbClr val="0000FF"/>
                </a:solidFill>
                <a:effectLst/>
                <a:uLnTx/>
                <a:uFillTx/>
                <a:latin typeface="Frutiger LT Com 45 Light"/>
                <a:ea typeface="+mn-ea"/>
                <a:cs typeface="+mn-cs"/>
              </a:rPr>
              <a:t>Hydraulic</a:t>
            </a:r>
            <a:r>
              <a:rPr kumimoji="0" lang="de-DE" sz="2400" i="0" u="none" strike="noStrike" kern="1200" cap="none" spc="0" normalizeH="0" baseline="0" noProof="0" dirty="0">
                <a:ln>
                  <a:noFill/>
                </a:ln>
                <a:solidFill>
                  <a:prstClr val="black"/>
                </a:solidFill>
                <a:effectLst/>
                <a:uLnTx/>
                <a:uFillTx/>
                <a:latin typeface="Frutiger LT Com 45 Light"/>
                <a:ea typeface="+mn-ea"/>
                <a:cs typeface="+mn-cs"/>
              </a:rPr>
              <a:t> </a:t>
            </a:r>
            <a:r>
              <a:rPr kumimoji="0" lang="de-DE" sz="2400" i="0" u="none" strike="noStrike" kern="1200" cap="none" spc="0" normalizeH="0" baseline="0" noProof="0" dirty="0" err="1">
                <a:ln>
                  <a:noFill/>
                </a:ln>
                <a:solidFill>
                  <a:srgbClr val="0000FF"/>
                </a:solidFill>
                <a:effectLst/>
                <a:uLnTx/>
                <a:uFillTx/>
                <a:latin typeface="Frutiger LT Com 45 Light"/>
                <a:ea typeface="+mn-ea"/>
                <a:cs typeface="+mn-cs"/>
              </a:rPr>
              <a:t>Unbalance</a:t>
            </a:r>
            <a:r>
              <a:rPr kumimoji="0" lang="de-DE" sz="2400" i="0" u="none" strike="noStrike" kern="1200" cap="none" spc="0" normalizeH="0" baseline="0" noProof="0" dirty="0">
                <a:ln>
                  <a:noFill/>
                </a:ln>
                <a:solidFill>
                  <a:srgbClr val="0000FF"/>
                </a:solidFill>
                <a:effectLst/>
                <a:uLnTx/>
                <a:uFillTx/>
                <a:latin typeface="Frutiger LT Com 45 Light"/>
                <a:ea typeface="+mn-ea"/>
                <a:cs typeface="+mn-cs"/>
              </a:rPr>
              <a:t> </a:t>
            </a:r>
            <a:r>
              <a:rPr kumimoji="0" lang="de-DE" sz="2400" i="0" u="none" strike="noStrike" kern="1200" cap="none" spc="0" normalizeH="0" baseline="0" noProof="0" dirty="0" err="1">
                <a:ln>
                  <a:noFill/>
                </a:ln>
                <a:solidFill>
                  <a:srgbClr val="0000FF"/>
                </a:solidFill>
                <a:effectLst/>
                <a:uLnTx/>
                <a:uFillTx/>
                <a:latin typeface="Frutiger LT Com 45 Light"/>
                <a:ea typeface="+mn-ea"/>
                <a:cs typeface="+mn-cs"/>
              </a:rPr>
              <a:t>Excitation</a:t>
            </a:r>
            <a:r>
              <a:rPr kumimoji="0" lang="de-DE" sz="2400" i="0" u="none" strike="noStrike" kern="1200" cap="none" spc="0" normalizeH="0" baseline="0" noProof="0" dirty="0">
                <a:ln>
                  <a:noFill/>
                </a:ln>
                <a:solidFill>
                  <a:srgbClr val="0000FF"/>
                </a:solidFill>
                <a:effectLst/>
                <a:uLnTx/>
                <a:uFillTx/>
                <a:latin typeface="Frutiger LT Com 45 Light"/>
                <a:ea typeface="+mn-ea"/>
                <a:cs typeface="+mn-cs"/>
              </a:rPr>
              <a:t> </a:t>
            </a:r>
            <a:r>
              <a:rPr kumimoji="0" lang="de-DE" sz="2400" b="0" i="0" u="none" strike="noStrike" kern="1200" cap="none" spc="0" normalizeH="0" baseline="0" noProof="0" dirty="0" err="1">
                <a:ln>
                  <a:noFill/>
                </a:ln>
                <a:solidFill>
                  <a:prstClr val="black"/>
                </a:solidFill>
                <a:effectLst/>
                <a:uLnTx/>
                <a:uFillTx/>
                <a:latin typeface="Frutiger LT Com 45 Light"/>
                <a:ea typeface="+mn-ea"/>
                <a:cs typeface="+mn-cs"/>
              </a:rPr>
              <a:t>is</a:t>
            </a:r>
            <a:r>
              <a:rPr kumimoji="0" lang="de-DE" sz="2400" b="0" i="0" u="none" strike="noStrike" kern="1200" cap="none" spc="0" normalizeH="0" baseline="0" noProof="0" dirty="0">
                <a:ln>
                  <a:noFill/>
                </a:ln>
                <a:solidFill>
                  <a:prstClr val="black"/>
                </a:solidFill>
                <a:effectLst/>
                <a:uLnTx/>
                <a:uFillTx/>
                <a:latin typeface="Frutiger LT Com 45 Light"/>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2400" b="0" i="0" u="none" strike="noStrike" kern="1200" cap="none" spc="0" normalizeH="0" baseline="0" noProof="0" dirty="0">
              <a:ln>
                <a:noFill/>
              </a:ln>
              <a:solidFill>
                <a:prstClr val="black"/>
              </a:solidFill>
              <a:effectLst/>
              <a:uLnTx/>
              <a:uFillTx/>
              <a:latin typeface="Frutiger LT Com 45 Ligh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2400" b="0" i="0" u="none" strike="noStrike" kern="1200" cap="none" spc="0" normalizeH="0" baseline="0" noProof="0" dirty="0">
                <a:ln>
                  <a:noFill/>
                </a:ln>
                <a:solidFill>
                  <a:prstClr val="black"/>
                </a:solidFill>
                <a:effectLst/>
                <a:uLnTx/>
                <a:uFillTx/>
                <a:latin typeface="Frutiger LT Com 45 Light"/>
                <a:ea typeface="+mn-ea"/>
                <a:cs typeface="+mn-cs"/>
              </a:rPr>
              <a:t>	</a:t>
            </a:r>
            <a:r>
              <a:rPr kumimoji="0" lang="de-DE" sz="2400" b="0" i="0" u="none" strike="noStrike" kern="1200" cap="none" spc="0" normalizeH="0" baseline="0" noProof="0" dirty="0" err="1">
                <a:ln>
                  <a:noFill/>
                </a:ln>
                <a:solidFill>
                  <a:prstClr val="black"/>
                </a:solidFill>
                <a:effectLst/>
                <a:uLnTx/>
                <a:uFillTx/>
                <a:latin typeface="Frutiger LT Com 45 Light"/>
                <a:ea typeface="+mn-ea"/>
                <a:cs typeface="+mn-cs"/>
              </a:rPr>
              <a:t>for</a:t>
            </a:r>
            <a:r>
              <a:rPr kumimoji="0" lang="de-DE" sz="2400" b="0" i="0" u="none" strike="noStrike" kern="1200" cap="none" spc="0" normalizeH="0" baseline="0" noProof="0" dirty="0">
                <a:ln>
                  <a:noFill/>
                </a:ln>
                <a:solidFill>
                  <a:prstClr val="black"/>
                </a:solidFill>
                <a:effectLst/>
                <a:uLnTx/>
                <a:uFillTx/>
                <a:latin typeface="Frutiger LT Com 45 Light"/>
                <a:ea typeface="+mn-ea"/>
                <a:cs typeface="+mn-cs"/>
              </a:rPr>
              <a:t> </a:t>
            </a:r>
            <a:r>
              <a:rPr kumimoji="0" lang="de-DE" sz="2400" b="0" i="0" u="none" strike="noStrike" kern="1200" cap="none" spc="0" normalizeH="0" baseline="0" noProof="0" dirty="0" err="1">
                <a:ln>
                  <a:noFill/>
                </a:ln>
                <a:solidFill>
                  <a:prstClr val="black"/>
                </a:solidFill>
                <a:effectLst/>
                <a:uLnTx/>
                <a:uFillTx/>
                <a:latin typeface="Frutiger LT Com 45 Light"/>
                <a:ea typeface="+mn-ea"/>
                <a:cs typeface="+mn-cs"/>
              </a:rPr>
              <a:t>the</a:t>
            </a:r>
            <a:r>
              <a:rPr kumimoji="0" lang="de-DE" sz="2400" b="0" i="0" u="none" strike="noStrike" kern="1200" cap="none" spc="0" normalizeH="0" baseline="0" noProof="0" dirty="0">
                <a:ln>
                  <a:noFill/>
                </a:ln>
                <a:solidFill>
                  <a:prstClr val="black"/>
                </a:solidFill>
                <a:effectLst/>
                <a:uLnTx/>
                <a:uFillTx/>
                <a:latin typeface="Frutiger LT Com 45 Light"/>
                <a:ea typeface="+mn-ea"/>
                <a:cs typeface="+mn-cs"/>
              </a:rPr>
              <a:t>  Optimal </a:t>
            </a:r>
            <a:r>
              <a:rPr kumimoji="0" lang="de-DE" sz="2400" b="0" i="0" u="none" strike="noStrike" kern="1200" cap="none" spc="0" normalizeH="0" baseline="0" noProof="0" dirty="0" err="1">
                <a:ln>
                  <a:noFill/>
                </a:ln>
                <a:solidFill>
                  <a:prstClr val="black"/>
                </a:solidFill>
                <a:effectLst/>
                <a:uLnTx/>
                <a:uFillTx/>
                <a:latin typeface="Frutiger LT Com 45 Light"/>
                <a:ea typeface="+mn-ea"/>
                <a:cs typeface="+mn-cs"/>
              </a:rPr>
              <a:t>case</a:t>
            </a:r>
            <a:r>
              <a:rPr kumimoji="0" lang="de-DE" sz="2400" b="0" i="0" u="none" strike="noStrike" kern="1200" cap="none" spc="0" normalizeH="0" baseline="0" noProof="0" dirty="0">
                <a:ln>
                  <a:noFill/>
                </a:ln>
                <a:solidFill>
                  <a:prstClr val="black"/>
                </a:solidFill>
                <a:effectLst/>
                <a:uLnTx/>
                <a:uFillTx/>
                <a:latin typeface="Frutiger LT Com 45 Light"/>
                <a:ea typeface="+mn-ea"/>
                <a:cs typeface="+mn-cs"/>
              </a:rPr>
              <a:t>               Q/</a:t>
            </a:r>
            <a:r>
              <a:rPr kumimoji="0" lang="de-DE" sz="2400" b="0" i="0" u="none" strike="noStrike" kern="1200" cap="none" spc="0" normalizeH="0" baseline="0" noProof="0" dirty="0" err="1">
                <a:ln>
                  <a:noFill/>
                </a:ln>
                <a:solidFill>
                  <a:prstClr val="black"/>
                </a:solidFill>
                <a:effectLst/>
                <a:uLnTx/>
                <a:uFillTx/>
                <a:latin typeface="Frutiger LT Com 45 Light"/>
                <a:ea typeface="+mn-ea"/>
                <a:cs typeface="+mn-cs"/>
              </a:rPr>
              <a:t>Qopt</a:t>
            </a:r>
            <a:r>
              <a:rPr kumimoji="0" lang="de-DE" sz="2400" b="0" i="0" u="none" strike="noStrike" kern="1200" cap="none" spc="0" normalizeH="0" baseline="0" noProof="0" dirty="0">
                <a:ln>
                  <a:noFill/>
                </a:ln>
                <a:solidFill>
                  <a:prstClr val="black"/>
                </a:solidFill>
                <a:effectLst/>
                <a:uLnTx/>
                <a:uFillTx/>
                <a:latin typeface="Frutiger LT Com 45 Light"/>
                <a:ea typeface="+mn-ea"/>
                <a:cs typeface="+mn-cs"/>
              </a:rPr>
              <a:t>  =  1    :    </a:t>
            </a:r>
            <a:r>
              <a:rPr kumimoji="0" lang="de-DE" sz="2400" b="1" i="0" u="none" strike="noStrike" kern="1200" cap="none" spc="0" normalizeH="0" baseline="0" noProof="0" dirty="0">
                <a:ln>
                  <a:noFill/>
                </a:ln>
                <a:solidFill>
                  <a:srgbClr val="0000FF"/>
                </a:solidFill>
                <a:effectLst/>
                <a:uLnTx/>
                <a:uFillTx/>
                <a:latin typeface="Frutiger LT Com 45 Light"/>
                <a:ea typeface="+mn-ea"/>
                <a:cs typeface="+mn-cs"/>
              </a:rPr>
              <a:t>K</a:t>
            </a:r>
            <a:r>
              <a:rPr kumimoji="0" lang="de-DE" sz="2400" b="1" i="0" u="none" strike="noStrike" kern="1200" cap="none" spc="0" normalizeH="0" baseline="-25000" noProof="0" dirty="0">
                <a:ln>
                  <a:noFill/>
                </a:ln>
                <a:solidFill>
                  <a:srgbClr val="0000FF"/>
                </a:solidFill>
                <a:effectLst/>
                <a:uLnTx/>
                <a:uFillTx/>
                <a:latin typeface="Frutiger LT Com 45 Light"/>
                <a:ea typeface="+mn-ea"/>
                <a:cs typeface="+mn-cs"/>
              </a:rPr>
              <a:t>H</a:t>
            </a:r>
            <a:r>
              <a:rPr kumimoji="0" lang="de-DE" sz="2400" b="1" i="0" u="none" strike="noStrike" kern="1200" cap="none" spc="0" normalizeH="0" baseline="0" noProof="0" dirty="0">
                <a:ln>
                  <a:noFill/>
                </a:ln>
                <a:solidFill>
                  <a:srgbClr val="0000FF"/>
                </a:solidFill>
                <a:effectLst/>
                <a:uLnTx/>
                <a:uFillTx/>
                <a:latin typeface="Frutiger LT Com 45 Light"/>
                <a:ea typeface="+mn-ea"/>
                <a:cs typeface="+mn-cs"/>
              </a:rPr>
              <a:t>  =  0,06</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2400" b="0" i="0" u="none" strike="noStrike" kern="1200" cap="none" spc="0" normalizeH="0" baseline="0" noProof="0" dirty="0">
                <a:ln>
                  <a:noFill/>
                </a:ln>
                <a:solidFill>
                  <a:prstClr val="black"/>
                </a:solidFill>
                <a:effectLst/>
                <a:uLnTx/>
                <a:uFillTx/>
                <a:latin typeface="Frutiger LT Com 45 Light"/>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2400" b="0" i="0" u="none" strike="noStrike" kern="1200" cap="none" spc="0" normalizeH="0" baseline="0" noProof="0" dirty="0" err="1">
                <a:ln>
                  <a:noFill/>
                </a:ln>
                <a:solidFill>
                  <a:prstClr val="black"/>
                </a:solidFill>
                <a:effectLst/>
                <a:uLnTx/>
                <a:uFillTx/>
                <a:latin typeface="Frutiger LT Com 45 Light"/>
                <a:ea typeface="+mn-ea"/>
                <a:cs typeface="+mn-cs"/>
              </a:rPr>
              <a:t>For</a:t>
            </a:r>
            <a:r>
              <a:rPr kumimoji="0" lang="de-DE" sz="2400" b="0" i="0" u="none" strike="noStrike" kern="1200" cap="none" spc="0" normalizeH="0" baseline="0" noProof="0" dirty="0">
                <a:ln>
                  <a:noFill/>
                </a:ln>
                <a:solidFill>
                  <a:prstClr val="black"/>
                </a:solidFill>
                <a:effectLst/>
                <a:uLnTx/>
                <a:uFillTx/>
                <a:latin typeface="Frutiger LT Com 45 Light"/>
                <a:ea typeface="+mn-ea"/>
                <a:cs typeface="+mn-cs"/>
              </a:rPr>
              <a:t> </a:t>
            </a:r>
            <a:r>
              <a:rPr kumimoji="0" lang="de-DE" sz="2400" b="0" i="0" u="none" strike="noStrike" kern="1200" cap="none" spc="0" normalizeH="0" baseline="0" noProof="0" dirty="0" err="1">
                <a:ln>
                  <a:noFill/>
                </a:ln>
                <a:solidFill>
                  <a:prstClr val="black"/>
                </a:solidFill>
                <a:effectLst/>
                <a:uLnTx/>
                <a:uFillTx/>
                <a:latin typeface="Frutiger LT Com 45 Light"/>
                <a:ea typeface="+mn-ea"/>
                <a:cs typeface="+mn-cs"/>
              </a:rPr>
              <a:t>the</a:t>
            </a:r>
            <a:r>
              <a:rPr kumimoji="0" lang="de-DE" sz="2400" b="0" i="0" u="none" strike="noStrike" kern="1200" cap="none" spc="0" normalizeH="0" baseline="0" noProof="0" dirty="0">
                <a:ln>
                  <a:noFill/>
                </a:ln>
                <a:solidFill>
                  <a:prstClr val="black"/>
                </a:solidFill>
                <a:effectLst/>
                <a:uLnTx/>
                <a:uFillTx/>
                <a:latin typeface="Frutiger LT Com 45 Light"/>
                <a:ea typeface="+mn-ea"/>
                <a:cs typeface="+mn-cs"/>
              </a:rPr>
              <a:t> </a:t>
            </a:r>
            <a:r>
              <a:rPr kumimoji="0" lang="de-DE" sz="2400" b="0" i="0" u="none" strike="noStrike" kern="1200" cap="none" spc="0" normalizeH="0" baseline="0" noProof="0" dirty="0" err="1">
                <a:ln>
                  <a:noFill/>
                </a:ln>
                <a:solidFill>
                  <a:prstClr val="black"/>
                </a:solidFill>
                <a:effectLst/>
                <a:uLnTx/>
                <a:uFillTx/>
                <a:latin typeface="Frutiger LT Com 45 Light"/>
                <a:ea typeface="+mn-ea"/>
                <a:cs typeface="+mn-cs"/>
              </a:rPr>
              <a:t>case</a:t>
            </a:r>
            <a:r>
              <a:rPr kumimoji="0" lang="de-DE" sz="2400" b="0" i="0" u="none" strike="noStrike" kern="1200" cap="none" spc="0" normalizeH="0" baseline="0" noProof="0" dirty="0">
                <a:ln>
                  <a:noFill/>
                </a:ln>
                <a:solidFill>
                  <a:prstClr val="black"/>
                </a:solidFill>
                <a:effectLst/>
                <a:uLnTx/>
                <a:uFillTx/>
                <a:latin typeface="Frutiger LT Com 45 Light"/>
                <a:ea typeface="+mn-ea"/>
                <a:cs typeface="+mn-cs"/>
              </a:rPr>
              <a:t> </a:t>
            </a:r>
            <a:r>
              <a:rPr kumimoji="0" lang="de-DE" sz="2400" b="0" i="0" u="none" strike="noStrike" kern="1200" cap="none" spc="0" normalizeH="0" baseline="0" noProof="0" dirty="0" err="1">
                <a:ln>
                  <a:noFill/>
                </a:ln>
                <a:solidFill>
                  <a:prstClr val="black"/>
                </a:solidFill>
                <a:effectLst/>
                <a:uLnTx/>
                <a:uFillTx/>
                <a:latin typeface="Frutiger LT Com 45 Light"/>
                <a:ea typeface="+mn-ea"/>
                <a:cs typeface="+mn-cs"/>
              </a:rPr>
              <a:t>of</a:t>
            </a:r>
            <a:r>
              <a:rPr kumimoji="0" lang="de-DE" sz="2400" b="0" i="0" u="none" strike="noStrike" kern="1200" cap="none" spc="0" normalizeH="0" baseline="0" noProof="0" dirty="0">
                <a:ln>
                  <a:noFill/>
                </a:ln>
                <a:solidFill>
                  <a:prstClr val="black"/>
                </a:solidFill>
                <a:effectLst/>
                <a:uLnTx/>
                <a:uFillTx/>
                <a:latin typeface="Frutiger LT Com 45 Light"/>
                <a:ea typeface="+mn-ea"/>
                <a:cs typeface="+mn-cs"/>
              </a:rPr>
              <a:t> </a:t>
            </a:r>
            <a:r>
              <a:rPr kumimoji="0" lang="de-DE" sz="2400" i="0" u="none" strike="noStrike" kern="1200" cap="none" spc="0" normalizeH="0" baseline="0" noProof="0" dirty="0" err="1">
                <a:ln>
                  <a:noFill/>
                </a:ln>
                <a:solidFill>
                  <a:srgbClr val="0000FF"/>
                </a:solidFill>
                <a:effectLst/>
                <a:uLnTx/>
                <a:uFillTx/>
                <a:latin typeface="Frutiger LT Com 45 Light"/>
                <a:ea typeface="+mn-ea"/>
                <a:cs typeface="+mn-cs"/>
              </a:rPr>
              <a:t>Hydraulic</a:t>
            </a:r>
            <a:r>
              <a:rPr kumimoji="0" lang="de-DE" sz="2400" i="0" u="none" strike="noStrike" kern="1200" cap="none" spc="0" normalizeH="0" baseline="0" noProof="0" dirty="0">
                <a:ln>
                  <a:noFill/>
                </a:ln>
                <a:solidFill>
                  <a:srgbClr val="0000FF"/>
                </a:solidFill>
                <a:effectLst/>
                <a:uLnTx/>
                <a:uFillTx/>
                <a:latin typeface="Frutiger LT Com 45 Light"/>
                <a:ea typeface="+mn-ea"/>
                <a:cs typeface="+mn-cs"/>
              </a:rPr>
              <a:t> </a:t>
            </a:r>
            <a:r>
              <a:rPr kumimoji="0" lang="de-DE" sz="2400" i="0" u="none" strike="noStrike" kern="1200" cap="none" spc="0" normalizeH="0" baseline="0" noProof="0" dirty="0" err="1">
                <a:ln>
                  <a:noFill/>
                </a:ln>
                <a:solidFill>
                  <a:srgbClr val="0000FF"/>
                </a:solidFill>
                <a:effectLst/>
                <a:uLnTx/>
                <a:uFillTx/>
                <a:latin typeface="Frutiger LT Com 45 Light"/>
                <a:ea typeface="+mn-ea"/>
                <a:cs typeface="+mn-cs"/>
              </a:rPr>
              <a:t>Unbalance</a:t>
            </a:r>
            <a:r>
              <a:rPr kumimoji="0" lang="de-DE" sz="2400" i="0" u="none" strike="noStrike" kern="1200" cap="none" spc="0" normalizeH="0" baseline="0" noProof="0" dirty="0">
                <a:ln>
                  <a:noFill/>
                </a:ln>
                <a:solidFill>
                  <a:srgbClr val="0000FF"/>
                </a:solidFill>
                <a:effectLst/>
                <a:uLnTx/>
                <a:uFillTx/>
                <a:latin typeface="Frutiger LT Com 45 Light"/>
                <a:ea typeface="+mn-ea"/>
                <a:cs typeface="+mn-cs"/>
              </a:rPr>
              <a:t> </a:t>
            </a:r>
            <a:r>
              <a:rPr kumimoji="0" lang="de-DE" sz="2400" i="0" u="none" strike="noStrike" kern="1200" cap="none" spc="0" normalizeH="0" baseline="0" noProof="0" dirty="0" err="1">
                <a:ln>
                  <a:noFill/>
                </a:ln>
                <a:solidFill>
                  <a:srgbClr val="0000FF"/>
                </a:solidFill>
                <a:effectLst/>
                <a:uLnTx/>
                <a:uFillTx/>
                <a:latin typeface="Frutiger LT Com 45 Light"/>
                <a:ea typeface="+mn-ea"/>
                <a:cs typeface="+mn-cs"/>
              </a:rPr>
              <a:t>Excitation</a:t>
            </a:r>
            <a:r>
              <a:rPr kumimoji="0" lang="de-DE" sz="2400" i="0" u="none" strike="noStrike" kern="1200" cap="none" spc="0" normalizeH="0" baseline="0" noProof="0" dirty="0">
                <a:ln>
                  <a:noFill/>
                </a:ln>
                <a:solidFill>
                  <a:srgbClr val="0000FF"/>
                </a:solidFill>
                <a:effectLst/>
                <a:uLnTx/>
                <a:uFillTx/>
                <a:latin typeface="Frutiger LT Com 45 Light"/>
                <a:ea typeface="+mn-ea"/>
                <a:cs typeface="+mn-cs"/>
              </a:rPr>
              <a:t> </a:t>
            </a:r>
            <a:r>
              <a:rPr kumimoji="0" lang="de-DE" sz="2400" b="0" i="0" u="none" strike="noStrike" kern="1200" cap="none" spc="0" normalizeH="0" baseline="0" noProof="0" dirty="0" err="1">
                <a:ln>
                  <a:noFill/>
                </a:ln>
                <a:solidFill>
                  <a:prstClr val="black"/>
                </a:solidFill>
                <a:effectLst/>
                <a:uLnTx/>
                <a:uFillTx/>
                <a:latin typeface="Frutiger LT Com 45 Light"/>
                <a:ea typeface="+mn-ea"/>
                <a:cs typeface="+mn-cs"/>
              </a:rPr>
              <a:t>the</a:t>
            </a:r>
            <a:r>
              <a:rPr kumimoji="0" lang="de-DE" sz="2400" b="0" i="0" u="none" strike="noStrike" kern="1200" cap="none" spc="0" normalizeH="0" baseline="0" noProof="0" dirty="0">
                <a:ln>
                  <a:noFill/>
                </a:ln>
                <a:solidFill>
                  <a:prstClr val="black"/>
                </a:solidFill>
                <a:effectLst/>
                <a:uLnTx/>
                <a:uFillTx/>
                <a:latin typeface="Frutiger LT Com 45 Light"/>
                <a:ea typeface="+mn-ea"/>
                <a:cs typeface="+mn-cs"/>
              </a:rPr>
              <a:t> Fluid </a:t>
            </a:r>
            <a:r>
              <a:rPr kumimoji="0" lang="de-DE" sz="2400" i="0" u="none" strike="noStrike" kern="1200" cap="none" spc="0" normalizeH="0" baseline="0" noProof="0" dirty="0">
                <a:ln>
                  <a:noFill/>
                </a:ln>
                <a:solidFill>
                  <a:srgbClr val="0000FF"/>
                </a:solidFill>
                <a:effectLst/>
                <a:uLnTx/>
                <a:uFillTx/>
                <a:latin typeface="Frutiger LT Com 45 Light"/>
                <a:ea typeface="+mn-ea"/>
                <a:cs typeface="+mn-cs"/>
              </a:rPr>
              <a:t>Force Amplitude </a:t>
            </a:r>
            <a:r>
              <a:rPr kumimoji="0" lang="de-DE" sz="2400" b="0" i="0" u="none" strike="noStrike" kern="1200" cap="none" spc="0" normalizeH="0" baseline="0" noProof="0" dirty="0" err="1">
                <a:ln>
                  <a:noFill/>
                </a:ln>
                <a:solidFill>
                  <a:prstClr val="black"/>
                </a:solidFill>
                <a:effectLst/>
                <a:uLnTx/>
                <a:uFillTx/>
                <a:latin typeface="Frutiger LT Com 45 Light"/>
                <a:ea typeface="+mn-ea"/>
                <a:cs typeface="+mn-cs"/>
              </a:rPr>
              <a:t>is</a:t>
            </a:r>
            <a:endParaRPr kumimoji="0" lang="de-DE" sz="2400" b="0" i="0" u="none" strike="noStrike" kern="1200" cap="none" spc="0" normalizeH="0" baseline="0" noProof="0" dirty="0">
              <a:ln>
                <a:noFill/>
              </a:ln>
              <a:solidFill>
                <a:prstClr val="black"/>
              </a:solidFill>
              <a:effectLst/>
              <a:uLnTx/>
              <a:uFillTx/>
              <a:latin typeface="Frutiger LT Com 45 Ligh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2400" b="0" i="0" u="none" strike="noStrike" kern="1200" cap="none" spc="0" normalizeH="0" baseline="0" noProof="0" dirty="0">
              <a:ln>
                <a:noFill/>
              </a:ln>
              <a:solidFill>
                <a:prstClr val="black"/>
              </a:solidFill>
              <a:effectLst/>
              <a:uLnTx/>
              <a:uFillTx/>
              <a:latin typeface="Frutiger LT Com 45 Ligh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2400" b="1" i="0" u="none" strike="noStrike" kern="1200" cap="none" spc="0" normalizeH="0" baseline="0" noProof="0" dirty="0">
                <a:ln>
                  <a:noFill/>
                </a:ln>
                <a:solidFill>
                  <a:srgbClr val="0000FF"/>
                </a:solidFill>
                <a:effectLst/>
                <a:uLnTx/>
                <a:uFillTx/>
                <a:latin typeface="Frutiger LT Com 45 Light"/>
                <a:ea typeface="+mn-ea"/>
                <a:cs typeface="+mn-cs"/>
              </a:rPr>
              <a:t>	</a:t>
            </a:r>
            <a:r>
              <a:rPr kumimoji="0" lang="de-DE" sz="2400" b="0" i="0" u="none" strike="noStrike" kern="1200" cap="none" spc="0" normalizeH="0" baseline="0" noProof="0" dirty="0" err="1">
                <a:ln>
                  <a:noFill/>
                </a:ln>
                <a:solidFill>
                  <a:srgbClr val="000000"/>
                </a:solidFill>
                <a:effectLst/>
                <a:uLnTx/>
                <a:uFillTx/>
                <a:latin typeface="Frutiger LT Com 45 Light"/>
                <a:ea typeface="+mn-ea"/>
                <a:cs typeface="+mn-cs"/>
              </a:rPr>
              <a:t>for</a:t>
            </a:r>
            <a:r>
              <a:rPr kumimoji="0" lang="de-DE" sz="2400" b="0" i="0" u="none" strike="noStrike" kern="1200" cap="none" spc="0" normalizeH="0" baseline="0" noProof="0" dirty="0">
                <a:ln>
                  <a:noFill/>
                </a:ln>
                <a:solidFill>
                  <a:srgbClr val="000000"/>
                </a:solidFill>
                <a:effectLst/>
                <a:uLnTx/>
                <a:uFillTx/>
                <a:latin typeface="Frutiger LT Com 45 Light"/>
                <a:ea typeface="+mn-ea"/>
                <a:cs typeface="+mn-cs"/>
              </a:rPr>
              <a:t> </a:t>
            </a:r>
            <a:r>
              <a:rPr kumimoji="0" lang="de-DE" sz="2400" b="0" i="0" u="none" strike="noStrike" kern="1200" cap="none" spc="0" normalizeH="0" baseline="0" noProof="0" dirty="0" err="1">
                <a:ln>
                  <a:noFill/>
                </a:ln>
                <a:solidFill>
                  <a:srgbClr val="000000"/>
                </a:solidFill>
                <a:effectLst/>
                <a:uLnTx/>
                <a:uFillTx/>
                <a:latin typeface="Frutiger LT Com 45 Light"/>
                <a:ea typeface="+mn-ea"/>
                <a:cs typeface="+mn-cs"/>
              </a:rPr>
              <a:t>the</a:t>
            </a:r>
            <a:r>
              <a:rPr kumimoji="0" lang="de-DE" sz="2400" b="0" i="0" u="none" strike="noStrike" kern="1200" cap="none" spc="0" normalizeH="0" baseline="0" noProof="0" dirty="0">
                <a:ln>
                  <a:noFill/>
                </a:ln>
                <a:solidFill>
                  <a:srgbClr val="000000"/>
                </a:solidFill>
                <a:effectLst/>
                <a:uLnTx/>
                <a:uFillTx/>
                <a:latin typeface="Frutiger LT Com 45 Light"/>
                <a:ea typeface="+mn-ea"/>
                <a:cs typeface="+mn-cs"/>
              </a:rPr>
              <a:t> optimal </a:t>
            </a:r>
            <a:r>
              <a:rPr kumimoji="0" lang="de-DE" sz="2400" b="0" i="0" u="none" strike="noStrike" kern="1200" cap="none" spc="0" normalizeH="0" baseline="0" noProof="0" dirty="0" err="1">
                <a:ln>
                  <a:noFill/>
                </a:ln>
                <a:solidFill>
                  <a:srgbClr val="000000"/>
                </a:solidFill>
                <a:effectLst/>
                <a:uLnTx/>
                <a:uFillTx/>
                <a:latin typeface="Frutiger LT Com 45 Light"/>
                <a:ea typeface="+mn-ea"/>
                <a:cs typeface="+mn-cs"/>
              </a:rPr>
              <a:t>case</a:t>
            </a:r>
            <a:r>
              <a:rPr kumimoji="0" lang="de-DE" sz="2400" b="0" i="0" u="none" strike="noStrike" kern="1200" cap="none" spc="0" normalizeH="0" baseline="0" noProof="0" dirty="0">
                <a:ln>
                  <a:noFill/>
                </a:ln>
                <a:solidFill>
                  <a:srgbClr val="000000"/>
                </a:solidFill>
                <a:effectLst/>
                <a:uLnTx/>
                <a:uFillTx/>
                <a:latin typeface="Frutiger LT Com 45 Light"/>
                <a:ea typeface="+mn-ea"/>
                <a:cs typeface="+mn-cs"/>
              </a:rPr>
              <a:t>                 Q/</a:t>
            </a:r>
            <a:r>
              <a:rPr kumimoji="0" lang="de-DE" sz="2400" b="0" i="0" u="none" strike="noStrike" kern="1200" cap="none" spc="0" normalizeH="0" baseline="0" noProof="0" dirty="0" err="1">
                <a:ln>
                  <a:noFill/>
                </a:ln>
                <a:solidFill>
                  <a:srgbClr val="000000"/>
                </a:solidFill>
                <a:effectLst/>
                <a:uLnTx/>
                <a:uFillTx/>
                <a:latin typeface="Frutiger LT Com 45 Light"/>
                <a:ea typeface="+mn-ea"/>
                <a:cs typeface="+mn-cs"/>
              </a:rPr>
              <a:t>Qopt</a:t>
            </a:r>
            <a:r>
              <a:rPr kumimoji="0" lang="de-DE" sz="2400" b="0" i="0" u="none" strike="noStrike" kern="1200" cap="none" spc="0" normalizeH="0" baseline="0" noProof="0" dirty="0">
                <a:ln>
                  <a:noFill/>
                </a:ln>
                <a:solidFill>
                  <a:srgbClr val="000000"/>
                </a:solidFill>
                <a:effectLst/>
                <a:uLnTx/>
                <a:uFillTx/>
                <a:latin typeface="Frutiger LT Com 45 Light"/>
                <a:ea typeface="+mn-ea"/>
                <a:cs typeface="+mn-cs"/>
              </a:rPr>
              <a:t>  =  1    : </a:t>
            </a:r>
            <a:r>
              <a:rPr kumimoji="0" lang="de-DE" sz="2400" b="1" i="0" u="none" strike="noStrike" kern="1200" cap="none" spc="0" normalizeH="0" baseline="0" noProof="0" dirty="0">
                <a:ln>
                  <a:noFill/>
                </a:ln>
                <a:solidFill>
                  <a:srgbClr val="000000"/>
                </a:solidFill>
                <a:effectLst/>
                <a:uLnTx/>
                <a:uFillTx/>
                <a:latin typeface="Frutiger LT Com 45 Light"/>
                <a:ea typeface="+mn-ea"/>
                <a:cs typeface="+mn-cs"/>
              </a:rPr>
              <a:t> </a:t>
            </a:r>
            <a:r>
              <a:rPr kumimoji="0" lang="de-DE" sz="2400" b="1" i="0" u="none" strike="noStrike" kern="1200" cap="none" spc="0" normalizeH="0" baseline="0" noProof="0" dirty="0">
                <a:ln>
                  <a:noFill/>
                </a:ln>
                <a:solidFill>
                  <a:srgbClr val="0000FF"/>
                </a:solidFill>
                <a:effectLst/>
                <a:uLnTx/>
                <a:uFillTx/>
                <a:latin typeface="Frutiger LT Com 45 Light"/>
                <a:ea typeface="+mn-ea"/>
                <a:cs typeface="+mn-cs"/>
              </a:rPr>
              <a:t>  F</a:t>
            </a:r>
            <a:r>
              <a:rPr kumimoji="0" lang="de-DE" sz="2400" b="1" i="0" u="none" strike="noStrike" kern="1200" cap="none" spc="0" normalizeH="0" baseline="-25000" noProof="0" dirty="0">
                <a:ln>
                  <a:noFill/>
                </a:ln>
                <a:solidFill>
                  <a:srgbClr val="0000FF"/>
                </a:solidFill>
                <a:effectLst/>
                <a:uLnTx/>
                <a:uFillTx/>
                <a:latin typeface="Frutiger LT Com 45 Light"/>
                <a:ea typeface="+mn-ea"/>
                <a:cs typeface="+mn-cs"/>
              </a:rPr>
              <a:t>H</a:t>
            </a:r>
            <a:r>
              <a:rPr kumimoji="0" lang="de-DE" sz="2400" b="1" i="0" u="none" strike="noStrike" kern="1200" cap="none" spc="0" normalizeH="0" baseline="0" noProof="0" dirty="0">
                <a:ln>
                  <a:noFill/>
                </a:ln>
                <a:solidFill>
                  <a:srgbClr val="0000FF"/>
                </a:solidFill>
                <a:effectLst/>
                <a:uLnTx/>
                <a:uFillTx/>
                <a:latin typeface="Frutiger LT Com 45 Light"/>
                <a:ea typeface="+mn-ea"/>
                <a:cs typeface="+mn-cs"/>
              </a:rPr>
              <a:t>    =  20 k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2400" b="1" i="0" u="none" strike="noStrike" kern="1200" cap="none" spc="0" normalizeH="0" baseline="0" noProof="0" dirty="0">
                <a:ln>
                  <a:noFill/>
                </a:ln>
                <a:solidFill>
                  <a:srgbClr val="0000FF"/>
                </a:solidFill>
                <a:effectLst/>
                <a:uLnTx/>
                <a:uFillTx/>
                <a:latin typeface="Frutiger LT Com 45 Light"/>
                <a:ea typeface="+mn-ea"/>
                <a:cs typeface="+mn-cs"/>
              </a:rPr>
              <a:t>	</a:t>
            </a:r>
          </a:p>
        </p:txBody>
      </p:sp>
    </p:spTree>
    <p:extLst>
      <p:ext uri="{BB962C8B-B14F-4D97-AF65-F5344CB8AC3E}">
        <p14:creationId xmlns:p14="http://schemas.microsoft.com/office/powerpoint/2010/main" val="258399435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el 3">
            <a:extLst>
              <a:ext uri="{FF2B5EF4-FFF2-40B4-BE49-F238E27FC236}">
                <a16:creationId xmlns:a16="http://schemas.microsoft.com/office/drawing/2014/main" id="{8EC3160C-2A66-E772-1B65-C360C8E9B60A}"/>
              </a:ext>
            </a:extLst>
          </p:cNvPr>
          <p:cNvSpPr txBox="1">
            <a:spLocks/>
          </p:cNvSpPr>
          <p:nvPr/>
        </p:nvSpPr>
        <p:spPr bwMode="auto">
          <a:xfrm>
            <a:off x="1893888" y="2555875"/>
            <a:ext cx="6877050" cy="838200"/>
          </a:xfrm>
          <a:prstGeom prst="rect">
            <a:avLst/>
          </a:prstGeom>
          <a:noFill/>
          <a:ln w="9525">
            <a:noFill/>
            <a:miter lim="800000"/>
            <a:headEnd/>
            <a:tailEnd/>
          </a:ln>
          <a:effectLst/>
        </p:spPr>
        <p:txBody>
          <a:bodyPr lIns="0" tIns="0" rIns="0" bIns="0"/>
          <a:lstStyle/>
          <a:p>
            <a:pPr marL="0" marR="0" lvl="0" indent="0" algn="l" defTabSz="914400" rtl="0" eaLnBrk="1" fontAlgn="base" latinLnBrk="0" hangingPunct="1">
              <a:lnSpc>
                <a:spcPct val="100000"/>
              </a:lnSpc>
              <a:spcBef>
                <a:spcPct val="0"/>
              </a:spcBef>
              <a:spcAft>
                <a:spcPct val="0"/>
              </a:spcAft>
              <a:buClrTx/>
              <a:buSzTx/>
              <a:buFontTx/>
              <a:buNone/>
              <a:tabLst/>
              <a:defRPr/>
            </a:pPr>
            <a:br>
              <a:rPr kumimoji="0" lang="de-DE" sz="2000" b="1" i="0" u="none" strike="noStrike" kern="0" cap="none" spc="0" normalizeH="0" baseline="0" noProof="0" dirty="0">
                <a:ln>
                  <a:noFill/>
                </a:ln>
                <a:solidFill>
                  <a:srgbClr val="000000"/>
                </a:solidFill>
                <a:effectLst/>
                <a:uLnTx/>
                <a:uFillTx/>
                <a:latin typeface="Arial"/>
                <a:ea typeface="+mn-ea"/>
                <a:cs typeface="+mn-cs"/>
              </a:rPr>
            </a:br>
            <a:r>
              <a:rPr kumimoji="0" lang="de-DE" sz="2000" b="1" i="0" u="none" strike="noStrike" kern="0" cap="none" spc="0" normalizeH="0" baseline="0" noProof="0" dirty="0">
                <a:ln>
                  <a:noFill/>
                </a:ln>
                <a:solidFill>
                  <a:srgbClr val="000000"/>
                </a:solidFill>
                <a:effectLst/>
                <a:uLnTx/>
                <a:uFillTx/>
                <a:latin typeface="Arial"/>
                <a:ea typeface="+mn-ea"/>
                <a:cs typeface="+mn-cs"/>
              </a:rPr>
              <a:t>		</a:t>
            </a:r>
          </a:p>
        </p:txBody>
      </p:sp>
      <p:sp>
        <p:nvSpPr>
          <p:cNvPr id="5" name="Textfeld 4">
            <a:extLst>
              <a:ext uri="{FF2B5EF4-FFF2-40B4-BE49-F238E27FC236}">
                <a16:creationId xmlns:a16="http://schemas.microsoft.com/office/drawing/2014/main" id="{07240E44-DC61-FF18-3D6B-E62916EA6331}"/>
              </a:ext>
            </a:extLst>
          </p:cNvPr>
          <p:cNvSpPr txBox="1">
            <a:spLocks noChangeArrowheads="1"/>
          </p:cNvSpPr>
          <p:nvPr/>
        </p:nvSpPr>
        <p:spPr bwMode="auto">
          <a:xfrm>
            <a:off x="765028" y="1067415"/>
            <a:ext cx="11020572" cy="5940088"/>
          </a:xfrm>
          <a:prstGeom prst="rect">
            <a:avLst/>
          </a:prstGeom>
          <a:noFill/>
          <a:ln>
            <a:noFill/>
          </a:ln>
        </p:spPr>
        <p:txBody>
          <a:bodyPr wrap="square">
            <a:spAutoFit/>
          </a:bodyPr>
          <a:lstStyle>
            <a:lvl1pPr marL="361950" indent="-361950" eaLnBrk="0" hangingPunct="0">
              <a:defRPr b="1">
                <a:solidFill>
                  <a:schemeClr val="tx1"/>
                </a:solidFill>
                <a:latin typeface="Verdana" pitchFamily="34" charset="0"/>
              </a:defRPr>
            </a:lvl1pPr>
            <a:lvl2pPr marL="742950" indent="-285750" eaLnBrk="0" hangingPunct="0">
              <a:defRPr b="1">
                <a:solidFill>
                  <a:schemeClr val="tx1"/>
                </a:solidFill>
                <a:latin typeface="Verdana" pitchFamily="34" charset="0"/>
              </a:defRPr>
            </a:lvl2pPr>
            <a:lvl3pPr marL="1143000" indent="-228600" eaLnBrk="0" hangingPunct="0">
              <a:defRPr b="1">
                <a:solidFill>
                  <a:schemeClr val="tx1"/>
                </a:solidFill>
                <a:latin typeface="Verdana" pitchFamily="34" charset="0"/>
              </a:defRPr>
            </a:lvl3pPr>
            <a:lvl4pPr marL="1600200" indent="-228600" eaLnBrk="0" hangingPunct="0">
              <a:defRPr b="1">
                <a:solidFill>
                  <a:schemeClr val="tx1"/>
                </a:solidFill>
                <a:latin typeface="Verdana" pitchFamily="34" charset="0"/>
              </a:defRPr>
            </a:lvl4pPr>
            <a:lvl5pPr marL="2057400" indent="-228600" eaLnBrk="0" hangingPunct="0">
              <a:defRPr b="1">
                <a:solidFill>
                  <a:schemeClr val="tx1"/>
                </a:solidFill>
                <a:latin typeface="Verdana" pitchFamily="34" charset="0"/>
              </a:defRPr>
            </a:lvl5pPr>
            <a:lvl6pPr marL="2514600" indent="-228600" eaLnBrk="0" fontAlgn="base" hangingPunct="0">
              <a:spcBef>
                <a:spcPct val="0"/>
              </a:spcBef>
              <a:spcAft>
                <a:spcPct val="0"/>
              </a:spcAft>
              <a:defRPr b="1">
                <a:solidFill>
                  <a:schemeClr val="tx1"/>
                </a:solidFill>
                <a:latin typeface="Verdana" pitchFamily="34" charset="0"/>
              </a:defRPr>
            </a:lvl6pPr>
            <a:lvl7pPr marL="2971800" indent="-228600" eaLnBrk="0" fontAlgn="base" hangingPunct="0">
              <a:spcBef>
                <a:spcPct val="0"/>
              </a:spcBef>
              <a:spcAft>
                <a:spcPct val="0"/>
              </a:spcAft>
              <a:defRPr b="1">
                <a:solidFill>
                  <a:schemeClr val="tx1"/>
                </a:solidFill>
                <a:latin typeface="Verdana" pitchFamily="34" charset="0"/>
              </a:defRPr>
            </a:lvl7pPr>
            <a:lvl8pPr marL="3429000" indent="-228600" eaLnBrk="0" fontAlgn="base" hangingPunct="0">
              <a:spcBef>
                <a:spcPct val="0"/>
              </a:spcBef>
              <a:spcAft>
                <a:spcPct val="0"/>
              </a:spcAft>
              <a:defRPr b="1">
                <a:solidFill>
                  <a:schemeClr val="tx1"/>
                </a:solidFill>
                <a:latin typeface="Verdana" pitchFamily="34" charset="0"/>
              </a:defRPr>
            </a:lvl8pPr>
            <a:lvl9pPr marL="3886200" indent="-228600" eaLnBrk="0" fontAlgn="base" hangingPunct="0">
              <a:spcBef>
                <a:spcPct val="0"/>
              </a:spcBef>
              <a:spcAft>
                <a:spcPct val="0"/>
              </a:spcAft>
              <a:defRPr b="1">
                <a:solidFill>
                  <a:schemeClr val="tx1"/>
                </a:solidFill>
                <a:latin typeface="Verdana"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de-DE" altLang="de-DE" sz="2000" b="1" i="0" u="none" strike="noStrike" kern="1200" cap="none" spc="0" normalizeH="0" baseline="0" noProof="0" dirty="0">
              <a:ln>
                <a:noFill/>
              </a:ln>
              <a:solidFill>
                <a:srgbClr val="000000"/>
              </a:solidFill>
              <a:effectLst/>
              <a:uLnTx/>
              <a:uFillTx/>
              <a:latin typeface="Arial" charset="0"/>
              <a:ea typeface="+mn-ea"/>
              <a:cs typeface="+mn-cs"/>
            </a:endParaRPr>
          </a:p>
          <a:p>
            <a:pPr marL="361950" marR="0" lvl="0" indent="-361950" algn="l" defTabSz="914400" rtl="0" eaLnBrk="1" fontAlgn="base" latinLnBrk="0" hangingPunct="1">
              <a:lnSpc>
                <a:spcPct val="100000"/>
              </a:lnSpc>
              <a:spcBef>
                <a:spcPct val="0"/>
              </a:spcBef>
              <a:spcAft>
                <a:spcPct val="0"/>
              </a:spcAft>
              <a:buClrTx/>
              <a:buSzTx/>
              <a:buFont typeface="Wingdings" pitchFamily="2" charset="2"/>
              <a:buChar char="Ø"/>
              <a:tabLst/>
              <a:defRPr/>
            </a:pPr>
            <a:r>
              <a:rPr kumimoji="0" lang="de-DE" altLang="de-DE" sz="2400" b="1" i="0" u="none" strike="noStrike" kern="1200" cap="none" spc="0" normalizeH="0" baseline="0" noProof="0" dirty="0" err="1">
                <a:ln>
                  <a:noFill/>
                </a:ln>
                <a:effectLst/>
                <a:uLnTx/>
                <a:uFillTx/>
                <a:latin typeface="Arial" charset="0"/>
                <a:ea typeface="+mn-ea"/>
                <a:cs typeface="+mn-cs"/>
              </a:rPr>
              <a:t>Vertical</a:t>
            </a:r>
            <a:r>
              <a:rPr kumimoji="0" lang="de-DE" altLang="de-DE" sz="2400" b="1" i="0" u="none" strike="noStrike" kern="1200" cap="none" spc="0" normalizeH="0" baseline="0" noProof="0" dirty="0">
                <a:ln>
                  <a:noFill/>
                </a:ln>
                <a:effectLst/>
                <a:uLnTx/>
                <a:uFillTx/>
                <a:latin typeface="Arial" charset="0"/>
                <a:ea typeface="+mn-ea"/>
                <a:cs typeface="+mn-cs"/>
              </a:rPr>
              <a:t> and Horizontal Pump</a:t>
            </a:r>
            <a:r>
              <a:rPr kumimoji="0" lang="de-DE" altLang="de-DE" sz="2400" b="1" i="0" u="none" strike="noStrike" kern="1200" cap="none" spc="0" normalizeH="0" noProof="0" dirty="0">
                <a:ln>
                  <a:noFill/>
                </a:ln>
                <a:effectLst/>
                <a:uLnTx/>
                <a:uFillTx/>
                <a:latin typeface="Arial" charset="0"/>
                <a:ea typeface="+mn-ea"/>
                <a:cs typeface="+mn-cs"/>
              </a:rPr>
              <a:t> Systems in </a:t>
            </a:r>
            <a:r>
              <a:rPr kumimoji="0" lang="de-DE" altLang="de-DE" sz="2400" b="1" i="0" u="none" strike="noStrike" kern="1200" cap="none" spc="0" normalizeH="0" noProof="0" dirty="0" err="1">
                <a:ln>
                  <a:noFill/>
                </a:ln>
                <a:effectLst/>
                <a:uLnTx/>
                <a:uFillTx/>
                <a:latin typeface="Arial" charset="0"/>
                <a:ea typeface="+mn-ea"/>
                <a:cs typeface="+mn-cs"/>
              </a:rPr>
              <a:t>Nuclear</a:t>
            </a:r>
            <a:r>
              <a:rPr kumimoji="0" lang="de-DE" altLang="de-DE" sz="2400" b="1" i="0" u="none" strike="noStrike" kern="1200" cap="none" spc="0" normalizeH="0" noProof="0" dirty="0">
                <a:ln>
                  <a:noFill/>
                </a:ln>
                <a:effectLst/>
                <a:uLnTx/>
                <a:uFillTx/>
                <a:latin typeface="Arial" charset="0"/>
                <a:ea typeface="+mn-ea"/>
                <a:cs typeface="+mn-cs"/>
              </a:rPr>
              <a:t> Power Plants</a:t>
            </a:r>
            <a:endParaRPr kumimoji="0" lang="de-DE" altLang="de-DE" sz="2400" b="1" i="0" u="none" strike="noStrike" kern="1200" cap="none" spc="0" normalizeH="0" baseline="0" noProof="0" dirty="0">
              <a:ln>
                <a:noFill/>
              </a:ln>
              <a:effectLst/>
              <a:uLnTx/>
              <a:uFillTx/>
              <a:latin typeface="Arial" charset="0"/>
              <a:ea typeface="+mn-ea"/>
              <a:cs typeface="+mn-cs"/>
            </a:endParaRPr>
          </a:p>
          <a:p>
            <a:pPr marL="361950" marR="0" lvl="0" indent="-361950" algn="l" defTabSz="914400" rtl="0" eaLnBrk="1" fontAlgn="base" latinLnBrk="0" hangingPunct="1">
              <a:lnSpc>
                <a:spcPct val="100000"/>
              </a:lnSpc>
              <a:spcBef>
                <a:spcPct val="0"/>
              </a:spcBef>
              <a:spcAft>
                <a:spcPct val="0"/>
              </a:spcAft>
              <a:buClrTx/>
              <a:buSzTx/>
              <a:buFont typeface="Wingdings" pitchFamily="2" charset="2"/>
              <a:buChar char="Ø"/>
              <a:tabLst/>
              <a:defRPr/>
            </a:pPr>
            <a:endParaRPr kumimoji="0" lang="de-DE" altLang="de-DE" sz="2400" b="1" i="0" u="none" strike="noStrike" kern="1200" cap="none" spc="0" normalizeH="0" baseline="0" noProof="0" dirty="0">
              <a:ln>
                <a:noFill/>
              </a:ln>
              <a:solidFill>
                <a:srgbClr val="000000"/>
              </a:solidFill>
              <a:effectLst/>
              <a:uLnTx/>
              <a:uFillTx/>
              <a:latin typeface="Arial" charset="0"/>
              <a:ea typeface="+mn-ea"/>
              <a:cs typeface="+mn-cs"/>
            </a:endParaRPr>
          </a:p>
          <a:p>
            <a:pPr marL="361950" marR="0" lvl="0" indent="-361950" algn="l" defTabSz="914400" rtl="0" eaLnBrk="1" fontAlgn="base" latinLnBrk="0" hangingPunct="1">
              <a:lnSpc>
                <a:spcPct val="100000"/>
              </a:lnSpc>
              <a:spcBef>
                <a:spcPct val="0"/>
              </a:spcBef>
              <a:spcAft>
                <a:spcPct val="0"/>
              </a:spcAft>
              <a:buClrTx/>
              <a:buSzTx/>
              <a:buFont typeface="Wingdings" pitchFamily="2" charset="2"/>
              <a:buChar char="Ø"/>
              <a:tabLst/>
              <a:defRPr/>
            </a:pPr>
            <a:r>
              <a:rPr kumimoji="0" lang="de-DE" altLang="de-DE" sz="2400" b="1" i="0" u="none" strike="noStrike" kern="1200" cap="none" spc="0" normalizeH="0" baseline="0" noProof="0" dirty="0">
                <a:ln>
                  <a:noFill/>
                </a:ln>
                <a:effectLst/>
                <a:uLnTx/>
                <a:uFillTx/>
                <a:latin typeface="Arial" charset="0"/>
                <a:ea typeface="+mn-ea"/>
                <a:cs typeface="+mn-cs"/>
              </a:rPr>
              <a:t>A </a:t>
            </a:r>
            <a:r>
              <a:rPr kumimoji="0" lang="de-DE" altLang="de-DE" sz="2400" b="1" i="0" u="none" strike="noStrike" kern="1200" cap="none" spc="0" normalizeH="0" baseline="0" noProof="0" dirty="0" err="1">
                <a:ln>
                  <a:noFill/>
                </a:ln>
                <a:effectLst/>
                <a:uLnTx/>
                <a:uFillTx/>
                <a:latin typeface="Arial" charset="0"/>
                <a:ea typeface="+mn-ea"/>
                <a:cs typeface="+mn-cs"/>
              </a:rPr>
              <a:t>typical</a:t>
            </a:r>
            <a:r>
              <a:rPr kumimoji="0" lang="de-DE" altLang="de-DE" sz="2400" b="1" i="0" u="none" strike="noStrike" kern="1200" cap="none" spc="0" normalizeH="0" baseline="0" noProof="0" dirty="0">
                <a:ln>
                  <a:noFill/>
                </a:ln>
                <a:effectLst/>
                <a:uLnTx/>
                <a:uFillTx/>
                <a:latin typeface="Arial" charset="0"/>
                <a:ea typeface="+mn-ea"/>
                <a:cs typeface="+mn-cs"/>
              </a:rPr>
              <a:t>  Horizontal </a:t>
            </a:r>
            <a:r>
              <a:rPr kumimoji="0" lang="de-DE" altLang="de-DE" sz="2400" b="1" i="0" u="none" strike="noStrike" kern="1200" cap="none" spc="0" normalizeH="0" baseline="0" noProof="0" dirty="0" err="1">
                <a:ln>
                  <a:noFill/>
                </a:ln>
                <a:effectLst/>
                <a:uLnTx/>
                <a:uFillTx/>
                <a:latin typeface="Arial" charset="0"/>
                <a:ea typeface="+mn-ea"/>
                <a:cs typeface="+mn-cs"/>
              </a:rPr>
              <a:t>Feedwater</a:t>
            </a:r>
            <a:r>
              <a:rPr kumimoji="0" lang="de-DE" altLang="de-DE" sz="2400" b="1" i="0" u="none" strike="noStrike" kern="1200" cap="none" spc="0" normalizeH="0" baseline="0" noProof="0" dirty="0">
                <a:ln>
                  <a:noFill/>
                </a:ln>
                <a:effectLst/>
                <a:uLnTx/>
                <a:uFillTx/>
                <a:latin typeface="Arial" charset="0"/>
                <a:ea typeface="+mn-ea"/>
                <a:cs typeface="+mn-cs"/>
              </a:rPr>
              <a:t> Pump</a:t>
            </a:r>
          </a:p>
          <a:p>
            <a:pPr marL="0" marR="0" lvl="0" indent="0" algn="l" defTabSz="914400" rtl="0" eaLnBrk="1" fontAlgn="base" latinLnBrk="0" hangingPunct="1">
              <a:lnSpc>
                <a:spcPct val="100000"/>
              </a:lnSpc>
              <a:spcBef>
                <a:spcPct val="0"/>
              </a:spcBef>
              <a:spcAft>
                <a:spcPct val="0"/>
              </a:spcAft>
              <a:buClrTx/>
              <a:buSzTx/>
              <a:tabLst/>
              <a:defRPr/>
            </a:pPr>
            <a:endParaRPr kumimoji="0" lang="de-DE" altLang="de-DE" sz="2400" b="1" i="0" u="none" strike="noStrike" kern="1200" cap="none" spc="0" normalizeH="0" baseline="0" noProof="0" dirty="0">
              <a:ln>
                <a:noFill/>
              </a:ln>
              <a:solidFill>
                <a:srgbClr val="0000FF"/>
              </a:solidFill>
              <a:effectLst/>
              <a:uLnTx/>
              <a:uFillTx/>
              <a:latin typeface="Arial" charset="0"/>
              <a:ea typeface="+mn-ea"/>
              <a:cs typeface="+mn-cs"/>
            </a:endParaRPr>
          </a:p>
          <a:p>
            <a:pPr marL="361950" marR="0" lvl="0" indent="-361950" algn="l" defTabSz="914400" rtl="0" eaLnBrk="1" fontAlgn="base" latinLnBrk="0" hangingPunct="1">
              <a:lnSpc>
                <a:spcPct val="100000"/>
              </a:lnSpc>
              <a:spcBef>
                <a:spcPct val="0"/>
              </a:spcBef>
              <a:spcAft>
                <a:spcPct val="0"/>
              </a:spcAft>
              <a:buClrTx/>
              <a:buSzTx/>
              <a:buFont typeface="Wingdings" pitchFamily="2" charset="2"/>
              <a:buChar char="Ø"/>
              <a:tabLst/>
              <a:defRPr/>
            </a:pPr>
            <a:r>
              <a:rPr kumimoji="0" lang="de-DE" altLang="de-DE" sz="2400" b="1" i="0" u="none" strike="noStrike" kern="1200" cap="none" spc="0" normalizeH="0" baseline="0" noProof="0" dirty="0">
                <a:ln>
                  <a:noFill/>
                </a:ln>
                <a:solidFill>
                  <a:srgbClr val="000000"/>
                </a:solidFill>
                <a:effectLst/>
                <a:uLnTx/>
                <a:uFillTx/>
                <a:latin typeface="Arial" charset="0"/>
                <a:ea typeface="+mn-ea"/>
                <a:cs typeface="+mn-cs"/>
              </a:rPr>
              <a:t>Lateral </a:t>
            </a:r>
            <a:r>
              <a:rPr kumimoji="0" lang="de-DE" altLang="de-DE" sz="2400" b="1" i="0" u="none" strike="noStrike" kern="1200" cap="none" spc="0" normalizeH="0" baseline="0" noProof="0" dirty="0" err="1">
                <a:ln>
                  <a:noFill/>
                </a:ln>
                <a:solidFill>
                  <a:srgbClr val="000000"/>
                </a:solidFill>
                <a:effectLst/>
                <a:uLnTx/>
                <a:uFillTx/>
                <a:latin typeface="Arial" charset="0"/>
                <a:ea typeface="+mn-ea"/>
                <a:cs typeface="+mn-cs"/>
              </a:rPr>
              <a:t>Vibrations</a:t>
            </a:r>
            <a:r>
              <a:rPr kumimoji="0" lang="de-DE" altLang="de-DE" sz="2400" b="1" i="0" u="none" strike="noStrike" kern="1200" cap="none" spc="0" normalizeH="0" baseline="0" noProof="0" dirty="0">
                <a:ln>
                  <a:noFill/>
                </a:ln>
                <a:solidFill>
                  <a:srgbClr val="000000"/>
                </a:solidFill>
                <a:effectLst/>
                <a:uLnTx/>
                <a:uFillTx/>
                <a:latin typeface="Arial" charset="0"/>
                <a:ea typeface="+mn-ea"/>
                <a:cs typeface="+mn-cs"/>
              </a:rPr>
              <a:t> </a:t>
            </a:r>
            <a:r>
              <a:rPr kumimoji="0" lang="de-DE" altLang="de-DE" sz="2400" b="1" i="0" u="none" strike="noStrike" kern="1200" cap="none" spc="0" normalizeH="0" baseline="0" noProof="0" dirty="0" err="1">
                <a:ln>
                  <a:noFill/>
                </a:ln>
                <a:solidFill>
                  <a:srgbClr val="000000"/>
                </a:solidFill>
                <a:effectLst/>
                <a:uLnTx/>
                <a:uFillTx/>
                <a:latin typeface="Arial" charset="0"/>
                <a:ea typeface="+mn-ea"/>
                <a:cs typeface="+mn-cs"/>
              </a:rPr>
              <a:t>of</a:t>
            </a:r>
            <a:r>
              <a:rPr kumimoji="0" lang="de-DE" altLang="de-DE" sz="2400" b="1" i="0" u="none" strike="noStrike" kern="1200" cap="none" spc="0" normalizeH="0" baseline="0" noProof="0" dirty="0">
                <a:ln>
                  <a:noFill/>
                </a:ln>
                <a:solidFill>
                  <a:srgbClr val="000000"/>
                </a:solidFill>
                <a:effectLst/>
                <a:uLnTx/>
                <a:uFillTx/>
                <a:latin typeface="Arial" charset="0"/>
                <a:ea typeface="+mn-ea"/>
                <a:cs typeface="+mn-cs"/>
              </a:rPr>
              <a:t> </a:t>
            </a:r>
            <a:r>
              <a:rPr kumimoji="0" lang="de-DE" altLang="de-DE" sz="2400" b="1" i="0" u="none" strike="noStrike" kern="1200" cap="none" spc="0" normalizeH="0" baseline="0" noProof="0" dirty="0" err="1">
                <a:ln>
                  <a:noFill/>
                </a:ln>
                <a:solidFill>
                  <a:srgbClr val="000000"/>
                </a:solidFill>
                <a:effectLst/>
                <a:uLnTx/>
                <a:uFillTx/>
                <a:latin typeface="Arial" charset="0"/>
                <a:ea typeface="+mn-ea"/>
                <a:cs typeface="+mn-cs"/>
              </a:rPr>
              <a:t>the</a:t>
            </a:r>
            <a:r>
              <a:rPr kumimoji="0" lang="de-DE" altLang="de-DE" sz="2400" b="1" i="0" u="none" strike="noStrike" kern="1200" cap="none" spc="0" normalizeH="0" baseline="0" noProof="0" dirty="0">
                <a:ln>
                  <a:noFill/>
                </a:ln>
                <a:solidFill>
                  <a:srgbClr val="000000"/>
                </a:solidFill>
                <a:effectLst/>
                <a:uLnTx/>
                <a:uFillTx/>
                <a:latin typeface="Arial" charset="0"/>
                <a:ea typeface="+mn-ea"/>
                <a:cs typeface="+mn-cs"/>
              </a:rPr>
              <a:t> Horizontal </a:t>
            </a:r>
            <a:r>
              <a:rPr kumimoji="0" lang="de-DE" altLang="de-DE" sz="2400" b="1" i="0" u="none" strike="noStrike" kern="1200" cap="none" spc="0" normalizeH="0" baseline="0" noProof="0" dirty="0" err="1">
                <a:ln>
                  <a:noFill/>
                </a:ln>
                <a:solidFill>
                  <a:srgbClr val="000000"/>
                </a:solidFill>
                <a:effectLst/>
                <a:uLnTx/>
                <a:uFillTx/>
                <a:latin typeface="Arial" charset="0"/>
                <a:ea typeface="+mn-ea"/>
                <a:cs typeface="+mn-cs"/>
              </a:rPr>
              <a:t>Feedwater</a:t>
            </a:r>
            <a:r>
              <a:rPr kumimoji="0" lang="de-DE" altLang="de-DE" sz="2400" b="1" i="0" u="none" strike="noStrike" kern="1200" cap="none" spc="0" normalizeH="0" baseline="0" noProof="0" dirty="0">
                <a:ln>
                  <a:noFill/>
                </a:ln>
                <a:solidFill>
                  <a:srgbClr val="000000"/>
                </a:solidFill>
                <a:effectLst/>
                <a:uLnTx/>
                <a:uFillTx/>
                <a:latin typeface="Arial" charset="0"/>
                <a:ea typeface="+mn-ea"/>
                <a:cs typeface="+mn-cs"/>
              </a:rPr>
              <a:t> Pump</a:t>
            </a:r>
          </a:p>
          <a:p>
            <a:pPr marL="361950" marR="0" lvl="0" indent="-361950" algn="l" defTabSz="914400" rtl="0" eaLnBrk="1" fontAlgn="base" latinLnBrk="0" hangingPunct="1">
              <a:lnSpc>
                <a:spcPct val="100000"/>
              </a:lnSpc>
              <a:spcBef>
                <a:spcPct val="0"/>
              </a:spcBef>
              <a:spcAft>
                <a:spcPct val="0"/>
              </a:spcAft>
              <a:buClrTx/>
              <a:buSzTx/>
              <a:buFont typeface="Wingdings" pitchFamily="2" charset="2"/>
              <a:buChar char="Ø"/>
              <a:tabLst/>
              <a:defRPr/>
            </a:pPr>
            <a:endParaRPr kumimoji="0" lang="de-DE" altLang="de-DE" sz="2400" b="1" i="0" u="none" strike="noStrike" kern="1200" cap="none" spc="0" normalizeH="0" baseline="0" noProof="0" dirty="0">
              <a:ln>
                <a:noFill/>
              </a:ln>
              <a:solidFill>
                <a:srgbClr val="000000"/>
              </a:solidFill>
              <a:effectLst/>
              <a:uLnTx/>
              <a:uFillTx/>
              <a:latin typeface="Arial" charset="0"/>
              <a:ea typeface="+mn-ea"/>
              <a:cs typeface="+mn-cs"/>
            </a:endParaRPr>
          </a:p>
          <a:p>
            <a:pPr marL="361950" marR="0" lvl="0" indent="-361950" algn="l" defTabSz="914400" rtl="0" eaLnBrk="1" fontAlgn="base" latinLnBrk="0" hangingPunct="1">
              <a:lnSpc>
                <a:spcPct val="100000"/>
              </a:lnSpc>
              <a:spcBef>
                <a:spcPct val="0"/>
              </a:spcBef>
              <a:spcAft>
                <a:spcPct val="0"/>
              </a:spcAft>
              <a:buClrTx/>
              <a:buSzTx/>
              <a:buFont typeface="Wingdings" pitchFamily="2" charset="2"/>
              <a:buChar char="Ø"/>
              <a:tabLst/>
              <a:defRPr/>
            </a:pPr>
            <a:r>
              <a:rPr kumimoji="0" lang="de-DE" altLang="de-DE" sz="2400" b="1" i="0" u="none" strike="noStrike" kern="1200" cap="none" spc="0" normalizeH="0" baseline="0" noProof="0" dirty="0">
                <a:ln>
                  <a:noFill/>
                </a:ln>
                <a:solidFill>
                  <a:srgbClr val="000000"/>
                </a:solidFill>
                <a:effectLst/>
                <a:uLnTx/>
                <a:uFillTx/>
                <a:latin typeface="Arial" charset="0"/>
                <a:ea typeface="+mn-ea"/>
                <a:cs typeface="+mn-cs"/>
              </a:rPr>
              <a:t>Modelling </a:t>
            </a:r>
            <a:r>
              <a:rPr kumimoji="0" lang="de-DE" altLang="de-DE" sz="2400" b="1" i="0" u="none" strike="noStrike" kern="1200" cap="none" spc="0" normalizeH="0" baseline="0" noProof="0" dirty="0" err="1">
                <a:ln>
                  <a:noFill/>
                </a:ln>
                <a:solidFill>
                  <a:srgbClr val="000000"/>
                </a:solidFill>
                <a:effectLst/>
                <a:uLnTx/>
                <a:uFillTx/>
                <a:latin typeface="Arial" charset="0"/>
                <a:ea typeface="+mn-ea"/>
                <a:cs typeface="+mn-cs"/>
              </a:rPr>
              <a:t>of</a:t>
            </a:r>
            <a:r>
              <a:rPr kumimoji="0" lang="de-DE" altLang="de-DE" sz="2400" b="1" i="0" u="none" strike="noStrike" kern="1200" cap="none" spc="0" normalizeH="0" baseline="0" noProof="0" dirty="0">
                <a:ln>
                  <a:noFill/>
                </a:ln>
                <a:solidFill>
                  <a:srgbClr val="000000"/>
                </a:solidFill>
                <a:effectLst/>
                <a:uLnTx/>
                <a:uFillTx/>
                <a:latin typeface="Arial" charset="0"/>
                <a:ea typeface="+mn-ea"/>
                <a:cs typeface="+mn-cs"/>
              </a:rPr>
              <a:t> </a:t>
            </a:r>
            <a:r>
              <a:rPr lang="de-DE" altLang="de-DE" sz="2400" noProof="0" dirty="0" err="1">
                <a:solidFill>
                  <a:srgbClr val="000000"/>
                </a:solidFill>
                <a:latin typeface="Arial" charset="0"/>
              </a:rPr>
              <a:t>the</a:t>
            </a:r>
            <a:r>
              <a:rPr kumimoji="0" lang="de-DE" altLang="de-DE" sz="2400" b="1" i="0" u="none" strike="noStrike" kern="1200" cap="none" spc="0" normalizeH="0" baseline="0" noProof="0" dirty="0">
                <a:ln>
                  <a:noFill/>
                </a:ln>
                <a:solidFill>
                  <a:srgbClr val="000000"/>
                </a:solidFill>
                <a:effectLst/>
                <a:uLnTx/>
                <a:uFillTx/>
                <a:latin typeface="Arial" charset="0"/>
                <a:ea typeface="+mn-ea"/>
                <a:cs typeface="+mn-cs"/>
              </a:rPr>
              <a:t> Horizontal </a:t>
            </a:r>
            <a:r>
              <a:rPr kumimoji="0" lang="de-DE" altLang="de-DE" sz="2400" b="1" i="0" u="none" strike="noStrike" kern="1200" cap="none" spc="0" normalizeH="0" baseline="0" noProof="0" dirty="0" err="1">
                <a:ln>
                  <a:noFill/>
                </a:ln>
                <a:solidFill>
                  <a:srgbClr val="000000"/>
                </a:solidFill>
                <a:effectLst/>
                <a:uLnTx/>
                <a:uFillTx/>
                <a:latin typeface="Arial" charset="0"/>
                <a:ea typeface="+mn-ea"/>
                <a:cs typeface="+mn-cs"/>
              </a:rPr>
              <a:t>Feedwater</a:t>
            </a:r>
            <a:r>
              <a:rPr kumimoji="0" lang="de-DE" altLang="de-DE" sz="2400" b="1" i="0" u="none" strike="noStrike" kern="1200" cap="none" spc="0" normalizeH="0" baseline="0" noProof="0" dirty="0">
                <a:ln>
                  <a:noFill/>
                </a:ln>
                <a:solidFill>
                  <a:srgbClr val="000000"/>
                </a:solidFill>
                <a:effectLst/>
                <a:uLnTx/>
                <a:uFillTx/>
                <a:latin typeface="Arial" charset="0"/>
                <a:ea typeface="+mn-ea"/>
                <a:cs typeface="+mn-cs"/>
              </a:rPr>
              <a:t> Pump </a:t>
            </a:r>
            <a:r>
              <a:rPr kumimoji="0" lang="de-DE" altLang="de-DE" sz="2400" b="1" i="0" u="none" strike="noStrike" kern="1200" cap="none" spc="0" normalizeH="0" baseline="0" noProof="0" dirty="0" err="1">
                <a:ln>
                  <a:noFill/>
                </a:ln>
                <a:solidFill>
                  <a:srgbClr val="000000"/>
                </a:solidFill>
                <a:effectLst/>
                <a:uLnTx/>
                <a:uFillTx/>
                <a:latin typeface="Arial" charset="0"/>
                <a:ea typeface="+mn-ea"/>
                <a:cs typeface="+mn-cs"/>
              </a:rPr>
              <a:t>with</a:t>
            </a:r>
            <a:r>
              <a:rPr kumimoji="0" lang="de-DE" altLang="de-DE" sz="2400" b="1" i="0" u="none" strike="noStrike" kern="1200" cap="none" spc="0" normalizeH="0" baseline="0" noProof="0" dirty="0">
                <a:ln>
                  <a:noFill/>
                </a:ln>
                <a:solidFill>
                  <a:srgbClr val="000000"/>
                </a:solidFill>
                <a:effectLst/>
                <a:uLnTx/>
                <a:uFillTx/>
                <a:latin typeface="Arial" charset="0"/>
                <a:ea typeface="+mn-ea"/>
                <a:cs typeface="+mn-cs"/>
              </a:rPr>
              <a:t> Interactions</a:t>
            </a:r>
          </a:p>
          <a:p>
            <a:pPr marL="0" marR="0" lvl="0" indent="0" algn="l" defTabSz="914400" rtl="0" eaLnBrk="1" fontAlgn="base" latinLnBrk="0" hangingPunct="1">
              <a:lnSpc>
                <a:spcPct val="100000"/>
              </a:lnSpc>
              <a:spcBef>
                <a:spcPct val="0"/>
              </a:spcBef>
              <a:spcAft>
                <a:spcPct val="0"/>
              </a:spcAft>
              <a:buClrTx/>
              <a:buSzTx/>
              <a:tabLst/>
              <a:defRPr/>
            </a:pPr>
            <a:endParaRPr kumimoji="0" lang="de-DE" altLang="de-DE" sz="2400" b="1" i="0" u="none" strike="noStrike" kern="1200" cap="none" spc="0" normalizeH="0" baseline="0" noProof="0" dirty="0">
              <a:ln>
                <a:noFill/>
              </a:ln>
              <a:solidFill>
                <a:srgbClr val="000000"/>
              </a:solidFill>
              <a:effectLst/>
              <a:uLnTx/>
              <a:uFillTx/>
              <a:latin typeface="Arial" charset="0"/>
              <a:ea typeface="+mn-ea"/>
              <a:cs typeface="+mn-cs"/>
            </a:endParaRPr>
          </a:p>
          <a:p>
            <a:pPr marL="361950" marR="0" lvl="0" indent="-361950" algn="l" defTabSz="914400" rtl="0" eaLnBrk="1" fontAlgn="base" latinLnBrk="0" hangingPunct="1">
              <a:lnSpc>
                <a:spcPct val="100000"/>
              </a:lnSpc>
              <a:spcBef>
                <a:spcPct val="0"/>
              </a:spcBef>
              <a:spcAft>
                <a:spcPct val="0"/>
              </a:spcAft>
              <a:buClrTx/>
              <a:buSzTx/>
              <a:buFont typeface="Wingdings" pitchFamily="2" charset="2"/>
              <a:buChar char="Ø"/>
              <a:tabLst/>
              <a:defRPr/>
            </a:pPr>
            <a:r>
              <a:rPr kumimoji="0" lang="de-DE" altLang="de-DE" sz="2400" b="1" i="0" u="none" strike="noStrike" kern="1200" cap="none" spc="0" normalizeH="0" baseline="0" noProof="0" dirty="0">
                <a:ln>
                  <a:noFill/>
                </a:ln>
                <a:solidFill>
                  <a:srgbClr val="000000"/>
                </a:solidFill>
                <a:effectLst/>
                <a:uLnTx/>
                <a:uFillTx/>
                <a:latin typeface="Arial" charset="0"/>
                <a:ea typeface="+mn-ea"/>
                <a:cs typeface="+mn-cs"/>
              </a:rPr>
              <a:t>Monitoring </a:t>
            </a:r>
            <a:r>
              <a:rPr kumimoji="0" lang="de-DE" altLang="de-DE" sz="2400" b="1" i="0" u="none" strike="noStrike" kern="1200" cap="none" spc="0" normalizeH="0" baseline="0" noProof="0" dirty="0" err="1">
                <a:ln>
                  <a:noFill/>
                </a:ln>
                <a:solidFill>
                  <a:srgbClr val="000000"/>
                </a:solidFill>
                <a:effectLst/>
                <a:uLnTx/>
                <a:uFillTx/>
                <a:latin typeface="Arial" charset="0"/>
                <a:ea typeface="+mn-ea"/>
                <a:cs typeface="+mn-cs"/>
              </a:rPr>
              <a:t>of</a:t>
            </a:r>
            <a:r>
              <a:rPr kumimoji="0" lang="de-DE" altLang="de-DE" sz="2400" b="1" i="0" u="none" strike="noStrike" kern="1200" cap="none" spc="0" normalizeH="0" baseline="0" noProof="0" dirty="0">
                <a:ln>
                  <a:noFill/>
                </a:ln>
                <a:solidFill>
                  <a:srgbClr val="000000"/>
                </a:solidFill>
                <a:effectLst/>
                <a:uLnTx/>
                <a:uFillTx/>
                <a:latin typeface="Arial" charset="0"/>
                <a:ea typeface="+mn-ea"/>
                <a:cs typeface="+mn-cs"/>
              </a:rPr>
              <a:t> </a:t>
            </a:r>
            <a:r>
              <a:rPr lang="de-DE" altLang="de-DE" sz="2400" dirty="0" err="1">
                <a:solidFill>
                  <a:srgbClr val="000000"/>
                </a:solidFill>
                <a:latin typeface="Arial" charset="0"/>
              </a:rPr>
              <a:t>the</a:t>
            </a:r>
            <a:r>
              <a:rPr kumimoji="0" lang="de-DE" altLang="de-DE" sz="2400" b="1" i="0" u="none" strike="noStrike" kern="1200" cap="none" spc="0" normalizeH="0" baseline="0" noProof="0" dirty="0">
                <a:ln>
                  <a:noFill/>
                </a:ln>
                <a:solidFill>
                  <a:srgbClr val="000000"/>
                </a:solidFill>
                <a:effectLst/>
                <a:uLnTx/>
                <a:uFillTx/>
                <a:latin typeface="Arial" charset="0"/>
                <a:ea typeface="+mn-ea"/>
                <a:cs typeface="+mn-cs"/>
              </a:rPr>
              <a:t> Horizontal </a:t>
            </a:r>
            <a:r>
              <a:rPr kumimoji="0" lang="de-DE" altLang="de-DE" sz="2400" b="1" i="0" u="none" strike="noStrike" kern="1200" cap="none" spc="0" normalizeH="0" baseline="0" noProof="0" dirty="0" err="1">
                <a:ln>
                  <a:noFill/>
                </a:ln>
                <a:solidFill>
                  <a:srgbClr val="000000"/>
                </a:solidFill>
                <a:effectLst/>
                <a:uLnTx/>
                <a:uFillTx/>
                <a:latin typeface="Arial" charset="0"/>
                <a:ea typeface="+mn-ea"/>
                <a:cs typeface="+mn-cs"/>
              </a:rPr>
              <a:t>Feedwater</a:t>
            </a:r>
            <a:r>
              <a:rPr kumimoji="0" lang="de-DE" altLang="de-DE" sz="2400" b="1" i="0" u="none" strike="noStrike" kern="1200" cap="none" spc="0" normalizeH="0" baseline="0" noProof="0" dirty="0">
                <a:ln>
                  <a:noFill/>
                </a:ln>
                <a:solidFill>
                  <a:srgbClr val="000000"/>
                </a:solidFill>
                <a:effectLst/>
                <a:uLnTx/>
                <a:uFillTx/>
                <a:latin typeface="Arial" charset="0"/>
                <a:ea typeface="+mn-ea"/>
                <a:cs typeface="+mn-cs"/>
              </a:rPr>
              <a:t> Pump OL3 </a:t>
            </a:r>
            <a:r>
              <a:rPr kumimoji="0" lang="de-DE" altLang="de-DE" sz="2400" b="1" i="0" u="none" strike="noStrike" kern="1200" cap="none" spc="0" normalizeH="0" baseline="0" noProof="0" dirty="0" err="1">
                <a:ln>
                  <a:noFill/>
                </a:ln>
                <a:solidFill>
                  <a:srgbClr val="000000"/>
                </a:solidFill>
                <a:effectLst/>
                <a:uLnTx/>
                <a:uFillTx/>
                <a:latin typeface="Arial" charset="0"/>
                <a:ea typeface="+mn-ea"/>
                <a:cs typeface="+mn-cs"/>
              </a:rPr>
              <a:t>during</a:t>
            </a:r>
            <a:r>
              <a:rPr kumimoji="0" lang="de-DE" altLang="de-DE" sz="2400" b="1" i="0" u="none" strike="noStrike" kern="1200" cap="none" spc="0" normalizeH="0" baseline="0" noProof="0" dirty="0">
                <a:ln>
                  <a:noFill/>
                </a:ln>
                <a:solidFill>
                  <a:srgbClr val="000000"/>
                </a:solidFill>
                <a:effectLst/>
                <a:uLnTx/>
                <a:uFillTx/>
                <a:latin typeface="Arial" charset="0"/>
                <a:ea typeface="+mn-ea"/>
                <a:cs typeface="+mn-cs"/>
              </a:rPr>
              <a:t> Operation</a:t>
            </a:r>
          </a:p>
          <a:p>
            <a:pPr marL="0" marR="0" lvl="0" indent="0" algn="l" defTabSz="914400" rtl="0" eaLnBrk="1" fontAlgn="base" latinLnBrk="0" hangingPunct="1">
              <a:lnSpc>
                <a:spcPct val="100000"/>
              </a:lnSpc>
              <a:spcBef>
                <a:spcPct val="0"/>
              </a:spcBef>
              <a:spcAft>
                <a:spcPct val="0"/>
              </a:spcAft>
              <a:buClrTx/>
              <a:buSzTx/>
              <a:tabLst/>
              <a:defRPr/>
            </a:pPr>
            <a:endParaRPr kumimoji="0" lang="de-DE" altLang="de-DE" sz="2400" b="1" i="0" u="none" strike="noStrike" kern="1200" cap="none" spc="0" normalizeH="0" baseline="0" noProof="0" dirty="0">
              <a:ln>
                <a:noFill/>
              </a:ln>
              <a:solidFill>
                <a:srgbClr val="000000"/>
              </a:solidFill>
              <a:effectLst/>
              <a:uLnTx/>
              <a:uFillTx/>
              <a:latin typeface="Arial" charset="0"/>
              <a:ea typeface="+mn-ea"/>
              <a:cs typeface="+mn-cs"/>
            </a:endParaRPr>
          </a:p>
          <a:p>
            <a:pPr marL="361950" marR="0" lvl="0" indent="-361950" algn="l" defTabSz="914400" rtl="0" eaLnBrk="1" fontAlgn="base" latinLnBrk="0" hangingPunct="1">
              <a:lnSpc>
                <a:spcPct val="100000"/>
              </a:lnSpc>
              <a:spcBef>
                <a:spcPct val="0"/>
              </a:spcBef>
              <a:spcAft>
                <a:spcPct val="0"/>
              </a:spcAft>
              <a:buClrTx/>
              <a:buSzTx/>
              <a:buFont typeface="Wingdings" pitchFamily="2" charset="2"/>
              <a:buChar char="Ø"/>
              <a:tabLst/>
              <a:defRPr/>
            </a:pPr>
            <a:r>
              <a:rPr kumimoji="0" lang="de-DE" altLang="de-DE" sz="2400" b="1" i="0" u="none" strike="noStrike" kern="1200" cap="none" spc="0" normalizeH="0" baseline="0" noProof="0" dirty="0">
                <a:ln>
                  <a:noFill/>
                </a:ln>
                <a:effectLst/>
                <a:uLnTx/>
                <a:uFillTx/>
                <a:latin typeface="Arial" charset="0"/>
                <a:ea typeface="+mn-ea"/>
                <a:cs typeface="+mn-cs"/>
              </a:rPr>
              <a:t>Vibration</a:t>
            </a:r>
            <a:r>
              <a:rPr kumimoji="0" lang="de-DE" altLang="de-DE" sz="2400" b="1" i="0" u="none" strike="noStrike" kern="1200" cap="none" spc="0" normalizeH="0" noProof="0" dirty="0">
                <a:ln>
                  <a:noFill/>
                </a:ln>
                <a:effectLst/>
                <a:uLnTx/>
                <a:uFillTx/>
                <a:latin typeface="Arial" charset="0"/>
                <a:ea typeface="+mn-ea"/>
                <a:cs typeface="+mn-cs"/>
              </a:rPr>
              <a:t> </a:t>
            </a:r>
            <a:r>
              <a:rPr kumimoji="0" lang="de-DE" altLang="de-DE" sz="2400" b="1" i="0" u="none" strike="noStrike" kern="1200" cap="none" spc="0" normalizeH="0" noProof="0" dirty="0" err="1">
                <a:ln>
                  <a:noFill/>
                </a:ln>
                <a:effectLst/>
                <a:uLnTx/>
                <a:uFillTx/>
                <a:latin typeface="Arial" charset="0"/>
                <a:ea typeface="+mn-ea"/>
                <a:cs typeface="+mn-cs"/>
              </a:rPr>
              <a:t>Phenomena</a:t>
            </a:r>
            <a:r>
              <a:rPr kumimoji="0" lang="de-DE" altLang="de-DE" sz="2400" b="1" i="0" u="none" strike="noStrike" kern="1200" cap="none" spc="0" normalizeH="0" noProof="0" dirty="0">
                <a:ln>
                  <a:noFill/>
                </a:ln>
                <a:effectLst/>
                <a:uLnTx/>
                <a:uFillTx/>
                <a:latin typeface="Arial" charset="0"/>
                <a:ea typeface="+mn-ea"/>
                <a:cs typeface="+mn-cs"/>
              </a:rPr>
              <a:t> </a:t>
            </a:r>
            <a:r>
              <a:rPr kumimoji="0" lang="de-DE" altLang="de-DE" sz="2400" b="1" i="0" u="none" strike="noStrike" kern="1200" cap="none" spc="0" normalizeH="0" noProof="0" dirty="0" err="1">
                <a:ln>
                  <a:noFill/>
                </a:ln>
                <a:effectLst/>
                <a:uLnTx/>
                <a:uFillTx/>
                <a:latin typeface="Arial" charset="0"/>
                <a:ea typeface="+mn-ea"/>
                <a:cs typeface="+mn-cs"/>
              </a:rPr>
              <a:t>of</a:t>
            </a:r>
            <a:r>
              <a:rPr kumimoji="0" lang="de-DE" altLang="de-DE" sz="2400" b="1" i="0" u="none" strike="noStrike" kern="1200" cap="none" spc="0" normalizeH="0" noProof="0" dirty="0">
                <a:ln>
                  <a:noFill/>
                </a:ln>
                <a:effectLst/>
                <a:uLnTx/>
                <a:uFillTx/>
                <a:latin typeface="Arial" charset="0"/>
                <a:ea typeface="+mn-ea"/>
                <a:cs typeface="+mn-cs"/>
              </a:rPr>
              <a:t> </a:t>
            </a:r>
            <a:r>
              <a:rPr kumimoji="0" lang="de-DE" altLang="de-DE" sz="2400" b="1" i="0" u="none" strike="noStrike" kern="1200" cap="none" spc="0" normalizeH="0" noProof="0" dirty="0" err="1">
                <a:ln>
                  <a:noFill/>
                </a:ln>
                <a:effectLst/>
                <a:uLnTx/>
                <a:uFillTx/>
                <a:latin typeface="Arial" charset="0"/>
                <a:ea typeface="+mn-ea"/>
                <a:cs typeface="+mn-cs"/>
              </a:rPr>
              <a:t>the</a:t>
            </a:r>
            <a:r>
              <a:rPr kumimoji="0" lang="de-DE" altLang="de-DE" sz="2400" b="1" i="0" u="none" strike="noStrike" kern="1200" cap="none" spc="0" normalizeH="0" noProof="0" dirty="0">
                <a:ln>
                  <a:noFill/>
                </a:ln>
                <a:effectLst/>
                <a:uLnTx/>
                <a:uFillTx/>
                <a:latin typeface="Arial" charset="0"/>
                <a:ea typeface="+mn-ea"/>
                <a:cs typeface="+mn-cs"/>
              </a:rPr>
              <a:t> Horizontal </a:t>
            </a:r>
            <a:r>
              <a:rPr kumimoji="0" lang="de-DE" altLang="de-DE" sz="2400" b="1" i="0" u="none" strike="noStrike" kern="1200" cap="none" spc="0" normalizeH="0" noProof="0" dirty="0" err="1">
                <a:ln>
                  <a:noFill/>
                </a:ln>
                <a:effectLst/>
                <a:uLnTx/>
                <a:uFillTx/>
                <a:latin typeface="Arial" charset="0"/>
                <a:ea typeface="+mn-ea"/>
                <a:cs typeface="+mn-cs"/>
              </a:rPr>
              <a:t>Feedwater</a:t>
            </a:r>
            <a:r>
              <a:rPr kumimoji="0" lang="de-DE" altLang="de-DE" sz="2400" b="1" i="0" u="none" strike="noStrike" kern="1200" cap="none" spc="0" normalizeH="0" noProof="0" dirty="0">
                <a:ln>
                  <a:noFill/>
                </a:ln>
                <a:effectLst/>
                <a:uLnTx/>
                <a:uFillTx/>
                <a:latin typeface="Arial" charset="0"/>
                <a:ea typeface="+mn-ea"/>
                <a:cs typeface="+mn-cs"/>
              </a:rPr>
              <a:t> Pump OL3</a:t>
            </a:r>
          </a:p>
          <a:p>
            <a:pPr marL="361950" marR="0" lvl="0" indent="-361950" algn="l" defTabSz="914400" rtl="0" eaLnBrk="1" fontAlgn="base" latinLnBrk="0" hangingPunct="1">
              <a:lnSpc>
                <a:spcPct val="100000"/>
              </a:lnSpc>
              <a:spcBef>
                <a:spcPct val="0"/>
              </a:spcBef>
              <a:spcAft>
                <a:spcPct val="0"/>
              </a:spcAft>
              <a:buClrTx/>
              <a:buSzTx/>
              <a:buFont typeface="Wingdings" pitchFamily="2" charset="2"/>
              <a:buChar char="Ø"/>
              <a:tabLst/>
              <a:defRPr/>
            </a:pPr>
            <a:endParaRPr lang="de-DE" altLang="de-DE" sz="2400" dirty="0">
              <a:solidFill>
                <a:srgbClr val="000000"/>
              </a:solidFill>
              <a:latin typeface="Arial" charset="0"/>
            </a:endParaRPr>
          </a:p>
          <a:p>
            <a:pPr marL="361950" marR="0" lvl="0" indent="-361950" algn="l" defTabSz="914400" rtl="0" eaLnBrk="1" fontAlgn="base" latinLnBrk="0" hangingPunct="1">
              <a:lnSpc>
                <a:spcPct val="100000"/>
              </a:lnSpc>
              <a:spcBef>
                <a:spcPct val="0"/>
              </a:spcBef>
              <a:spcAft>
                <a:spcPct val="0"/>
              </a:spcAft>
              <a:buClrTx/>
              <a:buSzTx/>
              <a:buFont typeface="Wingdings" pitchFamily="2" charset="2"/>
              <a:buChar char="Ø"/>
              <a:tabLst/>
              <a:defRPr/>
            </a:pPr>
            <a:r>
              <a:rPr kumimoji="0" lang="de-DE" altLang="de-DE" sz="2400" b="1" i="0" u="none" strike="noStrike" kern="1200" cap="none" spc="0" normalizeH="0" noProof="0" dirty="0" err="1">
                <a:ln>
                  <a:noFill/>
                </a:ln>
                <a:solidFill>
                  <a:srgbClr val="0000FF"/>
                </a:solidFill>
                <a:effectLst/>
                <a:uLnTx/>
                <a:uFillTx/>
                <a:latin typeface="Arial" charset="0"/>
                <a:ea typeface="+mn-ea"/>
                <a:cs typeface="+mn-cs"/>
              </a:rPr>
              <a:t>Measured</a:t>
            </a:r>
            <a:r>
              <a:rPr kumimoji="0" lang="de-DE" altLang="de-DE" sz="2400" b="1" i="0" u="none" strike="noStrike" kern="1200" cap="none" spc="0" normalizeH="0" noProof="0" dirty="0">
                <a:ln>
                  <a:noFill/>
                </a:ln>
                <a:solidFill>
                  <a:srgbClr val="0000FF"/>
                </a:solidFill>
                <a:effectLst/>
                <a:uLnTx/>
                <a:uFillTx/>
                <a:latin typeface="Arial" charset="0"/>
                <a:ea typeface="+mn-ea"/>
                <a:cs typeface="+mn-cs"/>
              </a:rPr>
              <a:t> and </a:t>
            </a:r>
            <a:r>
              <a:rPr kumimoji="0" lang="de-DE" altLang="de-DE" sz="2400" b="1" i="0" u="none" strike="noStrike" kern="1200" cap="none" spc="0" normalizeH="0" noProof="0" dirty="0" err="1">
                <a:ln>
                  <a:noFill/>
                </a:ln>
                <a:solidFill>
                  <a:srgbClr val="0000FF"/>
                </a:solidFill>
                <a:effectLst/>
                <a:uLnTx/>
                <a:uFillTx/>
                <a:latin typeface="Arial" charset="0"/>
                <a:ea typeface="+mn-ea"/>
                <a:cs typeface="+mn-cs"/>
              </a:rPr>
              <a:t>Calculated</a:t>
            </a:r>
            <a:r>
              <a:rPr kumimoji="0" lang="de-DE" altLang="de-DE" sz="2400" b="1" i="0" u="none" strike="noStrike" kern="1200" cap="none" spc="0" normalizeH="0" noProof="0" dirty="0">
                <a:ln>
                  <a:noFill/>
                </a:ln>
                <a:solidFill>
                  <a:srgbClr val="0000FF"/>
                </a:solidFill>
                <a:effectLst/>
                <a:uLnTx/>
                <a:uFillTx/>
                <a:latin typeface="Arial" charset="0"/>
                <a:ea typeface="+mn-ea"/>
                <a:cs typeface="+mn-cs"/>
              </a:rPr>
              <a:t> </a:t>
            </a:r>
            <a:r>
              <a:rPr kumimoji="0" lang="de-DE" altLang="de-DE" sz="2400" b="1" i="0" u="none" strike="noStrike" kern="1200" cap="none" spc="0" normalizeH="0" noProof="0" dirty="0" err="1">
                <a:ln>
                  <a:noFill/>
                </a:ln>
                <a:solidFill>
                  <a:srgbClr val="0000FF"/>
                </a:solidFill>
                <a:effectLst/>
                <a:uLnTx/>
                <a:uFillTx/>
                <a:latin typeface="Arial" charset="0"/>
                <a:ea typeface="+mn-ea"/>
                <a:cs typeface="+mn-cs"/>
              </a:rPr>
              <a:t>Vibrations</a:t>
            </a:r>
            <a:r>
              <a:rPr kumimoji="0" lang="de-DE" altLang="de-DE" sz="2400" b="1" i="0" u="none" strike="noStrike" kern="1200" cap="none" spc="0" normalizeH="0" noProof="0" dirty="0">
                <a:ln>
                  <a:noFill/>
                </a:ln>
                <a:solidFill>
                  <a:srgbClr val="0000FF"/>
                </a:solidFill>
                <a:effectLst/>
                <a:uLnTx/>
                <a:uFillTx/>
                <a:latin typeface="Arial" charset="0"/>
                <a:ea typeface="+mn-ea"/>
                <a:cs typeface="+mn-cs"/>
              </a:rPr>
              <a:t> </a:t>
            </a:r>
            <a:r>
              <a:rPr kumimoji="0" lang="de-DE" altLang="de-DE" sz="2400" b="1" i="0" u="none" strike="noStrike" kern="1200" cap="none" spc="0" normalizeH="0" noProof="0" dirty="0" err="1">
                <a:ln>
                  <a:noFill/>
                </a:ln>
                <a:solidFill>
                  <a:srgbClr val="0000FF"/>
                </a:solidFill>
                <a:effectLst/>
                <a:uLnTx/>
                <a:uFillTx/>
                <a:latin typeface="Arial" charset="0"/>
                <a:ea typeface="+mn-ea"/>
                <a:cs typeface="+mn-cs"/>
              </a:rPr>
              <a:t>of</a:t>
            </a:r>
            <a:r>
              <a:rPr kumimoji="0" lang="de-DE" altLang="de-DE" sz="2400" b="1" i="0" u="none" strike="noStrike" kern="1200" cap="none" spc="0" normalizeH="0" noProof="0" dirty="0">
                <a:ln>
                  <a:noFill/>
                </a:ln>
                <a:solidFill>
                  <a:srgbClr val="0000FF"/>
                </a:solidFill>
                <a:effectLst/>
                <a:uLnTx/>
                <a:uFillTx/>
                <a:latin typeface="Arial" charset="0"/>
                <a:ea typeface="+mn-ea"/>
                <a:cs typeface="+mn-cs"/>
              </a:rPr>
              <a:t> </a:t>
            </a:r>
            <a:r>
              <a:rPr kumimoji="0" lang="de-DE" altLang="de-DE" sz="2400" b="1" i="0" u="none" strike="noStrike" kern="1200" cap="none" spc="0" normalizeH="0" noProof="0" dirty="0" err="1">
                <a:ln>
                  <a:noFill/>
                </a:ln>
                <a:solidFill>
                  <a:srgbClr val="0000FF"/>
                </a:solidFill>
                <a:effectLst/>
                <a:uLnTx/>
                <a:uFillTx/>
                <a:latin typeface="Arial" charset="0"/>
                <a:ea typeface="+mn-ea"/>
                <a:cs typeface="+mn-cs"/>
              </a:rPr>
              <a:t>the</a:t>
            </a:r>
            <a:r>
              <a:rPr kumimoji="0" lang="de-DE" altLang="de-DE" sz="2400" b="1" i="0" u="none" strike="noStrike" kern="1200" cap="none" spc="0" normalizeH="0" noProof="0" dirty="0">
                <a:ln>
                  <a:noFill/>
                </a:ln>
                <a:solidFill>
                  <a:srgbClr val="0000FF"/>
                </a:solidFill>
                <a:effectLst/>
                <a:uLnTx/>
                <a:uFillTx/>
                <a:latin typeface="Arial" charset="0"/>
                <a:ea typeface="+mn-ea"/>
                <a:cs typeface="+mn-cs"/>
              </a:rPr>
              <a:t> </a:t>
            </a:r>
            <a:r>
              <a:rPr kumimoji="0" lang="de-DE" altLang="de-DE" sz="2400" b="1" i="0" u="none" strike="noStrike" kern="1200" cap="none" spc="0" normalizeH="0" noProof="0" dirty="0" err="1">
                <a:ln>
                  <a:noFill/>
                </a:ln>
                <a:solidFill>
                  <a:srgbClr val="0000FF"/>
                </a:solidFill>
                <a:effectLst/>
                <a:uLnTx/>
                <a:uFillTx/>
                <a:latin typeface="Arial" charset="0"/>
                <a:ea typeface="+mn-ea"/>
                <a:cs typeface="+mn-cs"/>
              </a:rPr>
              <a:t>Feedwater</a:t>
            </a:r>
            <a:r>
              <a:rPr kumimoji="0" lang="de-DE" altLang="de-DE" sz="2400" b="1" i="0" u="none" strike="noStrike" kern="1200" cap="none" spc="0" normalizeH="0" noProof="0" dirty="0">
                <a:ln>
                  <a:noFill/>
                </a:ln>
                <a:solidFill>
                  <a:srgbClr val="0000FF"/>
                </a:solidFill>
                <a:effectLst/>
                <a:uLnTx/>
                <a:uFillTx/>
                <a:latin typeface="Arial" charset="0"/>
                <a:ea typeface="+mn-ea"/>
                <a:cs typeface="+mn-cs"/>
              </a:rPr>
              <a:t> Pump OL3</a:t>
            </a:r>
          </a:p>
          <a:p>
            <a:pPr marL="361950" marR="0" lvl="0" indent="-361950" algn="l" defTabSz="914400" rtl="0" eaLnBrk="1" fontAlgn="base" latinLnBrk="0" hangingPunct="1">
              <a:lnSpc>
                <a:spcPct val="100000"/>
              </a:lnSpc>
              <a:spcBef>
                <a:spcPct val="0"/>
              </a:spcBef>
              <a:spcAft>
                <a:spcPct val="0"/>
              </a:spcAft>
              <a:buClrTx/>
              <a:buSzTx/>
              <a:buFont typeface="Wingdings" pitchFamily="2" charset="2"/>
              <a:buChar char="Ø"/>
              <a:tabLst/>
              <a:defRPr/>
            </a:pPr>
            <a:endParaRPr lang="de-DE" altLang="de-DE" sz="2400" baseline="0" dirty="0">
              <a:solidFill>
                <a:srgbClr val="000000"/>
              </a:solidFill>
              <a:latin typeface="Arial" charset="0"/>
            </a:endParaRPr>
          </a:p>
          <a:p>
            <a:pPr marL="0" marR="0" lvl="0" indent="0" algn="l" defTabSz="914400" rtl="0" eaLnBrk="1" fontAlgn="base" latinLnBrk="0" hangingPunct="1">
              <a:lnSpc>
                <a:spcPct val="100000"/>
              </a:lnSpc>
              <a:spcBef>
                <a:spcPct val="0"/>
              </a:spcBef>
              <a:spcAft>
                <a:spcPct val="0"/>
              </a:spcAft>
              <a:buClrTx/>
              <a:buSzTx/>
              <a:tabLst/>
              <a:defRPr/>
            </a:pPr>
            <a:endParaRPr lang="de-DE" altLang="de-DE" sz="2400" baseline="0" dirty="0">
              <a:solidFill>
                <a:srgbClr val="000000"/>
              </a:solidFill>
              <a:latin typeface="Arial" charset="0"/>
            </a:endParaRPr>
          </a:p>
        </p:txBody>
      </p:sp>
      <p:sp>
        <p:nvSpPr>
          <p:cNvPr id="47108" name="Rechteck 1">
            <a:extLst>
              <a:ext uri="{FF2B5EF4-FFF2-40B4-BE49-F238E27FC236}">
                <a16:creationId xmlns:a16="http://schemas.microsoft.com/office/drawing/2014/main" id="{73D62BC3-6968-894E-0025-EA65A3EC0C0F}"/>
              </a:ext>
            </a:extLst>
          </p:cNvPr>
          <p:cNvSpPr>
            <a:spLocks noChangeArrowheads="1"/>
          </p:cNvSpPr>
          <p:nvPr/>
        </p:nvSpPr>
        <p:spPr bwMode="auto">
          <a:xfrm>
            <a:off x="688208" y="266785"/>
            <a:ext cx="10815584" cy="4893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b="1">
                <a:solidFill>
                  <a:schemeClr val="tx1"/>
                </a:solidFill>
                <a:latin typeface="Verdana" panose="020B0604030504040204" pitchFamily="34" charset="0"/>
              </a:defRPr>
            </a:lvl1pPr>
            <a:lvl2pPr marL="742950" indent="-285750">
              <a:defRPr b="1">
                <a:solidFill>
                  <a:schemeClr val="tx1"/>
                </a:solidFill>
                <a:latin typeface="Verdana" panose="020B0604030504040204" pitchFamily="34" charset="0"/>
              </a:defRPr>
            </a:lvl2pPr>
            <a:lvl3pPr marL="1143000" indent="-228600">
              <a:defRPr b="1">
                <a:solidFill>
                  <a:schemeClr val="tx1"/>
                </a:solidFill>
                <a:latin typeface="Verdana" panose="020B0604030504040204" pitchFamily="34" charset="0"/>
              </a:defRPr>
            </a:lvl3pPr>
            <a:lvl4pPr marL="1600200" indent="-228600">
              <a:defRPr b="1">
                <a:solidFill>
                  <a:schemeClr val="tx1"/>
                </a:solidFill>
                <a:latin typeface="Verdana" panose="020B0604030504040204" pitchFamily="34" charset="0"/>
              </a:defRPr>
            </a:lvl4pPr>
            <a:lvl5pPr marL="2057400" indent="-228600">
              <a:defRPr b="1">
                <a:solidFill>
                  <a:schemeClr val="tx1"/>
                </a:solidFill>
                <a:latin typeface="Verdana" panose="020B0604030504040204" pitchFamily="34" charset="0"/>
              </a:defRPr>
            </a:lvl5pPr>
            <a:lvl6pPr marL="2514600" indent="-228600" eaLnBrk="0" fontAlgn="base" hangingPunct="0">
              <a:spcBef>
                <a:spcPct val="0"/>
              </a:spcBef>
              <a:spcAft>
                <a:spcPct val="0"/>
              </a:spcAft>
              <a:defRPr b="1">
                <a:solidFill>
                  <a:schemeClr val="tx1"/>
                </a:solidFill>
                <a:latin typeface="Verdana" panose="020B0604030504040204" pitchFamily="34" charset="0"/>
              </a:defRPr>
            </a:lvl6pPr>
            <a:lvl7pPr marL="2971800" indent="-228600" eaLnBrk="0" fontAlgn="base" hangingPunct="0">
              <a:spcBef>
                <a:spcPct val="0"/>
              </a:spcBef>
              <a:spcAft>
                <a:spcPct val="0"/>
              </a:spcAft>
              <a:defRPr b="1">
                <a:solidFill>
                  <a:schemeClr val="tx1"/>
                </a:solidFill>
                <a:latin typeface="Verdana" panose="020B0604030504040204" pitchFamily="34" charset="0"/>
              </a:defRPr>
            </a:lvl7pPr>
            <a:lvl8pPr marL="3429000" indent="-228600" eaLnBrk="0" fontAlgn="base" hangingPunct="0">
              <a:spcBef>
                <a:spcPct val="0"/>
              </a:spcBef>
              <a:spcAft>
                <a:spcPct val="0"/>
              </a:spcAft>
              <a:defRPr b="1">
                <a:solidFill>
                  <a:schemeClr val="tx1"/>
                </a:solidFill>
                <a:latin typeface="Verdana" panose="020B0604030504040204" pitchFamily="34" charset="0"/>
              </a:defRPr>
            </a:lvl8pPr>
            <a:lvl9pPr marL="3886200" indent="-228600" eaLnBrk="0" fontAlgn="base" hangingPunct="0">
              <a:spcBef>
                <a:spcPct val="0"/>
              </a:spcBef>
              <a:spcAft>
                <a:spcPct val="0"/>
              </a:spcAft>
              <a:defRPr b="1">
                <a:solidFill>
                  <a:schemeClr val="tx1"/>
                </a:solidFill>
                <a:latin typeface="Verdana" panose="020B0604030504040204" pitchFamily="34" charset="0"/>
              </a:defRPr>
            </a:lvl9pPr>
          </a:lstStyle>
          <a:p>
            <a:pPr marL="0" marR="0" lvl="0" indent="0" algn="l" defTabSz="914400" rtl="0" eaLnBrk="0" fontAlgn="base" latinLnBrk="0" hangingPunct="0">
              <a:lnSpc>
                <a:spcPct val="107000"/>
              </a:lnSpc>
              <a:spcBef>
                <a:spcPct val="0"/>
              </a:spcBef>
              <a:spcAft>
                <a:spcPts val="800"/>
              </a:spcAft>
              <a:buClrTx/>
              <a:buSzTx/>
              <a:buFont typeface="Wingdings" panose="05000000000000000000" pitchFamily="2" charset="2"/>
              <a:buNone/>
              <a:tabLst/>
              <a:defRPr/>
            </a:pPr>
            <a:r>
              <a:rPr kumimoji="0" lang="de-DE" altLang="de-DE" sz="2600" b="1" i="0" u="none" strike="noStrike" kern="1200" cap="none" spc="0" normalizeH="0" baseline="0" noProof="0" dirty="0" err="1">
                <a:ln>
                  <a:noFill/>
                </a:ln>
                <a:solidFill>
                  <a:srgbClr val="000000"/>
                </a:solidFill>
                <a:effectLst/>
                <a:uLnTx/>
                <a:uFillTx/>
                <a:latin typeface="Arial"/>
                <a:ea typeface="+mn-ea"/>
                <a:cs typeface="+mn-cs"/>
              </a:rPr>
              <a:t>Lecture</a:t>
            </a:r>
            <a:r>
              <a:rPr kumimoji="0" lang="de-DE" altLang="de-DE" sz="2600" b="1" i="0" u="none" strike="noStrike" kern="1200" cap="none" spc="0" normalizeH="0" baseline="0" noProof="0" dirty="0">
                <a:ln>
                  <a:noFill/>
                </a:ln>
                <a:solidFill>
                  <a:srgbClr val="000000"/>
                </a:solidFill>
                <a:effectLst/>
                <a:uLnTx/>
                <a:uFillTx/>
                <a:latin typeface="Arial"/>
                <a:ea typeface="+mn-ea"/>
                <a:cs typeface="+mn-cs"/>
              </a:rPr>
              <a:t> IV  </a:t>
            </a:r>
            <a:r>
              <a:rPr kumimoji="0" lang="de-DE" altLang="de-DE" sz="2600" b="1" i="0" u="none" strike="noStrike" kern="1200" cap="none" spc="0" normalizeH="0" baseline="0" noProof="0" dirty="0" err="1">
                <a:ln>
                  <a:noFill/>
                </a:ln>
                <a:solidFill>
                  <a:srgbClr val="0000FF"/>
                </a:solidFill>
                <a:effectLst/>
                <a:uLnTx/>
                <a:uFillTx/>
                <a:latin typeface="Arial"/>
                <a:ea typeface="+mn-ea"/>
                <a:cs typeface="+mn-cs"/>
              </a:rPr>
              <a:t>Vibrations</a:t>
            </a:r>
            <a:r>
              <a:rPr kumimoji="0" lang="de-DE" altLang="de-DE" sz="2600" b="1" i="0" u="none" strike="noStrike" kern="1200" cap="none" spc="0" normalizeH="0" baseline="0" noProof="0" dirty="0">
                <a:ln>
                  <a:noFill/>
                </a:ln>
                <a:solidFill>
                  <a:srgbClr val="0000FF"/>
                </a:solidFill>
                <a:effectLst/>
                <a:uLnTx/>
                <a:uFillTx/>
                <a:latin typeface="Arial"/>
                <a:ea typeface="+mn-ea"/>
                <a:cs typeface="+mn-cs"/>
              </a:rPr>
              <a:t> </a:t>
            </a:r>
            <a:r>
              <a:rPr kumimoji="0" lang="de-DE" altLang="de-DE" sz="2600" b="1" i="0" u="none" strike="noStrike" kern="1200" cap="none" spc="0" normalizeH="0" baseline="0" noProof="0" dirty="0" err="1">
                <a:ln>
                  <a:noFill/>
                </a:ln>
                <a:solidFill>
                  <a:srgbClr val="0000FF"/>
                </a:solidFill>
                <a:effectLst/>
                <a:uLnTx/>
                <a:uFillTx/>
                <a:latin typeface="Arial"/>
                <a:ea typeface="+mn-ea"/>
                <a:cs typeface="+mn-cs"/>
              </a:rPr>
              <a:t>of</a:t>
            </a:r>
            <a:r>
              <a:rPr kumimoji="0" lang="de-DE" altLang="de-DE" sz="2600" b="1" i="0" u="none" strike="noStrike" kern="1200" cap="none" spc="0" normalizeH="0" baseline="0" noProof="0" dirty="0">
                <a:ln>
                  <a:noFill/>
                </a:ln>
                <a:solidFill>
                  <a:srgbClr val="0000FF"/>
                </a:solidFill>
                <a:effectLst/>
                <a:uLnTx/>
                <a:uFillTx/>
                <a:latin typeface="Arial"/>
                <a:ea typeface="+mn-ea"/>
                <a:cs typeface="+mn-cs"/>
              </a:rPr>
              <a:t> </a:t>
            </a:r>
            <a:r>
              <a:rPr kumimoji="0" lang="de-DE" altLang="de-DE" sz="2600" b="1" i="0" u="none" strike="noStrike" kern="1200" cap="none" spc="0" normalizeH="0" baseline="0" noProof="0" dirty="0" err="1">
                <a:ln>
                  <a:noFill/>
                </a:ln>
                <a:solidFill>
                  <a:srgbClr val="0000FF"/>
                </a:solidFill>
                <a:effectLst/>
                <a:uLnTx/>
                <a:uFillTx/>
                <a:latin typeface="Arial"/>
                <a:ea typeface="+mn-ea"/>
                <a:cs typeface="+mn-cs"/>
              </a:rPr>
              <a:t>Feedwater</a:t>
            </a:r>
            <a:r>
              <a:rPr kumimoji="0" lang="de-DE" altLang="de-DE" sz="2600" b="1" i="0" u="none" strike="noStrike" kern="1200" cap="none" spc="0" normalizeH="0" baseline="0" noProof="0" dirty="0">
                <a:ln>
                  <a:noFill/>
                </a:ln>
                <a:solidFill>
                  <a:srgbClr val="0000FF"/>
                </a:solidFill>
                <a:effectLst/>
                <a:uLnTx/>
                <a:uFillTx/>
                <a:latin typeface="Arial"/>
                <a:ea typeface="+mn-ea"/>
                <a:cs typeface="+mn-cs"/>
              </a:rPr>
              <a:t> Pumps in </a:t>
            </a:r>
            <a:r>
              <a:rPr kumimoji="0" lang="de-DE" altLang="de-DE" sz="2600" b="1" i="0" u="none" strike="noStrike" kern="1200" cap="none" spc="0" normalizeH="0" baseline="0" noProof="0" dirty="0" err="1">
                <a:ln>
                  <a:noFill/>
                </a:ln>
                <a:solidFill>
                  <a:srgbClr val="0000FF"/>
                </a:solidFill>
                <a:effectLst/>
                <a:uLnTx/>
                <a:uFillTx/>
                <a:latin typeface="Arial"/>
                <a:ea typeface="+mn-ea"/>
                <a:cs typeface="+mn-cs"/>
              </a:rPr>
              <a:t>Nuclear</a:t>
            </a:r>
            <a:r>
              <a:rPr kumimoji="0" lang="de-DE" altLang="de-DE" sz="2600" b="1" i="0" u="none" strike="noStrike" kern="1200" cap="none" spc="0" normalizeH="0" baseline="0" noProof="0" dirty="0">
                <a:ln>
                  <a:noFill/>
                </a:ln>
                <a:solidFill>
                  <a:srgbClr val="0000FF"/>
                </a:solidFill>
                <a:effectLst/>
                <a:uLnTx/>
                <a:uFillTx/>
                <a:latin typeface="Arial"/>
                <a:ea typeface="+mn-ea"/>
                <a:cs typeface="+mn-cs"/>
              </a:rPr>
              <a:t> Power Plants</a:t>
            </a:r>
          </a:p>
        </p:txBody>
      </p:sp>
    </p:spTree>
    <p:extLst>
      <p:ext uri="{BB962C8B-B14F-4D97-AF65-F5344CB8AC3E}">
        <p14:creationId xmlns:p14="http://schemas.microsoft.com/office/powerpoint/2010/main" val="2143860759"/>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2" presetClass="entr" presetSubtype="8"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left)">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utoUpdateAnimBg="0"/>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Grafik 1">
            <a:extLst>
              <a:ext uri="{FF2B5EF4-FFF2-40B4-BE49-F238E27FC236}">
                <a16:creationId xmlns:a16="http://schemas.microsoft.com/office/drawing/2014/main" id="{C315114D-3C57-84D1-4275-B32ED08F16D4}"/>
              </a:ext>
            </a:extLst>
          </p:cNvPr>
          <p:cNvPicPr>
            <a:picLocks noChangeAspect="1"/>
          </p:cNvPicPr>
          <p:nvPr/>
        </p:nvPicPr>
        <p:blipFill>
          <a:blip r:embed="rId2"/>
          <a:stretch>
            <a:fillRect/>
          </a:stretch>
        </p:blipFill>
        <p:spPr>
          <a:xfrm>
            <a:off x="6095999" y="1718733"/>
            <a:ext cx="5037668" cy="3386667"/>
          </a:xfrm>
          <a:prstGeom prst="rect">
            <a:avLst/>
          </a:prstGeom>
        </p:spPr>
      </p:pic>
      <p:sp>
        <p:nvSpPr>
          <p:cNvPr id="4" name="Textfeld 3">
            <a:extLst>
              <a:ext uri="{FF2B5EF4-FFF2-40B4-BE49-F238E27FC236}">
                <a16:creationId xmlns:a16="http://schemas.microsoft.com/office/drawing/2014/main" id="{CCEAAE09-A9C1-8822-49A6-7E03F420F4C7}"/>
              </a:ext>
            </a:extLst>
          </p:cNvPr>
          <p:cNvSpPr txBox="1"/>
          <p:nvPr/>
        </p:nvSpPr>
        <p:spPr>
          <a:xfrm>
            <a:off x="431800" y="116896"/>
            <a:ext cx="11269133" cy="830997"/>
          </a:xfrm>
          <a:prstGeom prst="rect">
            <a:avLst/>
          </a:prstGeom>
          <a:noFill/>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de-DE" sz="2400" b="1" i="0" u="none" strike="noStrike" kern="1200" cap="none" spc="0" normalizeH="0" baseline="0" noProof="0" dirty="0" err="1">
                <a:ln>
                  <a:noFill/>
                </a:ln>
                <a:solidFill>
                  <a:srgbClr val="0000FF"/>
                </a:solidFill>
                <a:effectLst/>
                <a:uLnTx/>
                <a:uFillTx/>
                <a:latin typeface="Arial"/>
                <a:ea typeface="+mn-ea"/>
                <a:cs typeface="+mn-cs"/>
              </a:rPr>
              <a:t>Measured</a:t>
            </a:r>
            <a:r>
              <a:rPr kumimoji="0" lang="de-DE" sz="2400" b="1" i="0" u="none" strike="noStrike" kern="1200" cap="none" spc="0" normalizeH="0" baseline="0" noProof="0" dirty="0">
                <a:ln>
                  <a:noFill/>
                </a:ln>
                <a:solidFill>
                  <a:srgbClr val="0000FF"/>
                </a:solidFill>
                <a:effectLst/>
                <a:uLnTx/>
                <a:uFillTx/>
                <a:latin typeface="Arial"/>
                <a:ea typeface="+mn-ea"/>
                <a:cs typeface="+mn-cs"/>
              </a:rPr>
              <a:t> and </a:t>
            </a:r>
            <a:r>
              <a:rPr kumimoji="0" lang="de-DE" sz="2400" b="1" i="0" u="none" strike="noStrike" kern="1200" cap="none" spc="0" normalizeH="0" baseline="0" noProof="0" dirty="0" err="1">
                <a:ln>
                  <a:noFill/>
                </a:ln>
                <a:solidFill>
                  <a:srgbClr val="0000FF"/>
                </a:solidFill>
                <a:effectLst/>
                <a:uLnTx/>
                <a:uFillTx/>
                <a:latin typeface="Arial"/>
                <a:ea typeface="+mn-ea"/>
                <a:cs typeface="+mn-cs"/>
              </a:rPr>
              <a:t>Calculated</a:t>
            </a:r>
            <a:r>
              <a:rPr kumimoji="0" lang="de-DE" sz="2400" b="1" i="0" u="none" strike="noStrike" kern="1200" cap="none" spc="0" normalizeH="0" baseline="0" noProof="0" dirty="0">
                <a:ln>
                  <a:noFill/>
                </a:ln>
                <a:solidFill>
                  <a:srgbClr val="0000FF"/>
                </a:solidFill>
                <a:effectLst/>
                <a:uLnTx/>
                <a:uFillTx/>
                <a:latin typeface="Arial"/>
                <a:ea typeface="+mn-ea"/>
                <a:cs typeface="+mn-cs"/>
              </a:rPr>
              <a:t> </a:t>
            </a:r>
            <a:r>
              <a:rPr kumimoji="0" lang="de-DE" sz="2400" b="1" i="0" u="none" strike="noStrike" kern="1200" cap="none" spc="0" normalizeH="0" baseline="0" noProof="0" dirty="0" err="1">
                <a:ln>
                  <a:noFill/>
                </a:ln>
                <a:solidFill>
                  <a:srgbClr val="0000FF"/>
                </a:solidFill>
                <a:effectLst/>
                <a:uLnTx/>
                <a:uFillTx/>
                <a:latin typeface="Arial"/>
                <a:ea typeface="+mn-ea"/>
                <a:cs typeface="+mn-cs"/>
              </a:rPr>
              <a:t>Vibrations</a:t>
            </a:r>
            <a:r>
              <a:rPr kumimoji="0" lang="de-DE" sz="2400" b="1" i="0" u="none" strike="noStrike" kern="1200" cap="none" spc="0" normalizeH="0" baseline="0" noProof="0" dirty="0">
                <a:ln>
                  <a:noFill/>
                </a:ln>
                <a:solidFill>
                  <a:srgbClr val="0000FF"/>
                </a:solidFill>
                <a:effectLst/>
                <a:uLnTx/>
                <a:uFillTx/>
                <a:latin typeface="Arial"/>
                <a:ea typeface="+mn-ea"/>
                <a:cs typeface="+mn-cs"/>
              </a:rPr>
              <a:t> </a:t>
            </a:r>
            <a:r>
              <a:rPr kumimoji="0" lang="de-DE" sz="2400" b="1" i="0" u="none" strike="noStrike" kern="1200" cap="none" spc="0" normalizeH="0" baseline="0" noProof="0" dirty="0" err="1">
                <a:ln>
                  <a:noFill/>
                </a:ln>
                <a:solidFill>
                  <a:srgbClr val="0000FF"/>
                </a:solidFill>
                <a:effectLst/>
                <a:uLnTx/>
                <a:uFillTx/>
                <a:latin typeface="Arial"/>
                <a:ea typeface="+mn-ea"/>
                <a:cs typeface="+mn-cs"/>
              </a:rPr>
              <a:t>of</a:t>
            </a:r>
            <a:r>
              <a:rPr kumimoji="0" lang="de-DE" sz="2400" b="1" i="0" u="none" strike="noStrike" kern="1200" cap="none" spc="0" normalizeH="0" baseline="0" noProof="0" dirty="0">
                <a:ln>
                  <a:noFill/>
                </a:ln>
                <a:solidFill>
                  <a:srgbClr val="0000FF"/>
                </a:solidFill>
                <a:effectLst/>
                <a:uLnTx/>
                <a:uFillTx/>
                <a:latin typeface="Arial"/>
                <a:ea typeface="+mn-ea"/>
                <a:cs typeface="+mn-cs"/>
              </a:rPr>
              <a:t> </a:t>
            </a:r>
            <a:r>
              <a:rPr kumimoji="0" lang="de-DE" sz="2400" b="1" i="0" u="none" strike="noStrike" kern="1200" cap="none" spc="0" normalizeH="0" baseline="0" noProof="0" dirty="0" err="1">
                <a:ln>
                  <a:noFill/>
                </a:ln>
                <a:solidFill>
                  <a:srgbClr val="0000FF"/>
                </a:solidFill>
                <a:effectLst/>
                <a:uLnTx/>
                <a:uFillTx/>
                <a:latin typeface="Arial"/>
                <a:ea typeface="+mn-ea"/>
                <a:cs typeface="+mn-cs"/>
              </a:rPr>
              <a:t>the</a:t>
            </a:r>
            <a:r>
              <a:rPr kumimoji="0" lang="de-DE" sz="2400" b="1" i="0" u="none" strike="noStrike" kern="1200" cap="none" spc="0" normalizeH="0" baseline="0" noProof="0" dirty="0">
                <a:ln>
                  <a:noFill/>
                </a:ln>
                <a:solidFill>
                  <a:srgbClr val="0000FF"/>
                </a:solidFill>
                <a:effectLst/>
                <a:uLnTx/>
                <a:uFillTx/>
                <a:latin typeface="Arial"/>
                <a:ea typeface="+mn-ea"/>
                <a:cs typeface="+mn-cs"/>
              </a:rPr>
              <a:t>  Horizontal </a:t>
            </a:r>
            <a:r>
              <a:rPr kumimoji="0" lang="de-DE" sz="2400" b="1" i="0" u="none" strike="noStrike" kern="1200" cap="none" spc="0" normalizeH="0" baseline="0" noProof="0" dirty="0" err="1">
                <a:ln>
                  <a:noFill/>
                </a:ln>
                <a:solidFill>
                  <a:srgbClr val="0000FF"/>
                </a:solidFill>
                <a:effectLst/>
                <a:uLnTx/>
                <a:uFillTx/>
                <a:latin typeface="Arial"/>
                <a:ea typeface="+mn-ea"/>
                <a:cs typeface="+mn-cs"/>
              </a:rPr>
              <a:t>Feedwater</a:t>
            </a:r>
            <a:r>
              <a:rPr kumimoji="0" lang="de-DE" sz="2400" b="1" i="0" u="none" strike="noStrike" kern="1200" cap="none" spc="0" normalizeH="0" baseline="0" noProof="0" dirty="0">
                <a:ln>
                  <a:noFill/>
                </a:ln>
                <a:solidFill>
                  <a:srgbClr val="0000FF"/>
                </a:solidFill>
                <a:effectLst/>
                <a:uLnTx/>
                <a:uFillTx/>
                <a:latin typeface="Arial"/>
                <a:ea typeface="+mn-ea"/>
                <a:cs typeface="+mn-cs"/>
              </a:rPr>
              <a:t> Pump OL3 </a:t>
            </a:r>
          </a:p>
          <a:p>
            <a:pPr marL="0" marR="0" lvl="0" indent="0" algn="l" defTabSz="914400" rtl="0" eaLnBrk="0" fontAlgn="base" latinLnBrk="0" hangingPunct="0">
              <a:lnSpc>
                <a:spcPct val="100000"/>
              </a:lnSpc>
              <a:spcBef>
                <a:spcPct val="0"/>
              </a:spcBef>
              <a:spcAft>
                <a:spcPct val="0"/>
              </a:spcAft>
              <a:buClrTx/>
              <a:buSzTx/>
              <a:buFontTx/>
              <a:buNone/>
              <a:tabLst/>
              <a:defRPr/>
            </a:pPr>
            <a:r>
              <a:rPr lang="de-DE" sz="2400" b="0" dirty="0">
                <a:latin typeface="Arial"/>
              </a:rPr>
              <a:t>Determination </a:t>
            </a:r>
            <a:r>
              <a:rPr lang="de-DE" sz="2400" b="0" dirty="0" err="1">
                <a:latin typeface="Arial"/>
              </a:rPr>
              <a:t>of</a:t>
            </a:r>
            <a:r>
              <a:rPr lang="de-DE" sz="2400" b="0" dirty="0">
                <a:latin typeface="Arial"/>
              </a:rPr>
              <a:t> </a:t>
            </a:r>
            <a:r>
              <a:rPr lang="de-DE" sz="2400" b="0" dirty="0" err="1">
                <a:latin typeface="Arial"/>
              </a:rPr>
              <a:t>the</a:t>
            </a:r>
            <a:r>
              <a:rPr lang="de-DE" sz="2400" b="0" dirty="0">
                <a:latin typeface="Arial"/>
              </a:rPr>
              <a:t> Lateral Natural </a:t>
            </a:r>
            <a:r>
              <a:rPr lang="de-DE" sz="2400" b="0" dirty="0" err="1">
                <a:latin typeface="Arial"/>
              </a:rPr>
              <a:t>Frequencies</a:t>
            </a:r>
            <a:r>
              <a:rPr lang="de-DE" sz="2400" b="0" dirty="0">
                <a:latin typeface="Arial"/>
              </a:rPr>
              <a:t> </a:t>
            </a:r>
            <a:r>
              <a:rPr lang="de-DE" sz="2400" b="0" dirty="0" err="1">
                <a:latin typeface="Arial"/>
              </a:rPr>
              <a:t>of</a:t>
            </a:r>
            <a:r>
              <a:rPr lang="de-DE" sz="2400" b="0" dirty="0">
                <a:latin typeface="Arial"/>
              </a:rPr>
              <a:t> </a:t>
            </a:r>
            <a:r>
              <a:rPr lang="de-DE" sz="2400" b="0" dirty="0" err="1">
                <a:latin typeface="Arial"/>
              </a:rPr>
              <a:t>the</a:t>
            </a:r>
            <a:r>
              <a:rPr lang="de-DE" sz="2400" b="0" dirty="0">
                <a:latin typeface="Arial"/>
              </a:rPr>
              <a:t> Pump </a:t>
            </a:r>
            <a:r>
              <a:rPr lang="de-DE" sz="2400" b="0" dirty="0" err="1">
                <a:latin typeface="Arial"/>
              </a:rPr>
              <a:t>Shaft</a:t>
            </a:r>
            <a:r>
              <a:rPr lang="de-DE" sz="2400" b="0" dirty="0">
                <a:latin typeface="Arial"/>
              </a:rPr>
              <a:t> </a:t>
            </a:r>
            <a:endParaRPr kumimoji="0" lang="de-DE" sz="2400" b="0" i="0" u="none" strike="noStrike" kern="1200" cap="none" spc="0" normalizeH="0" baseline="0" noProof="0" dirty="0">
              <a:ln>
                <a:noFill/>
              </a:ln>
              <a:effectLst/>
              <a:uLnTx/>
              <a:uFillTx/>
              <a:latin typeface="Arial"/>
              <a:ea typeface="+mn-ea"/>
              <a:cs typeface="+mn-cs"/>
            </a:endParaRPr>
          </a:p>
        </p:txBody>
      </p:sp>
      <p:sp>
        <p:nvSpPr>
          <p:cNvPr id="5" name="Textplatzhalter 6">
            <a:extLst>
              <a:ext uri="{FF2B5EF4-FFF2-40B4-BE49-F238E27FC236}">
                <a16:creationId xmlns:a16="http://schemas.microsoft.com/office/drawing/2014/main" id="{981569AA-4DAF-B4DD-4F0D-D06653C8CAA5}"/>
              </a:ext>
            </a:extLst>
          </p:cNvPr>
          <p:cNvSpPr txBox="1">
            <a:spLocks/>
          </p:cNvSpPr>
          <p:nvPr/>
        </p:nvSpPr>
        <p:spPr>
          <a:xfrm>
            <a:off x="0" y="1646119"/>
            <a:ext cx="5924247" cy="3857214"/>
          </a:xfrm>
          <a:prstGeom prst="rect">
            <a:avLst/>
          </a:prstGeom>
        </p:spPr>
        <p:txBody>
          <a:bodyPr/>
          <a:lstStyle>
            <a:lvl1pPr marL="179388" indent="-179388" algn="l" rtl="0" eaLnBrk="0" fontAlgn="base" hangingPunct="0">
              <a:spcBef>
                <a:spcPct val="20000"/>
              </a:spcBef>
              <a:spcAft>
                <a:spcPct val="0"/>
              </a:spcAft>
              <a:buFont typeface="Wingdings" panose="05000000000000000000" pitchFamily="2" charset="2"/>
              <a:buChar char="§"/>
              <a:defRPr sz="2000">
                <a:solidFill>
                  <a:schemeClr val="tx1"/>
                </a:solidFill>
                <a:latin typeface="+mn-lt"/>
                <a:ea typeface="+mn-ea"/>
                <a:cs typeface="+mn-cs"/>
              </a:defRPr>
            </a:lvl1pPr>
            <a:lvl2pPr marL="349250" indent="-168275" algn="l" rtl="0" eaLnBrk="0" fontAlgn="base" hangingPunct="0">
              <a:spcBef>
                <a:spcPct val="20000"/>
              </a:spcBef>
              <a:spcAft>
                <a:spcPct val="0"/>
              </a:spcAft>
              <a:buFont typeface="Wingdings" panose="05000000000000000000" pitchFamily="2" charset="2"/>
              <a:buChar char="§"/>
              <a:defRPr>
                <a:solidFill>
                  <a:schemeClr val="tx1"/>
                </a:solidFill>
                <a:latin typeface="+mn-lt"/>
              </a:defRPr>
            </a:lvl2pPr>
            <a:lvl3pPr marL="538163" indent="-187325" algn="l" rtl="0" eaLnBrk="0" fontAlgn="base" hangingPunct="0">
              <a:spcBef>
                <a:spcPct val="20000"/>
              </a:spcBef>
              <a:spcAft>
                <a:spcPct val="0"/>
              </a:spcAft>
              <a:buFont typeface="Wingdings" panose="05000000000000000000" pitchFamily="2" charset="2"/>
              <a:buChar char="§"/>
              <a:defRPr>
                <a:solidFill>
                  <a:schemeClr val="tx1"/>
                </a:solidFill>
                <a:latin typeface="+mn-lt"/>
              </a:defRPr>
            </a:lvl3pPr>
            <a:lvl4pPr marL="717550" indent="-173038" algn="l" rtl="0" eaLnBrk="0" fontAlgn="base" hangingPunct="0">
              <a:spcBef>
                <a:spcPct val="20000"/>
              </a:spcBef>
              <a:spcAft>
                <a:spcPct val="0"/>
              </a:spcAft>
              <a:buFont typeface="Wingdings" panose="05000000000000000000" pitchFamily="2" charset="2"/>
              <a:buChar char="§"/>
              <a:defRPr sz="1600">
                <a:solidFill>
                  <a:schemeClr val="tx1"/>
                </a:solidFill>
                <a:latin typeface="+mn-lt"/>
              </a:defRPr>
            </a:lvl4pPr>
            <a:lvl5pPr marL="908050" indent="-188913" algn="l" rtl="0" eaLnBrk="0" fontAlgn="base" hangingPunct="0">
              <a:spcBef>
                <a:spcPct val="20000"/>
              </a:spcBef>
              <a:spcAft>
                <a:spcPct val="0"/>
              </a:spcAft>
              <a:buFont typeface="Wingdings" panose="05000000000000000000" pitchFamily="2" charset="2"/>
              <a:buChar char="§"/>
              <a:defRPr sz="1600">
                <a:solidFill>
                  <a:schemeClr val="tx1"/>
                </a:solidFill>
                <a:latin typeface="+mn-lt"/>
              </a:defRPr>
            </a:lvl5pPr>
            <a:lvl6pPr marL="1365250" indent="-188913" algn="l" rtl="0" eaLnBrk="1" fontAlgn="base" hangingPunct="1">
              <a:spcBef>
                <a:spcPct val="20000"/>
              </a:spcBef>
              <a:spcAft>
                <a:spcPct val="0"/>
              </a:spcAft>
              <a:buFont typeface="Wingdings" pitchFamily="2" charset="2"/>
              <a:buChar char="§"/>
              <a:defRPr sz="1600">
                <a:solidFill>
                  <a:schemeClr val="tx1"/>
                </a:solidFill>
                <a:latin typeface="+mn-lt"/>
              </a:defRPr>
            </a:lvl6pPr>
            <a:lvl7pPr marL="1822450" indent="-188913" algn="l" rtl="0" eaLnBrk="1" fontAlgn="base" hangingPunct="1">
              <a:spcBef>
                <a:spcPct val="20000"/>
              </a:spcBef>
              <a:spcAft>
                <a:spcPct val="0"/>
              </a:spcAft>
              <a:buFont typeface="Wingdings" pitchFamily="2" charset="2"/>
              <a:buChar char="§"/>
              <a:defRPr sz="1600">
                <a:solidFill>
                  <a:schemeClr val="tx1"/>
                </a:solidFill>
                <a:latin typeface="+mn-lt"/>
              </a:defRPr>
            </a:lvl7pPr>
            <a:lvl8pPr marL="2279650" indent="-188913" algn="l" rtl="0" eaLnBrk="1" fontAlgn="base" hangingPunct="1">
              <a:spcBef>
                <a:spcPct val="20000"/>
              </a:spcBef>
              <a:spcAft>
                <a:spcPct val="0"/>
              </a:spcAft>
              <a:buFont typeface="Wingdings" pitchFamily="2" charset="2"/>
              <a:buChar char="§"/>
              <a:defRPr sz="1600">
                <a:solidFill>
                  <a:schemeClr val="tx1"/>
                </a:solidFill>
                <a:latin typeface="+mn-lt"/>
              </a:defRPr>
            </a:lvl8pPr>
            <a:lvl9pPr marL="2736850" indent="-188913" algn="l" rtl="0" eaLnBrk="1" fontAlgn="base" hangingPunct="1">
              <a:spcBef>
                <a:spcPct val="20000"/>
              </a:spcBef>
              <a:spcAft>
                <a:spcPct val="0"/>
              </a:spcAft>
              <a:buFont typeface="Wingdings" pitchFamily="2" charset="2"/>
              <a:buChar char="§"/>
              <a:defRPr sz="1600">
                <a:solidFill>
                  <a:schemeClr val="tx1"/>
                </a:solidFill>
                <a:latin typeface="+mn-lt"/>
              </a:defRPr>
            </a:lvl9pPr>
          </a:lstStyle>
          <a:p>
            <a:pPr lvl="3"/>
            <a:r>
              <a:rPr lang="en-US" sz="2200" kern="0" dirty="0"/>
              <a:t>Test Set Up for Exp. Modal Analysis</a:t>
            </a:r>
          </a:p>
          <a:p>
            <a:pPr lvl="3"/>
            <a:endParaRPr lang="en-US" sz="2200" b="0" kern="0" dirty="0"/>
          </a:p>
          <a:p>
            <a:pPr lvl="4"/>
            <a:r>
              <a:rPr lang="en-US" sz="2200" b="1" kern="0" dirty="0">
                <a:solidFill>
                  <a:srgbClr val="0000FF"/>
                </a:solidFill>
              </a:rPr>
              <a:t>Pump shaft </a:t>
            </a:r>
            <a:r>
              <a:rPr lang="en-US" sz="2200" b="0" kern="0" dirty="0"/>
              <a:t>with</a:t>
            </a:r>
            <a:r>
              <a:rPr lang="en-US" sz="2200" b="1" kern="0" dirty="0">
                <a:solidFill>
                  <a:srgbClr val="0000FF"/>
                </a:solidFill>
              </a:rPr>
              <a:t> Masses </a:t>
            </a:r>
            <a:r>
              <a:rPr lang="en-US" sz="2200" b="0" kern="0" dirty="0"/>
              <a:t>and</a:t>
            </a:r>
            <a:r>
              <a:rPr lang="en-US" sz="2200" b="1" kern="0" dirty="0">
                <a:solidFill>
                  <a:srgbClr val="0000FF"/>
                </a:solidFill>
              </a:rPr>
              <a:t> Moments of Inertia </a:t>
            </a:r>
            <a:r>
              <a:rPr lang="en-US" sz="2200" b="0" kern="0" dirty="0"/>
              <a:t>of</a:t>
            </a:r>
            <a:r>
              <a:rPr lang="en-US" sz="2200" b="1" kern="0" dirty="0">
                <a:solidFill>
                  <a:srgbClr val="0000FF"/>
                </a:solidFill>
              </a:rPr>
              <a:t> impeller, coupling </a:t>
            </a:r>
            <a:r>
              <a:rPr lang="en-US" sz="2200" b="0" kern="0" dirty="0"/>
              <a:t>and </a:t>
            </a:r>
            <a:r>
              <a:rPr lang="en-US" sz="2200" b="1" kern="0" dirty="0">
                <a:solidFill>
                  <a:srgbClr val="0000FF"/>
                </a:solidFill>
              </a:rPr>
              <a:t>axial bearing </a:t>
            </a:r>
            <a:r>
              <a:rPr lang="en-US" sz="2200" b="0" kern="0" dirty="0"/>
              <a:t>in</a:t>
            </a:r>
            <a:r>
              <a:rPr lang="en-US" sz="2200" b="1" kern="0" dirty="0">
                <a:solidFill>
                  <a:srgbClr val="0000FF"/>
                </a:solidFill>
              </a:rPr>
              <a:t> free </a:t>
            </a:r>
            <a:r>
              <a:rPr lang="en-US" sz="2200" b="1" kern="0" dirty="0" err="1">
                <a:solidFill>
                  <a:srgbClr val="0000FF"/>
                </a:solidFill>
              </a:rPr>
              <a:t>free</a:t>
            </a:r>
            <a:r>
              <a:rPr lang="en-US" sz="2200" b="1" kern="0" dirty="0">
                <a:solidFill>
                  <a:srgbClr val="0000FF"/>
                </a:solidFill>
              </a:rPr>
              <a:t> </a:t>
            </a:r>
            <a:r>
              <a:rPr lang="en-US" sz="2200" b="0" kern="0" dirty="0"/>
              <a:t>condition</a:t>
            </a:r>
          </a:p>
          <a:p>
            <a:pPr lvl="4"/>
            <a:r>
              <a:rPr lang="en-US" sz="2200" b="1" kern="0" dirty="0">
                <a:solidFill>
                  <a:srgbClr val="0000FF"/>
                </a:solidFill>
              </a:rPr>
              <a:t>No bearings, no seals</a:t>
            </a:r>
          </a:p>
          <a:p>
            <a:pPr lvl="4"/>
            <a:r>
              <a:rPr lang="en-US" sz="2200" b="1" kern="0" dirty="0">
                <a:solidFill>
                  <a:srgbClr val="0000FF"/>
                </a:solidFill>
              </a:rPr>
              <a:t>No rotation of shaft</a:t>
            </a:r>
          </a:p>
          <a:p>
            <a:pPr lvl="1"/>
            <a:endParaRPr lang="de-DE" b="0" kern="0" dirty="0"/>
          </a:p>
          <a:p>
            <a:endParaRPr lang="de-DE" b="0" kern="0" dirty="0"/>
          </a:p>
        </p:txBody>
      </p:sp>
    </p:spTree>
    <p:extLst>
      <p:ext uri="{BB962C8B-B14F-4D97-AF65-F5344CB8AC3E}">
        <p14:creationId xmlns:p14="http://schemas.microsoft.com/office/powerpoint/2010/main" val="328341438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Grafik 1">
            <a:extLst>
              <a:ext uri="{FF2B5EF4-FFF2-40B4-BE49-F238E27FC236}">
                <a16:creationId xmlns:a16="http://schemas.microsoft.com/office/drawing/2014/main" id="{3F2019F2-AD93-6EB8-33B0-94722A93074B}"/>
              </a:ext>
            </a:extLst>
          </p:cNvPr>
          <p:cNvPicPr>
            <a:picLocks noChangeAspect="1"/>
          </p:cNvPicPr>
          <p:nvPr/>
        </p:nvPicPr>
        <p:blipFill>
          <a:blip r:embed="rId2"/>
          <a:stretch>
            <a:fillRect/>
          </a:stretch>
        </p:blipFill>
        <p:spPr>
          <a:xfrm>
            <a:off x="6096000" y="1666797"/>
            <a:ext cx="5190281" cy="3901778"/>
          </a:xfrm>
          <a:prstGeom prst="rect">
            <a:avLst/>
          </a:prstGeom>
        </p:spPr>
      </p:pic>
      <p:sp>
        <p:nvSpPr>
          <p:cNvPr id="3" name="Textplatzhalter 6">
            <a:extLst>
              <a:ext uri="{FF2B5EF4-FFF2-40B4-BE49-F238E27FC236}">
                <a16:creationId xmlns:a16="http://schemas.microsoft.com/office/drawing/2014/main" id="{19983D61-D7DD-A99A-282E-33E391B9AAF4}"/>
              </a:ext>
            </a:extLst>
          </p:cNvPr>
          <p:cNvSpPr txBox="1">
            <a:spLocks/>
          </p:cNvSpPr>
          <p:nvPr/>
        </p:nvSpPr>
        <p:spPr bwMode="gray">
          <a:xfrm>
            <a:off x="478199" y="2098157"/>
            <a:ext cx="5371058" cy="4089581"/>
          </a:xfrm>
          <a:prstGeom prst="rect">
            <a:avLst/>
          </a:prstGeom>
        </p:spPr>
        <p:txBody>
          <a:bodyPr vert="horz" wrap="square" lIns="0" tIns="0" rIns="0" bIns="0" rtlCol="0">
            <a:spAutoFit/>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1600" b="0" kern="1200">
                <a:solidFill>
                  <a:schemeClr val="accent1"/>
                </a:solidFill>
                <a:latin typeface="+mj-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marL="180000" marR="0" lvl="3" indent="-18000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Char char="§"/>
              <a:tabLst/>
              <a:defRPr/>
            </a:pPr>
            <a:r>
              <a:rPr kumimoji="0" lang="en-US" sz="2200" b="1" i="0" u="none" strike="noStrike" kern="1200" cap="none" spc="0" normalizeH="0" baseline="0" noProof="0" dirty="0">
                <a:ln>
                  <a:noFill/>
                </a:ln>
                <a:solidFill>
                  <a:sysClr val="windowText" lastClr="000000"/>
                </a:solidFill>
                <a:effectLst/>
                <a:uLnTx/>
                <a:uFillTx/>
                <a:ea typeface="+mn-ea"/>
                <a:cs typeface="+mn-cs"/>
              </a:rPr>
              <a:t>The FE Model consists of:</a:t>
            </a:r>
          </a:p>
          <a:p>
            <a:pPr marL="180000" marR="0" lvl="3" indent="-180000" algn="l" defTabSz="914400" rtl="0" eaLnBrk="1" fontAlgn="auto" latinLnBrk="0" hangingPunct="1">
              <a:lnSpc>
                <a:spcPct val="110000"/>
              </a:lnSpc>
              <a:spcBef>
                <a:spcPts val="0"/>
              </a:spcBef>
              <a:spcAft>
                <a:spcPts val="0"/>
              </a:spcAft>
              <a:buClr>
                <a:srgbClr val="179C7D"/>
              </a:buClr>
              <a:buSzTx/>
              <a:buFont typeface="Wingdings" panose="05000000000000000000" pitchFamily="2" charset="2"/>
              <a:buChar char="§"/>
              <a:tabLst/>
              <a:defRPr/>
            </a:pPr>
            <a:endParaRPr kumimoji="0" lang="en-US" sz="2200" b="0" i="0" u="none" strike="noStrike" kern="1200" cap="none" spc="0" normalizeH="0" baseline="0" noProof="0" dirty="0">
              <a:ln>
                <a:noFill/>
              </a:ln>
              <a:solidFill>
                <a:sysClr val="windowText" lastClr="000000"/>
              </a:solidFill>
              <a:effectLst/>
              <a:uLnTx/>
              <a:uFillTx/>
              <a:ea typeface="+mn-ea"/>
              <a:cs typeface="+mn-cs"/>
            </a:endParaRPr>
          </a:p>
          <a:p>
            <a:pPr marL="360000" marR="0" lvl="4" indent="-180000" algn="l" defTabSz="914400" rtl="0" eaLnBrk="1" fontAlgn="auto" latinLnBrk="0" hangingPunct="1">
              <a:lnSpc>
                <a:spcPct val="110000"/>
              </a:lnSpc>
              <a:spcBef>
                <a:spcPts val="0"/>
              </a:spcBef>
              <a:spcAft>
                <a:spcPts val="0"/>
              </a:spcAft>
              <a:buClr>
                <a:srgbClr val="A6BBC8"/>
              </a:buClr>
              <a:buSzTx/>
              <a:buFont typeface="Wingdings" panose="05000000000000000000" pitchFamily="2" charset="2"/>
              <a:buChar char="§"/>
              <a:tabLst/>
              <a:defRPr/>
            </a:pPr>
            <a:r>
              <a:rPr kumimoji="0" lang="en-US" sz="2200" b="1" i="0" u="none" strike="noStrike" kern="1200" cap="none" spc="0" normalizeH="0" baseline="0" noProof="0" dirty="0">
                <a:ln>
                  <a:noFill/>
                </a:ln>
                <a:solidFill>
                  <a:srgbClr val="0000FF"/>
                </a:solidFill>
                <a:effectLst/>
                <a:uLnTx/>
                <a:uFillTx/>
                <a:ea typeface="+mn-ea"/>
                <a:cs typeface="+mn-cs"/>
              </a:rPr>
              <a:t>Pump shaft (stiffness </a:t>
            </a:r>
            <a:r>
              <a:rPr kumimoji="0" lang="en-US" sz="2200" b="0" i="0" u="none" strike="noStrike" kern="1200" cap="none" spc="0" normalizeH="0" baseline="0" noProof="0" dirty="0">
                <a:ln>
                  <a:noFill/>
                </a:ln>
                <a:effectLst/>
                <a:uLnTx/>
                <a:uFillTx/>
                <a:ea typeface="+mn-ea"/>
                <a:cs typeface="+mn-cs"/>
              </a:rPr>
              <a:t>and</a:t>
            </a:r>
            <a:r>
              <a:rPr kumimoji="0" lang="en-US" sz="2200" b="1" i="0" u="none" strike="noStrike" kern="1200" cap="none" spc="0" normalizeH="0" baseline="0" noProof="0" dirty="0">
                <a:ln>
                  <a:noFill/>
                </a:ln>
                <a:solidFill>
                  <a:srgbClr val="0000FF"/>
                </a:solidFill>
                <a:effectLst/>
                <a:uLnTx/>
                <a:uFillTx/>
                <a:ea typeface="+mn-ea"/>
                <a:cs typeface="+mn-cs"/>
              </a:rPr>
              <a:t> mass </a:t>
            </a:r>
            <a:r>
              <a:rPr kumimoji="0" lang="en-US" sz="2200" b="0" i="0" u="none" strike="noStrike" kern="1200" cap="none" spc="0" normalizeH="0" baseline="0" noProof="0" dirty="0">
                <a:ln>
                  <a:noFill/>
                </a:ln>
                <a:effectLst/>
                <a:uLnTx/>
                <a:uFillTx/>
                <a:ea typeface="+mn-ea"/>
                <a:cs typeface="+mn-cs"/>
              </a:rPr>
              <a:t>of</a:t>
            </a:r>
            <a:r>
              <a:rPr kumimoji="0" lang="en-US" sz="2200" b="1" i="0" u="none" strike="noStrike" kern="1200" cap="none" spc="0" normalizeH="0" baseline="0" noProof="0" dirty="0">
                <a:ln>
                  <a:noFill/>
                </a:ln>
                <a:solidFill>
                  <a:srgbClr val="0000FF"/>
                </a:solidFill>
                <a:effectLst/>
                <a:uLnTx/>
                <a:uFillTx/>
                <a:ea typeface="+mn-ea"/>
                <a:cs typeface="+mn-cs"/>
              </a:rPr>
              <a:t> shaft)</a:t>
            </a:r>
          </a:p>
          <a:p>
            <a:pPr marL="360000" marR="0" lvl="4" indent="-180000" algn="l" defTabSz="914400" rtl="0" eaLnBrk="1" fontAlgn="auto" latinLnBrk="0" hangingPunct="1">
              <a:lnSpc>
                <a:spcPct val="110000"/>
              </a:lnSpc>
              <a:spcBef>
                <a:spcPts val="0"/>
              </a:spcBef>
              <a:spcAft>
                <a:spcPts val="0"/>
              </a:spcAft>
              <a:buClr>
                <a:srgbClr val="A6BBC8"/>
              </a:buClr>
              <a:buSzTx/>
              <a:buFont typeface="Wingdings" panose="05000000000000000000" pitchFamily="2" charset="2"/>
              <a:buChar char="§"/>
              <a:tabLst/>
              <a:defRPr/>
            </a:pPr>
            <a:r>
              <a:rPr kumimoji="0" lang="en-US" sz="2200" b="1" i="0" u="none" strike="noStrike" kern="1200" cap="none" spc="0" normalizeH="0" baseline="0" noProof="0" dirty="0">
                <a:ln>
                  <a:noFill/>
                </a:ln>
                <a:solidFill>
                  <a:srgbClr val="0000FF"/>
                </a:solidFill>
                <a:effectLst/>
                <a:uLnTx/>
                <a:uFillTx/>
                <a:ea typeface="+mn-ea"/>
                <a:cs typeface="+mn-cs"/>
              </a:rPr>
              <a:t>Masses </a:t>
            </a:r>
            <a:r>
              <a:rPr kumimoji="0" lang="en-US" sz="2200" b="0" i="0" u="none" strike="noStrike" kern="1200" cap="none" spc="0" normalizeH="0" baseline="0" noProof="0" dirty="0">
                <a:ln>
                  <a:noFill/>
                </a:ln>
                <a:solidFill>
                  <a:srgbClr val="0000FF"/>
                </a:solidFill>
                <a:effectLst/>
                <a:uLnTx/>
                <a:uFillTx/>
                <a:ea typeface="+mn-ea"/>
                <a:cs typeface="+mn-cs"/>
              </a:rPr>
              <a:t>and </a:t>
            </a:r>
            <a:r>
              <a:rPr kumimoji="0" lang="en-US" sz="2200" b="1" i="0" u="none" strike="noStrike" kern="1200" cap="none" spc="0" normalizeH="0" baseline="0" noProof="0" dirty="0">
                <a:ln>
                  <a:noFill/>
                </a:ln>
                <a:solidFill>
                  <a:srgbClr val="0000FF"/>
                </a:solidFill>
                <a:effectLst/>
                <a:uLnTx/>
                <a:uFillTx/>
                <a:ea typeface="+mn-ea"/>
                <a:cs typeface="+mn-cs"/>
              </a:rPr>
              <a:t>Moments of Inertia </a:t>
            </a:r>
            <a:r>
              <a:rPr kumimoji="0" lang="en-US" sz="2200" b="0" i="0" u="none" strike="noStrike" kern="1200" cap="none" spc="0" normalizeH="0" baseline="0" noProof="0" dirty="0">
                <a:ln>
                  <a:noFill/>
                </a:ln>
                <a:effectLst/>
                <a:uLnTx/>
                <a:uFillTx/>
                <a:ea typeface="+mn-ea"/>
                <a:cs typeface="+mn-cs"/>
              </a:rPr>
              <a:t>of</a:t>
            </a:r>
            <a:r>
              <a:rPr kumimoji="0" lang="en-US" sz="2200" b="1" i="0" u="none" strike="noStrike" kern="1200" cap="none" spc="0" normalizeH="0" baseline="0" noProof="0" dirty="0">
                <a:ln>
                  <a:noFill/>
                </a:ln>
                <a:solidFill>
                  <a:srgbClr val="0000FF"/>
                </a:solidFill>
                <a:effectLst/>
                <a:uLnTx/>
                <a:uFillTx/>
                <a:ea typeface="+mn-ea"/>
                <a:cs typeface="+mn-cs"/>
              </a:rPr>
              <a:t> impeller, coupling </a:t>
            </a:r>
            <a:r>
              <a:rPr kumimoji="0" lang="en-US" sz="2200" b="0" i="0" u="none" strike="noStrike" kern="1200" cap="none" spc="0" normalizeH="0" baseline="0" noProof="0" dirty="0">
                <a:ln>
                  <a:noFill/>
                </a:ln>
                <a:effectLst/>
                <a:uLnTx/>
                <a:uFillTx/>
                <a:ea typeface="+mn-ea"/>
                <a:cs typeface="+mn-cs"/>
              </a:rPr>
              <a:t>and</a:t>
            </a:r>
            <a:r>
              <a:rPr kumimoji="0" lang="en-US" sz="2200" b="1" i="0" u="none" strike="noStrike" kern="1200" cap="none" spc="0" normalizeH="0" baseline="0" noProof="0" dirty="0">
                <a:ln>
                  <a:noFill/>
                </a:ln>
                <a:solidFill>
                  <a:srgbClr val="0000FF"/>
                </a:solidFill>
                <a:effectLst/>
                <a:uLnTx/>
                <a:uFillTx/>
                <a:ea typeface="+mn-ea"/>
                <a:cs typeface="+mn-cs"/>
              </a:rPr>
              <a:t> axial bearing</a:t>
            </a:r>
          </a:p>
          <a:p>
            <a:pPr marL="360000" marR="0" lvl="4" indent="-180000" algn="l" defTabSz="914400" rtl="0" eaLnBrk="1" fontAlgn="auto" latinLnBrk="0" hangingPunct="1">
              <a:lnSpc>
                <a:spcPct val="110000"/>
              </a:lnSpc>
              <a:spcBef>
                <a:spcPts val="0"/>
              </a:spcBef>
              <a:spcAft>
                <a:spcPts val="0"/>
              </a:spcAft>
              <a:buClr>
                <a:srgbClr val="A6BBC8"/>
              </a:buClr>
              <a:buSzTx/>
              <a:buFont typeface="Wingdings" panose="05000000000000000000" pitchFamily="2" charset="2"/>
              <a:buChar char="§"/>
              <a:tabLst/>
              <a:defRPr/>
            </a:pPr>
            <a:endParaRPr kumimoji="0" lang="en-US" sz="2200" b="1" i="0" u="none" strike="noStrike" kern="1200" cap="none" spc="0" normalizeH="0" baseline="0" noProof="0" dirty="0">
              <a:ln>
                <a:noFill/>
              </a:ln>
              <a:solidFill>
                <a:srgbClr val="0000FF"/>
              </a:solidFill>
              <a:effectLst/>
              <a:uLnTx/>
              <a:uFillTx/>
              <a:ea typeface="+mn-ea"/>
              <a:cs typeface="+mn-cs"/>
            </a:endParaRPr>
          </a:p>
          <a:p>
            <a:pPr marL="360000" marR="0" lvl="4" indent="-180000" algn="l" defTabSz="914400" rtl="0" eaLnBrk="1" fontAlgn="auto" latinLnBrk="0" hangingPunct="1">
              <a:lnSpc>
                <a:spcPct val="110000"/>
              </a:lnSpc>
              <a:spcBef>
                <a:spcPts val="0"/>
              </a:spcBef>
              <a:spcAft>
                <a:spcPts val="0"/>
              </a:spcAft>
              <a:buClr>
                <a:srgbClr val="A6BBC8"/>
              </a:buClr>
              <a:buSzTx/>
              <a:buFont typeface="Wingdings" panose="05000000000000000000" pitchFamily="2" charset="2"/>
              <a:buChar char="§"/>
              <a:tabLst/>
              <a:defRPr/>
            </a:pPr>
            <a:r>
              <a:rPr kumimoji="0" lang="en-US" sz="2200" b="1" i="0" u="none" strike="noStrike" kern="1200" cap="none" spc="0" normalizeH="0" baseline="0" noProof="0" dirty="0">
                <a:ln>
                  <a:noFill/>
                </a:ln>
                <a:solidFill>
                  <a:srgbClr val="0000FF"/>
                </a:solidFill>
                <a:effectLst/>
                <a:uLnTx/>
                <a:uFillTx/>
                <a:ea typeface="+mn-ea"/>
                <a:cs typeface="+mn-cs"/>
              </a:rPr>
              <a:t>No bearings, no seals</a:t>
            </a:r>
          </a:p>
          <a:p>
            <a:pPr marL="360000" marR="0" lvl="4" indent="-180000" algn="l" defTabSz="914400" rtl="0" eaLnBrk="1" fontAlgn="auto" latinLnBrk="0" hangingPunct="1">
              <a:lnSpc>
                <a:spcPct val="110000"/>
              </a:lnSpc>
              <a:spcBef>
                <a:spcPts val="0"/>
              </a:spcBef>
              <a:spcAft>
                <a:spcPts val="0"/>
              </a:spcAft>
              <a:buClr>
                <a:srgbClr val="A6BBC8"/>
              </a:buClr>
              <a:buSzTx/>
              <a:buFont typeface="Wingdings" panose="05000000000000000000" pitchFamily="2" charset="2"/>
              <a:buChar char="§"/>
              <a:tabLst/>
              <a:defRPr/>
            </a:pPr>
            <a:r>
              <a:rPr kumimoji="0" lang="en-US" sz="2200" b="1" i="0" u="none" strike="noStrike" kern="1200" cap="none" spc="0" normalizeH="0" baseline="0" noProof="0" dirty="0">
                <a:ln>
                  <a:noFill/>
                </a:ln>
                <a:solidFill>
                  <a:srgbClr val="0000FF"/>
                </a:solidFill>
                <a:effectLst/>
                <a:uLnTx/>
                <a:uFillTx/>
                <a:ea typeface="+mn-ea"/>
                <a:cs typeface="+mn-cs"/>
              </a:rPr>
              <a:t>No rotation of shaft</a:t>
            </a:r>
          </a:p>
          <a:p>
            <a:pPr marL="0" marR="0" lvl="1" indent="0" algn="l" defTabSz="914400" rtl="0" eaLnBrk="1" fontAlgn="auto" latinLnBrk="0" hangingPunct="1">
              <a:lnSpc>
                <a:spcPct val="110000"/>
              </a:lnSpc>
              <a:spcBef>
                <a:spcPts val="0"/>
              </a:spcBef>
              <a:spcAft>
                <a:spcPts val="1900"/>
              </a:spcAft>
              <a:buClrTx/>
              <a:buSzTx/>
              <a:buFont typeface="Arial" panose="020B0604020202020204" pitchFamily="34" charset="0"/>
              <a:buNone/>
              <a:tabLst/>
              <a:defRPr/>
            </a:pPr>
            <a:endParaRPr kumimoji="0" lang="de-DE" sz="1400" b="0" i="0" u="none" strike="noStrike" kern="1200" cap="none" spc="0" normalizeH="0" baseline="0" noProof="0" dirty="0">
              <a:ln>
                <a:noFill/>
              </a:ln>
              <a:solidFill>
                <a:sysClr val="windowText" lastClr="000000"/>
              </a:solidFill>
              <a:effectLst/>
              <a:uLnTx/>
              <a:uFillTx/>
              <a:latin typeface="Frutiger LT Com 45 Light"/>
              <a:ea typeface="+mn-ea"/>
              <a:cs typeface="+mn-cs"/>
            </a:endParaRPr>
          </a:p>
          <a:p>
            <a:pPr marL="0" marR="0" lvl="0" indent="0" algn="l" defTabSz="914400" rtl="0" eaLnBrk="1" fontAlgn="auto" latinLnBrk="0" hangingPunct="1">
              <a:lnSpc>
                <a:spcPct val="110000"/>
              </a:lnSpc>
              <a:spcBef>
                <a:spcPts val="0"/>
              </a:spcBef>
              <a:spcAft>
                <a:spcPts val="1900"/>
              </a:spcAft>
              <a:buClrTx/>
              <a:buSzTx/>
              <a:buFont typeface="Arial" panose="020B0604020202020204" pitchFamily="34" charset="0"/>
              <a:buNone/>
              <a:tabLst/>
              <a:defRPr/>
            </a:pPr>
            <a:endParaRPr kumimoji="0" lang="de-DE" sz="1600" b="0" i="0" u="none" strike="noStrike" kern="1200" cap="none" spc="0" normalizeH="0" baseline="0" noProof="0" dirty="0">
              <a:ln>
                <a:noFill/>
              </a:ln>
              <a:solidFill>
                <a:srgbClr val="179C7D"/>
              </a:solidFill>
              <a:effectLst/>
              <a:uLnTx/>
              <a:uFillTx/>
              <a:latin typeface="Frutiger LT Com 65 Bold"/>
              <a:ea typeface="+mn-ea"/>
              <a:cs typeface="+mn-cs"/>
            </a:endParaRPr>
          </a:p>
        </p:txBody>
      </p:sp>
      <p:sp>
        <p:nvSpPr>
          <p:cNvPr id="4" name="Textfeld 3">
            <a:extLst>
              <a:ext uri="{FF2B5EF4-FFF2-40B4-BE49-F238E27FC236}">
                <a16:creationId xmlns:a16="http://schemas.microsoft.com/office/drawing/2014/main" id="{7923EAD4-EDC3-9C6B-1C9C-745E8768308B}"/>
              </a:ext>
            </a:extLst>
          </p:cNvPr>
          <p:cNvSpPr txBox="1"/>
          <p:nvPr/>
        </p:nvSpPr>
        <p:spPr>
          <a:xfrm>
            <a:off x="478199" y="116896"/>
            <a:ext cx="11222734" cy="830997"/>
          </a:xfrm>
          <a:prstGeom prst="rect">
            <a:avLst/>
          </a:prstGeom>
          <a:noFill/>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de-DE" sz="2400" b="1" i="0" u="none" strike="noStrike" kern="1200" cap="none" spc="0" normalizeH="0" baseline="0" noProof="0" dirty="0" err="1">
                <a:ln>
                  <a:noFill/>
                </a:ln>
                <a:solidFill>
                  <a:srgbClr val="0000FF"/>
                </a:solidFill>
                <a:effectLst/>
                <a:uLnTx/>
                <a:uFillTx/>
                <a:latin typeface="Arial"/>
                <a:ea typeface="+mn-ea"/>
                <a:cs typeface="+mn-cs"/>
              </a:rPr>
              <a:t>Measured</a:t>
            </a:r>
            <a:r>
              <a:rPr kumimoji="0" lang="de-DE" sz="2400" b="1" i="0" u="none" strike="noStrike" kern="1200" cap="none" spc="0" normalizeH="0" baseline="0" noProof="0" dirty="0">
                <a:ln>
                  <a:noFill/>
                </a:ln>
                <a:solidFill>
                  <a:srgbClr val="0000FF"/>
                </a:solidFill>
                <a:effectLst/>
                <a:uLnTx/>
                <a:uFillTx/>
                <a:latin typeface="Arial"/>
                <a:ea typeface="+mn-ea"/>
                <a:cs typeface="+mn-cs"/>
              </a:rPr>
              <a:t> and </a:t>
            </a:r>
            <a:r>
              <a:rPr kumimoji="0" lang="de-DE" sz="2400" b="1" i="0" u="none" strike="noStrike" kern="1200" cap="none" spc="0" normalizeH="0" baseline="0" noProof="0" dirty="0" err="1">
                <a:ln>
                  <a:noFill/>
                </a:ln>
                <a:solidFill>
                  <a:srgbClr val="0000FF"/>
                </a:solidFill>
                <a:effectLst/>
                <a:uLnTx/>
                <a:uFillTx/>
                <a:latin typeface="Arial"/>
                <a:ea typeface="+mn-ea"/>
                <a:cs typeface="+mn-cs"/>
              </a:rPr>
              <a:t>Calculated</a:t>
            </a:r>
            <a:r>
              <a:rPr kumimoji="0" lang="de-DE" sz="2400" b="1" i="0" u="none" strike="noStrike" kern="1200" cap="none" spc="0" normalizeH="0" baseline="0" noProof="0" dirty="0">
                <a:ln>
                  <a:noFill/>
                </a:ln>
                <a:solidFill>
                  <a:srgbClr val="0000FF"/>
                </a:solidFill>
                <a:effectLst/>
                <a:uLnTx/>
                <a:uFillTx/>
                <a:latin typeface="Arial"/>
                <a:ea typeface="+mn-ea"/>
                <a:cs typeface="+mn-cs"/>
              </a:rPr>
              <a:t> </a:t>
            </a:r>
            <a:r>
              <a:rPr kumimoji="0" lang="de-DE" sz="2400" b="1" i="0" u="none" strike="noStrike" kern="1200" cap="none" spc="0" normalizeH="0" baseline="0" noProof="0" dirty="0" err="1">
                <a:ln>
                  <a:noFill/>
                </a:ln>
                <a:solidFill>
                  <a:srgbClr val="0000FF"/>
                </a:solidFill>
                <a:effectLst/>
                <a:uLnTx/>
                <a:uFillTx/>
                <a:latin typeface="Arial"/>
                <a:ea typeface="+mn-ea"/>
                <a:cs typeface="+mn-cs"/>
              </a:rPr>
              <a:t>Vibrations</a:t>
            </a:r>
            <a:r>
              <a:rPr kumimoji="0" lang="de-DE" sz="2400" b="1" i="0" u="none" strike="noStrike" kern="1200" cap="none" spc="0" normalizeH="0" baseline="0" noProof="0" dirty="0">
                <a:ln>
                  <a:noFill/>
                </a:ln>
                <a:solidFill>
                  <a:srgbClr val="0000FF"/>
                </a:solidFill>
                <a:effectLst/>
                <a:uLnTx/>
                <a:uFillTx/>
                <a:latin typeface="Arial"/>
                <a:ea typeface="+mn-ea"/>
                <a:cs typeface="+mn-cs"/>
              </a:rPr>
              <a:t> </a:t>
            </a:r>
            <a:r>
              <a:rPr kumimoji="0" lang="de-DE" sz="2400" b="1" i="0" u="none" strike="noStrike" kern="1200" cap="none" spc="0" normalizeH="0" baseline="0" noProof="0" dirty="0" err="1">
                <a:ln>
                  <a:noFill/>
                </a:ln>
                <a:solidFill>
                  <a:srgbClr val="0000FF"/>
                </a:solidFill>
                <a:effectLst/>
                <a:uLnTx/>
                <a:uFillTx/>
                <a:latin typeface="Arial"/>
                <a:ea typeface="+mn-ea"/>
                <a:cs typeface="+mn-cs"/>
              </a:rPr>
              <a:t>of</a:t>
            </a:r>
            <a:r>
              <a:rPr lang="de-DE" sz="2400" dirty="0">
                <a:solidFill>
                  <a:srgbClr val="0000FF"/>
                </a:solidFill>
                <a:latin typeface="Arial"/>
              </a:rPr>
              <a:t> </a:t>
            </a:r>
            <a:r>
              <a:rPr lang="de-DE" sz="2400" dirty="0" err="1">
                <a:solidFill>
                  <a:srgbClr val="0000FF"/>
                </a:solidFill>
                <a:latin typeface="Arial"/>
              </a:rPr>
              <a:t>the</a:t>
            </a:r>
            <a:r>
              <a:rPr kumimoji="0" lang="de-DE" sz="2400" b="1" i="0" u="none" strike="noStrike" kern="1200" cap="none" spc="0" normalizeH="0" baseline="0" noProof="0" dirty="0">
                <a:ln>
                  <a:noFill/>
                </a:ln>
                <a:solidFill>
                  <a:srgbClr val="0000FF"/>
                </a:solidFill>
                <a:effectLst/>
                <a:uLnTx/>
                <a:uFillTx/>
                <a:latin typeface="Arial"/>
                <a:ea typeface="+mn-ea"/>
                <a:cs typeface="+mn-cs"/>
              </a:rPr>
              <a:t> Horizontal </a:t>
            </a:r>
            <a:r>
              <a:rPr kumimoji="0" lang="de-DE" sz="2400" b="1" i="0" u="none" strike="noStrike" kern="1200" cap="none" spc="0" normalizeH="0" baseline="0" noProof="0" dirty="0" err="1">
                <a:ln>
                  <a:noFill/>
                </a:ln>
                <a:solidFill>
                  <a:srgbClr val="0000FF"/>
                </a:solidFill>
                <a:effectLst/>
                <a:uLnTx/>
                <a:uFillTx/>
                <a:latin typeface="Arial"/>
                <a:ea typeface="+mn-ea"/>
                <a:cs typeface="+mn-cs"/>
              </a:rPr>
              <a:t>Feedwater</a:t>
            </a:r>
            <a:r>
              <a:rPr kumimoji="0" lang="de-DE" sz="2400" b="1" i="0" u="none" strike="noStrike" kern="1200" cap="none" spc="0" normalizeH="0" baseline="0" noProof="0" dirty="0">
                <a:ln>
                  <a:noFill/>
                </a:ln>
                <a:solidFill>
                  <a:srgbClr val="0000FF"/>
                </a:solidFill>
                <a:effectLst/>
                <a:uLnTx/>
                <a:uFillTx/>
                <a:latin typeface="Arial"/>
                <a:ea typeface="+mn-ea"/>
                <a:cs typeface="+mn-cs"/>
              </a:rPr>
              <a:t> Pump OL3 </a:t>
            </a:r>
            <a:r>
              <a:rPr lang="de-DE" sz="2400" b="0" dirty="0">
                <a:latin typeface="Arial"/>
              </a:rPr>
              <a:t>Determination </a:t>
            </a:r>
            <a:r>
              <a:rPr lang="de-DE" sz="2400" b="0" dirty="0" err="1">
                <a:latin typeface="Arial"/>
              </a:rPr>
              <a:t>of</a:t>
            </a:r>
            <a:r>
              <a:rPr lang="de-DE" sz="2400" b="0" dirty="0">
                <a:latin typeface="Arial"/>
              </a:rPr>
              <a:t> </a:t>
            </a:r>
            <a:r>
              <a:rPr lang="de-DE" sz="2400" b="0" dirty="0" err="1">
                <a:latin typeface="Arial"/>
              </a:rPr>
              <a:t>the</a:t>
            </a:r>
            <a:r>
              <a:rPr lang="de-DE" sz="2400" b="0" dirty="0">
                <a:latin typeface="Arial"/>
              </a:rPr>
              <a:t> Lateral Natural </a:t>
            </a:r>
            <a:r>
              <a:rPr lang="de-DE" sz="2400" b="0" dirty="0" err="1">
                <a:latin typeface="Arial"/>
              </a:rPr>
              <a:t>Frequencies</a:t>
            </a:r>
            <a:r>
              <a:rPr lang="de-DE" sz="2400" b="0" dirty="0">
                <a:latin typeface="Arial"/>
              </a:rPr>
              <a:t> by a FE- Model</a:t>
            </a:r>
            <a:endParaRPr kumimoji="0" lang="de-DE" sz="2400" b="0" i="0" u="none" strike="noStrike" kern="1200" cap="none" spc="0" normalizeH="0" baseline="0" noProof="0" dirty="0">
              <a:ln>
                <a:noFill/>
              </a:ln>
              <a:effectLst/>
              <a:uLnTx/>
              <a:uFillTx/>
              <a:latin typeface="Arial"/>
              <a:ea typeface="+mn-ea"/>
              <a:cs typeface="+mn-cs"/>
            </a:endParaRPr>
          </a:p>
        </p:txBody>
      </p:sp>
    </p:spTree>
    <p:extLst>
      <p:ext uri="{BB962C8B-B14F-4D97-AF65-F5344CB8AC3E}">
        <p14:creationId xmlns:p14="http://schemas.microsoft.com/office/powerpoint/2010/main" val="206318676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Grafik 1">
            <a:extLst>
              <a:ext uri="{FF2B5EF4-FFF2-40B4-BE49-F238E27FC236}">
                <a16:creationId xmlns:a16="http://schemas.microsoft.com/office/drawing/2014/main" id="{4B4B02C3-D99F-F622-E19D-A697A0C08EFC}"/>
              </a:ext>
            </a:extLst>
          </p:cNvPr>
          <p:cNvPicPr>
            <a:picLocks noChangeAspect="1"/>
          </p:cNvPicPr>
          <p:nvPr/>
        </p:nvPicPr>
        <p:blipFill>
          <a:blip r:embed="rId2"/>
          <a:stretch>
            <a:fillRect/>
          </a:stretch>
        </p:blipFill>
        <p:spPr>
          <a:xfrm>
            <a:off x="1175657" y="1480457"/>
            <a:ext cx="9657345" cy="4644572"/>
          </a:xfrm>
          <a:prstGeom prst="rect">
            <a:avLst/>
          </a:prstGeom>
        </p:spPr>
      </p:pic>
      <p:sp>
        <p:nvSpPr>
          <p:cNvPr id="3" name="Textfeld 2">
            <a:extLst>
              <a:ext uri="{FF2B5EF4-FFF2-40B4-BE49-F238E27FC236}">
                <a16:creationId xmlns:a16="http://schemas.microsoft.com/office/drawing/2014/main" id="{64668C13-7CFD-DF75-15E5-D64F691BE260}"/>
              </a:ext>
            </a:extLst>
          </p:cNvPr>
          <p:cNvSpPr txBox="1"/>
          <p:nvPr/>
        </p:nvSpPr>
        <p:spPr>
          <a:xfrm>
            <a:off x="624113" y="116896"/>
            <a:ext cx="11306629" cy="830997"/>
          </a:xfrm>
          <a:prstGeom prst="rect">
            <a:avLst/>
          </a:prstGeom>
          <a:noFill/>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de-DE" sz="2400" b="1" i="0" u="none" strike="noStrike" kern="1200" cap="none" spc="0" normalizeH="0" baseline="0" noProof="0" dirty="0" err="1">
                <a:ln>
                  <a:noFill/>
                </a:ln>
                <a:solidFill>
                  <a:srgbClr val="0000FF"/>
                </a:solidFill>
                <a:effectLst/>
                <a:uLnTx/>
                <a:uFillTx/>
                <a:latin typeface="Arial"/>
                <a:ea typeface="+mn-ea"/>
                <a:cs typeface="+mn-cs"/>
              </a:rPr>
              <a:t>Measured</a:t>
            </a:r>
            <a:r>
              <a:rPr kumimoji="0" lang="de-DE" sz="2400" b="1" i="0" u="none" strike="noStrike" kern="1200" cap="none" spc="0" normalizeH="0" baseline="0" noProof="0" dirty="0">
                <a:ln>
                  <a:noFill/>
                </a:ln>
                <a:solidFill>
                  <a:srgbClr val="0000FF"/>
                </a:solidFill>
                <a:effectLst/>
                <a:uLnTx/>
                <a:uFillTx/>
                <a:latin typeface="Arial"/>
                <a:ea typeface="+mn-ea"/>
                <a:cs typeface="+mn-cs"/>
              </a:rPr>
              <a:t> and </a:t>
            </a:r>
            <a:r>
              <a:rPr kumimoji="0" lang="de-DE" sz="2400" b="1" i="0" u="none" strike="noStrike" kern="1200" cap="none" spc="0" normalizeH="0" baseline="0" noProof="0" dirty="0" err="1">
                <a:ln>
                  <a:noFill/>
                </a:ln>
                <a:solidFill>
                  <a:srgbClr val="0000FF"/>
                </a:solidFill>
                <a:effectLst/>
                <a:uLnTx/>
                <a:uFillTx/>
                <a:latin typeface="Arial"/>
                <a:ea typeface="+mn-ea"/>
                <a:cs typeface="+mn-cs"/>
              </a:rPr>
              <a:t>Calculated</a:t>
            </a:r>
            <a:r>
              <a:rPr kumimoji="0" lang="de-DE" sz="2400" b="1" i="0" u="none" strike="noStrike" kern="1200" cap="none" spc="0" normalizeH="0" baseline="0" noProof="0" dirty="0">
                <a:ln>
                  <a:noFill/>
                </a:ln>
                <a:solidFill>
                  <a:srgbClr val="0000FF"/>
                </a:solidFill>
                <a:effectLst/>
                <a:uLnTx/>
                <a:uFillTx/>
                <a:latin typeface="Arial"/>
                <a:ea typeface="+mn-ea"/>
                <a:cs typeface="+mn-cs"/>
              </a:rPr>
              <a:t> </a:t>
            </a:r>
            <a:r>
              <a:rPr kumimoji="0" lang="de-DE" sz="2400" b="1" i="0" u="none" strike="noStrike" kern="1200" cap="none" spc="0" normalizeH="0" baseline="0" noProof="0" dirty="0" err="1">
                <a:ln>
                  <a:noFill/>
                </a:ln>
                <a:solidFill>
                  <a:srgbClr val="0000FF"/>
                </a:solidFill>
                <a:effectLst/>
                <a:uLnTx/>
                <a:uFillTx/>
                <a:latin typeface="Arial"/>
                <a:ea typeface="+mn-ea"/>
                <a:cs typeface="+mn-cs"/>
              </a:rPr>
              <a:t>Vibrations</a:t>
            </a:r>
            <a:r>
              <a:rPr kumimoji="0" lang="de-DE" sz="2400" b="1" i="0" u="none" strike="noStrike" kern="1200" cap="none" spc="0" normalizeH="0" baseline="0" noProof="0" dirty="0">
                <a:ln>
                  <a:noFill/>
                </a:ln>
                <a:solidFill>
                  <a:srgbClr val="0000FF"/>
                </a:solidFill>
                <a:effectLst/>
                <a:uLnTx/>
                <a:uFillTx/>
                <a:latin typeface="Arial"/>
                <a:ea typeface="+mn-ea"/>
                <a:cs typeface="+mn-cs"/>
              </a:rPr>
              <a:t> </a:t>
            </a:r>
            <a:r>
              <a:rPr kumimoji="0" lang="de-DE" sz="2400" b="1" i="0" u="none" strike="noStrike" kern="1200" cap="none" spc="0" normalizeH="0" baseline="0" noProof="0" dirty="0" err="1">
                <a:ln>
                  <a:noFill/>
                </a:ln>
                <a:solidFill>
                  <a:srgbClr val="0000FF"/>
                </a:solidFill>
                <a:effectLst/>
                <a:uLnTx/>
                <a:uFillTx/>
                <a:latin typeface="Arial"/>
                <a:ea typeface="+mn-ea"/>
                <a:cs typeface="+mn-cs"/>
              </a:rPr>
              <a:t>of</a:t>
            </a:r>
            <a:r>
              <a:rPr kumimoji="0" lang="de-DE" sz="2400" b="1" i="0" u="none" strike="noStrike" kern="1200" cap="none" spc="0" normalizeH="0" baseline="0" noProof="0" dirty="0">
                <a:ln>
                  <a:noFill/>
                </a:ln>
                <a:solidFill>
                  <a:srgbClr val="0000FF"/>
                </a:solidFill>
                <a:effectLst/>
                <a:uLnTx/>
                <a:uFillTx/>
                <a:latin typeface="Arial"/>
                <a:ea typeface="+mn-ea"/>
                <a:cs typeface="+mn-cs"/>
              </a:rPr>
              <a:t> </a:t>
            </a:r>
            <a:r>
              <a:rPr kumimoji="0" lang="de-DE" sz="2400" b="1" i="0" u="none" strike="noStrike" kern="1200" cap="none" spc="0" normalizeH="0" baseline="0" noProof="0" dirty="0" err="1">
                <a:ln>
                  <a:noFill/>
                </a:ln>
                <a:solidFill>
                  <a:srgbClr val="0000FF"/>
                </a:solidFill>
                <a:effectLst/>
                <a:uLnTx/>
                <a:uFillTx/>
                <a:latin typeface="Arial"/>
                <a:ea typeface="+mn-ea"/>
                <a:cs typeface="+mn-cs"/>
              </a:rPr>
              <a:t>the</a:t>
            </a:r>
            <a:r>
              <a:rPr kumimoji="0" lang="de-DE" sz="2400" b="1" i="0" u="none" strike="noStrike" kern="1200" cap="none" spc="0" normalizeH="0" baseline="0" noProof="0" dirty="0">
                <a:ln>
                  <a:noFill/>
                </a:ln>
                <a:solidFill>
                  <a:srgbClr val="0000FF"/>
                </a:solidFill>
                <a:effectLst/>
                <a:uLnTx/>
                <a:uFillTx/>
                <a:latin typeface="Arial"/>
                <a:ea typeface="+mn-ea"/>
                <a:cs typeface="+mn-cs"/>
              </a:rPr>
              <a:t> Horizontal </a:t>
            </a:r>
            <a:r>
              <a:rPr kumimoji="0" lang="de-DE" sz="2400" b="1" i="0" u="none" strike="noStrike" kern="1200" cap="none" spc="0" normalizeH="0" baseline="0" noProof="0" dirty="0" err="1">
                <a:ln>
                  <a:noFill/>
                </a:ln>
                <a:solidFill>
                  <a:srgbClr val="0000FF"/>
                </a:solidFill>
                <a:effectLst/>
                <a:uLnTx/>
                <a:uFillTx/>
                <a:latin typeface="Arial"/>
                <a:ea typeface="+mn-ea"/>
                <a:cs typeface="+mn-cs"/>
              </a:rPr>
              <a:t>Feedwater</a:t>
            </a:r>
            <a:r>
              <a:rPr kumimoji="0" lang="de-DE" sz="2400" b="1" i="0" u="none" strike="noStrike" kern="1200" cap="none" spc="0" normalizeH="0" baseline="0" noProof="0" dirty="0">
                <a:ln>
                  <a:noFill/>
                </a:ln>
                <a:solidFill>
                  <a:srgbClr val="0000FF"/>
                </a:solidFill>
                <a:effectLst/>
                <a:uLnTx/>
                <a:uFillTx/>
                <a:latin typeface="Arial"/>
                <a:ea typeface="+mn-ea"/>
                <a:cs typeface="+mn-cs"/>
              </a:rPr>
              <a:t> Pump OL3</a:t>
            </a:r>
          </a:p>
          <a:p>
            <a:pPr marL="0" marR="0" lvl="0" indent="0" algn="l" defTabSz="914400" rtl="0" eaLnBrk="0" fontAlgn="base" latinLnBrk="0" hangingPunct="0">
              <a:lnSpc>
                <a:spcPct val="100000"/>
              </a:lnSpc>
              <a:spcBef>
                <a:spcPct val="0"/>
              </a:spcBef>
              <a:spcAft>
                <a:spcPct val="0"/>
              </a:spcAft>
              <a:buClrTx/>
              <a:buSzTx/>
              <a:buFontTx/>
              <a:buNone/>
              <a:tabLst/>
              <a:defRPr/>
            </a:pPr>
            <a:r>
              <a:rPr lang="de-DE" sz="2400" b="0" dirty="0" err="1">
                <a:latin typeface="Arial"/>
              </a:rPr>
              <a:t>Comparison</a:t>
            </a:r>
            <a:r>
              <a:rPr lang="de-DE" sz="2400" b="0" dirty="0">
                <a:latin typeface="Arial"/>
              </a:rPr>
              <a:t> </a:t>
            </a:r>
            <a:r>
              <a:rPr lang="de-DE" sz="2400" b="0" dirty="0" err="1">
                <a:latin typeface="Arial"/>
              </a:rPr>
              <a:t>of</a:t>
            </a:r>
            <a:r>
              <a:rPr lang="de-DE" sz="2400" b="0" dirty="0">
                <a:latin typeface="Arial"/>
              </a:rPr>
              <a:t> </a:t>
            </a:r>
            <a:r>
              <a:rPr lang="de-DE" sz="2400" b="0" dirty="0" err="1">
                <a:latin typeface="Arial"/>
              </a:rPr>
              <a:t>the</a:t>
            </a:r>
            <a:r>
              <a:rPr lang="de-DE" sz="2400" b="0" dirty="0">
                <a:latin typeface="Arial"/>
              </a:rPr>
              <a:t> Natural </a:t>
            </a:r>
            <a:r>
              <a:rPr lang="de-DE" sz="2400" b="0" dirty="0" err="1">
                <a:latin typeface="Arial"/>
              </a:rPr>
              <a:t>Frequencies</a:t>
            </a:r>
            <a:r>
              <a:rPr lang="de-DE" sz="2400" b="0" dirty="0">
                <a:latin typeface="Arial"/>
              </a:rPr>
              <a:t> </a:t>
            </a:r>
            <a:r>
              <a:rPr lang="de-DE" sz="2400" b="0" dirty="0" err="1">
                <a:latin typeface="Arial"/>
              </a:rPr>
              <a:t>for</a:t>
            </a:r>
            <a:r>
              <a:rPr lang="de-DE" sz="2400" b="0" dirty="0">
                <a:latin typeface="Arial"/>
              </a:rPr>
              <a:t> </a:t>
            </a:r>
            <a:r>
              <a:rPr lang="de-DE" sz="2400" b="0" dirty="0" err="1">
                <a:latin typeface="Arial"/>
              </a:rPr>
              <a:t>the</a:t>
            </a:r>
            <a:r>
              <a:rPr lang="de-DE" sz="2400" b="0" dirty="0">
                <a:latin typeface="Arial"/>
              </a:rPr>
              <a:t> </a:t>
            </a:r>
            <a:r>
              <a:rPr lang="de-DE" sz="2400" b="0" dirty="0" err="1">
                <a:latin typeface="Arial"/>
              </a:rPr>
              <a:t>free-free</a:t>
            </a:r>
            <a:r>
              <a:rPr lang="de-DE" sz="2400" b="0" dirty="0">
                <a:latin typeface="Arial"/>
              </a:rPr>
              <a:t>  pump </a:t>
            </a:r>
            <a:r>
              <a:rPr lang="de-DE" sz="2400" b="0" dirty="0" err="1">
                <a:latin typeface="Arial"/>
              </a:rPr>
              <a:t>shaft</a:t>
            </a:r>
            <a:endParaRPr kumimoji="0" lang="de-DE" sz="2400" b="0" i="0" u="none" strike="noStrike" kern="1200" cap="none" spc="0" normalizeH="0" baseline="0" noProof="0" dirty="0">
              <a:ln>
                <a:noFill/>
              </a:ln>
              <a:effectLst/>
              <a:uLnTx/>
              <a:uFillTx/>
              <a:latin typeface="Arial"/>
              <a:ea typeface="+mn-ea"/>
              <a:cs typeface="+mn-cs"/>
            </a:endParaRPr>
          </a:p>
        </p:txBody>
      </p:sp>
      <p:cxnSp>
        <p:nvCxnSpPr>
          <p:cNvPr id="8" name="Gerade Verbindung mit Pfeil 7">
            <a:extLst>
              <a:ext uri="{FF2B5EF4-FFF2-40B4-BE49-F238E27FC236}">
                <a16:creationId xmlns:a16="http://schemas.microsoft.com/office/drawing/2014/main" id="{2F5D1F29-3372-DBBD-82CC-E39211BB89A7}"/>
              </a:ext>
            </a:extLst>
          </p:cNvPr>
          <p:cNvCxnSpPr>
            <a:cxnSpLocks/>
          </p:cNvCxnSpPr>
          <p:nvPr/>
        </p:nvCxnSpPr>
        <p:spPr>
          <a:xfrm>
            <a:off x="4042229" y="5408991"/>
            <a:ext cx="943428" cy="0"/>
          </a:xfrm>
          <a:prstGeom prst="straightConnector1">
            <a:avLst/>
          </a:prstGeom>
          <a:ln w="762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8" name="Gerade Verbindung mit Pfeil 17">
            <a:extLst>
              <a:ext uri="{FF2B5EF4-FFF2-40B4-BE49-F238E27FC236}">
                <a16:creationId xmlns:a16="http://schemas.microsoft.com/office/drawing/2014/main" id="{A46F4466-0ED4-856F-B0CD-140A1E82DAD5}"/>
              </a:ext>
            </a:extLst>
          </p:cNvPr>
          <p:cNvCxnSpPr>
            <a:cxnSpLocks/>
          </p:cNvCxnSpPr>
          <p:nvPr/>
        </p:nvCxnSpPr>
        <p:spPr>
          <a:xfrm flipH="1">
            <a:off x="11016343" y="5413829"/>
            <a:ext cx="914400" cy="0"/>
          </a:xfrm>
          <a:prstGeom prst="straightConnector1">
            <a:avLst/>
          </a:prstGeom>
          <a:ln w="762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4" name="Gerade Verbindung mit Pfeil 3">
            <a:extLst>
              <a:ext uri="{FF2B5EF4-FFF2-40B4-BE49-F238E27FC236}">
                <a16:creationId xmlns:a16="http://schemas.microsoft.com/office/drawing/2014/main" id="{71F79EA0-4D44-45C5-5D36-4BB01B635753}"/>
              </a:ext>
            </a:extLst>
          </p:cNvPr>
          <p:cNvCxnSpPr>
            <a:cxnSpLocks/>
          </p:cNvCxnSpPr>
          <p:nvPr/>
        </p:nvCxnSpPr>
        <p:spPr>
          <a:xfrm>
            <a:off x="4042229" y="4563534"/>
            <a:ext cx="957942" cy="0"/>
          </a:xfrm>
          <a:prstGeom prst="straightConnector1">
            <a:avLst/>
          </a:prstGeom>
          <a:ln w="762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6" name="Gerade Verbindung mit Pfeil 5">
            <a:extLst>
              <a:ext uri="{FF2B5EF4-FFF2-40B4-BE49-F238E27FC236}">
                <a16:creationId xmlns:a16="http://schemas.microsoft.com/office/drawing/2014/main" id="{E5B54AED-E834-44EC-549C-8E64D33FB88E}"/>
              </a:ext>
            </a:extLst>
          </p:cNvPr>
          <p:cNvCxnSpPr>
            <a:cxnSpLocks/>
          </p:cNvCxnSpPr>
          <p:nvPr/>
        </p:nvCxnSpPr>
        <p:spPr>
          <a:xfrm flipH="1">
            <a:off x="11016343" y="4563534"/>
            <a:ext cx="943429" cy="0"/>
          </a:xfrm>
          <a:prstGeom prst="straightConnector1">
            <a:avLst/>
          </a:prstGeom>
          <a:ln w="762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5427414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Grafik 1">
            <a:extLst>
              <a:ext uri="{FF2B5EF4-FFF2-40B4-BE49-F238E27FC236}">
                <a16:creationId xmlns:a16="http://schemas.microsoft.com/office/drawing/2014/main" id="{AA86292E-4AD8-3A88-9D35-0EBC497E6603}"/>
              </a:ext>
            </a:extLst>
          </p:cNvPr>
          <p:cNvPicPr>
            <a:picLocks noChangeAspect="1"/>
          </p:cNvPicPr>
          <p:nvPr/>
        </p:nvPicPr>
        <p:blipFill>
          <a:blip r:embed="rId2"/>
          <a:stretch>
            <a:fillRect/>
          </a:stretch>
        </p:blipFill>
        <p:spPr>
          <a:xfrm>
            <a:off x="1789045" y="1081836"/>
            <a:ext cx="8736325" cy="4694327"/>
          </a:xfrm>
          <a:prstGeom prst="rect">
            <a:avLst/>
          </a:prstGeom>
        </p:spPr>
      </p:pic>
      <p:sp>
        <p:nvSpPr>
          <p:cNvPr id="3" name="Textfeld 2">
            <a:extLst>
              <a:ext uri="{FF2B5EF4-FFF2-40B4-BE49-F238E27FC236}">
                <a16:creationId xmlns:a16="http://schemas.microsoft.com/office/drawing/2014/main" id="{D1594DC3-F681-1217-A502-18F9632D6301}"/>
              </a:ext>
            </a:extLst>
          </p:cNvPr>
          <p:cNvSpPr txBox="1"/>
          <p:nvPr/>
        </p:nvSpPr>
        <p:spPr>
          <a:xfrm>
            <a:off x="624114" y="116896"/>
            <a:ext cx="11263085" cy="830997"/>
          </a:xfrm>
          <a:prstGeom prst="rect">
            <a:avLst/>
          </a:prstGeom>
          <a:noFill/>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de-DE" sz="2400" b="1" i="0" u="none" strike="noStrike" kern="1200" cap="none" spc="0" normalizeH="0" baseline="0" noProof="0" dirty="0" err="1">
                <a:ln>
                  <a:noFill/>
                </a:ln>
                <a:solidFill>
                  <a:srgbClr val="0000FF"/>
                </a:solidFill>
                <a:effectLst/>
                <a:uLnTx/>
                <a:uFillTx/>
                <a:latin typeface="Arial"/>
                <a:ea typeface="+mn-ea"/>
                <a:cs typeface="+mn-cs"/>
              </a:rPr>
              <a:t>Measured</a:t>
            </a:r>
            <a:r>
              <a:rPr kumimoji="0" lang="de-DE" sz="2400" b="1" i="0" u="none" strike="noStrike" kern="1200" cap="none" spc="0" normalizeH="0" baseline="0" noProof="0" dirty="0">
                <a:ln>
                  <a:noFill/>
                </a:ln>
                <a:solidFill>
                  <a:srgbClr val="0000FF"/>
                </a:solidFill>
                <a:effectLst/>
                <a:uLnTx/>
                <a:uFillTx/>
                <a:latin typeface="Arial"/>
                <a:ea typeface="+mn-ea"/>
                <a:cs typeface="+mn-cs"/>
              </a:rPr>
              <a:t> and </a:t>
            </a:r>
            <a:r>
              <a:rPr kumimoji="0" lang="de-DE" sz="2400" b="1" i="0" u="none" strike="noStrike" kern="1200" cap="none" spc="0" normalizeH="0" baseline="0" noProof="0" dirty="0" err="1">
                <a:ln>
                  <a:noFill/>
                </a:ln>
                <a:solidFill>
                  <a:srgbClr val="0000FF"/>
                </a:solidFill>
                <a:effectLst/>
                <a:uLnTx/>
                <a:uFillTx/>
                <a:latin typeface="Arial"/>
                <a:ea typeface="+mn-ea"/>
                <a:cs typeface="+mn-cs"/>
              </a:rPr>
              <a:t>Calculated</a:t>
            </a:r>
            <a:r>
              <a:rPr kumimoji="0" lang="de-DE" sz="2400" b="1" i="0" u="none" strike="noStrike" kern="1200" cap="none" spc="0" normalizeH="0" baseline="0" noProof="0" dirty="0">
                <a:ln>
                  <a:noFill/>
                </a:ln>
                <a:solidFill>
                  <a:srgbClr val="0000FF"/>
                </a:solidFill>
                <a:effectLst/>
                <a:uLnTx/>
                <a:uFillTx/>
                <a:latin typeface="Arial"/>
                <a:ea typeface="+mn-ea"/>
                <a:cs typeface="+mn-cs"/>
              </a:rPr>
              <a:t> </a:t>
            </a:r>
            <a:r>
              <a:rPr kumimoji="0" lang="de-DE" sz="2400" b="1" i="0" u="none" strike="noStrike" kern="1200" cap="none" spc="0" normalizeH="0" baseline="0" noProof="0" dirty="0" err="1">
                <a:ln>
                  <a:noFill/>
                </a:ln>
                <a:solidFill>
                  <a:srgbClr val="0000FF"/>
                </a:solidFill>
                <a:effectLst/>
                <a:uLnTx/>
                <a:uFillTx/>
                <a:latin typeface="Arial"/>
                <a:ea typeface="+mn-ea"/>
                <a:cs typeface="+mn-cs"/>
              </a:rPr>
              <a:t>Vibrations</a:t>
            </a:r>
            <a:r>
              <a:rPr kumimoji="0" lang="de-DE" sz="2400" b="1" i="0" u="none" strike="noStrike" kern="1200" cap="none" spc="0" normalizeH="0" baseline="0" noProof="0" dirty="0">
                <a:ln>
                  <a:noFill/>
                </a:ln>
                <a:solidFill>
                  <a:srgbClr val="0000FF"/>
                </a:solidFill>
                <a:effectLst/>
                <a:uLnTx/>
                <a:uFillTx/>
                <a:latin typeface="Arial"/>
                <a:ea typeface="+mn-ea"/>
                <a:cs typeface="+mn-cs"/>
              </a:rPr>
              <a:t> </a:t>
            </a:r>
            <a:r>
              <a:rPr kumimoji="0" lang="de-DE" sz="2400" b="1" i="0" u="none" strike="noStrike" kern="1200" cap="none" spc="0" normalizeH="0" baseline="0" noProof="0" dirty="0" err="1">
                <a:ln>
                  <a:noFill/>
                </a:ln>
                <a:solidFill>
                  <a:srgbClr val="0000FF"/>
                </a:solidFill>
                <a:effectLst/>
                <a:uLnTx/>
                <a:uFillTx/>
                <a:latin typeface="Arial"/>
                <a:ea typeface="+mn-ea"/>
                <a:cs typeface="+mn-cs"/>
              </a:rPr>
              <a:t>of</a:t>
            </a:r>
            <a:r>
              <a:rPr kumimoji="0" lang="de-DE" sz="2400" b="1" i="0" u="none" strike="noStrike" kern="1200" cap="none" spc="0" normalizeH="0" baseline="0" noProof="0" dirty="0">
                <a:ln>
                  <a:noFill/>
                </a:ln>
                <a:solidFill>
                  <a:srgbClr val="0000FF"/>
                </a:solidFill>
                <a:effectLst/>
                <a:uLnTx/>
                <a:uFillTx/>
                <a:latin typeface="Arial"/>
                <a:ea typeface="+mn-ea"/>
                <a:cs typeface="+mn-cs"/>
              </a:rPr>
              <a:t> </a:t>
            </a:r>
            <a:r>
              <a:rPr kumimoji="0" lang="de-DE" sz="2400" b="1" i="0" u="none" strike="noStrike" kern="1200" cap="none" spc="0" normalizeH="0" baseline="0" noProof="0" dirty="0" err="1">
                <a:ln>
                  <a:noFill/>
                </a:ln>
                <a:solidFill>
                  <a:srgbClr val="0000FF"/>
                </a:solidFill>
                <a:effectLst/>
                <a:uLnTx/>
                <a:uFillTx/>
                <a:latin typeface="Arial"/>
                <a:ea typeface="+mn-ea"/>
                <a:cs typeface="+mn-cs"/>
              </a:rPr>
              <a:t>the</a:t>
            </a:r>
            <a:r>
              <a:rPr kumimoji="0" lang="de-DE" sz="2400" b="1" i="0" u="none" strike="noStrike" kern="1200" cap="none" spc="0" normalizeH="0" baseline="0" noProof="0" dirty="0">
                <a:ln>
                  <a:noFill/>
                </a:ln>
                <a:solidFill>
                  <a:srgbClr val="0000FF"/>
                </a:solidFill>
                <a:effectLst/>
                <a:uLnTx/>
                <a:uFillTx/>
                <a:latin typeface="Arial"/>
                <a:ea typeface="+mn-ea"/>
                <a:cs typeface="+mn-cs"/>
              </a:rPr>
              <a:t> Horizontal </a:t>
            </a:r>
            <a:r>
              <a:rPr kumimoji="0" lang="de-DE" sz="2400" b="1" i="0" u="none" strike="noStrike" kern="1200" cap="none" spc="0" normalizeH="0" baseline="0" noProof="0" dirty="0" err="1">
                <a:ln>
                  <a:noFill/>
                </a:ln>
                <a:solidFill>
                  <a:srgbClr val="0000FF"/>
                </a:solidFill>
                <a:effectLst/>
                <a:uLnTx/>
                <a:uFillTx/>
                <a:latin typeface="Arial"/>
                <a:ea typeface="+mn-ea"/>
                <a:cs typeface="+mn-cs"/>
              </a:rPr>
              <a:t>Feedwater</a:t>
            </a:r>
            <a:r>
              <a:rPr kumimoji="0" lang="de-DE" sz="2400" b="1" i="0" u="none" strike="noStrike" kern="1200" cap="none" spc="0" normalizeH="0" baseline="0" noProof="0" dirty="0">
                <a:ln>
                  <a:noFill/>
                </a:ln>
                <a:solidFill>
                  <a:srgbClr val="0000FF"/>
                </a:solidFill>
                <a:effectLst/>
                <a:uLnTx/>
                <a:uFillTx/>
                <a:latin typeface="Arial"/>
                <a:ea typeface="+mn-ea"/>
                <a:cs typeface="+mn-cs"/>
              </a:rPr>
              <a:t> Pump OL3 </a:t>
            </a:r>
            <a:r>
              <a:rPr lang="de-DE" sz="2400" b="0" dirty="0">
                <a:latin typeface="Arial"/>
              </a:rPr>
              <a:t>Mode Shape at 533 Hz </a:t>
            </a:r>
            <a:r>
              <a:rPr lang="de-DE" sz="2400" b="0" dirty="0" err="1">
                <a:latin typeface="Arial"/>
              </a:rPr>
              <a:t>for</a:t>
            </a:r>
            <a:r>
              <a:rPr lang="de-DE" sz="2400" b="0" dirty="0">
                <a:latin typeface="Arial"/>
              </a:rPr>
              <a:t> </a:t>
            </a:r>
            <a:r>
              <a:rPr lang="de-DE" sz="2400" b="0" dirty="0" err="1">
                <a:latin typeface="Arial"/>
              </a:rPr>
              <a:t>the</a:t>
            </a:r>
            <a:r>
              <a:rPr lang="de-DE" sz="2400" b="0" dirty="0">
                <a:latin typeface="Arial"/>
              </a:rPr>
              <a:t> </a:t>
            </a:r>
            <a:r>
              <a:rPr lang="de-DE" sz="2400" b="0" dirty="0" err="1">
                <a:latin typeface="Arial"/>
              </a:rPr>
              <a:t>free</a:t>
            </a:r>
            <a:r>
              <a:rPr lang="de-DE" sz="2400" b="0" dirty="0">
                <a:latin typeface="Arial"/>
              </a:rPr>
              <a:t> </a:t>
            </a:r>
            <a:r>
              <a:rPr lang="de-DE" sz="2400" b="0" dirty="0" err="1">
                <a:latin typeface="Arial"/>
              </a:rPr>
              <a:t>free</a:t>
            </a:r>
            <a:r>
              <a:rPr lang="de-DE" sz="2400" b="0" dirty="0">
                <a:latin typeface="Arial"/>
              </a:rPr>
              <a:t> Pump </a:t>
            </a:r>
            <a:r>
              <a:rPr lang="de-DE" sz="2400" b="0" dirty="0" err="1">
                <a:latin typeface="Arial"/>
              </a:rPr>
              <a:t>shaft</a:t>
            </a:r>
            <a:endParaRPr kumimoji="0" lang="de-DE" sz="2400" b="0" i="0" u="none" strike="noStrike" kern="1200" cap="none" spc="0" normalizeH="0" baseline="0" noProof="0" dirty="0">
              <a:ln>
                <a:noFill/>
              </a:ln>
              <a:effectLst/>
              <a:uLnTx/>
              <a:uFillTx/>
              <a:latin typeface="Arial"/>
              <a:ea typeface="+mn-ea"/>
              <a:cs typeface="+mn-cs"/>
            </a:endParaRPr>
          </a:p>
        </p:txBody>
      </p:sp>
      <p:cxnSp>
        <p:nvCxnSpPr>
          <p:cNvPr id="6" name="Gerader Verbinder 5">
            <a:extLst>
              <a:ext uri="{FF2B5EF4-FFF2-40B4-BE49-F238E27FC236}">
                <a16:creationId xmlns:a16="http://schemas.microsoft.com/office/drawing/2014/main" id="{F0A98439-B752-050D-725A-3ACF29D75CEF}"/>
              </a:ext>
            </a:extLst>
          </p:cNvPr>
          <p:cNvCxnSpPr>
            <a:cxnSpLocks/>
          </p:cNvCxnSpPr>
          <p:nvPr/>
        </p:nvCxnSpPr>
        <p:spPr>
          <a:xfrm>
            <a:off x="2061029" y="1582057"/>
            <a:ext cx="8084457" cy="0"/>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9" name="Gerader Verbinder 8">
            <a:extLst>
              <a:ext uri="{FF2B5EF4-FFF2-40B4-BE49-F238E27FC236}">
                <a16:creationId xmlns:a16="http://schemas.microsoft.com/office/drawing/2014/main" id="{04A3F0F1-A8DD-823C-C359-0D667E6A0DBE}"/>
              </a:ext>
            </a:extLst>
          </p:cNvPr>
          <p:cNvCxnSpPr>
            <a:cxnSpLocks/>
          </p:cNvCxnSpPr>
          <p:nvPr/>
        </p:nvCxnSpPr>
        <p:spPr>
          <a:xfrm>
            <a:off x="2061029" y="3617685"/>
            <a:ext cx="8084457" cy="0"/>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sp>
        <p:nvSpPr>
          <p:cNvPr id="12" name="Textfeld 11">
            <a:extLst>
              <a:ext uri="{FF2B5EF4-FFF2-40B4-BE49-F238E27FC236}">
                <a16:creationId xmlns:a16="http://schemas.microsoft.com/office/drawing/2014/main" id="{B68979A7-8B28-4AA0-FF20-9679D7BDAF20}"/>
              </a:ext>
            </a:extLst>
          </p:cNvPr>
          <p:cNvSpPr txBox="1"/>
          <p:nvPr/>
        </p:nvSpPr>
        <p:spPr>
          <a:xfrm>
            <a:off x="10253385" y="2338262"/>
            <a:ext cx="1324402" cy="523220"/>
          </a:xfrm>
          <a:prstGeom prst="rect">
            <a:avLst/>
          </a:prstGeom>
          <a:noFill/>
        </p:spPr>
        <p:txBody>
          <a:bodyPr wrap="none" rtlCol="0">
            <a:spAutoFit/>
          </a:bodyPr>
          <a:lstStyle/>
          <a:p>
            <a:r>
              <a:rPr lang="de-DE" sz="2800" dirty="0">
                <a:solidFill>
                  <a:srgbClr val="0000FF"/>
                </a:solidFill>
                <a:latin typeface="+mn-lt"/>
              </a:rPr>
              <a:t>533 Hz</a:t>
            </a:r>
          </a:p>
        </p:txBody>
      </p:sp>
      <p:cxnSp>
        <p:nvCxnSpPr>
          <p:cNvPr id="14" name="Gerader Verbinder 13">
            <a:extLst>
              <a:ext uri="{FF2B5EF4-FFF2-40B4-BE49-F238E27FC236}">
                <a16:creationId xmlns:a16="http://schemas.microsoft.com/office/drawing/2014/main" id="{5968F352-93D7-FFCC-BFD9-487FA1E6D226}"/>
              </a:ext>
            </a:extLst>
          </p:cNvPr>
          <p:cNvCxnSpPr>
            <a:cxnSpLocks/>
          </p:cNvCxnSpPr>
          <p:nvPr/>
        </p:nvCxnSpPr>
        <p:spPr>
          <a:xfrm>
            <a:off x="2061029" y="1582057"/>
            <a:ext cx="0" cy="2035628"/>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8" name="Gerader Verbinder 17">
            <a:extLst>
              <a:ext uri="{FF2B5EF4-FFF2-40B4-BE49-F238E27FC236}">
                <a16:creationId xmlns:a16="http://schemas.microsoft.com/office/drawing/2014/main" id="{3C31B57A-9BA1-CB10-EDA5-0874BE583442}"/>
              </a:ext>
            </a:extLst>
          </p:cNvPr>
          <p:cNvCxnSpPr>
            <a:cxnSpLocks/>
          </p:cNvCxnSpPr>
          <p:nvPr/>
        </p:nvCxnSpPr>
        <p:spPr>
          <a:xfrm>
            <a:off x="10145486" y="1582057"/>
            <a:ext cx="0" cy="2035628"/>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0708584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el 3">
            <a:extLst>
              <a:ext uri="{FF2B5EF4-FFF2-40B4-BE49-F238E27FC236}">
                <a16:creationId xmlns:a16="http://schemas.microsoft.com/office/drawing/2014/main" id="{8EC3160C-2A66-E772-1B65-C360C8E9B60A}"/>
              </a:ext>
            </a:extLst>
          </p:cNvPr>
          <p:cNvSpPr txBox="1">
            <a:spLocks/>
          </p:cNvSpPr>
          <p:nvPr/>
        </p:nvSpPr>
        <p:spPr bwMode="auto">
          <a:xfrm>
            <a:off x="1893888" y="2555875"/>
            <a:ext cx="6877050" cy="838200"/>
          </a:xfrm>
          <a:prstGeom prst="rect">
            <a:avLst/>
          </a:prstGeom>
          <a:noFill/>
          <a:ln w="9525">
            <a:noFill/>
            <a:miter lim="800000"/>
            <a:headEnd/>
            <a:tailEnd/>
          </a:ln>
          <a:effectLst/>
        </p:spPr>
        <p:txBody>
          <a:bodyPr lIns="0" tIns="0" rIns="0" bIns="0"/>
          <a:lstStyle/>
          <a:p>
            <a:pPr marL="0" marR="0" lvl="0" indent="0" algn="l" defTabSz="914400" rtl="0" eaLnBrk="1" fontAlgn="base" latinLnBrk="0" hangingPunct="1">
              <a:lnSpc>
                <a:spcPct val="100000"/>
              </a:lnSpc>
              <a:spcBef>
                <a:spcPct val="0"/>
              </a:spcBef>
              <a:spcAft>
                <a:spcPct val="0"/>
              </a:spcAft>
              <a:buClrTx/>
              <a:buSzTx/>
              <a:buFontTx/>
              <a:buNone/>
              <a:tabLst/>
              <a:defRPr/>
            </a:pPr>
            <a:br>
              <a:rPr kumimoji="0" lang="de-DE" sz="2000" b="1" i="0" u="none" strike="noStrike" kern="0" cap="none" spc="0" normalizeH="0" baseline="0" noProof="0" dirty="0">
                <a:ln>
                  <a:noFill/>
                </a:ln>
                <a:solidFill>
                  <a:srgbClr val="000000"/>
                </a:solidFill>
                <a:effectLst/>
                <a:uLnTx/>
                <a:uFillTx/>
                <a:latin typeface="Arial"/>
                <a:ea typeface="+mn-ea"/>
                <a:cs typeface="+mn-cs"/>
              </a:rPr>
            </a:br>
            <a:r>
              <a:rPr kumimoji="0" lang="de-DE" sz="2000" b="1" i="0" u="none" strike="noStrike" kern="0" cap="none" spc="0" normalizeH="0" baseline="0" noProof="0" dirty="0">
                <a:ln>
                  <a:noFill/>
                </a:ln>
                <a:solidFill>
                  <a:srgbClr val="000000"/>
                </a:solidFill>
                <a:effectLst/>
                <a:uLnTx/>
                <a:uFillTx/>
                <a:latin typeface="Arial"/>
                <a:ea typeface="+mn-ea"/>
                <a:cs typeface="+mn-cs"/>
              </a:rPr>
              <a:t>		</a:t>
            </a:r>
          </a:p>
        </p:txBody>
      </p:sp>
      <p:sp>
        <p:nvSpPr>
          <p:cNvPr id="5" name="Textfeld 4">
            <a:extLst>
              <a:ext uri="{FF2B5EF4-FFF2-40B4-BE49-F238E27FC236}">
                <a16:creationId xmlns:a16="http://schemas.microsoft.com/office/drawing/2014/main" id="{07240E44-DC61-FF18-3D6B-E62916EA6331}"/>
              </a:ext>
            </a:extLst>
          </p:cNvPr>
          <p:cNvSpPr txBox="1">
            <a:spLocks noChangeArrowheads="1"/>
          </p:cNvSpPr>
          <p:nvPr/>
        </p:nvSpPr>
        <p:spPr bwMode="auto">
          <a:xfrm>
            <a:off x="785348" y="1097895"/>
            <a:ext cx="11020572" cy="5940088"/>
          </a:xfrm>
          <a:prstGeom prst="rect">
            <a:avLst/>
          </a:prstGeom>
          <a:noFill/>
          <a:ln>
            <a:noFill/>
          </a:ln>
        </p:spPr>
        <p:txBody>
          <a:bodyPr wrap="square">
            <a:spAutoFit/>
          </a:bodyPr>
          <a:lstStyle>
            <a:lvl1pPr marL="361950" indent="-361950" eaLnBrk="0" hangingPunct="0">
              <a:defRPr b="1">
                <a:solidFill>
                  <a:schemeClr val="tx1"/>
                </a:solidFill>
                <a:latin typeface="Verdana" pitchFamily="34" charset="0"/>
              </a:defRPr>
            </a:lvl1pPr>
            <a:lvl2pPr marL="742950" indent="-285750" eaLnBrk="0" hangingPunct="0">
              <a:defRPr b="1">
                <a:solidFill>
                  <a:schemeClr val="tx1"/>
                </a:solidFill>
                <a:latin typeface="Verdana" pitchFamily="34" charset="0"/>
              </a:defRPr>
            </a:lvl2pPr>
            <a:lvl3pPr marL="1143000" indent="-228600" eaLnBrk="0" hangingPunct="0">
              <a:defRPr b="1">
                <a:solidFill>
                  <a:schemeClr val="tx1"/>
                </a:solidFill>
                <a:latin typeface="Verdana" pitchFamily="34" charset="0"/>
              </a:defRPr>
            </a:lvl3pPr>
            <a:lvl4pPr marL="1600200" indent="-228600" eaLnBrk="0" hangingPunct="0">
              <a:defRPr b="1">
                <a:solidFill>
                  <a:schemeClr val="tx1"/>
                </a:solidFill>
                <a:latin typeface="Verdana" pitchFamily="34" charset="0"/>
              </a:defRPr>
            </a:lvl4pPr>
            <a:lvl5pPr marL="2057400" indent="-228600" eaLnBrk="0" hangingPunct="0">
              <a:defRPr b="1">
                <a:solidFill>
                  <a:schemeClr val="tx1"/>
                </a:solidFill>
                <a:latin typeface="Verdana" pitchFamily="34" charset="0"/>
              </a:defRPr>
            </a:lvl5pPr>
            <a:lvl6pPr marL="2514600" indent="-228600" eaLnBrk="0" fontAlgn="base" hangingPunct="0">
              <a:spcBef>
                <a:spcPct val="0"/>
              </a:spcBef>
              <a:spcAft>
                <a:spcPct val="0"/>
              </a:spcAft>
              <a:defRPr b="1">
                <a:solidFill>
                  <a:schemeClr val="tx1"/>
                </a:solidFill>
                <a:latin typeface="Verdana" pitchFamily="34" charset="0"/>
              </a:defRPr>
            </a:lvl6pPr>
            <a:lvl7pPr marL="2971800" indent="-228600" eaLnBrk="0" fontAlgn="base" hangingPunct="0">
              <a:spcBef>
                <a:spcPct val="0"/>
              </a:spcBef>
              <a:spcAft>
                <a:spcPct val="0"/>
              </a:spcAft>
              <a:defRPr b="1">
                <a:solidFill>
                  <a:schemeClr val="tx1"/>
                </a:solidFill>
                <a:latin typeface="Verdana" pitchFamily="34" charset="0"/>
              </a:defRPr>
            </a:lvl7pPr>
            <a:lvl8pPr marL="3429000" indent="-228600" eaLnBrk="0" fontAlgn="base" hangingPunct="0">
              <a:spcBef>
                <a:spcPct val="0"/>
              </a:spcBef>
              <a:spcAft>
                <a:spcPct val="0"/>
              </a:spcAft>
              <a:defRPr b="1">
                <a:solidFill>
                  <a:schemeClr val="tx1"/>
                </a:solidFill>
                <a:latin typeface="Verdana" pitchFamily="34" charset="0"/>
              </a:defRPr>
            </a:lvl8pPr>
            <a:lvl9pPr marL="3886200" indent="-228600" eaLnBrk="0" fontAlgn="base" hangingPunct="0">
              <a:spcBef>
                <a:spcPct val="0"/>
              </a:spcBef>
              <a:spcAft>
                <a:spcPct val="0"/>
              </a:spcAft>
              <a:defRPr b="1">
                <a:solidFill>
                  <a:schemeClr val="tx1"/>
                </a:solidFill>
                <a:latin typeface="Verdana"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de-DE" altLang="de-DE" sz="2000" b="1" i="0" u="none" strike="noStrike" kern="1200" cap="none" spc="0" normalizeH="0" baseline="0" noProof="0" dirty="0">
              <a:ln>
                <a:noFill/>
              </a:ln>
              <a:solidFill>
                <a:srgbClr val="000000"/>
              </a:solidFill>
              <a:effectLst/>
              <a:uLnTx/>
              <a:uFillTx/>
              <a:latin typeface="Arial" charset="0"/>
              <a:ea typeface="+mn-ea"/>
              <a:cs typeface="+mn-cs"/>
            </a:endParaRPr>
          </a:p>
          <a:p>
            <a:pPr marL="361950" marR="0" lvl="0" indent="-361950" algn="l" defTabSz="914400" rtl="0" eaLnBrk="1" fontAlgn="base" latinLnBrk="0" hangingPunct="1">
              <a:lnSpc>
                <a:spcPct val="100000"/>
              </a:lnSpc>
              <a:spcBef>
                <a:spcPct val="0"/>
              </a:spcBef>
              <a:spcAft>
                <a:spcPct val="0"/>
              </a:spcAft>
              <a:buClrTx/>
              <a:buSzTx/>
              <a:buFont typeface="Wingdings" pitchFamily="2" charset="2"/>
              <a:buChar char="Ø"/>
              <a:tabLst/>
              <a:defRPr/>
            </a:pPr>
            <a:r>
              <a:rPr kumimoji="0" lang="de-DE" altLang="de-DE" sz="2400" b="1" i="0" u="none" strike="noStrike" kern="1200" cap="none" spc="0" normalizeH="0" baseline="0" noProof="0" dirty="0" err="1">
                <a:ln>
                  <a:noFill/>
                </a:ln>
                <a:effectLst/>
                <a:uLnTx/>
                <a:uFillTx/>
                <a:latin typeface="Arial" charset="0"/>
                <a:ea typeface="+mn-ea"/>
                <a:cs typeface="+mn-cs"/>
              </a:rPr>
              <a:t>Vertical</a:t>
            </a:r>
            <a:r>
              <a:rPr kumimoji="0" lang="de-DE" altLang="de-DE" sz="2400" b="1" i="0" u="none" strike="noStrike" kern="1200" cap="none" spc="0" normalizeH="0" baseline="0" noProof="0" dirty="0">
                <a:ln>
                  <a:noFill/>
                </a:ln>
                <a:effectLst/>
                <a:uLnTx/>
                <a:uFillTx/>
                <a:latin typeface="Arial" charset="0"/>
                <a:ea typeface="+mn-ea"/>
                <a:cs typeface="+mn-cs"/>
              </a:rPr>
              <a:t> and Horizontal Pump</a:t>
            </a:r>
            <a:r>
              <a:rPr kumimoji="0" lang="de-DE" altLang="de-DE" sz="2400" b="1" i="0" u="none" strike="noStrike" kern="1200" cap="none" spc="0" normalizeH="0" noProof="0" dirty="0">
                <a:ln>
                  <a:noFill/>
                </a:ln>
                <a:effectLst/>
                <a:uLnTx/>
                <a:uFillTx/>
                <a:latin typeface="Arial" charset="0"/>
                <a:ea typeface="+mn-ea"/>
                <a:cs typeface="+mn-cs"/>
              </a:rPr>
              <a:t> Systems in </a:t>
            </a:r>
            <a:r>
              <a:rPr kumimoji="0" lang="de-DE" altLang="de-DE" sz="2400" b="1" i="0" u="none" strike="noStrike" kern="1200" cap="none" spc="0" normalizeH="0" noProof="0" dirty="0" err="1">
                <a:ln>
                  <a:noFill/>
                </a:ln>
                <a:effectLst/>
                <a:uLnTx/>
                <a:uFillTx/>
                <a:latin typeface="Arial" charset="0"/>
                <a:ea typeface="+mn-ea"/>
                <a:cs typeface="+mn-cs"/>
              </a:rPr>
              <a:t>Nuclear</a:t>
            </a:r>
            <a:r>
              <a:rPr kumimoji="0" lang="de-DE" altLang="de-DE" sz="2400" b="1" i="0" u="none" strike="noStrike" kern="1200" cap="none" spc="0" normalizeH="0" noProof="0" dirty="0">
                <a:ln>
                  <a:noFill/>
                </a:ln>
                <a:effectLst/>
                <a:uLnTx/>
                <a:uFillTx/>
                <a:latin typeface="Arial" charset="0"/>
                <a:ea typeface="+mn-ea"/>
                <a:cs typeface="+mn-cs"/>
              </a:rPr>
              <a:t> Power Plants</a:t>
            </a:r>
            <a:endParaRPr kumimoji="0" lang="de-DE" altLang="de-DE" sz="2400" b="1" i="0" u="none" strike="noStrike" kern="1200" cap="none" spc="0" normalizeH="0" baseline="0" noProof="0" dirty="0">
              <a:ln>
                <a:noFill/>
              </a:ln>
              <a:effectLst/>
              <a:uLnTx/>
              <a:uFillTx/>
              <a:latin typeface="Arial" charset="0"/>
              <a:ea typeface="+mn-ea"/>
              <a:cs typeface="+mn-cs"/>
            </a:endParaRPr>
          </a:p>
          <a:p>
            <a:pPr marL="361950" marR="0" lvl="0" indent="-361950" algn="l" defTabSz="914400" rtl="0" eaLnBrk="1" fontAlgn="base" latinLnBrk="0" hangingPunct="1">
              <a:lnSpc>
                <a:spcPct val="100000"/>
              </a:lnSpc>
              <a:spcBef>
                <a:spcPct val="0"/>
              </a:spcBef>
              <a:spcAft>
                <a:spcPct val="0"/>
              </a:spcAft>
              <a:buClrTx/>
              <a:buSzTx/>
              <a:buFont typeface="Wingdings" pitchFamily="2" charset="2"/>
              <a:buChar char="Ø"/>
              <a:tabLst/>
              <a:defRPr/>
            </a:pPr>
            <a:endParaRPr kumimoji="0" lang="de-DE" altLang="de-DE" sz="2400" b="1" i="0" u="none" strike="noStrike" kern="1200" cap="none" spc="0" normalizeH="0" baseline="0" noProof="0" dirty="0">
              <a:ln>
                <a:noFill/>
              </a:ln>
              <a:solidFill>
                <a:srgbClr val="000000"/>
              </a:solidFill>
              <a:effectLst/>
              <a:uLnTx/>
              <a:uFillTx/>
              <a:latin typeface="Arial" charset="0"/>
              <a:ea typeface="+mn-ea"/>
              <a:cs typeface="+mn-cs"/>
            </a:endParaRPr>
          </a:p>
          <a:p>
            <a:pPr marL="361950" marR="0" lvl="0" indent="-361950" algn="l" defTabSz="914400" rtl="0" eaLnBrk="1" fontAlgn="base" latinLnBrk="0" hangingPunct="1">
              <a:lnSpc>
                <a:spcPct val="100000"/>
              </a:lnSpc>
              <a:spcBef>
                <a:spcPct val="0"/>
              </a:spcBef>
              <a:spcAft>
                <a:spcPct val="0"/>
              </a:spcAft>
              <a:buClrTx/>
              <a:buSzTx/>
              <a:buFont typeface="Wingdings" pitchFamily="2" charset="2"/>
              <a:buChar char="Ø"/>
              <a:tabLst/>
              <a:defRPr/>
            </a:pPr>
            <a:r>
              <a:rPr kumimoji="0" lang="de-DE" altLang="de-DE" sz="2400" b="1" i="0" u="none" strike="noStrike" kern="1200" cap="none" spc="0" normalizeH="0" baseline="0" noProof="0" dirty="0">
                <a:ln>
                  <a:noFill/>
                </a:ln>
                <a:solidFill>
                  <a:srgbClr val="0000FF"/>
                </a:solidFill>
                <a:effectLst/>
                <a:uLnTx/>
                <a:uFillTx/>
                <a:latin typeface="Arial" charset="0"/>
                <a:ea typeface="+mn-ea"/>
                <a:cs typeface="+mn-cs"/>
              </a:rPr>
              <a:t>A </a:t>
            </a:r>
            <a:r>
              <a:rPr kumimoji="0" lang="de-DE" altLang="de-DE" sz="2400" b="1" i="0" u="none" strike="noStrike" kern="1200" cap="none" spc="0" normalizeH="0" baseline="0" noProof="0" dirty="0" err="1">
                <a:ln>
                  <a:noFill/>
                </a:ln>
                <a:solidFill>
                  <a:srgbClr val="0000FF"/>
                </a:solidFill>
                <a:effectLst/>
                <a:uLnTx/>
                <a:uFillTx/>
                <a:latin typeface="Arial" charset="0"/>
                <a:ea typeface="+mn-ea"/>
                <a:cs typeface="+mn-cs"/>
              </a:rPr>
              <a:t>typical</a:t>
            </a:r>
            <a:r>
              <a:rPr kumimoji="0" lang="de-DE" altLang="de-DE" sz="2400" b="1" i="0" u="none" strike="noStrike" kern="1200" cap="none" spc="0" normalizeH="0" baseline="0" noProof="0" dirty="0">
                <a:ln>
                  <a:noFill/>
                </a:ln>
                <a:solidFill>
                  <a:srgbClr val="0000FF"/>
                </a:solidFill>
                <a:effectLst/>
                <a:uLnTx/>
                <a:uFillTx/>
                <a:latin typeface="Arial" charset="0"/>
                <a:ea typeface="+mn-ea"/>
                <a:cs typeface="+mn-cs"/>
              </a:rPr>
              <a:t>  Horizontal </a:t>
            </a:r>
            <a:r>
              <a:rPr kumimoji="0" lang="de-DE" altLang="de-DE" sz="2400" b="1" i="0" u="none" strike="noStrike" kern="1200" cap="none" spc="0" normalizeH="0" baseline="0" noProof="0" dirty="0" err="1">
                <a:ln>
                  <a:noFill/>
                </a:ln>
                <a:solidFill>
                  <a:srgbClr val="0000FF"/>
                </a:solidFill>
                <a:effectLst/>
                <a:uLnTx/>
                <a:uFillTx/>
                <a:latin typeface="Arial" charset="0"/>
                <a:ea typeface="+mn-ea"/>
                <a:cs typeface="+mn-cs"/>
              </a:rPr>
              <a:t>Feedwater</a:t>
            </a:r>
            <a:r>
              <a:rPr kumimoji="0" lang="de-DE" altLang="de-DE" sz="2400" b="1" i="0" u="none" strike="noStrike" kern="1200" cap="none" spc="0" normalizeH="0" baseline="0" noProof="0" dirty="0">
                <a:ln>
                  <a:noFill/>
                </a:ln>
                <a:solidFill>
                  <a:srgbClr val="0000FF"/>
                </a:solidFill>
                <a:effectLst/>
                <a:uLnTx/>
                <a:uFillTx/>
                <a:latin typeface="Arial" charset="0"/>
                <a:ea typeface="+mn-ea"/>
                <a:cs typeface="+mn-cs"/>
              </a:rPr>
              <a:t> Pump</a:t>
            </a:r>
          </a:p>
          <a:p>
            <a:pPr marL="0" marR="0" lvl="0" indent="0" algn="l" defTabSz="914400" rtl="0" eaLnBrk="1" fontAlgn="base" latinLnBrk="0" hangingPunct="1">
              <a:lnSpc>
                <a:spcPct val="100000"/>
              </a:lnSpc>
              <a:spcBef>
                <a:spcPct val="0"/>
              </a:spcBef>
              <a:spcAft>
                <a:spcPct val="0"/>
              </a:spcAft>
              <a:buClrTx/>
              <a:buSzTx/>
              <a:tabLst/>
              <a:defRPr/>
            </a:pPr>
            <a:endParaRPr kumimoji="0" lang="de-DE" altLang="de-DE" sz="2400" b="1" i="0" u="none" strike="noStrike" kern="1200" cap="none" spc="0" normalizeH="0" baseline="0" noProof="0" dirty="0">
              <a:ln>
                <a:noFill/>
              </a:ln>
              <a:solidFill>
                <a:srgbClr val="0000FF"/>
              </a:solidFill>
              <a:effectLst/>
              <a:uLnTx/>
              <a:uFillTx/>
              <a:latin typeface="Arial" charset="0"/>
              <a:ea typeface="+mn-ea"/>
              <a:cs typeface="+mn-cs"/>
            </a:endParaRPr>
          </a:p>
          <a:p>
            <a:pPr marL="361950" marR="0" lvl="0" indent="-361950" algn="l" defTabSz="914400" rtl="0" eaLnBrk="1" fontAlgn="base" latinLnBrk="0" hangingPunct="1">
              <a:lnSpc>
                <a:spcPct val="100000"/>
              </a:lnSpc>
              <a:spcBef>
                <a:spcPct val="0"/>
              </a:spcBef>
              <a:spcAft>
                <a:spcPct val="0"/>
              </a:spcAft>
              <a:buClrTx/>
              <a:buSzTx/>
              <a:buFont typeface="Wingdings" pitchFamily="2" charset="2"/>
              <a:buChar char="Ø"/>
              <a:tabLst/>
              <a:defRPr/>
            </a:pPr>
            <a:r>
              <a:rPr kumimoji="0" lang="de-DE" altLang="de-DE" sz="2400" b="1" i="0" u="none" strike="noStrike" kern="1200" cap="none" spc="0" normalizeH="0" baseline="0" noProof="0" dirty="0">
                <a:ln>
                  <a:noFill/>
                </a:ln>
                <a:solidFill>
                  <a:srgbClr val="000000"/>
                </a:solidFill>
                <a:effectLst/>
                <a:uLnTx/>
                <a:uFillTx/>
                <a:latin typeface="Arial" charset="0"/>
                <a:ea typeface="+mn-ea"/>
                <a:cs typeface="+mn-cs"/>
              </a:rPr>
              <a:t>Lateral </a:t>
            </a:r>
            <a:r>
              <a:rPr kumimoji="0" lang="de-DE" altLang="de-DE" sz="2400" b="1" i="0" u="none" strike="noStrike" kern="1200" cap="none" spc="0" normalizeH="0" baseline="0" noProof="0" dirty="0" err="1">
                <a:ln>
                  <a:noFill/>
                </a:ln>
                <a:solidFill>
                  <a:srgbClr val="000000"/>
                </a:solidFill>
                <a:effectLst/>
                <a:uLnTx/>
                <a:uFillTx/>
                <a:latin typeface="Arial" charset="0"/>
                <a:ea typeface="+mn-ea"/>
                <a:cs typeface="+mn-cs"/>
              </a:rPr>
              <a:t>Vibrations</a:t>
            </a:r>
            <a:r>
              <a:rPr kumimoji="0" lang="de-DE" altLang="de-DE" sz="2400" b="1" i="0" u="none" strike="noStrike" kern="1200" cap="none" spc="0" normalizeH="0" baseline="0" noProof="0" dirty="0">
                <a:ln>
                  <a:noFill/>
                </a:ln>
                <a:solidFill>
                  <a:srgbClr val="000000"/>
                </a:solidFill>
                <a:effectLst/>
                <a:uLnTx/>
                <a:uFillTx/>
                <a:latin typeface="Arial" charset="0"/>
                <a:ea typeface="+mn-ea"/>
                <a:cs typeface="+mn-cs"/>
              </a:rPr>
              <a:t> </a:t>
            </a:r>
            <a:r>
              <a:rPr kumimoji="0" lang="de-DE" altLang="de-DE" sz="2400" b="1" i="0" u="none" strike="noStrike" kern="1200" cap="none" spc="0" normalizeH="0" baseline="0" noProof="0" dirty="0" err="1">
                <a:ln>
                  <a:noFill/>
                </a:ln>
                <a:solidFill>
                  <a:srgbClr val="000000"/>
                </a:solidFill>
                <a:effectLst/>
                <a:uLnTx/>
                <a:uFillTx/>
                <a:latin typeface="Arial" charset="0"/>
                <a:ea typeface="+mn-ea"/>
                <a:cs typeface="+mn-cs"/>
              </a:rPr>
              <a:t>of</a:t>
            </a:r>
            <a:r>
              <a:rPr kumimoji="0" lang="de-DE" altLang="de-DE" sz="2400" b="1" i="0" u="none" strike="noStrike" kern="1200" cap="none" spc="0" normalizeH="0" baseline="0" noProof="0" dirty="0">
                <a:ln>
                  <a:noFill/>
                </a:ln>
                <a:solidFill>
                  <a:srgbClr val="000000"/>
                </a:solidFill>
                <a:effectLst/>
                <a:uLnTx/>
                <a:uFillTx/>
                <a:latin typeface="Arial" charset="0"/>
                <a:ea typeface="+mn-ea"/>
                <a:cs typeface="+mn-cs"/>
              </a:rPr>
              <a:t> </a:t>
            </a:r>
            <a:r>
              <a:rPr kumimoji="0" lang="de-DE" altLang="de-DE" sz="2400" b="1" i="0" u="none" strike="noStrike" kern="1200" cap="none" spc="0" normalizeH="0" baseline="0" noProof="0" dirty="0" err="1">
                <a:ln>
                  <a:noFill/>
                </a:ln>
                <a:solidFill>
                  <a:srgbClr val="000000"/>
                </a:solidFill>
                <a:effectLst/>
                <a:uLnTx/>
                <a:uFillTx/>
                <a:latin typeface="Arial" charset="0"/>
                <a:ea typeface="+mn-ea"/>
                <a:cs typeface="+mn-cs"/>
              </a:rPr>
              <a:t>the</a:t>
            </a:r>
            <a:r>
              <a:rPr kumimoji="0" lang="de-DE" altLang="de-DE" sz="2400" b="1" i="0" u="none" strike="noStrike" kern="1200" cap="none" spc="0" normalizeH="0" baseline="0" noProof="0" dirty="0">
                <a:ln>
                  <a:noFill/>
                </a:ln>
                <a:solidFill>
                  <a:srgbClr val="000000"/>
                </a:solidFill>
                <a:effectLst/>
                <a:uLnTx/>
                <a:uFillTx/>
                <a:latin typeface="Arial" charset="0"/>
                <a:ea typeface="+mn-ea"/>
                <a:cs typeface="+mn-cs"/>
              </a:rPr>
              <a:t> Horizontal </a:t>
            </a:r>
            <a:r>
              <a:rPr kumimoji="0" lang="de-DE" altLang="de-DE" sz="2400" b="1" i="0" u="none" strike="noStrike" kern="1200" cap="none" spc="0" normalizeH="0" baseline="0" noProof="0" dirty="0" err="1">
                <a:ln>
                  <a:noFill/>
                </a:ln>
                <a:solidFill>
                  <a:srgbClr val="000000"/>
                </a:solidFill>
                <a:effectLst/>
                <a:uLnTx/>
                <a:uFillTx/>
                <a:latin typeface="Arial" charset="0"/>
                <a:ea typeface="+mn-ea"/>
                <a:cs typeface="+mn-cs"/>
              </a:rPr>
              <a:t>Feedwater</a:t>
            </a:r>
            <a:r>
              <a:rPr kumimoji="0" lang="de-DE" altLang="de-DE" sz="2400" b="1" i="0" u="none" strike="noStrike" kern="1200" cap="none" spc="0" normalizeH="0" baseline="0" noProof="0" dirty="0">
                <a:ln>
                  <a:noFill/>
                </a:ln>
                <a:solidFill>
                  <a:srgbClr val="000000"/>
                </a:solidFill>
                <a:effectLst/>
                <a:uLnTx/>
                <a:uFillTx/>
                <a:latin typeface="Arial" charset="0"/>
                <a:ea typeface="+mn-ea"/>
                <a:cs typeface="+mn-cs"/>
              </a:rPr>
              <a:t> Pump</a:t>
            </a:r>
          </a:p>
          <a:p>
            <a:pPr marL="361950" marR="0" lvl="0" indent="-361950" algn="l" defTabSz="914400" rtl="0" eaLnBrk="1" fontAlgn="base" latinLnBrk="0" hangingPunct="1">
              <a:lnSpc>
                <a:spcPct val="100000"/>
              </a:lnSpc>
              <a:spcBef>
                <a:spcPct val="0"/>
              </a:spcBef>
              <a:spcAft>
                <a:spcPct val="0"/>
              </a:spcAft>
              <a:buClrTx/>
              <a:buSzTx/>
              <a:buFont typeface="Wingdings" pitchFamily="2" charset="2"/>
              <a:buChar char="Ø"/>
              <a:tabLst/>
              <a:defRPr/>
            </a:pPr>
            <a:endParaRPr kumimoji="0" lang="de-DE" altLang="de-DE" sz="2400" b="1" i="0" u="none" strike="noStrike" kern="1200" cap="none" spc="0" normalizeH="0" baseline="0" noProof="0" dirty="0">
              <a:ln>
                <a:noFill/>
              </a:ln>
              <a:solidFill>
                <a:srgbClr val="000000"/>
              </a:solidFill>
              <a:effectLst/>
              <a:uLnTx/>
              <a:uFillTx/>
              <a:latin typeface="Arial" charset="0"/>
              <a:ea typeface="+mn-ea"/>
              <a:cs typeface="+mn-cs"/>
            </a:endParaRPr>
          </a:p>
          <a:p>
            <a:pPr marL="361950" marR="0" lvl="0" indent="-361950" algn="l" defTabSz="914400" rtl="0" eaLnBrk="1" fontAlgn="base" latinLnBrk="0" hangingPunct="1">
              <a:lnSpc>
                <a:spcPct val="100000"/>
              </a:lnSpc>
              <a:spcBef>
                <a:spcPct val="0"/>
              </a:spcBef>
              <a:spcAft>
                <a:spcPct val="0"/>
              </a:spcAft>
              <a:buClrTx/>
              <a:buSzTx/>
              <a:buFont typeface="Wingdings" pitchFamily="2" charset="2"/>
              <a:buChar char="Ø"/>
              <a:tabLst/>
              <a:defRPr/>
            </a:pPr>
            <a:r>
              <a:rPr kumimoji="0" lang="de-DE" altLang="de-DE" sz="2400" b="1" i="0" u="none" strike="noStrike" kern="1200" cap="none" spc="0" normalizeH="0" baseline="0" noProof="0" dirty="0">
                <a:ln>
                  <a:noFill/>
                </a:ln>
                <a:solidFill>
                  <a:srgbClr val="000000"/>
                </a:solidFill>
                <a:effectLst/>
                <a:uLnTx/>
                <a:uFillTx/>
                <a:latin typeface="Arial" charset="0"/>
                <a:ea typeface="+mn-ea"/>
                <a:cs typeface="+mn-cs"/>
              </a:rPr>
              <a:t>Modelling </a:t>
            </a:r>
            <a:r>
              <a:rPr kumimoji="0" lang="de-DE" altLang="de-DE" sz="2400" b="1" i="0" u="none" strike="noStrike" kern="1200" cap="none" spc="0" normalizeH="0" baseline="0" noProof="0" dirty="0" err="1">
                <a:ln>
                  <a:noFill/>
                </a:ln>
                <a:solidFill>
                  <a:srgbClr val="000000"/>
                </a:solidFill>
                <a:effectLst/>
                <a:uLnTx/>
                <a:uFillTx/>
                <a:latin typeface="Arial" charset="0"/>
                <a:ea typeface="+mn-ea"/>
                <a:cs typeface="+mn-cs"/>
              </a:rPr>
              <a:t>of</a:t>
            </a:r>
            <a:r>
              <a:rPr kumimoji="0" lang="de-DE" altLang="de-DE" sz="2400" b="1" i="0" u="none" strike="noStrike" kern="1200" cap="none" spc="0" normalizeH="0" baseline="0" noProof="0" dirty="0">
                <a:ln>
                  <a:noFill/>
                </a:ln>
                <a:solidFill>
                  <a:srgbClr val="000000"/>
                </a:solidFill>
                <a:effectLst/>
                <a:uLnTx/>
                <a:uFillTx/>
                <a:latin typeface="Arial" charset="0"/>
                <a:ea typeface="+mn-ea"/>
                <a:cs typeface="+mn-cs"/>
              </a:rPr>
              <a:t> </a:t>
            </a:r>
            <a:r>
              <a:rPr lang="de-DE" altLang="de-DE" sz="2400" noProof="0" dirty="0" err="1">
                <a:solidFill>
                  <a:srgbClr val="000000"/>
                </a:solidFill>
                <a:latin typeface="Arial" charset="0"/>
              </a:rPr>
              <a:t>the</a:t>
            </a:r>
            <a:r>
              <a:rPr kumimoji="0" lang="de-DE" altLang="de-DE" sz="2400" b="1" i="0" u="none" strike="noStrike" kern="1200" cap="none" spc="0" normalizeH="0" baseline="0" noProof="0" dirty="0">
                <a:ln>
                  <a:noFill/>
                </a:ln>
                <a:solidFill>
                  <a:srgbClr val="000000"/>
                </a:solidFill>
                <a:effectLst/>
                <a:uLnTx/>
                <a:uFillTx/>
                <a:latin typeface="Arial" charset="0"/>
                <a:ea typeface="+mn-ea"/>
                <a:cs typeface="+mn-cs"/>
              </a:rPr>
              <a:t> Horizontal </a:t>
            </a:r>
            <a:r>
              <a:rPr kumimoji="0" lang="de-DE" altLang="de-DE" sz="2400" b="1" i="0" u="none" strike="noStrike" kern="1200" cap="none" spc="0" normalizeH="0" baseline="0" noProof="0" dirty="0" err="1">
                <a:ln>
                  <a:noFill/>
                </a:ln>
                <a:solidFill>
                  <a:srgbClr val="000000"/>
                </a:solidFill>
                <a:effectLst/>
                <a:uLnTx/>
                <a:uFillTx/>
                <a:latin typeface="Arial" charset="0"/>
                <a:ea typeface="+mn-ea"/>
                <a:cs typeface="+mn-cs"/>
              </a:rPr>
              <a:t>Feedwater</a:t>
            </a:r>
            <a:r>
              <a:rPr kumimoji="0" lang="de-DE" altLang="de-DE" sz="2400" b="1" i="0" u="none" strike="noStrike" kern="1200" cap="none" spc="0" normalizeH="0" baseline="0" noProof="0" dirty="0">
                <a:ln>
                  <a:noFill/>
                </a:ln>
                <a:solidFill>
                  <a:srgbClr val="000000"/>
                </a:solidFill>
                <a:effectLst/>
                <a:uLnTx/>
                <a:uFillTx/>
                <a:latin typeface="Arial" charset="0"/>
                <a:ea typeface="+mn-ea"/>
                <a:cs typeface="+mn-cs"/>
              </a:rPr>
              <a:t> Pump </a:t>
            </a:r>
            <a:r>
              <a:rPr kumimoji="0" lang="de-DE" altLang="de-DE" sz="2400" b="1" i="0" u="none" strike="noStrike" kern="1200" cap="none" spc="0" normalizeH="0" baseline="0" noProof="0" dirty="0" err="1">
                <a:ln>
                  <a:noFill/>
                </a:ln>
                <a:solidFill>
                  <a:srgbClr val="000000"/>
                </a:solidFill>
                <a:effectLst/>
                <a:uLnTx/>
                <a:uFillTx/>
                <a:latin typeface="Arial" charset="0"/>
                <a:ea typeface="+mn-ea"/>
                <a:cs typeface="+mn-cs"/>
              </a:rPr>
              <a:t>with</a:t>
            </a:r>
            <a:r>
              <a:rPr kumimoji="0" lang="de-DE" altLang="de-DE" sz="2400" b="1" i="0" u="none" strike="noStrike" kern="1200" cap="none" spc="0" normalizeH="0" baseline="0" noProof="0" dirty="0">
                <a:ln>
                  <a:noFill/>
                </a:ln>
                <a:solidFill>
                  <a:srgbClr val="000000"/>
                </a:solidFill>
                <a:effectLst/>
                <a:uLnTx/>
                <a:uFillTx/>
                <a:latin typeface="Arial" charset="0"/>
                <a:ea typeface="+mn-ea"/>
                <a:cs typeface="+mn-cs"/>
              </a:rPr>
              <a:t> Interactions</a:t>
            </a:r>
          </a:p>
          <a:p>
            <a:pPr marL="0" marR="0" lvl="0" indent="0" algn="l" defTabSz="914400" rtl="0" eaLnBrk="1" fontAlgn="base" latinLnBrk="0" hangingPunct="1">
              <a:lnSpc>
                <a:spcPct val="100000"/>
              </a:lnSpc>
              <a:spcBef>
                <a:spcPct val="0"/>
              </a:spcBef>
              <a:spcAft>
                <a:spcPct val="0"/>
              </a:spcAft>
              <a:buClrTx/>
              <a:buSzTx/>
              <a:tabLst/>
              <a:defRPr/>
            </a:pPr>
            <a:endParaRPr kumimoji="0" lang="de-DE" altLang="de-DE" sz="2400" b="1" i="0" u="none" strike="noStrike" kern="1200" cap="none" spc="0" normalizeH="0" baseline="0" noProof="0" dirty="0">
              <a:ln>
                <a:noFill/>
              </a:ln>
              <a:solidFill>
                <a:srgbClr val="000000"/>
              </a:solidFill>
              <a:effectLst/>
              <a:uLnTx/>
              <a:uFillTx/>
              <a:latin typeface="Arial" charset="0"/>
              <a:ea typeface="+mn-ea"/>
              <a:cs typeface="+mn-cs"/>
            </a:endParaRPr>
          </a:p>
          <a:p>
            <a:pPr marL="361950" marR="0" lvl="0" indent="-361950" algn="l" defTabSz="914400" rtl="0" eaLnBrk="1" fontAlgn="base" latinLnBrk="0" hangingPunct="1">
              <a:lnSpc>
                <a:spcPct val="100000"/>
              </a:lnSpc>
              <a:spcBef>
                <a:spcPct val="0"/>
              </a:spcBef>
              <a:spcAft>
                <a:spcPct val="0"/>
              </a:spcAft>
              <a:buClrTx/>
              <a:buSzTx/>
              <a:buFont typeface="Wingdings" pitchFamily="2" charset="2"/>
              <a:buChar char="Ø"/>
              <a:tabLst/>
              <a:defRPr/>
            </a:pPr>
            <a:r>
              <a:rPr kumimoji="0" lang="de-DE" altLang="de-DE" sz="2400" b="1" i="0" u="none" strike="noStrike" kern="1200" cap="none" spc="0" normalizeH="0" baseline="0" noProof="0" dirty="0">
                <a:ln>
                  <a:noFill/>
                </a:ln>
                <a:solidFill>
                  <a:srgbClr val="000000"/>
                </a:solidFill>
                <a:effectLst/>
                <a:uLnTx/>
                <a:uFillTx/>
                <a:latin typeface="Arial" charset="0"/>
                <a:ea typeface="+mn-ea"/>
                <a:cs typeface="+mn-cs"/>
              </a:rPr>
              <a:t>Monitoring </a:t>
            </a:r>
            <a:r>
              <a:rPr kumimoji="0" lang="de-DE" altLang="de-DE" sz="2400" b="1" i="0" u="none" strike="noStrike" kern="1200" cap="none" spc="0" normalizeH="0" baseline="0" noProof="0" dirty="0" err="1">
                <a:ln>
                  <a:noFill/>
                </a:ln>
                <a:solidFill>
                  <a:srgbClr val="000000"/>
                </a:solidFill>
                <a:effectLst/>
                <a:uLnTx/>
                <a:uFillTx/>
                <a:latin typeface="Arial" charset="0"/>
                <a:ea typeface="+mn-ea"/>
                <a:cs typeface="+mn-cs"/>
              </a:rPr>
              <a:t>of</a:t>
            </a:r>
            <a:r>
              <a:rPr kumimoji="0" lang="de-DE" altLang="de-DE" sz="2400" b="1" i="0" u="none" strike="noStrike" kern="1200" cap="none" spc="0" normalizeH="0" baseline="0" noProof="0" dirty="0">
                <a:ln>
                  <a:noFill/>
                </a:ln>
                <a:solidFill>
                  <a:srgbClr val="000000"/>
                </a:solidFill>
                <a:effectLst/>
                <a:uLnTx/>
                <a:uFillTx/>
                <a:latin typeface="Arial" charset="0"/>
                <a:ea typeface="+mn-ea"/>
                <a:cs typeface="+mn-cs"/>
              </a:rPr>
              <a:t> </a:t>
            </a:r>
            <a:r>
              <a:rPr lang="de-DE" altLang="de-DE" sz="2400" dirty="0" err="1">
                <a:solidFill>
                  <a:srgbClr val="000000"/>
                </a:solidFill>
                <a:latin typeface="Arial" charset="0"/>
              </a:rPr>
              <a:t>the</a:t>
            </a:r>
            <a:r>
              <a:rPr kumimoji="0" lang="de-DE" altLang="de-DE" sz="2400" b="1" i="0" u="none" strike="noStrike" kern="1200" cap="none" spc="0" normalizeH="0" baseline="0" noProof="0" dirty="0">
                <a:ln>
                  <a:noFill/>
                </a:ln>
                <a:solidFill>
                  <a:srgbClr val="000000"/>
                </a:solidFill>
                <a:effectLst/>
                <a:uLnTx/>
                <a:uFillTx/>
                <a:latin typeface="Arial" charset="0"/>
                <a:ea typeface="+mn-ea"/>
                <a:cs typeface="+mn-cs"/>
              </a:rPr>
              <a:t> Horizontal </a:t>
            </a:r>
            <a:r>
              <a:rPr kumimoji="0" lang="de-DE" altLang="de-DE" sz="2400" b="1" i="0" u="none" strike="noStrike" kern="1200" cap="none" spc="0" normalizeH="0" baseline="0" noProof="0" dirty="0" err="1">
                <a:ln>
                  <a:noFill/>
                </a:ln>
                <a:solidFill>
                  <a:srgbClr val="000000"/>
                </a:solidFill>
                <a:effectLst/>
                <a:uLnTx/>
                <a:uFillTx/>
                <a:latin typeface="Arial" charset="0"/>
                <a:ea typeface="+mn-ea"/>
                <a:cs typeface="+mn-cs"/>
              </a:rPr>
              <a:t>Feedwater</a:t>
            </a:r>
            <a:r>
              <a:rPr kumimoji="0" lang="de-DE" altLang="de-DE" sz="2400" b="1" i="0" u="none" strike="noStrike" kern="1200" cap="none" spc="0" normalizeH="0" baseline="0" noProof="0" dirty="0">
                <a:ln>
                  <a:noFill/>
                </a:ln>
                <a:solidFill>
                  <a:srgbClr val="000000"/>
                </a:solidFill>
                <a:effectLst/>
                <a:uLnTx/>
                <a:uFillTx/>
                <a:latin typeface="Arial" charset="0"/>
                <a:ea typeface="+mn-ea"/>
                <a:cs typeface="+mn-cs"/>
              </a:rPr>
              <a:t> Pump OL3 </a:t>
            </a:r>
            <a:r>
              <a:rPr kumimoji="0" lang="de-DE" altLang="de-DE" sz="2400" b="1" i="0" u="none" strike="noStrike" kern="1200" cap="none" spc="0" normalizeH="0" baseline="0" noProof="0" dirty="0" err="1">
                <a:ln>
                  <a:noFill/>
                </a:ln>
                <a:solidFill>
                  <a:srgbClr val="000000"/>
                </a:solidFill>
                <a:effectLst/>
                <a:uLnTx/>
                <a:uFillTx/>
                <a:latin typeface="Arial" charset="0"/>
                <a:ea typeface="+mn-ea"/>
                <a:cs typeface="+mn-cs"/>
              </a:rPr>
              <a:t>during</a:t>
            </a:r>
            <a:r>
              <a:rPr kumimoji="0" lang="de-DE" altLang="de-DE" sz="2400" b="1" i="0" u="none" strike="noStrike" kern="1200" cap="none" spc="0" normalizeH="0" baseline="0" noProof="0" dirty="0">
                <a:ln>
                  <a:noFill/>
                </a:ln>
                <a:solidFill>
                  <a:srgbClr val="000000"/>
                </a:solidFill>
                <a:effectLst/>
                <a:uLnTx/>
                <a:uFillTx/>
                <a:latin typeface="Arial" charset="0"/>
                <a:ea typeface="+mn-ea"/>
                <a:cs typeface="+mn-cs"/>
              </a:rPr>
              <a:t> Operation</a:t>
            </a:r>
          </a:p>
          <a:p>
            <a:pPr marL="0" marR="0" lvl="0" indent="0" algn="l" defTabSz="914400" rtl="0" eaLnBrk="1" fontAlgn="base" latinLnBrk="0" hangingPunct="1">
              <a:lnSpc>
                <a:spcPct val="100000"/>
              </a:lnSpc>
              <a:spcBef>
                <a:spcPct val="0"/>
              </a:spcBef>
              <a:spcAft>
                <a:spcPct val="0"/>
              </a:spcAft>
              <a:buClrTx/>
              <a:buSzTx/>
              <a:tabLst/>
              <a:defRPr/>
            </a:pPr>
            <a:endParaRPr kumimoji="0" lang="de-DE" altLang="de-DE" sz="2400" b="1" i="0" u="none" strike="noStrike" kern="1200" cap="none" spc="0" normalizeH="0" baseline="0" noProof="0" dirty="0">
              <a:ln>
                <a:noFill/>
              </a:ln>
              <a:solidFill>
                <a:srgbClr val="000000"/>
              </a:solidFill>
              <a:effectLst/>
              <a:uLnTx/>
              <a:uFillTx/>
              <a:latin typeface="Arial" charset="0"/>
              <a:ea typeface="+mn-ea"/>
              <a:cs typeface="+mn-cs"/>
            </a:endParaRPr>
          </a:p>
          <a:p>
            <a:pPr marL="361950" marR="0" lvl="0" indent="-361950" algn="l" defTabSz="914400" rtl="0" eaLnBrk="1" fontAlgn="base" latinLnBrk="0" hangingPunct="1">
              <a:lnSpc>
                <a:spcPct val="100000"/>
              </a:lnSpc>
              <a:spcBef>
                <a:spcPct val="0"/>
              </a:spcBef>
              <a:spcAft>
                <a:spcPct val="0"/>
              </a:spcAft>
              <a:buClrTx/>
              <a:buSzTx/>
              <a:buFont typeface="Wingdings" pitchFamily="2" charset="2"/>
              <a:buChar char="Ø"/>
              <a:tabLst/>
              <a:defRPr/>
            </a:pPr>
            <a:r>
              <a:rPr kumimoji="0" lang="de-DE" altLang="de-DE" sz="2400" b="1" i="0" u="none" strike="noStrike" kern="1200" cap="none" spc="0" normalizeH="0" baseline="0" noProof="0" dirty="0">
                <a:ln>
                  <a:noFill/>
                </a:ln>
                <a:solidFill>
                  <a:srgbClr val="000000"/>
                </a:solidFill>
                <a:effectLst/>
                <a:uLnTx/>
                <a:uFillTx/>
                <a:latin typeface="Arial" charset="0"/>
                <a:ea typeface="+mn-ea"/>
                <a:cs typeface="+mn-cs"/>
              </a:rPr>
              <a:t>Vibration</a:t>
            </a:r>
            <a:r>
              <a:rPr kumimoji="0" lang="de-DE" altLang="de-DE" sz="2400" b="1" i="0" u="none" strike="noStrike" kern="1200" cap="none" spc="0" normalizeH="0" noProof="0" dirty="0">
                <a:ln>
                  <a:noFill/>
                </a:ln>
                <a:solidFill>
                  <a:srgbClr val="000000"/>
                </a:solidFill>
                <a:effectLst/>
                <a:uLnTx/>
                <a:uFillTx/>
                <a:latin typeface="Arial" charset="0"/>
                <a:ea typeface="+mn-ea"/>
                <a:cs typeface="+mn-cs"/>
              </a:rPr>
              <a:t> </a:t>
            </a:r>
            <a:r>
              <a:rPr kumimoji="0" lang="de-DE" altLang="de-DE" sz="2400" b="1" i="0" u="none" strike="noStrike" kern="1200" cap="none" spc="0" normalizeH="0" noProof="0" dirty="0" err="1">
                <a:ln>
                  <a:noFill/>
                </a:ln>
                <a:solidFill>
                  <a:srgbClr val="000000"/>
                </a:solidFill>
                <a:effectLst/>
                <a:uLnTx/>
                <a:uFillTx/>
                <a:latin typeface="Arial" charset="0"/>
                <a:ea typeface="+mn-ea"/>
                <a:cs typeface="+mn-cs"/>
              </a:rPr>
              <a:t>Phenomena</a:t>
            </a:r>
            <a:r>
              <a:rPr kumimoji="0" lang="de-DE" altLang="de-DE" sz="2400" b="1" i="0" u="none" strike="noStrike" kern="1200" cap="none" spc="0" normalizeH="0" noProof="0" dirty="0">
                <a:ln>
                  <a:noFill/>
                </a:ln>
                <a:solidFill>
                  <a:srgbClr val="000000"/>
                </a:solidFill>
                <a:effectLst/>
                <a:uLnTx/>
                <a:uFillTx/>
                <a:latin typeface="Arial" charset="0"/>
                <a:ea typeface="+mn-ea"/>
                <a:cs typeface="+mn-cs"/>
              </a:rPr>
              <a:t> </a:t>
            </a:r>
            <a:r>
              <a:rPr kumimoji="0" lang="de-DE" altLang="de-DE" sz="2400" b="1" i="0" u="none" strike="noStrike" kern="1200" cap="none" spc="0" normalizeH="0" noProof="0" dirty="0" err="1">
                <a:ln>
                  <a:noFill/>
                </a:ln>
                <a:solidFill>
                  <a:srgbClr val="000000"/>
                </a:solidFill>
                <a:effectLst/>
                <a:uLnTx/>
                <a:uFillTx/>
                <a:latin typeface="Arial" charset="0"/>
                <a:ea typeface="+mn-ea"/>
                <a:cs typeface="+mn-cs"/>
              </a:rPr>
              <a:t>of</a:t>
            </a:r>
            <a:r>
              <a:rPr kumimoji="0" lang="de-DE" altLang="de-DE" sz="2400" b="1" i="0" u="none" strike="noStrike" kern="1200" cap="none" spc="0" normalizeH="0" noProof="0" dirty="0">
                <a:ln>
                  <a:noFill/>
                </a:ln>
                <a:solidFill>
                  <a:srgbClr val="000000"/>
                </a:solidFill>
                <a:effectLst/>
                <a:uLnTx/>
                <a:uFillTx/>
                <a:latin typeface="Arial" charset="0"/>
                <a:ea typeface="+mn-ea"/>
                <a:cs typeface="+mn-cs"/>
              </a:rPr>
              <a:t> </a:t>
            </a:r>
            <a:r>
              <a:rPr kumimoji="0" lang="de-DE" altLang="de-DE" sz="2400" b="1" i="0" u="none" strike="noStrike" kern="1200" cap="none" spc="0" normalizeH="0" noProof="0" dirty="0" err="1">
                <a:ln>
                  <a:noFill/>
                </a:ln>
                <a:solidFill>
                  <a:srgbClr val="000000"/>
                </a:solidFill>
                <a:effectLst/>
                <a:uLnTx/>
                <a:uFillTx/>
                <a:latin typeface="Arial" charset="0"/>
                <a:ea typeface="+mn-ea"/>
                <a:cs typeface="+mn-cs"/>
              </a:rPr>
              <a:t>the</a:t>
            </a:r>
            <a:r>
              <a:rPr kumimoji="0" lang="de-DE" altLang="de-DE" sz="2400" b="1" i="0" u="none" strike="noStrike" kern="1200" cap="none" spc="0" normalizeH="0" noProof="0" dirty="0">
                <a:ln>
                  <a:noFill/>
                </a:ln>
                <a:solidFill>
                  <a:srgbClr val="000000"/>
                </a:solidFill>
                <a:effectLst/>
                <a:uLnTx/>
                <a:uFillTx/>
                <a:latin typeface="Arial" charset="0"/>
                <a:ea typeface="+mn-ea"/>
                <a:cs typeface="+mn-cs"/>
              </a:rPr>
              <a:t> Horizontal </a:t>
            </a:r>
            <a:r>
              <a:rPr kumimoji="0" lang="de-DE" altLang="de-DE" sz="2400" b="1" i="0" u="none" strike="noStrike" kern="1200" cap="none" spc="0" normalizeH="0" noProof="0" dirty="0" err="1">
                <a:ln>
                  <a:noFill/>
                </a:ln>
                <a:solidFill>
                  <a:srgbClr val="000000"/>
                </a:solidFill>
                <a:effectLst/>
                <a:uLnTx/>
                <a:uFillTx/>
                <a:latin typeface="Arial" charset="0"/>
                <a:ea typeface="+mn-ea"/>
                <a:cs typeface="+mn-cs"/>
              </a:rPr>
              <a:t>Feedwater</a:t>
            </a:r>
            <a:r>
              <a:rPr kumimoji="0" lang="de-DE" altLang="de-DE" sz="2400" b="1" i="0" u="none" strike="noStrike" kern="1200" cap="none" spc="0" normalizeH="0" noProof="0" dirty="0">
                <a:ln>
                  <a:noFill/>
                </a:ln>
                <a:solidFill>
                  <a:srgbClr val="000000"/>
                </a:solidFill>
                <a:effectLst/>
                <a:uLnTx/>
                <a:uFillTx/>
                <a:latin typeface="Arial" charset="0"/>
                <a:ea typeface="+mn-ea"/>
                <a:cs typeface="+mn-cs"/>
              </a:rPr>
              <a:t> Pump OL3</a:t>
            </a:r>
          </a:p>
          <a:p>
            <a:pPr marL="361950" marR="0" lvl="0" indent="-361950" algn="l" defTabSz="914400" rtl="0" eaLnBrk="1" fontAlgn="base" latinLnBrk="0" hangingPunct="1">
              <a:lnSpc>
                <a:spcPct val="100000"/>
              </a:lnSpc>
              <a:spcBef>
                <a:spcPct val="0"/>
              </a:spcBef>
              <a:spcAft>
                <a:spcPct val="0"/>
              </a:spcAft>
              <a:buClrTx/>
              <a:buSzTx/>
              <a:buFont typeface="Wingdings" pitchFamily="2" charset="2"/>
              <a:buChar char="Ø"/>
              <a:tabLst/>
              <a:defRPr/>
            </a:pPr>
            <a:endParaRPr lang="de-DE" altLang="de-DE" sz="2400" dirty="0">
              <a:solidFill>
                <a:srgbClr val="000000"/>
              </a:solidFill>
              <a:latin typeface="Arial" charset="0"/>
            </a:endParaRPr>
          </a:p>
          <a:p>
            <a:pPr marL="361950" marR="0" lvl="0" indent="-361950" algn="l" defTabSz="914400" rtl="0" eaLnBrk="1" fontAlgn="base" latinLnBrk="0" hangingPunct="1">
              <a:lnSpc>
                <a:spcPct val="100000"/>
              </a:lnSpc>
              <a:spcBef>
                <a:spcPct val="0"/>
              </a:spcBef>
              <a:spcAft>
                <a:spcPct val="0"/>
              </a:spcAft>
              <a:buClrTx/>
              <a:buSzTx/>
              <a:buFont typeface="Wingdings" pitchFamily="2" charset="2"/>
              <a:buChar char="Ø"/>
              <a:tabLst/>
              <a:defRPr/>
            </a:pPr>
            <a:r>
              <a:rPr kumimoji="0" lang="de-DE" altLang="de-DE" sz="2400" b="1" i="0" u="none" strike="noStrike" kern="1200" cap="none" spc="0" normalizeH="0" noProof="0" dirty="0" err="1">
                <a:ln>
                  <a:noFill/>
                </a:ln>
                <a:solidFill>
                  <a:srgbClr val="000000"/>
                </a:solidFill>
                <a:effectLst/>
                <a:uLnTx/>
                <a:uFillTx/>
                <a:latin typeface="Arial" charset="0"/>
                <a:ea typeface="+mn-ea"/>
                <a:cs typeface="+mn-cs"/>
              </a:rPr>
              <a:t>Measured</a:t>
            </a:r>
            <a:r>
              <a:rPr kumimoji="0" lang="de-DE" altLang="de-DE" sz="2400" b="1" i="0" u="none" strike="noStrike" kern="1200" cap="none" spc="0" normalizeH="0" noProof="0" dirty="0">
                <a:ln>
                  <a:noFill/>
                </a:ln>
                <a:solidFill>
                  <a:srgbClr val="000000"/>
                </a:solidFill>
                <a:effectLst/>
                <a:uLnTx/>
                <a:uFillTx/>
                <a:latin typeface="Arial" charset="0"/>
                <a:ea typeface="+mn-ea"/>
                <a:cs typeface="+mn-cs"/>
              </a:rPr>
              <a:t> and </a:t>
            </a:r>
            <a:r>
              <a:rPr kumimoji="0" lang="de-DE" altLang="de-DE" sz="2400" b="1" i="0" u="none" strike="noStrike" kern="1200" cap="none" spc="0" normalizeH="0" noProof="0" dirty="0" err="1">
                <a:ln>
                  <a:noFill/>
                </a:ln>
                <a:solidFill>
                  <a:srgbClr val="000000"/>
                </a:solidFill>
                <a:effectLst/>
                <a:uLnTx/>
                <a:uFillTx/>
                <a:latin typeface="Arial" charset="0"/>
                <a:ea typeface="+mn-ea"/>
                <a:cs typeface="+mn-cs"/>
              </a:rPr>
              <a:t>Calculated</a:t>
            </a:r>
            <a:r>
              <a:rPr kumimoji="0" lang="de-DE" altLang="de-DE" sz="2400" b="1" i="0" u="none" strike="noStrike" kern="1200" cap="none" spc="0" normalizeH="0" noProof="0" dirty="0">
                <a:ln>
                  <a:noFill/>
                </a:ln>
                <a:solidFill>
                  <a:srgbClr val="000000"/>
                </a:solidFill>
                <a:effectLst/>
                <a:uLnTx/>
                <a:uFillTx/>
                <a:latin typeface="Arial" charset="0"/>
                <a:ea typeface="+mn-ea"/>
                <a:cs typeface="+mn-cs"/>
              </a:rPr>
              <a:t> </a:t>
            </a:r>
            <a:r>
              <a:rPr kumimoji="0" lang="de-DE" altLang="de-DE" sz="2400" b="1" i="0" u="none" strike="noStrike" kern="1200" cap="none" spc="0" normalizeH="0" noProof="0" dirty="0" err="1">
                <a:ln>
                  <a:noFill/>
                </a:ln>
                <a:solidFill>
                  <a:srgbClr val="000000"/>
                </a:solidFill>
                <a:effectLst/>
                <a:uLnTx/>
                <a:uFillTx/>
                <a:latin typeface="Arial" charset="0"/>
                <a:ea typeface="+mn-ea"/>
                <a:cs typeface="+mn-cs"/>
              </a:rPr>
              <a:t>Vibrations</a:t>
            </a:r>
            <a:r>
              <a:rPr kumimoji="0" lang="de-DE" altLang="de-DE" sz="2400" b="1" i="0" u="none" strike="noStrike" kern="1200" cap="none" spc="0" normalizeH="0" noProof="0" dirty="0">
                <a:ln>
                  <a:noFill/>
                </a:ln>
                <a:solidFill>
                  <a:srgbClr val="000000"/>
                </a:solidFill>
                <a:effectLst/>
                <a:uLnTx/>
                <a:uFillTx/>
                <a:latin typeface="Arial" charset="0"/>
                <a:ea typeface="+mn-ea"/>
                <a:cs typeface="+mn-cs"/>
              </a:rPr>
              <a:t> </a:t>
            </a:r>
            <a:r>
              <a:rPr kumimoji="0" lang="de-DE" altLang="de-DE" sz="2400" b="1" i="0" u="none" strike="noStrike" kern="1200" cap="none" spc="0" normalizeH="0" noProof="0" dirty="0" err="1">
                <a:ln>
                  <a:noFill/>
                </a:ln>
                <a:solidFill>
                  <a:srgbClr val="000000"/>
                </a:solidFill>
                <a:effectLst/>
                <a:uLnTx/>
                <a:uFillTx/>
                <a:latin typeface="Arial" charset="0"/>
                <a:ea typeface="+mn-ea"/>
                <a:cs typeface="+mn-cs"/>
              </a:rPr>
              <a:t>of</a:t>
            </a:r>
            <a:r>
              <a:rPr kumimoji="0" lang="de-DE" altLang="de-DE" sz="2400" b="1" i="0" u="none" strike="noStrike" kern="1200" cap="none" spc="0" normalizeH="0" noProof="0" dirty="0">
                <a:ln>
                  <a:noFill/>
                </a:ln>
                <a:solidFill>
                  <a:srgbClr val="000000"/>
                </a:solidFill>
                <a:effectLst/>
                <a:uLnTx/>
                <a:uFillTx/>
                <a:latin typeface="Arial" charset="0"/>
                <a:ea typeface="+mn-ea"/>
                <a:cs typeface="+mn-cs"/>
              </a:rPr>
              <a:t> </a:t>
            </a:r>
            <a:r>
              <a:rPr kumimoji="0" lang="de-DE" altLang="de-DE" sz="2400" b="1" i="0" u="none" strike="noStrike" kern="1200" cap="none" spc="0" normalizeH="0" noProof="0" dirty="0" err="1">
                <a:ln>
                  <a:noFill/>
                </a:ln>
                <a:solidFill>
                  <a:srgbClr val="000000"/>
                </a:solidFill>
                <a:effectLst/>
                <a:uLnTx/>
                <a:uFillTx/>
                <a:latin typeface="Arial" charset="0"/>
                <a:ea typeface="+mn-ea"/>
                <a:cs typeface="+mn-cs"/>
              </a:rPr>
              <a:t>the</a:t>
            </a:r>
            <a:r>
              <a:rPr kumimoji="0" lang="de-DE" altLang="de-DE" sz="2400" b="1" i="0" u="none" strike="noStrike" kern="1200" cap="none" spc="0" normalizeH="0" noProof="0" dirty="0">
                <a:ln>
                  <a:noFill/>
                </a:ln>
                <a:solidFill>
                  <a:srgbClr val="000000"/>
                </a:solidFill>
                <a:effectLst/>
                <a:uLnTx/>
                <a:uFillTx/>
                <a:latin typeface="Arial" charset="0"/>
                <a:ea typeface="+mn-ea"/>
                <a:cs typeface="+mn-cs"/>
              </a:rPr>
              <a:t> </a:t>
            </a:r>
            <a:r>
              <a:rPr kumimoji="0" lang="de-DE" altLang="de-DE" sz="2400" b="1" i="0" u="none" strike="noStrike" kern="1200" cap="none" spc="0" normalizeH="0" noProof="0" dirty="0" err="1">
                <a:ln>
                  <a:noFill/>
                </a:ln>
                <a:solidFill>
                  <a:srgbClr val="000000"/>
                </a:solidFill>
                <a:effectLst/>
                <a:uLnTx/>
                <a:uFillTx/>
                <a:latin typeface="Arial" charset="0"/>
                <a:ea typeface="+mn-ea"/>
                <a:cs typeface="+mn-cs"/>
              </a:rPr>
              <a:t>Feedwater</a:t>
            </a:r>
            <a:r>
              <a:rPr kumimoji="0" lang="de-DE" altLang="de-DE" sz="2400" b="1" i="0" u="none" strike="noStrike" kern="1200" cap="none" spc="0" normalizeH="0" noProof="0" dirty="0">
                <a:ln>
                  <a:noFill/>
                </a:ln>
                <a:solidFill>
                  <a:srgbClr val="000000"/>
                </a:solidFill>
                <a:effectLst/>
                <a:uLnTx/>
                <a:uFillTx/>
                <a:latin typeface="Arial" charset="0"/>
                <a:ea typeface="+mn-ea"/>
                <a:cs typeface="+mn-cs"/>
              </a:rPr>
              <a:t> Pump OL3</a:t>
            </a:r>
          </a:p>
          <a:p>
            <a:pPr marL="361950" marR="0" lvl="0" indent="-361950" algn="l" defTabSz="914400" rtl="0" eaLnBrk="1" fontAlgn="base" latinLnBrk="0" hangingPunct="1">
              <a:lnSpc>
                <a:spcPct val="100000"/>
              </a:lnSpc>
              <a:spcBef>
                <a:spcPct val="0"/>
              </a:spcBef>
              <a:spcAft>
                <a:spcPct val="0"/>
              </a:spcAft>
              <a:buClrTx/>
              <a:buSzTx/>
              <a:buFont typeface="Wingdings" pitchFamily="2" charset="2"/>
              <a:buChar char="Ø"/>
              <a:tabLst/>
              <a:defRPr/>
            </a:pPr>
            <a:endParaRPr lang="de-DE" altLang="de-DE" sz="2400" baseline="0" dirty="0">
              <a:solidFill>
                <a:srgbClr val="000000"/>
              </a:solidFill>
              <a:latin typeface="Arial" charset="0"/>
            </a:endParaRPr>
          </a:p>
          <a:p>
            <a:pPr marL="0" marR="0" lvl="0" indent="0" algn="l" defTabSz="914400" rtl="0" eaLnBrk="1" fontAlgn="base" latinLnBrk="0" hangingPunct="1">
              <a:lnSpc>
                <a:spcPct val="100000"/>
              </a:lnSpc>
              <a:spcBef>
                <a:spcPct val="0"/>
              </a:spcBef>
              <a:spcAft>
                <a:spcPct val="0"/>
              </a:spcAft>
              <a:buClrTx/>
              <a:buSzTx/>
              <a:tabLst/>
              <a:defRPr/>
            </a:pPr>
            <a:endParaRPr lang="de-DE" altLang="de-DE" sz="2400" baseline="0" dirty="0">
              <a:solidFill>
                <a:srgbClr val="000000"/>
              </a:solidFill>
              <a:latin typeface="Arial" charset="0"/>
            </a:endParaRPr>
          </a:p>
        </p:txBody>
      </p:sp>
      <p:sp>
        <p:nvSpPr>
          <p:cNvPr id="47108" name="Rechteck 1">
            <a:extLst>
              <a:ext uri="{FF2B5EF4-FFF2-40B4-BE49-F238E27FC236}">
                <a16:creationId xmlns:a16="http://schemas.microsoft.com/office/drawing/2014/main" id="{73D62BC3-6968-894E-0025-EA65A3EC0C0F}"/>
              </a:ext>
            </a:extLst>
          </p:cNvPr>
          <p:cNvSpPr>
            <a:spLocks noChangeArrowheads="1"/>
          </p:cNvSpPr>
          <p:nvPr/>
        </p:nvSpPr>
        <p:spPr bwMode="auto">
          <a:xfrm>
            <a:off x="688208" y="266785"/>
            <a:ext cx="10815584" cy="4893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b="1">
                <a:solidFill>
                  <a:schemeClr val="tx1"/>
                </a:solidFill>
                <a:latin typeface="Verdana" panose="020B0604030504040204" pitchFamily="34" charset="0"/>
              </a:defRPr>
            </a:lvl1pPr>
            <a:lvl2pPr marL="742950" indent="-285750">
              <a:defRPr b="1">
                <a:solidFill>
                  <a:schemeClr val="tx1"/>
                </a:solidFill>
                <a:latin typeface="Verdana" panose="020B0604030504040204" pitchFamily="34" charset="0"/>
              </a:defRPr>
            </a:lvl2pPr>
            <a:lvl3pPr marL="1143000" indent="-228600">
              <a:defRPr b="1">
                <a:solidFill>
                  <a:schemeClr val="tx1"/>
                </a:solidFill>
                <a:latin typeface="Verdana" panose="020B0604030504040204" pitchFamily="34" charset="0"/>
              </a:defRPr>
            </a:lvl3pPr>
            <a:lvl4pPr marL="1600200" indent="-228600">
              <a:defRPr b="1">
                <a:solidFill>
                  <a:schemeClr val="tx1"/>
                </a:solidFill>
                <a:latin typeface="Verdana" panose="020B0604030504040204" pitchFamily="34" charset="0"/>
              </a:defRPr>
            </a:lvl4pPr>
            <a:lvl5pPr marL="2057400" indent="-228600">
              <a:defRPr b="1">
                <a:solidFill>
                  <a:schemeClr val="tx1"/>
                </a:solidFill>
                <a:latin typeface="Verdana" panose="020B0604030504040204" pitchFamily="34" charset="0"/>
              </a:defRPr>
            </a:lvl5pPr>
            <a:lvl6pPr marL="2514600" indent="-228600" eaLnBrk="0" fontAlgn="base" hangingPunct="0">
              <a:spcBef>
                <a:spcPct val="0"/>
              </a:spcBef>
              <a:spcAft>
                <a:spcPct val="0"/>
              </a:spcAft>
              <a:defRPr b="1">
                <a:solidFill>
                  <a:schemeClr val="tx1"/>
                </a:solidFill>
                <a:latin typeface="Verdana" panose="020B0604030504040204" pitchFamily="34" charset="0"/>
              </a:defRPr>
            </a:lvl6pPr>
            <a:lvl7pPr marL="2971800" indent="-228600" eaLnBrk="0" fontAlgn="base" hangingPunct="0">
              <a:spcBef>
                <a:spcPct val="0"/>
              </a:spcBef>
              <a:spcAft>
                <a:spcPct val="0"/>
              </a:spcAft>
              <a:defRPr b="1">
                <a:solidFill>
                  <a:schemeClr val="tx1"/>
                </a:solidFill>
                <a:latin typeface="Verdana" panose="020B0604030504040204" pitchFamily="34" charset="0"/>
              </a:defRPr>
            </a:lvl7pPr>
            <a:lvl8pPr marL="3429000" indent="-228600" eaLnBrk="0" fontAlgn="base" hangingPunct="0">
              <a:spcBef>
                <a:spcPct val="0"/>
              </a:spcBef>
              <a:spcAft>
                <a:spcPct val="0"/>
              </a:spcAft>
              <a:defRPr b="1">
                <a:solidFill>
                  <a:schemeClr val="tx1"/>
                </a:solidFill>
                <a:latin typeface="Verdana" panose="020B0604030504040204" pitchFamily="34" charset="0"/>
              </a:defRPr>
            </a:lvl8pPr>
            <a:lvl9pPr marL="3886200" indent="-228600" eaLnBrk="0" fontAlgn="base" hangingPunct="0">
              <a:spcBef>
                <a:spcPct val="0"/>
              </a:spcBef>
              <a:spcAft>
                <a:spcPct val="0"/>
              </a:spcAft>
              <a:defRPr b="1">
                <a:solidFill>
                  <a:schemeClr val="tx1"/>
                </a:solidFill>
                <a:latin typeface="Verdana" panose="020B0604030504040204" pitchFamily="34" charset="0"/>
              </a:defRPr>
            </a:lvl9pPr>
          </a:lstStyle>
          <a:p>
            <a:pPr marL="0" marR="0" lvl="0" indent="0" algn="l" defTabSz="914400" rtl="0" eaLnBrk="0" fontAlgn="base" latinLnBrk="0" hangingPunct="0">
              <a:lnSpc>
                <a:spcPct val="107000"/>
              </a:lnSpc>
              <a:spcBef>
                <a:spcPct val="0"/>
              </a:spcBef>
              <a:spcAft>
                <a:spcPts val="800"/>
              </a:spcAft>
              <a:buClrTx/>
              <a:buSzTx/>
              <a:buFont typeface="Wingdings" panose="05000000000000000000" pitchFamily="2" charset="2"/>
              <a:buNone/>
              <a:tabLst/>
              <a:defRPr/>
            </a:pPr>
            <a:r>
              <a:rPr kumimoji="0" lang="de-DE" altLang="de-DE" sz="2600" b="1" i="0" u="none" strike="noStrike" kern="1200" cap="none" spc="0" normalizeH="0" baseline="0" noProof="0" dirty="0" err="1">
                <a:ln>
                  <a:noFill/>
                </a:ln>
                <a:solidFill>
                  <a:srgbClr val="000000"/>
                </a:solidFill>
                <a:effectLst/>
                <a:uLnTx/>
                <a:uFillTx/>
                <a:latin typeface="Arial"/>
                <a:ea typeface="+mn-ea"/>
                <a:cs typeface="+mn-cs"/>
              </a:rPr>
              <a:t>Lecture</a:t>
            </a:r>
            <a:r>
              <a:rPr kumimoji="0" lang="de-DE" altLang="de-DE" sz="2600" b="1" i="0" u="none" strike="noStrike" kern="1200" cap="none" spc="0" normalizeH="0" baseline="0" noProof="0" dirty="0">
                <a:ln>
                  <a:noFill/>
                </a:ln>
                <a:solidFill>
                  <a:srgbClr val="000000"/>
                </a:solidFill>
                <a:effectLst/>
                <a:uLnTx/>
                <a:uFillTx/>
                <a:latin typeface="Arial"/>
                <a:ea typeface="+mn-ea"/>
                <a:cs typeface="+mn-cs"/>
              </a:rPr>
              <a:t> IV  </a:t>
            </a:r>
            <a:r>
              <a:rPr kumimoji="0" lang="de-DE" altLang="de-DE" sz="2600" b="1" i="0" u="none" strike="noStrike" kern="1200" cap="none" spc="0" normalizeH="0" baseline="0" noProof="0" dirty="0" err="1">
                <a:ln>
                  <a:noFill/>
                </a:ln>
                <a:solidFill>
                  <a:srgbClr val="0000FF"/>
                </a:solidFill>
                <a:effectLst/>
                <a:uLnTx/>
                <a:uFillTx/>
                <a:latin typeface="Arial"/>
                <a:ea typeface="+mn-ea"/>
                <a:cs typeface="+mn-cs"/>
              </a:rPr>
              <a:t>Vibrations</a:t>
            </a:r>
            <a:r>
              <a:rPr kumimoji="0" lang="de-DE" altLang="de-DE" sz="2600" b="1" i="0" u="none" strike="noStrike" kern="1200" cap="none" spc="0" normalizeH="0" baseline="0" noProof="0" dirty="0">
                <a:ln>
                  <a:noFill/>
                </a:ln>
                <a:solidFill>
                  <a:srgbClr val="0000FF"/>
                </a:solidFill>
                <a:effectLst/>
                <a:uLnTx/>
                <a:uFillTx/>
                <a:latin typeface="Arial"/>
                <a:ea typeface="+mn-ea"/>
                <a:cs typeface="+mn-cs"/>
              </a:rPr>
              <a:t> </a:t>
            </a:r>
            <a:r>
              <a:rPr kumimoji="0" lang="de-DE" altLang="de-DE" sz="2600" b="1" i="0" u="none" strike="noStrike" kern="1200" cap="none" spc="0" normalizeH="0" baseline="0" noProof="0" dirty="0" err="1">
                <a:ln>
                  <a:noFill/>
                </a:ln>
                <a:solidFill>
                  <a:srgbClr val="0000FF"/>
                </a:solidFill>
                <a:effectLst/>
                <a:uLnTx/>
                <a:uFillTx/>
                <a:latin typeface="Arial"/>
                <a:ea typeface="+mn-ea"/>
                <a:cs typeface="+mn-cs"/>
              </a:rPr>
              <a:t>of</a:t>
            </a:r>
            <a:r>
              <a:rPr kumimoji="0" lang="de-DE" altLang="de-DE" sz="2600" b="1" i="0" u="none" strike="noStrike" kern="1200" cap="none" spc="0" normalizeH="0" baseline="0" noProof="0" dirty="0">
                <a:ln>
                  <a:noFill/>
                </a:ln>
                <a:solidFill>
                  <a:srgbClr val="0000FF"/>
                </a:solidFill>
                <a:effectLst/>
                <a:uLnTx/>
                <a:uFillTx/>
                <a:latin typeface="Arial"/>
                <a:ea typeface="+mn-ea"/>
                <a:cs typeface="+mn-cs"/>
              </a:rPr>
              <a:t> </a:t>
            </a:r>
            <a:r>
              <a:rPr kumimoji="0" lang="de-DE" altLang="de-DE" sz="2600" b="1" i="0" u="none" strike="noStrike" kern="1200" cap="none" spc="0" normalizeH="0" baseline="0" noProof="0" dirty="0" err="1">
                <a:ln>
                  <a:noFill/>
                </a:ln>
                <a:solidFill>
                  <a:srgbClr val="0000FF"/>
                </a:solidFill>
                <a:effectLst/>
                <a:uLnTx/>
                <a:uFillTx/>
                <a:latin typeface="Arial"/>
                <a:ea typeface="+mn-ea"/>
                <a:cs typeface="+mn-cs"/>
              </a:rPr>
              <a:t>Feedwater</a:t>
            </a:r>
            <a:r>
              <a:rPr kumimoji="0" lang="de-DE" altLang="de-DE" sz="2600" b="1" i="0" u="none" strike="noStrike" kern="1200" cap="none" spc="0" normalizeH="0" baseline="0" noProof="0" dirty="0">
                <a:ln>
                  <a:noFill/>
                </a:ln>
                <a:solidFill>
                  <a:srgbClr val="0000FF"/>
                </a:solidFill>
                <a:effectLst/>
                <a:uLnTx/>
                <a:uFillTx/>
                <a:latin typeface="Arial"/>
                <a:ea typeface="+mn-ea"/>
                <a:cs typeface="+mn-cs"/>
              </a:rPr>
              <a:t> Pumps in </a:t>
            </a:r>
            <a:r>
              <a:rPr kumimoji="0" lang="de-DE" altLang="de-DE" sz="2600" b="1" i="0" u="none" strike="noStrike" kern="1200" cap="none" spc="0" normalizeH="0" baseline="0" noProof="0" dirty="0" err="1">
                <a:ln>
                  <a:noFill/>
                </a:ln>
                <a:solidFill>
                  <a:srgbClr val="0000FF"/>
                </a:solidFill>
                <a:effectLst/>
                <a:uLnTx/>
                <a:uFillTx/>
                <a:latin typeface="Arial"/>
                <a:ea typeface="+mn-ea"/>
                <a:cs typeface="+mn-cs"/>
              </a:rPr>
              <a:t>Nuclear</a:t>
            </a:r>
            <a:r>
              <a:rPr kumimoji="0" lang="de-DE" altLang="de-DE" sz="2600" b="1" i="0" u="none" strike="noStrike" kern="1200" cap="none" spc="0" normalizeH="0" baseline="0" noProof="0" dirty="0">
                <a:ln>
                  <a:noFill/>
                </a:ln>
                <a:solidFill>
                  <a:srgbClr val="0000FF"/>
                </a:solidFill>
                <a:effectLst/>
                <a:uLnTx/>
                <a:uFillTx/>
                <a:latin typeface="Arial"/>
                <a:ea typeface="+mn-ea"/>
                <a:cs typeface="+mn-cs"/>
              </a:rPr>
              <a:t> Power Plants</a:t>
            </a:r>
          </a:p>
        </p:txBody>
      </p:sp>
    </p:spTree>
    <p:extLst>
      <p:ext uri="{BB962C8B-B14F-4D97-AF65-F5344CB8AC3E}">
        <p14:creationId xmlns:p14="http://schemas.microsoft.com/office/powerpoint/2010/main" val="1560178046"/>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2" presetClass="entr" presetSubtype="8"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left)">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utoUpdateAnimBg="0"/>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Grafik 1">
            <a:extLst>
              <a:ext uri="{FF2B5EF4-FFF2-40B4-BE49-F238E27FC236}">
                <a16:creationId xmlns:a16="http://schemas.microsoft.com/office/drawing/2014/main" id="{B51AC7ED-8FD3-796C-A36E-CF81D94855C6}"/>
              </a:ext>
            </a:extLst>
          </p:cNvPr>
          <p:cNvPicPr>
            <a:picLocks noChangeAspect="1"/>
          </p:cNvPicPr>
          <p:nvPr/>
        </p:nvPicPr>
        <p:blipFill>
          <a:blip r:embed="rId2"/>
          <a:stretch>
            <a:fillRect/>
          </a:stretch>
        </p:blipFill>
        <p:spPr>
          <a:xfrm>
            <a:off x="1889395" y="1255587"/>
            <a:ext cx="8413209" cy="4346825"/>
          </a:xfrm>
          <a:prstGeom prst="rect">
            <a:avLst/>
          </a:prstGeom>
        </p:spPr>
      </p:pic>
      <p:cxnSp>
        <p:nvCxnSpPr>
          <p:cNvPr id="5" name="Gerader Verbinder 4">
            <a:extLst>
              <a:ext uri="{FF2B5EF4-FFF2-40B4-BE49-F238E27FC236}">
                <a16:creationId xmlns:a16="http://schemas.microsoft.com/office/drawing/2014/main" id="{1BC221DE-6A04-3E73-ECDA-825521F3983E}"/>
              </a:ext>
            </a:extLst>
          </p:cNvPr>
          <p:cNvCxnSpPr>
            <a:cxnSpLocks/>
          </p:cNvCxnSpPr>
          <p:nvPr/>
        </p:nvCxnSpPr>
        <p:spPr>
          <a:xfrm>
            <a:off x="2046514" y="1814286"/>
            <a:ext cx="7474857" cy="0"/>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8" name="Gerader Verbinder 7">
            <a:extLst>
              <a:ext uri="{FF2B5EF4-FFF2-40B4-BE49-F238E27FC236}">
                <a16:creationId xmlns:a16="http://schemas.microsoft.com/office/drawing/2014/main" id="{251F79B1-BC11-74C2-69D9-9476FB0F35A8}"/>
              </a:ext>
            </a:extLst>
          </p:cNvPr>
          <p:cNvCxnSpPr>
            <a:cxnSpLocks/>
          </p:cNvCxnSpPr>
          <p:nvPr/>
        </p:nvCxnSpPr>
        <p:spPr>
          <a:xfrm>
            <a:off x="2046514" y="3570514"/>
            <a:ext cx="7474857" cy="0"/>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2" name="Gerader Verbinder 11">
            <a:extLst>
              <a:ext uri="{FF2B5EF4-FFF2-40B4-BE49-F238E27FC236}">
                <a16:creationId xmlns:a16="http://schemas.microsoft.com/office/drawing/2014/main" id="{91ADC9AB-87B6-B46E-3A1F-5D17F7BA85E2}"/>
              </a:ext>
            </a:extLst>
          </p:cNvPr>
          <p:cNvCxnSpPr/>
          <p:nvPr/>
        </p:nvCxnSpPr>
        <p:spPr>
          <a:xfrm>
            <a:off x="2046514" y="1828800"/>
            <a:ext cx="0" cy="1741714"/>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4" name="Gerader Verbinder 13">
            <a:extLst>
              <a:ext uri="{FF2B5EF4-FFF2-40B4-BE49-F238E27FC236}">
                <a16:creationId xmlns:a16="http://schemas.microsoft.com/office/drawing/2014/main" id="{75193072-A0FF-9E32-8F56-CFF9BB70933F}"/>
              </a:ext>
            </a:extLst>
          </p:cNvPr>
          <p:cNvCxnSpPr>
            <a:cxnSpLocks/>
          </p:cNvCxnSpPr>
          <p:nvPr/>
        </p:nvCxnSpPr>
        <p:spPr>
          <a:xfrm>
            <a:off x="9521371" y="1814286"/>
            <a:ext cx="0" cy="1756228"/>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sp>
        <p:nvSpPr>
          <p:cNvPr id="17" name="Textfeld 16">
            <a:extLst>
              <a:ext uri="{FF2B5EF4-FFF2-40B4-BE49-F238E27FC236}">
                <a16:creationId xmlns:a16="http://schemas.microsoft.com/office/drawing/2014/main" id="{46A1914D-F452-30E4-D504-0FE38A4B4940}"/>
              </a:ext>
            </a:extLst>
          </p:cNvPr>
          <p:cNvSpPr txBox="1"/>
          <p:nvPr/>
        </p:nvSpPr>
        <p:spPr>
          <a:xfrm>
            <a:off x="9802010" y="2468824"/>
            <a:ext cx="1504964" cy="523220"/>
          </a:xfrm>
          <a:prstGeom prst="rect">
            <a:avLst/>
          </a:prstGeom>
          <a:noFill/>
        </p:spPr>
        <p:txBody>
          <a:bodyPr wrap="none" rtlCol="0">
            <a:spAutoFit/>
          </a:bodyPr>
          <a:lstStyle/>
          <a:p>
            <a:r>
              <a:rPr lang="de-DE" sz="2800" dirty="0">
                <a:solidFill>
                  <a:srgbClr val="0000FF"/>
                </a:solidFill>
                <a:latin typeface="+mn-lt"/>
              </a:rPr>
              <a:t>1105 Hz</a:t>
            </a:r>
          </a:p>
        </p:txBody>
      </p:sp>
      <p:sp>
        <p:nvSpPr>
          <p:cNvPr id="4" name="Textfeld 3">
            <a:extLst>
              <a:ext uri="{FF2B5EF4-FFF2-40B4-BE49-F238E27FC236}">
                <a16:creationId xmlns:a16="http://schemas.microsoft.com/office/drawing/2014/main" id="{F994F3F6-81B1-F381-80E1-7F5AC7CA864D}"/>
              </a:ext>
            </a:extLst>
          </p:cNvPr>
          <p:cNvSpPr txBox="1"/>
          <p:nvPr/>
        </p:nvSpPr>
        <p:spPr>
          <a:xfrm>
            <a:off x="624114" y="116896"/>
            <a:ext cx="11263085" cy="830997"/>
          </a:xfrm>
          <a:prstGeom prst="rect">
            <a:avLst/>
          </a:prstGeom>
          <a:noFill/>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de-DE" sz="2400" b="1" i="0" u="none" strike="noStrike" kern="1200" cap="none" spc="0" normalizeH="0" baseline="0" noProof="0" dirty="0" err="1">
                <a:ln>
                  <a:noFill/>
                </a:ln>
                <a:solidFill>
                  <a:srgbClr val="0000FF"/>
                </a:solidFill>
                <a:effectLst/>
                <a:uLnTx/>
                <a:uFillTx/>
                <a:latin typeface="Arial"/>
                <a:ea typeface="+mn-ea"/>
                <a:cs typeface="+mn-cs"/>
              </a:rPr>
              <a:t>Measured</a:t>
            </a:r>
            <a:r>
              <a:rPr kumimoji="0" lang="de-DE" sz="2400" b="1" i="0" u="none" strike="noStrike" kern="1200" cap="none" spc="0" normalizeH="0" baseline="0" noProof="0" dirty="0">
                <a:ln>
                  <a:noFill/>
                </a:ln>
                <a:solidFill>
                  <a:srgbClr val="0000FF"/>
                </a:solidFill>
                <a:effectLst/>
                <a:uLnTx/>
                <a:uFillTx/>
                <a:latin typeface="Arial"/>
                <a:ea typeface="+mn-ea"/>
                <a:cs typeface="+mn-cs"/>
              </a:rPr>
              <a:t> and </a:t>
            </a:r>
            <a:r>
              <a:rPr kumimoji="0" lang="de-DE" sz="2400" b="1" i="0" u="none" strike="noStrike" kern="1200" cap="none" spc="0" normalizeH="0" baseline="0" noProof="0" dirty="0" err="1">
                <a:ln>
                  <a:noFill/>
                </a:ln>
                <a:solidFill>
                  <a:srgbClr val="0000FF"/>
                </a:solidFill>
                <a:effectLst/>
                <a:uLnTx/>
                <a:uFillTx/>
                <a:latin typeface="Arial"/>
                <a:ea typeface="+mn-ea"/>
                <a:cs typeface="+mn-cs"/>
              </a:rPr>
              <a:t>Calculated</a:t>
            </a:r>
            <a:r>
              <a:rPr kumimoji="0" lang="de-DE" sz="2400" b="1" i="0" u="none" strike="noStrike" kern="1200" cap="none" spc="0" normalizeH="0" baseline="0" noProof="0" dirty="0">
                <a:ln>
                  <a:noFill/>
                </a:ln>
                <a:solidFill>
                  <a:srgbClr val="0000FF"/>
                </a:solidFill>
                <a:effectLst/>
                <a:uLnTx/>
                <a:uFillTx/>
                <a:latin typeface="Arial"/>
                <a:ea typeface="+mn-ea"/>
                <a:cs typeface="+mn-cs"/>
              </a:rPr>
              <a:t> </a:t>
            </a:r>
            <a:r>
              <a:rPr kumimoji="0" lang="de-DE" sz="2400" b="1" i="0" u="none" strike="noStrike" kern="1200" cap="none" spc="0" normalizeH="0" baseline="0" noProof="0" dirty="0" err="1">
                <a:ln>
                  <a:noFill/>
                </a:ln>
                <a:solidFill>
                  <a:srgbClr val="0000FF"/>
                </a:solidFill>
                <a:effectLst/>
                <a:uLnTx/>
                <a:uFillTx/>
                <a:latin typeface="Arial"/>
                <a:ea typeface="+mn-ea"/>
                <a:cs typeface="+mn-cs"/>
              </a:rPr>
              <a:t>Vibrations</a:t>
            </a:r>
            <a:r>
              <a:rPr kumimoji="0" lang="de-DE" sz="2400" b="1" i="0" u="none" strike="noStrike" kern="1200" cap="none" spc="0" normalizeH="0" baseline="0" noProof="0" dirty="0">
                <a:ln>
                  <a:noFill/>
                </a:ln>
                <a:solidFill>
                  <a:srgbClr val="0000FF"/>
                </a:solidFill>
                <a:effectLst/>
                <a:uLnTx/>
                <a:uFillTx/>
                <a:latin typeface="Arial"/>
                <a:ea typeface="+mn-ea"/>
                <a:cs typeface="+mn-cs"/>
              </a:rPr>
              <a:t> </a:t>
            </a:r>
            <a:r>
              <a:rPr kumimoji="0" lang="de-DE" sz="2400" b="1" i="0" u="none" strike="noStrike" kern="1200" cap="none" spc="0" normalizeH="0" baseline="0" noProof="0" dirty="0" err="1">
                <a:ln>
                  <a:noFill/>
                </a:ln>
                <a:solidFill>
                  <a:srgbClr val="0000FF"/>
                </a:solidFill>
                <a:effectLst/>
                <a:uLnTx/>
                <a:uFillTx/>
                <a:latin typeface="Arial"/>
                <a:ea typeface="+mn-ea"/>
                <a:cs typeface="+mn-cs"/>
              </a:rPr>
              <a:t>of</a:t>
            </a:r>
            <a:r>
              <a:rPr kumimoji="0" lang="de-DE" sz="2400" b="1" i="0" u="none" strike="noStrike" kern="1200" cap="none" spc="0" normalizeH="0" baseline="0" noProof="0" dirty="0">
                <a:ln>
                  <a:noFill/>
                </a:ln>
                <a:solidFill>
                  <a:srgbClr val="0000FF"/>
                </a:solidFill>
                <a:effectLst/>
                <a:uLnTx/>
                <a:uFillTx/>
                <a:latin typeface="Arial"/>
                <a:ea typeface="+mn-ea"/>
                <a:cs typeface="+mn-cs"/>
              </a:rPr>
              <a:t> </a:t>
            </a:r>
            <a:r>
              <a:rPr kumimoji="0" lang="de-DE" sz="2400" b="1" i="0" u="none" strike="noStrike" kern="1200" cap="none" spc="0" normalizeH="0" baseline="0" noProof="0" dirty="0" err="1">
                <a:ln>
                  <a:noFill/>
                </a:ln>
                <a:solidFill>
                  <a:srgbClr val="0000FF"/>
                </a:solidFill>
                <a:effectLst/>
                <a:uLnTx/>
                <a:uFillTx/>
                <a:latin typeface="Arial"/>
                <a:ea typeface="+mn-ea"/>
                <a:cs typeface="+mn-cs"/>
              </a:rPr>
              <a:t>the</a:t>
            </a:r>
            <a:r>
              <a:rPr kumimoji="0" lang="de-DE" sz="2400" b="1" i="0" u="none" strike="noStrike" kern="1200" cap="none" spc="0" normalizeH="0" baseline="0" noProof="0" dirty="0">
                <a:ln>
                  <a:noFill/>
                </a:ln>
                <a:solidFill>
                  <a:srgbClr val="0000FF"/>
                </a:solidFill>
                <a:effectLst/>
                <a:uLnTx/>
                <a:uFillTx/>
                <a:latin typeface="Arial"/>
                <a:ea typeface="+mn-ea"/>
                <a:cs typeface="+mn-cs"/>
              </a:rPr>
              <a:t> Horizontal </a:t>
            </a:r>
            <a:r>
              <a:rPr kumimoji="0" lang="de-DE" sz="2400" b="1" i="0" u="none" strike="noStrike" kern="1200" cap="none" spc="0" normalizeH="0" baseline="0" noProof="0" dirty="0" err="1">
                <a:ln>
                  <a:noFill/>
                </a:ln>
                <a:solidFill>
                  <a:srgbClr val="0000FF"/>
                </a:solidFill>
                <a:effectLst/>
                <a:uLnTx/>
                <a:uFillTx/>
                <a:latin typeface="Arial"/>
                <a:ea typeface="+mn-ea"/>
                <a:cs typeface="+mn-cs"/>
              </a:rPr>
              <a:t>Feedwater</a:t>
            </a:r>
            <a:r>
              <a:rPr kumimoji="0" lang="de-DE" sz="2400" b="1" i="0" u="none" strike="noStrike" kern="1200" cap="none" spc="0" normalizeH="0" baseline="0" noProof="0" dirty="0">
                <a:ln>
                  <a:noFill/>
                </a:ln>
                <a:solidFill>
                  <a:srgbClr val="0000FF"/>
                </a:solidFill>
                <a:effectLst/>
                <a:uLnTx/>
                <a:uFillTx/>
                <a:latin typeface="Arial"/>
                <a:ea typeface="+mn-ea"/>
                <a:cs typeface="+mn-cs"/>
              </a:rPr>
              <a:t> Pump OL3 </a:t>
            </a:r>
            <a:r>
              <a:rPr lang="de-DE" sz="2400" b="0" dirty="0">
                <a:latin typeface="Arial"/>
              </a:rPr>
              <a:t>Mode Shape at 1105 Hz </a:t>
            </a:r>
            <a:r>
              <a:rPr lang="de-DE" sz="2400" b="0" dirty="0" err="1">
                <a:latin typeface="Arial"/>
              </a:rPr>
              <a:t>for</a:t>
            </a:r>
            <a:r>
              <a:rPr lang="de-DE" sz="2400" b="0" dirty="0">
                <a:latin typeface="Arial"/>
              </a:rPr>
              <a:t> </a:t>
            </a:r>
            <a:r>
              <a:rPr lang="de-DE" sz="2400" b="0" dirty="0" err="1">
                <a:latin typeface="Arial"/>
              </a:rPr>
              <a:t>the</a:t>
            </a:r>
            <a:r>
              <a:rPr lang="de-DE" sz="2400" b="0" dirty="0">
                <a:latin typeface="Arial"/>
              </a:rPr>
              <a:t> </a:t>
            </a:r>
            <a:r>
              <a:rPr lang="de-DE" sz="2400" b="0" dirty="0" err="1">
                <a:latin typeface="Arial"/>
              </a:rPr>
              <a:t>free</a:t>
            </a:r>
            <a:r>
              <a:rPr lang="de-DE" sz="2400" b="0" dirty="0">
                <a:latin typeface="Arial"/>
              </a:rPr>
              <a:t> </a:t>
            </a:r>
            <a:r>
              <a:rPr lang="de-DE" sz="2400" b="0" dirty="0" err="1">
                <a:latin typeface="Arial"/>
              </a:rPr>
              <a:t>free</a:t>
            </a:r>
            <a:r>
              <a:rPr lang="de-DE" sz="2400" b="0" dirty="0">
                <a:latin typeface="Arial"/>
              </a:rPr>
              <a:t> Pump </a:t>
            </a:r>
            <a:r>
              <a:rPr lang="de-DE" sz="2400" b="0" dirty="0" err="1">
                <a:latin typeface="Arial"/>
              </a:rPr>
              <a:t>shaft</a:t>
            </a:r>
            <a:endParaRPr kumimoji="0" lang="de-DE" sz="2400" b="0" i="0" u="none" strike="noStrike" kern="1200" cap="none" spc="0" normalizeH="0" baseline="0" noProof="0" dirty="0">
              <a:ln>
                <a:noFill/>
              </a:ln>
              <a:effectLst/>
              <a:uLnTx/>
              <a:uFillTx/>
              <a:latin typeface="Arial"/>
              <a:ea typeface="+mn-ea"/>
              <a:cs typeface="+mn-cs"/>
            </a:endParaRPr>
          </a:p>
        </p:txBody>
      </p:sp>
    </p:spTree>
    <p:extLst>
      <p:ext uri="{BB962C8B-B14F-4D97-AF65-F5344CB8AC3E}">
        <p14:creationId xmlns:p14="http://schemas.microsoft.com/office/powerpoint/2010/main" val="3019704218"/>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feld 3">
            <a:extLst>
              <a:ext uri="{FF2B5EF4-FFF2-40B4-BE49-F238E27FC236}">
                <a16:creationId xmlns:a16="http://schemas.microsoft.com/office/drawing/2014/main" id="{7923EAD4-EDC3-9C6B-1C9C-745E8768308B}"/>
              </a:ext>
            </a:extLst>
          </p:cNvPr>
          <p:cNvSpPr txBox="1"/>
          <p:nvPr/>
        </p:nvSpPr>
        <p:spPr>
          <a:xfrm>
            <a:off x="478199" y="116896"/>
            <a:ext cx="11222734" cy="830997"/>
          </a:xfrm>
          <a:prstGeom prst="rect">
            <a:avLst/>
          </a:prstGeom>
          <a:noFill/>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de-DE" sz="2400" b="1" i="0" u="none" strike="noStrike" kern="1200" cap="none" spc="0" normalizeH="0" baseline="0" noProof="0" dirty="0" err="1">
                <a:ln>
                  <a:noFill/>
                </a:ln>
                <a:solidFill>
                  <a:srgbClr val="0000FF"/>
                </a:solidFill>
                <a:effectLst/>
                <a:uLnTx/>
                <a:uFillTx/>
                <a:latin typeface="Arial"/>
                <a:ea typeface="+mn-ea"/>
                <a:cs typeface="+mn-cs"/>
              </a:rPr>
              <a:t>Measured</a:t>
            </a:r>
            <a:r>
              <a:rPr kumimoji="0" lang="de-DE" sz="2400" b="1" i="0" u="none" strike="noStrike" kern="1200" cap="none" spc="0" normalizeH="0" baseline="0" noProof="0" dirty="0">
                <a:ln>
                  <a:noFill/>
                </a:ln>
                <a:solidFill>
                  <a:srgbClr val="0000FF"/>
                </a:solidFill>
                <a:effectLst/>
                <a:uLnTx/>
                <a:uFillTx/>
                <a:latin typeface="Arial"/>
                <a:ea typeface="+mn-ea"/>
                <a:cs typeface="+mn-cs"/>
              </a:rPr>
              <a:t> and </a:t>
            </a:r>
            <a:r>
              <a:rPr kumimoji="0" lang="de-DE" sz="2400" b="1" i="0" u="none" strike="noStrike" kern="1200" cap="none" spc="0" normalizeH="0" baseline="0" noProof="0" dirty="0" err="1">
                <a:ln>
                  <a:noFill/>
                </a:ln>
                <a:solidFill>
                  <a:srgbClr val="0000FF"/>
                </a:solidFill>
                <a:effectLst/>
                <a:uLnTx/>
                <a:uFillTx/>
                <a:latin typeface="Arial"/>
                <a:ea typeface="+mn-ea"/>
                <a:cs typeface="+mn-cs"/>
              </a:rPr>
              <a:t>Calculated</a:t>
            </a:r>
            <a:r>
              <a:rPr kumimoji="0" lang="de-DE" sz="2400" b="1" i="0" u="none" strike="noStrike" kern="1200" cap="none" spc="0" normalizeH="0" baseline="0" noProof="0" dirty="0">
                <a:ln>
                  <a:noFill/>
                </a:ln>
                <a:solidFill>
                  <a:srgbClr val="0000FF"/>
                </a:solidFill>
                <a:effectLst/>
                <a:uLnTx/>
                <a:uFillTx/>
                <a:latin typeface="Arial"/>
                <a:ea typeface="+mn-ea"/>
                <a:cs typeface="+mn-cs"/>
              </a:rPr>
              <a:t> </a:t>
            </a:r>
            <a:r>
              <a:rPr kumimoji="0" lang="de-DE" sz="2400" b="1" i="0" u="none" strike="noStrike" kern="1200" cap="none" spc="0" normalizeH="0" baseline="0" noProof="0" dirty="0" err="1">
                <a:ln>
                  <a:noFill/>
                </a:ln>
                <a:solidFill>
                  <a:srgbClr val="0000FF"/>
                </a:solidFill>
                <a:effectLst/>
                <a:uLnTx/>
                <a:uFillTx/>
                <a:latin typeface="Arial"/>
                <a:ea typeface="+mn-ea"/>
                <a:cs typeface="+mn-cs"/>
              </a:rPr>
              <a:t>Vibrations</a:t>
            </a:r>
            <a:r>
              <a:rPr kumimoji="0" lang="de-DE" sz="2400" b="1" i="0" u="none" strike="noStrike" kern="1200" cap="none" spc="0" normalizeH="0" baseline="0" noProof="0" dirty="0">
                <a:ln>
                  <a:noFill/>
                </a:ln>
                <a:solidFill>
                  <a:srgbClr val="0000FF"/>
                </a:solidFill>
                <a:effectLst/>
                <a:uLnTx/>
                <a:uFillTx/>
                <a:latin typeface="Arial"/>
                <a:ea typeface="+mn-ea"/>
                <a:cs typeface="+mn-cs"/>
              </a:rPr>
              <a:t> </a:t>
            </a:r>
            <a:r>
              <a:rPr kumimoji="0" lang="de-DE" sz="2400" b="1" i="0" u="none" strike="noStrike" kern="1200" cap="none" spc="0" normalizeH="0" baseline="0" noProof="0" dirty="0" err="1">
                <a:ln>
                  <a:noFill/>
                </a:ln>
                <a:solidFill>
                  <a:srgbClr val="0000FF"/>
                </a:solidFill>
                <a:effectLst/>
                <a:uLnTx/>
                <a:uFillTx/>
                <a:latin typeface="Arial"/>
                <a:ea typeface="+mn-ea"/>
                <a:cs typeface="+mn-cs"/>
              </a:rPr>
              <a:t>of</a:t>
            </a:r>
            <a:r>
              <a:rPr lang="de-DE" sz="2400" dirty="0">
                <a:solidFill>
                  <a:srgbClr val="0000FF"/>
                </a:solidFill>
                <a:latin typeface="Arial"/>
              </a:rPr>
              <a:t> </a:t>
            </a:r>
            <a:r>
              <a:rPr lang="de-DE" sz="2400" dirty="0" err="1">
                <a:solidFill>
                  <a:srgbClr val="0000FF"/>
                </a:solidFill>
                <a:latin typeface="Arial"/>
              </a:rPr>
              <a:t>the</a:t>
            </a:r>
            <a:r>
              <a:rPr kumimoji="0" lang="de-DE" sz="2400" b="1" i="0" u="none" strike="noStrike" kern="1200" cap="none" spc="0" normalizeH="0" baseline="0" noProof="0" dirty="0">
                <a:ln>
                  <a:noFill/>
                </a:ln>
                <a:solidFill>
                  <a:srgbClr val="0000FF"/>
                </a:solidFill>
                <a:effectLst/>
                <a:uLnTx/>
                <a:uFillTx/>
                <a:latin typeface="Arial"/>
                <a:ea typeface="+mn-ea"/>
                <a:cs typeface="+mn-cs"/>
              </a:rPr>
              <a:t> Horizontal </a:t>
            </a:r>
            <a:r>
              <a:rPr kumimoji="0" lang="de-DE" sz="2400" b="1" i="0" u="none" strike="noStrike" kern="1200" cap="none" spc="0" normalizeH="0" baseline="0" noProof="0" dirty="0" err="1">
                <a:ln>
                  <a:noFill/>
                </a:ln>
                <a:solidFill>
                  <a:srgbClr val="0000FF"/>
                </a:solidFill>
                <a:effectLst/>
                <a:uLnTx/>
                <a:uFillTx/>
                <a:latin typeface="Arial"/>
                <a:ea typeface="+mn-ea"/>
                <a:cs typeface="+mn-cs"/>
              </a:rPr>
              <a:t>Feedwater</a:t>
            </a:r>
            <a:r>
              <a:rPr kumimoji="0" lang="de-DE" sz="2400" b="1" i="0" u="none" strike="noStrike" kern="1200" cap="none" spc="0" normalizeH="0" baseline="0" noProof="0" dirty="0">
                <a:ln>
                  <a:noFill/>
                </a:ln>
                <a:solidFill>
                  <a:srgbClr val="0000FF"/>
                </a:solidFill>
                <a:effectLst/>
                <a:uLnTx/>
                <a:uFillTx/>
                <a:latin typeface="Arial"/>
                <a:ea typeface="+mn-ea"/>
                <a:cs typeface="+mn-cs"/>
              </a:rPr>
              <a:t> Pump OL3 </a:t>
            </a:r>
            <a:r>
              <a:rPr lang="de-DE" sz="2400" b="0" dirty="0">
                <a:latin typeface="Arial"/>
              </a:rPr>
              <a:t>Determination </a:t>
            </a:r>
            <a:r>
              <a:rPr lang="de-DE" sz="2400" b="0" dirty="0" err="1">
                <a:latin typeface="Arial"/>
              </a:rPr>
              <a:t>of</a:t>
            </a:r>
            <a:r>
              <a:rPr lang="de-DE" sz="2400" b="0" dirty="0">
                <a:latin typeface="Arial"/>
              </a:rPr>
              <a:t> </a:t>
            </a:r>
            <a:r>
              <a:rPr lang="de-DE" sz="2400" b="0" dirty="0" err="1">
                <a:latin typeface="Arial"/>
              </a:rPr>
              <a:t>the</a:t>
            </a:r>
            <a:r>
              <a:rPr lang="de-DE" sz="2400" b="0" dirty="0">
                <a:latin typeface="Arial"/>
              </a:rPr>
              <a:t> Lateral Natural </a:t>
            </a:r>
            <a:r>
              <a:rPr lang="de-DE" sz="2400" b="0" dirty="0" err="1">
                <a:latin typeface="Arial"/>
              </a:rPr>
              <a:t>Frequencies</a:t>
            </a:r>
            <a:r>
              <a:rPr lang="de-DE" sz="2400" b="0" dirty="0">
                <a:latin typeface="Arial"/>
              </a:rPr>
              <a:t> by an </a:t>
            </a:r>
            <a:r>
              <a:rPr lang="de-DE" sz="2400" b="0" dirty="0" err="1">
                <a:latin typeface="Arial"/>
              </a:rPr>
              <a:t>extended</a:t>
            </a:r>
            <a:r>
              <a:rPr lang="de-DE" sz="2400" b="0" dirty="0">
                <a:latin typeface="Arial"/>
              </a:rPr>
              <a:t> FE- Model</a:t>
            </a:r>
            <a:endParaRPr kumimoji="0" lang="de-DE" sz="2400" b="0" i="0" u="none" strike="noStrike" kern="1200" cap="none" spc="0" normalizeH="0" baseline="0" noProof="0" dirty="0">
              <a:ln>
                <a:noFill/>
              </a:ln>
              <a:effectLst/>
              <a:uLnTx/>
              <a:uFillTx/>
              <a:latin typeface="Arial"/>
              <a:ea typeface="+mn-ea"/>
              <a:cs typeface="+mn-cs"/>
            </a:endParaRPr>
          </a:p>
        </p:txBody>
      </p:sp>
      <p:pic>
        <p:nvPicPr>
          <p:cNvPr id="5" name="Grafik 4">
            <a:extLst>
              <a:ext uri="{FF2B5EF4-FFF2-40B4-BE49-F238E27FC236}">
                <a16:creationId xmlns:a16="http://schemas.microsoft.com/office/drawing/2014/main" id="{59028A89-2648-D679-41F1-75E91C8832DE}"/>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5740400" y="1757189"/>
            <a:ext cx="5867399" cy="4381143"/>
          </a:xfrm>
          <a:prstGeom prst="rect">
            <a:avLst/>
          </a:prstGeom>
          <a:noFill/>
          <a:ln>
            <a:noFill/>
          </a:ln>
        </p:spPr>
      </p:pic>
      <p:sp>
        <p:nvSpPr>
          <p:cNvPr id="6" name="Textplatzhalter 6">
            <a:extLst>
              <a:ext uri="{FF2B5EF4-FFF2-40B4-BE49-F238E27FC236}">
                <a16:creationId xmlns:a16="http://schemas.microsoft.com/office/drawing/2014/main" id="{761AAB40-2404-FF79-65F1-67A293271FF2}"/>
              </a:ext>
            </a:extLst>
          </p:cNvPr>
          <p:cNvSpPr txBox="1">
            <a:spLocks/>
          </p:cNvSpPr>
          <p:nvPr/>
        </p:nvSpPr>
        <p:spPr>
          <a:xfrm>
            <a:off x="186267" y="1757189"/>
            <a:ext cx="5706533" cy="4550477"/>
          </a:xfrm>
          <a:prstGeom prst="rect">
            <a:avLst/>
          </a:prstGeom>
        </p:spPr>
        <p:txBody>
          <a:bodyPr/>
          <a:lstStyle>
            <a:lvl1pPr marL="179388" indent="-179388" algn="l" rtl="0" eaLnBrk="0" fontAlgn="base" hangingPunct="0">
              <a:spcBef>
                <a:spcPct val="20000"/>
              </a:spcBef>
              <a:spcAft>
                <a:spcPct val="0"/>
              </a:spcAft>
              <a:buFont typeface="Wingdings" panose="05000000000000000000" pitchFamily="2" charset="2"/>
              <a:buChar char="§"/>
              <a:defRPr sz="2000">
                <a:solidFill>
                  <a:schemeClr val="tx1"/>
                </a:solidFill>
                <a:latin typeface="+mn-lt"/>
                <a:ea typeface="+mn-ea"/>
                <a:cs typeface="+mn-cs"/>
              </a:defRPr>
            </a:lvl1pPr>
            <a:lvl2pPr marL="349250" indent="-168275" algn="l" rtl="0" eaLnBrk="0" fontAlgn="base" hangingPunct="0">
              <a:spcBef>
                <a:spcPct val="20000"/>
              </a:spcBef>
              <a:spcAft>
                <a:spcPct val="0"/>
              </a:spcAft>
              <a:buFont typeface="Wingdings" panose="05000000000000000000" pitchFamily="2" charset="2"/>
              <a:buChar char="§"/>
              <a:defRPr>
                <a:solidFill>
                  <a:schemeClr val="tx1"/>
                </a:solidFill>
                <a:latin typeface="+mn-lt"/>
              </a:defRPr>
            </a:lvl2pPr>
            <a:lvl3pPr marL="538163" indent="-187325" algn="l" rtl="0" eaLnBrk="0" fontAlgn="base" hangingPunct="0">
              <a:spcBef>
                <a:spcPct val="20000"/>
              </a:spcBef>
              <a:spcAft>
                <a:spcPct val="0"/>
              </a:spcAft>
              <a:buFont typeface="Wingdings" panose="05000000000000000000" pitchFamily="2" charset="2"/>
              <a:buChar char="§"/>
              <a:defRPr>
                <a:solidFill>
                  <a:schemeClr val="tx1"/>
                </a:solidFill>
                <a:latin typeface="+mn-lt"/>
              </a:defRPr>
            </a:lvl3pPr>
            <a:lvl4pPr marL="717550" indent="-173038" algn="l" rtl="0" eaLnBrk="0" fontAlgn="base" hangingPunct="0">
              <a:spcBef>
                <a:spcPct val="20000"/>
              </a:spcBef>
              <a:spcAft>
                <a:spcPct val="0"/>
              </a:spcAft>
              <a:buFont typeface="Wingdings" panose="05000000000000000000" pitchFamily="2" charset="2"/>
              <a:buChar char="§"/>
              <a:defRPr sz="1600">
                <a:solidFill>
                  <a:schemeClr val="tx1"/>
                </a:solidFill>
                <a:latin typeface="+mn-lt"/>
              </a:defRPr>
            </a:lvl4pPr>
            <a:lvl5pPr marL="908050" indent="-188913" algn="l" rtl="0" eaLnBrk="0" fontAlgn="base" hangingPunct="0">
              <a:spcBef>
                <a:spcPct val="20000"/>
              </a:spcBef>
              <a:spcAft>
                <a:spcPct val="0"/>
              </a:spcAft>
              <a:buFont typeface="Wingdings" panose="05000000000000000000" pitchFamily="2" charset="2"/>
              <a:buChar char="§"/>
              <a:defRPr sz="1600">
                <a:solidFill>
                  <a:schemeClr val="tx1"/>
                </a:solidFill>
                <a:latin typeface="+mn-lt"/>
              </a:defRPr>
            </a:lvl5pPr>
            <a:lvl6pPr marL="1365250" indent="-188913" algn="l" rtl="0" eaLnBrk="1" fontAlgn="base" hangingPunct="1">
              <a:spcBef>
                <a:spcPct val="20000"/>
              </a:spcBef>
              <a:spcAft>
                <a:spcPct val="0"/>
              </a:spcAft>
              <a:buFont typeface="Wingdings" pitchFamily="2" charset="2"/>
              <a:buChar char="§"/>
              <a:defRPr sz="1600">
                <a:solidFill>
                  <a:schemeClr val="tx1"/>
                </a:solidFill>
                <a:latin typeface="+mn-lt"/>
              </a:defRPr>
            </a:lvl6pPr>
            <a:lvl7pPr marL="1822450" indent="-188913" algn="l" rtl="0" eaLnBrk="1" fontAlgn="base" hangingPunct="1">
              <a:spcBef>
                <a:spcPct val="20000"/>
              </a:spcBef>
              <a:spcAft>
                <a:spcPct val="0"/>
              </a:spcAft>
              <a:buFont typeface="Wingdings" pitchFamily="2" charset="2"/>
              <a:buChar char="§"/>
              <a:defRPr sz="1600">
                <a:solidFill>
                  <a:schemeClr val="tx1"/>
                </a:solidFill>
                <a:latin typeface="+mn-lt"/>
              </a:defRPr>
            </a:lvl7pPr>
            <a:lvl8pPr marL="2279650" indent="-188913" algn="l" rtl="0" eaLnBrk="1" fontAlgn="base" hangingPunct="1">
              <a:spcBef>
                <a:spcPct val="20000"/>
              </a:spcBef>
              <a:spcAft>
                <a:spcPct val="0"/>
              </a:spcAft>
              <a:buFont typeface="Wingdings" pitchFamily="2" charset="2"/>
              <a:buChar char="§"/>
              <a:defRPr sz="1600">
                <a:solidFill>
                  <a:schemeClr val="tx1"/>
                </a:solidFill>
                <a:latin typeface="+mn-lt"/>
              </a:defRPr>
            </a:lvl8pPr>
            <a:lvl9pPr marL="2736850" indent="-188913" algn="l" rtl="0" eaLnBrk="1" fontAlgn="base" hangingPunct="1">
              <a:spcBef>
                <a:spcPct val="20000"/>
              </a:spcBef>
              <a:spcAft>
                <a:spcPct val="0"/>
              </a:spcAft>
              <a:buFont typeface="Wingdings" pitchFamily="2" charset="2"/>
              <a:buChar char="§"/>
              <a:defRPr sz="1600">
                <a:solidFill>
                  <a:schemeClr val="tx1"/>
                </a:solidFill>
                <a:latin typeface="+mn-lt"/>
              </a:defRPr>
            </a:lvl9pPr>
          </a:lstStyle>
          <a:p>
            <a:pPr marL="544512" lvl="3" indent="0">
              <a:buNone/>
            </a:pPr>
            <a:r>
              <a:rPr lang="en-US" sz="2200" b="1" kern="0" dirty="0"/>
              <a:t>The extended FE-Model consists of:</a:t>
            </a:r>
          </a:p>
          <a:p>
            <a:pPr lvl="3"/>
            <a:endParaRPr lang="en-US" sz="2200" b="0" kern="0" dirty="0"/>
          </a:p>
          <a:p>
            <a:pPr marL="719137" lvl="4" indent="0">
              <a:buNone/>
            </a:pPr>
            <a:r>
              <a:rPr lang="en-US" sz="2200" b="1" kern="0" dirty="0">
                <a:solidFill>
                  <a:srgbClr val="0000FF"/>
                </a:solidFill>
              </a:rPr>
              <a:t>Pump shaft (stiffness and mass of shaft)</a:t>
            </a:r>
          </a:p>
          <a:p>
            <a:pPr lvl="4"/>
            <a:r>
              <a:rPr lang="en-US" sz="2200" b="1" kern="0" dirty="0">
                <a:solidFill>
                  <a:srgbClr val="0000FF"/>
                </a:solidFill>
              </a:rPr>
              <a:t>Masses </a:t>
            </a:r>
            <a:r>
              <a:rPr lang="en-US" sz="2200" b="0" kern="0" dirty="0"/>
              <a:t>and</a:t>
            </a:r>
            <a:r>
              <a:rPr lang="en-US" sz="2200" b="1" kern="0" dirty="0">
                <a:solidFill>
                  <a:srgbClr val="0000FF"/>
                </a:solidFill>
              </a:rPr>
              <a:t> Moments of Inertia </a:t>
            </a:r>
            <a:r>
              <a:rPr lang="en-US" sz="2200" b="0" kern="0" dirty="0"/>
              <a:t>of</a:t>
            </a:r>
            <a:r>
              <a:rPr lang="en-US" sz="2200" b="1" kern="0" dirty="0">
                <a:solidFill>
                  <a:srgbClr val="0000FF"/>
                </a:solidFill>
              </a:rPr>
              <a:t> impeller, coupling and axial bearing</a:t>
            </a:r>
          </a:p>
          <a:p>
            <a:pPr lvl="4"/>
            <a:r>
              <a:rPr lang="en-US" sz="2200" b="1" kern="0" dirty="0">
                <a:solidFill>
                  <a:srgbClr val="0000FF"/>
                </a:solidFill>
              </a:rPr>
              <a:t>Oil Film Bearings </a:t>
            </a:r>
            <a:r>
              <a:rPr lang="en-US" sz="2200" b="0" kern="0" dirty="0"/>
              <a:t>and</a:t>
            </a:r>
            <a:r>
              <a:rPr lang="en-US" sz="2200" b="1" kern="0" dirty="0">
                <a:solidFill>
                  <a:srgbClr val="0000FF"/>
                </a:solidFill>
              </a:rPr>
              <a:t>  Seals </a:t>
            </a:r>
            <a:r>
              <a:rPr lang="en-US" sz="2200" b="0" kern="0" dirty="0"/>
              <a:t>with</a:t>
            </a:r>
            <a:r>
              <a:rPr lang="en-US" sz="2200" b="1" kern="0" dirty="0">
                <a:solidFill>
                  <a:srgbClr val="0000FF"/>
                </a:solidFill>
              </a:rPr>
              <a:t> speed dependent Stiffness and Damping Coefficients</a:t>
            </a:r>
          </a:p>
          <a:p>
            <a:pPr lvl="4"/>
            <a:r>
              <a:rPr lang="en-US" sz="2200" b="1" kern="0" dirty="0">
                <a:solidFill>
                  <a:srgbClr val="0000FF"/>
                </a:solidFill>
              </a:rPr>
              <a:t>Rotation of the shaft </a:t>
            </a:r>
          </a:p>
          <a:p>
            <a:pPr lvl="1"/>
            <a:endParaRPr lang="de-DE" b="0" kern="0" dirty="0"/>
          </a:p>
          <a:p>
            <a:endParaRPr lang="de-DE" b="0" kern="0" dirty="0"/>
          </a:p>
        </p:txBody>
      </p:sp>
    </p:spTree>
    <p:extLst>
      <p:ext uri="{BB962C8B-B14F-4D97-AF65-F5344CB8AC3E}">
        <p14:creationId xmlns:p14="http://schemas.microsoft.com/office/powerpoint/2010/main" val="52393871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feld 3">
            <a:extLst>
              <a:ext uri="{FF2B5EF4-FFF2-40B4-BE49-F238E27FC236}">
                <a16:creationId xmlns:a16="http://schemas.microsoft.com/office/drawing/2014/main" id="{7923EAD4-EDC3-9C6B-1C9C-745E8768308B}"/>
              </a:ext>
            </a:extLst>
          </p:cNvPr>
          <p:cNvSpPr txBox="1"/>
          <p:nvPr/>
        </p:nvSpPr>
        <p:spPr>
          <a:xfrm>
            <a:off x="478199" y="116896"/>
            <a:ext cx="11222734" cy="830997"/>
          </a:xfrm>
          <a:prstGeom prst="rect">
            <a:avLst/>
          </a:prstGeom>
          <a:noFill/>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de-DE" sz="2400" b="1" i="0" u="none" strike="noStrike" kern="1200" cap="none" spc="0" normalizeH="0" baseline="0" noProof="0" dirty="0" err="1">
                <a:ln>
                  <a:noFill/>
                </a:ln>
                <a:solidFill>
                  <a:srgbClr val="0000FF"/>
                </a:solidFill>
                <a:effectLst/>
                <a:uLnTx/>
                <a:uFillTx/>
                <a:latin typeface="Arial"/>
                <a:ea typeface="+mn-ea"/>
                <a:cs typeface="+mn-cs"/>
              </a:rPr>
              <a:t>Measured</a:t>
            </a:r>
            <a:r>
              <a:rPr kumimoji="0" lang="de-DE" sz="2400" b="1" i="0" u="none" strike="noStrike" kern="1200" cap="none" spc="0" normalizeH="0" baseline="0" noProof="0" dirty="0">
                <a:ln>
                  <a:noFill/>
                </a:ln>
                <a:solidFill>
                  <a:srgbClr val="0000FF"/>
                </a:solidFill>
                <a:effectLst/>
                <a:uLnTx/>
                <a:uFillTx/>
                <a:latin typeface="Arial"/>
                <a:ea typeface="+mn-ea"/>
                <a:cs typeface="+mn-cs"/>
              </a:rPr>
              <a:t> and </a:t>
            </a:r>
            <a:r>
              <a:rPr kumimoji="0" lang="de-DE" sz="2400" b="1" i="0" u="none" strike="noStrike" kern="1200" cap="none" spc="0" normalizeH="0" baseline="0" noProof="0" dirty="0" err="1">
                <a:ln>
                  <a:noFill/>
                </a:ln>
                <a:solidFill>
                  <a:srgbClr val="0000FF"/>
                </a:solidFill>
                <a:effectLst/>
                <a:uLnTx/>
                <a:uFillTx/>
                <a:latin typeface="Arial"/>
                <a:ea typeface="+mn-ea"/>
                <a:cs typeface="+mn-cs"/>
              </a:rPr>
              <a:t>Calculated</a:t>
            </a:r>
            <a:r>
              <a:rPr kumimoji="0" lang="de-DE" sz="2400" b="1" i="0" u="none" strike="noStrike" kern="1200" cap="none" spc="0" normalizeH="0" baseline="0" noProof="0" dirty="0">
                <a:ln>
                  <a:noFill/>
                </a:ln>
                <a:solidFill>
                  <a:srgbClr val="0000FF"/>
                </a:solidFill>
                <a:effectLst/>
                <a:uLnTx/>
                <a:uFillTx/>
                <a:latin typeface="Arial"/>
                <a:ea typeface="+mn-ea"/>
                <a:cs typeface="+mn-cs"/>
              </a:rPr>
              <a:t> </a:t>
            </a:r>
            <a:r>
              <a:rPr kumimoji="0" lang="de-DE" sz="2400" b="1" i="0" u="none" strike="noStrike" kern="1200" cap="none" spc="0" normalizeH="0" baseline="0" noProof="0" dirty="0" err="1">
                <a:ln>
                  <a:noFill/>
                </a:ln>
                <a:solidFill>
                  <a:srgbClr val="0000FF"/>
                </a:solidFill>
                <a:effectLst/>
                <a:uLnTx/>
                <a:uFillTx/>
                <a:latin typeface="Arial"/>
                <a:ea typeface="+mn-ea"/>
                <a:cs typeface="+mn-cs"/>
              </a:rPr>
              <a:t>Vibrations</a:t>
            </a:r>
            <a:r>
              <a:rPr kumimoji="0" lang="de-DE" sz="2400" b="1" i="0" u="none" strike="noStrike" kern="1200" cap="none" spc="0" normalizeH="0" baseline="0" noProof="0" dirty="0">
                <a:ln>
                  <a:noFill/>
                </a:ln>
                <a:solidFill>
                  <a:srgbClr val="0000FF"/>
                </a:solidFill>
                <a:effectLst/>
                <a:uLnTx/>
                <a:uFillTx/>
                <a:latin typeface="Arial"/>
                <a:ea typeface="+mn-ea"/>
                <a:cs typeface="+mn-cs"/>
              </a:rPr>
              <a:t> </a:t>
            </a:r>
            <a:r>
              <a:rPr kumimoji="0" lang="de-DE" sz="2400" b="1" i="0" u="none" strike="noStrike" kern="1200" cap="none" spc="0" normalizeH="0" baseline="0" noProof="0" dirty="0" err="1">
                <a:ln>
                  <a:noFill/>
                </a:ln>
                <a:solidFill>
                  <a:srgbClr val="0000FF"/>
                </a:solidFill>
                <a:effectLst/>
                <a:uLnTx/>
                <a:uFillTx/>
                <a:latin typeface="Arial"/>
                <a:ea typeface="+mn-ea"/>
                <a:cs typeface="+mn-cs"/>
              </a:rPr>
              <a:t>of</a:t>
            </a:r>
            <a:r>
              <a:rPr lang="de-DE" sz="2400" dirty="0">
                <a:solidFill>
                  <a:srgbClr val="0000FF"/>
                </a:solidFill>
                <a:latin typeface="Arial"/>
              </a:rPr>
              <a:t> </a:t>
            </a:r>
            <a:r>
              <a:rPr lang="de-DE" sz="2400" dirty="0" err="1">
                <a:solidFill>
                  <a:srgbClr val="0000FF"/>
                </a:solidFill>
                <a:latin typeface="Arial"/>
              </a:rPr>
              <a:t>the</a:t>
            </a:r>
            <a:r>
              <a:rPr kumimoji="0" lang="de-DE" sz="2400" b="1" i="0" u="none" strike="noStrike" kern="1200" cap="none" spc="0" normalizeH="0" baseline="0" noProof="0" dirty="0">
                <a:ln>
                  <a:noFill/>
                </a:ln>
                <a:solidFill>
                  <a:srgbClr val="0000FF"/>
                </a:solidFill>
                <a:effectLst/>
                <a:uLnTx/>
                <a:uFillTx/>
                <a:latin typeface="Arial"/>
                <a:ea typeface="+mn-ea"/>
                <a:cs typeface="+mn-cs"/>
              </a:rPr>
              <a:t> Horizontal </a:t>
            </a:r>
            <a:r>
              <a:rPr kumimoji="0" lang="de-DE" sz="2400" b="1" i="0" u="none" strike="noStrike" kern="1200" cap="none" spc="0" normalizeH="0" baseline="0" noProof="0" dirty="0" err="1">
                <a:ln>
                  <a:noFill/>
                </a:ln>
                <a:solidFill>
                  <a:srgbClr val="0000FF"/>
                </a:solidFill>
                <a:effectLst/>
                <a:uLnTx/>
                <a:uFillTx/>
                <a:latin typeface="Arial"/>
                <a:ea typeface="+mn-ea"/>
                <a:cs typeface="+mn-cs"/>
              </a:rPr>
              <a:t>Feedwater</a:t>
            </a:r>
            <a:r>
              <a:rPr kumimoji="0" lang="de-DE" sz="2400" b="1" i="0" u="none" strike="noStrike" kern="1200" cap="none" spc="0" normalizeH="0" baseline="0" noProof="0" dirty="0">
                <a:ln>
                  <a:noFill/>
                </a:ln>
                <a:solidFill>
                  <a:srgbClr val="0000FF"/>
                </a:solidFill>
                <a:effectLst/>
                <a:uLnTx/>
                <a:uFillTx/>
                <a:latin typeface="Arial"/>
                <a:ea typeface="+mn-ea"/>
                <a:cs typeface="+mn-cs"/>
              </a:rPr>
              <a:t> Pump OL3 </a:t>
            </a:r>
            <a:r>
              <a:rPr lang="de-DE" sz="2400" b="0" dirty="0">
                <a:latin typeface="Arial"/>
              </a:rPr>
              <a:t>Determination </a:t>
            </a:r>
            <a:r>
              <a:rPr lang="de-DE" sz="2400" b="0" dirty="0" err="1">
                <a:latin typeface="Arial"/>
              </a:rPr>
              <a:t>of</a:t>
            </a:r>
            <a:r>
              <a:rPr lang="de-DE" sz="2400" b="0" dirty="0">
                <a:latin typeface="Arial"/>
              </a:rPr>
              <a:t> </a:t>
            </a:r>
            <a:r>
              <a:rPr lang="de-DE" sz="2400" b="0" dirty="0" err="1">
                <a:latin typeface="Arial"/>
              </a:rPr>
              <a:t>the</a:t>
            </a:r>
            <a:r>
              <a:rPr lang="de-DE" sz="2400" b="0" dirty="0">
                <a:latin typeface="Arial"/>
              </a:rPr>
              <a:t> Lateral Natural </a:t>
            </a:r>
            <a:r>
              <a:rPr lang="de-DE" sz="2400" b="0" dirty="0" err="1">
                <a:latin typeface="Arial"/>
              </a:rPr>
              <a:t>Frequencies</a:t>
            </a:r>
            <a:r>
              <a:rPr lang="de-DE" sz="2400" b="0" dirty="0">
                <a:latin typeface="Arial"/>
              </a:rPr>
              <a:t> by a FE- Model </a:t>
            </a:r>
            <a:r>
              <a:rPr lang="de-DE" sz="2400" b="0" dirty="0" err="1">
                <a:latin typeface="Arial"/>
              </a:rPr>
              <a:t>with</a:t>
            </a:r>
            <a:r>
              <a:rPr lang="de-DE" sz="2400" b="0" dirty="0">
                <a:latin typeface="Arial"/>
              </a:rPr>
              <a:t> all </a:t>
            </a:r>
            <a:r>
              <a:rPr lang="de-DE" sz="2400" b="0" dirty="0" err="1">
                <a:latin typeface="Arial"/>
              </a:rPr>
              <a:t>Effects</a:t>
            </a:r>
            <a:endParaRPr kumimoji="0" lang="de-DE" sz="2400" b="0" i="0" u="none" strike="noStrike" kern="1200" cap="none" spc="0" normalizeH="0" baseline="0" noProof="0" dirty="0">
              <a:ln>
                <a:noFill/>
              </a:ln>
              <a:effectLst/>
              <a:uLnTx/>
              <a:uFillTx/>
              <a:latin typeface="Arial"/>
              <a:ea typeface="+mn-ea"/>
              <a:cs typeface="+mn-cs"/>
            </a:endParaRPr>
          </a:p>
        </p:txBody>
      </p:sp>
      <p:pic>
        <p:nvPicPr>
          <p:cNvPr id="5" name="Grafik 4">
            <a:extLst>
              <a:ext uri="{FF2B5EF4-FFF2-40B4-BE49-F238E27FC236}">
                <a16:creationId xmlns:a16="http://schemas.microsoft.com/office/drawing/2014/main" id="{0B438726-8AF4-3A55-5173-E438FA3470DB}"/>
              </a:ext>
            </a:extLst>
          </p:cNvPr>
          <p:cNvPicPr>
            <a:picLocks noChangeAspect="1"/>
          </p:cNvPicPr>
          <p:nvPr/>
        </p:nvPicPr>
        <p:blipFill>
          <a:blip r:embed="rId3"/>
          <a:stretch>
            <a:fillRect/>
          </a:stretch>
        </p:blipFill>
        <p:spPr>
          <a:xfrm>
            <a:off x="759883" y="1462616"/>
            <a:ext cx="9831917" cy="4303183"/>
          </a:xfrm>
          <a:prstGeom prst="rect">
            <a:avLst/>
          </a:prstGeom>
        </p:spPr>
      </p:pic>
      <p:sp>
        <p:nvSpPr>
          <p:cNvPr id="6" name="Pfeil: nach links 5">
            <a:extLst>
              <a:ext uri="{FF2B5EF4-FFF2-40B4-BE49-F238E27FC236}">
                <a16:creationId xmlns:a16="http://schemas.microsoft.com/office/drawing/2014/main" id="{F75D00A1-1EAD-F661-7971-BC53E3AA7D9D}"/>
              </a:ext>
            </a:extLst>
          </p:cNvPr>
          <p:cNvSpPr/>
          <p:nvPr/>
        </p:nvSpPr>
        <p:spPr>
          <a:xfrm>
            <a:off x="10722525" y="3725334"/>
            <a:ext cx="978408" cy="279400"/>
          </a:xfrm>
          <a:prstGeom prst="leftArrow">
            <a:avLst/>
          </a:prstGeom>
          <a:solidFill>
            <a:srgbClr val="FF0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marL="180000" indent="-180000" algn="l">
              <a:lnSpc>
                <a:spcPts val="1960"/>
              </a:lnSpc>
              <a:buClr>
                <a:schemeClr val="accent1"/>
              </a:buClr>
              <a:buFont typeface="Wingdings" panose="05000000000000000000" pitchFamily="2" charset="2"/>
              <a:buChar char="§"/>
            </a:pPr>
            <a:endParaRPr lang="de-DE" sz="1400" dirty="0">
              <a:solidFill>
                <a:schemeClr val="tx1"/>
              </a:solidFill>
            </a:endParaRPr>
          </a:p>
        </p:txBody>
      </p:sp>
      <p:sp>
        <p:nvSpPr>
          <p:cNvPr id="7" name="Pfeil: nach links 6">
            <a:extLst>
              <a:ext uri="{FF2B5EF4-FFF2-40B4-BE49-F238E27FC236}">
                <a16:creationId xmlns:a16="http://schemas.microsoft.com/office/drawing/2014/main" id="{12410F5E-6D65-64F4-E280-D114B7BB6904}"/>
              </a:ext>
            </a:extLst>
          </p:cNvPr>
          <p:cNvSpPr/>
          <p:nvPr/>
        </p:nvSpPr>
        <p:spPr>
          <a:xfrm>
            <a:off x="10722525" y="4309534"/>
            <a:ext cx="978408" cy="279400"/>
          </a:xfrm>
          <a:prstGeom prst="leftArrow">
            <a:avLst/>
          </a:prstGeom>
          <a:solidFill>
            <a:srgbClr val="FF0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marL="180000" indent="-180000" algn="l">
              <a:lnSpc>
                <a:spcPts val="1960"/>
              </a:lnSpc>
              <a:buClr>
                <a:schemeClr val="accent1"/>
              </a:buClr>
              <a:buFont typeface="Wingdings" panose="05000000000000000000" pitchFamily="2" charset="2"/>
              <a:buChar char="§"/>
            </a:pPr>
            <a:endParaRPr lang="de-DE" sz="1400" dirty="0">
              <a:solidFill>
                <a:schemeClr val="tx1"/>
              </a:solidFill>
            </a:endParaRPr>
          </a:p>
        </p:txBody>
      </p:sp>
      <p:sp>
        <p:nvSpPr>
          <p:cNvPr id="8" name="Pfeil: nach links 7">
            <a:extLst>
              <a:ext uri="{FF2B5EF4-FFF2-40B4-BE49-F238E27FC236}">
                <a16:creationId xmlns:a16="http://schemas.microsoft.com/office/drawing/2014/main" id="{A4F7E32B-CFDC-0113-404E-31B2E36D6A91}"/>
              </a:ext>
            </a:extLst>
          </p:cNvPr>
          <p:cNvSpPr/>
          <p:nvPr/>
        </p:nvSpPr>
        <p:spPr>
          <a:xfrm>
            <a:off x="10722525" y="2768601"/>
            <a:ext cx="978408" cy="279400"/>
          </a:xfrm>
          <a:prstGeom prst="leftArrow">
            <a:avLst/>
          </a:prstGeom>
          <a:solidFill>
            <a:srgbClr val="FF0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marL="180000" indent="-180000" algn="l">
              <a:lnSpc>
                <a:spcPts val="1960"/>
              </a:lnSpc>
              <a:buClr>
                <a:schemeClr val="accent1"/>
              </a:buClr>
              <a:buFont typeface="Wingdings" panose="05000000000000000000" pitchFamily="2" charset="2"/>
              <a:buChar char="§"/>
            </a:pPr>
            <a:endParaRPr lang="de-DE" sz="1400" dirty="0">
              <a:solidFill>
                <a:schemeClr val="tx1"/>
              </a:solidFill>
            </a:endParaRPr>
          </a:p>
        </p:txBody>
      </p:sp>
      <p:sp>
        <p:nvSpPr>
          <p:cNvPr id="10" name="Textfeld 9">
            <a:extLst>
              <a:ext uri="{FF2B5EF4-FFF2-40B4-BE49-F238E27FC236}">
                <a16:creationId xmlns:a16="http://schemas.microsoft.com/office/drawing/2014/main" id="{0BB4F783-695D-E333-6880-FC7F184D3648}"/>
              </a:ext>
            </a:extLst>
          </p:cNvPr>
          <p:cNvSpPr txBox="1"/>
          <p:nvPr/>
        </p:nvSpPr>
        <p:spPr>
          <a:xfrm>
            <a:off x="351198" y="5072896"/>
            <a:ext cx="11713801" cy="1446550"/>
          </a:xfrm>
          <a:prstGeom prst="rect">
            <a:avLst/>
          </a:prstGeom>
          <a:noFill/>
        </p:spPr>
        <p:txBody>
          <a:bodyPr wrap="square" rtlCol="0">
            <a:spAutoFit/>
          </a:bodyPr>
          <a:lstStyle/>
          <a:p>
            <a:r>
              <a:rPr lang="de-DE" sz="2200" b="0" dirty="0">
                <a:latin typeface="+mn-lt"/>
              </a:rPr>
              <a:t>The </a:t>
            </a:r>
            <a:r>
              <a:rPr lang="de-DE" sz="2200" b="0" dirty="0" err="1">
                <a:latin typeface="+mn-lt"/>
              </a:rPr>
              <a:t>influence</a:t>
            </a:r>
            <a:r>
              <a:rPr lang="de-DE" sz="2200" b="0" dirty="0">
                <a:latin typeface="+mn-lt"/>
              </a:rPr>
              <a:t> </a:t>
            </a:r>
            <a:r>
              <a:rPr lang="de-DE" sz="2200" b="0" dirty="0" err="1">
                <a:latin typeface="+mn-lt"/>
              </a:rPr>
              <a:t>of</a:t>
            </a:r>
            <a:r>
              <a:rPr lang="de-DE" sz="2200" b="0" dirty="0">
                <a:latin typeface="+mn-lt"/>
              </a:rPr>
              <a:t> </a:t>
            </a:r>
            <a:r>
              <a:rPr lang="de-DE" sz="2200" dirty="0" err="1">
                <a:solidFill>
                  <a:srgbClr val="0000FF"/>
                </a:solidFill>
                <a:latin typeface="+mn-lt"/>
              </a:rPr>
              <a:t>Bearings</a:t>
            </a:r>
            <a:r>
              <a:rPr lang="de-DE" sz="2200" dirty="0">
                <a:solidFill>
                  <a:srgbClr val="0000FF"/>
                </a:solidFill>
                <a:latin typeface="+mn-lt"/>
              </a:rPr>
              <a:t> and Seals </a:t>
            </a:r>
            <a:r>
              <a:rPr lang="de-DE" sz="2200" b="0" dirty="0">
                <a:latin typeface="+mn-lt"/>
              </a:rPr>
              <a:t>in </a:t>
            </a:r>
            <a:r>
              <a:rPr lang="de-DE" sz="2200" b="0" dirty="0" err="1">
                <a:latin typeface="+mn-lt"/>
              </a:rPr>
              <a:t>the</a:t>
            </a:r>
            <a:r>
              <a:rPr lang="de-DE" sz="2200" b="0" dirty="0">
                <a:latin typeface="+mn-lt"/>
              </a:rPr>
              <a:t> </a:t>
            </a:r>
            <a:r>
              <a:rPr lang="de-DE" sz="2200" dirty="0" err="1">
                <a:solidFill>
                  <a:srgbClr val="0000FF"/>
                </a:solidFill>
                <a:latin typeface="+mn-lt"/>
              </a:rPr>
              <a:t>higher</a:t>
            </a:r>
            <a:r>
              <a:rPr lang="de-DE" sz="2200" dirty="0">
                <a:solidFill>
                  <a:srgbClr val="0000FF"/>
                </a:solidFill>
                <a:latin typeface="+mn-lt"/>
              </a:rPr>
              <a:t> </a:t>
            </a:r>
            <a:r>
              <a:rPr lang="de-DE" sz="2200" dirty="0" err="1">
                <a:solidFill>
                  <a:srgbClr val="0000FF"/>
                </a:solidFill>
                <a:latin typeface="+mn-lt"/>
              </a:rPr>
              <a:t>Frequency</a:t>
            </a:r>
            <a:r>
              <a:rPr lang="de-DE" sz="2200" dirty="0">
                <a:solidFill>
                  <a:srgbClr val="0000FF"/>
                </a:solidFill>
                <a:latin typeface="+mn-lt"/>
              </a:rPr>
              <a:t> </a:t>
            </a:r>
            <a:r>
              <a:rPr lang="de-DE" sz="2200" dirty="0" err="1">
                <a:solidFill>
                  <a:srgbClr val="0000FF"/>
                </a:solidFill>
                <a:latin typeface="+mn-lt"/>
              </a:rPr>
              <a:t>range</a:t>
            </a:r>
            <a:r>
              <a:rPr lang="de-DE" sz="2200" dirty="0">
                <a:solidFill>
                  <a:srgbClr val="0000FF"/>
                </a:solidFill>
                <a:latin typeface="+mn-lt"/>
              </a:rPr>
              <a:t> </a:t>
            </a:r>
            <a:r>
              <a:rPr lang="de-DE" sz="2200" b="0" dirty="0" err="1">
                <a:latin typeface="+mn-lt"/>
              </a:rPr>
              <a:t>is</a:t>
            </a:r>
            <a:r>
              <a:rPr lang="de-DE" sz="2200" dirty="0">
                <a:solidFill>
                  <a:srgbClr val="0000FF"/>
                </a:solidFill>
                <a:latin typeface="+mn-lt"/>
              </a:rPr>
              <a:t> </a:t>
            </a:r>
            <a:r>
              <a:rPr lang="de-DE" sz="2200" dirty="0" err="1">
                <a:solidFill>
                  <a:srgbClr val="0000FF"/>
                </a:solidFill>
                <a:latin typeface="+mn-lt"/>
              </a:rPr>
              <a:t>small</a:t>
            </a:r>
            <a:r>
              <a:rPr lang="de-DE" sz="2200" dirty="0">
                <a:solidFill>
                  <a:srgbClr val="0000FF"/>
                </a:solidFill>
                <a:latin typeface="+mn-lt"/>
              </a:rPr>
              <a:t>.</a:t>
            </a:r>
          </a:p>
          <a:p>
            <a:endParaRPr lang="de-DE" sz="2200" dirty="0">
              <a:solidFill>
                <a:srgbClr val="0000FF"/>
              </a:solidFill>
              <a:latin typeface="+mn-lt"/>
            </a:endParaRPr>
          </a:p>
          <a:p>
            <a:r>
              <a:rPr lang="de-DE" sz="2200" b="0" dirty="0">
                <a:latin typeface="+mn-lt"/>
              </a:rPr>
              <a:t>The </a:t>
            </a:r>
            <a:r>
              <a:rPr lang="de-DE" sz="2200" b="0" dirty="0" err="1">
                <a:latin typeface="+mn-lt"/>
              </a:rPr>
              <a:t>two</a:t>
            </a:r>
            <a:r>
              <a:rPr lang="de-DE" sz="2200" b="0" dirty="0">
                <a:latin typeface="+mn-lt"/>
              </a:rPr>
              <a:t> </a:t>
            </a:r>
            <a:r>
              <a:rPr lang="de-DE" sz="2200" b="0" dirty="0" err="1">
                <a:latin typeface="+mn-lt"/>
              </a:rPr>
              <a:t>first</a:t>
            </a:r>
            <a:r>
              <a:rPr lang="de-DE" sz="2200" b="0" dirty="0">
                <a:latin typeface="+mn-lt"/>
              </a:rPr>
              <a:t> </a:t>
            </a:r>
            <a:r>
              <a:rPr lang="de-DE" sz="2200" dirty="0">
                <a:solidFill>
                  <a:srgbClr val="0000FF"/>
                </a:solidFill>
                <a:latin typeface="+mn-lt"/>
              </a:rPr>
              <a:t>Bending </a:t>
            </a:r>
            <a:r>
              <a:rPr lang="de-DE" sz="2200" dirty="0" err="1">
                <a:solidFill>
                  <a:srgbClr val="0000FF"/>
                </a:solidFill>
                <a:latin typeface="+mn-lt"/>
              </a:rPr>
              <a:t>modes</a:t>
            </a:r>
            <a:r>
              <a:rPr lang="de-DE" sz="2200" dirty="0">
                <a:solidFill>
                  <a:srgbClr val="0000FF"/>
                </a:solidFill>
                <a:latin typeface="+mn-lt"/>
              </a:rPr>
              <a:t> </a:t>
            </a:r>
            <a:r>
              <a:rPr lang="de-DE" sz="2200" b="0" dirty="0">
                <a:latin typeface="+mn-lt"/>
              </a:rPr>
              <a:t>at</a:t>
            </a:r>
            <a:r>
              <a:rPr lang="de-DE" sz="2200" dirty="0">
                <a:solidFill>
                  <a:srgbClr val="0000FF"/>
                </a:solidFill>
                <a:latin typeface="+mn-lt"/>
              </a:rPr>
              <a:t> 125 Hz </a:t>
            </a:r>
            <a:r>
              <a:rPr lang="de-DE" sz="2200" b="0" dirty="0">
                <a:latin typeface="+mn-lt"/>
              </a:rPr>
              <a:t>and</a:t>
            </a:r>
            <a:r>
              <a:rPr lang="de-DE" sz="2200" dirty="0">
                <a:solidFill>
                  <a:srgbClr val="0000FF"/>
                </a:solidFill>
                <a:latin typeface="+mn-lt"/>
              </a:rPr>
              <a:t> 132 Hz </a:t>
            </a:r>
            <a:r>
              <a:rPr lang="de-DE" sz="2200" b="0" dirty="0" err="1">
                <a:latin typeface="+mn-lt"/>
              </a:rPr>
              <a:t>are</a:t>
            </a:r>
            <a:r>
              <a:rPr lang="de-DE" sz="2200" dirty="0">
                <a:solidFill>
                  <a:srgbClr val="0000FF"/>
                </a:solidFill>
                <a:latin typeface="+mn-lt"/>
              </a:rPr>
              <a:t> </a:t>
            </a:r>
            <a:r>
              <a:rPr lang="de-DE" sz="2200" dirty="0" err="1">
                <a:solidFill>
                  <a:srgbClr val="0000FF"/>
                </a:solidFill>
                <a:latin typeface="+mn-lt"/>
              </a:rPr>
              <a:t>important</a:t>
            </a:r>
            <a:r>
              <a:rPr lang="de-DE" sz="2200" dirty="0">
                <a:solidFill>
                  <a:srgbClr val="0000FF"/>
                </a:solidFill>
                <a:latin typeface="+mn-lt"/>
              </a:rPr>
              <a:t>, </a:t>
            </a:r>
            <a:r>
              <a:rPr lang="de-DE" sz="2200" b="0" dirty="0" err="1">
                <a:latin typeface="+mn-lt"/>
              </a:rPr>
              <a:t>because</a:t>
            </a:r>
            <a:r>
              <a:rPr lang="de-DE" sz="2200" b="0" dirty="0">
                <a:latin typeface="+mn-lt"/>
              </a:rPr>
              <a:t> </a:t>
            </a:r>
            <a:r>
              <a:rPr lang="de-DE" sz="2200" b="0" dirty="0" err="1">
                <a:latin typeface="+mn-lt"/>
              </a:rPr>
              <a:t>they</a:t>
            </a:r>
            <a:r>
              <a:rPr lang="de-DE" sz="2200" b="0" dirty="0">
                <a:latin typeface="+mn-lt"/>
              </a:rPr>
              <a:t> </a:t>
            </a:r>
            <a:r>
              <a:rPr lang="de-DE" sz="2200" b="0" dirty="0" err="1">
                <a:latin typeface="+mn-lt"/>
              </a:rPr>
              <a:t>are</a:t>
            </a:r>
            <a:r>
              <a:rPr lang="de-DE" sz="2200" dirty="0">
                <a:solidFill>
                  <a:srgbClr val="0000FF"/>
                </a:solidFill>
                <a:latin typeface="+mn-lt"/>
              </a:rPr>
              <a:t> </a:t>
            </a:r>
            <a:r>
              <a:rPr lang="de-DE" sz="2200" b="0" dirty="0" err="1">
                <a:latin typeface="+mn-lt"/>
              </a:rPr>
              <a:t>close</a:t>
            </a:r>
            <a:r>
              <a:rPr lang="de-DE" sz="2200" b="0" dirty="0">
                <a:latin typeface="+mn-lt"/>
              </a:rPr>
              <a:t> </a:t>
            </a:r>
            <a:r>
              <a:rPr lang="de-DE" sz="2200" b="0" dirty="0" err="1">
                <a:latin typeface="+mn-lt"/>
              </a:rPr>
              <a:t>to</a:t>
            </a:r>
            <a:r>
              <a:rPr lang="de-DE" sz="2200" b="0" dirty="0">
                <a:latin typeface="+mn-lt"/>
              </a:rPr>
              <a:t> </a:t>
            </a:r>
            <a:r>
              <a:rPr lang="de-DE" sz="2200" b="0" dirty="0" err="1">
                <a:latin typeface="+mn-lt"/>
              </a:rPr>
              <a:t>the</a:t>
            </a:r>
            <a:r>
              <a:rPr lang="de-DE" sz="2200" b="0" dirty="0">
                <a:latin typeface="+mn-lt"/>
              </a:rPr>
              <a:t> </a:t>
            </a:r>
            <a:r>
              <a:rPr lang="de-DE" sz="2200" dirty="0" err="1">
                <a:solidFill>
                  <a:srgbClr val="0000FF"/>
                </a:solidFill>
                <a:latin typeface="+mn-lt"/>
              </a:rPr>
              <a:t>Rotational</a:t>
            </a:r>
            <a:r>
              <a:rPr lang="de-DE" sz="2200" dirty="0">
                <a:solidFill>
                  <a:srgbClr val="0000FF"/>
                </a:solidFill>
                <a:latin typeface="+mn-lt"/>
              </a:rPr>
              <a:t> </a:t>
            </a:r>
            <a:r>
              <a:rPr lang="de-DE" sz="2200" dirty="0" err="1">
                <a:solidFill>
                  <a:srgbClr val="0000FF"/>
                </a:solidFill>
                <a:latin typeface="+mn-lt"/>
              </a:rPr>
              <a:t>Frequency</a:t>
            </a:r>
            <a:r>
              <a:rPr lang="de-DE" sz="2200" dirty="0">
                <a:solidFill>
                  <a:srgbClr val="0000FF"/>
                </a:solidFill>
                <a:latin typeface="+mn-lt"/>
              </a:rPr>
              <a:t> </a:t>
            </a:r>
            <a:r>
              <a:rPr lang="de-DE" sz="2200" b="0" dirty="0">
                <a:latin typeface="+mn-lt"/>
              </a:rPr>
              <a:t>at</a:t>
            </a:r>
            <a:r>
              <a:rPr lang="de-DE" sz="2200" dirty="0">
                <a:solidFill>
                  <a:srgbClr val="0000FF"/>
                </a:solidFill>
                <a:latin typeface="+mn-lt"/>
              </a:rPr>
              <a:t> 93 Hz. </a:t>
            </a:r>
            <a:r>
              <a:rPr lang="de-DE" sz="2200" b="0" dirty="0">
                <a:latin typeface="+mn-lt"/>
              </a:rPr>
              <a:t>This </a:t>
            </a:r>
            <a:r>
              <a:rPr lang="de-DE" sz="2200" b="0" dirty="0" err="1">
                <a:latin typeface="+mn-lt"/>
              </a:rPr>
              <a:t>may</a:t>
            </a:r>
            <a:r>
              <a:rPr lang="de-DE" sz="2200" b="0" dirty="0">
                <a:latin typeface="+mn-lt"/>
              </a:rPr>
              <a:t> </a:t>
            </a:r>
            <a:r>
              <a:rPr lang="de-DE" sz="2200" b="0" dirty="0" err="1">
                <a:latin typeface="+mn-lt"/>
              </a:rPr>
              <a:t>lead</a:t>
            </a:r>
            <a:r>
              <a:rPr lang="de-DE" sz="2200" b="0" dirty="0">
                <a:latin typeface="+mn-lt"/>
              </a:rPr>
              <a:t> </a:t>
            </a:r>
            <a:r>
              <a:rPr lang="de-DE" sz="2200" b="0" dirty="0" err="1">
                <a:latin typeface="+mn-lt"/>
              </a:rPr>
              <a:t>to</a:t>
            </a:r>
            <a:r>
              <a:rPr lang="de-DE" sz="2200" dirty="0">
                <a:solidFill>
                  <a:srgbClr val="0000FF"/>
                </a:solidFill>
                <a:latin typeface="+mn-lt"/>
              </a:rPr>
              <a:t> high </a:t>
            </a:r>
            <a:r>
              <a:rPr lang="de-DE" sz="2200" dirty="0" err="1">
                <a:solidFill>
                  <a:srgbClr val="0000FF"/>
                </a:solidFill>
                <a:latin typeface="+mn-lt"/>
              </a:rPr>
              <a:t>Unbalance</a:t>
            </a:r>
            <a:r>
              <a:rPr lang="de-DE" sz="2200" dirty="0">
                <a:solidFill>
                  <a:srgbClr val="0000FF"/>
                </a:solidFill>
                <a:latin typeface="+mn-lt"/>
              </a:rPr>
              <a:t> </a:t>
            </a:r>
            <a:r>
              <a:rPr lang="de-DE" sz="2200" dirty="0" err="1">
                <a:solidFill>
                  <a:srgbClr val="0000FF"/>
                </a:solidFill>
                <a:latin typeface="+mn-lt"/>
              </a:rPr>
              <a:t>Vibrations</a:t>
            </a:r>
            <a:r>
              <a:rPr lang="de-DE" sz="2200" dirty="0">
                <a:solidFill>
                  <a:srgbClr val="0000FF"/>
                </a:solidFill>
                <a:latin typeface="+mn-lt"/>
              </a:rPr>
              <a:t>.</a:t>
            </a:r>
          </a:p>
        </p:txBody>
      </p:sp>
    </p:spTree>
    <p:extLst>
      <p:ext uri="{BB962C8B-B14F-4D97-AF65-F5344CB8AC3E}">
        <p14:creationId xmlns:p14="http://schemas.microsoft.com/office/powerpoint/2010/main" val="26582816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feld 3">
            <a:extLst>
              <a:ext uri="{FF2B5EF4-FFF2-40B4-BE49-F238E27FC236}">
                <a16:creationId xmlns:a16="http://schemas.microsoft.com/office/drawing/2014/main" id="{7923EAD4-EDC3-9C6B-1C9C-745E8768308B}"/>
              </a:ext>
            </a:extLst>
          </p:cNvPr>
          <p:cNvSpPr txBox="1"/>
          <p:nvPr/>
        </p:nvSpPr>
        <p:spPr>
          <a:xfrm>
            <a:off x="478198" y="116896"/>
            <a:ext cx="11434401" cy="830997"/>
          </a:xfrm>
          <a:prstGeom prst="rect">
            <a:avLst/>
          </a:prstGeom>
          <a:noFill/>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de-DE" sz="2400" b="1" i="0" u="none" strike="noStrike" kern="1200" cap="none" spc="0" normalizeH="0" baseline="0" noProof="0" dirty="0" err="1">
                <a:ln>
                  <a:noFill/>
                </a:ln>
                <a:solidFill>
                  <a:srgbClr val="0000FF"/>
                </a:solidFill>
                <a:effectLst/>
                <a:uLnTx/>
                <a:uFillTx/>
                <a:latin typeface="Arial"/>
                <a:ea typeface="+mn-ea"/>
                <a:cs typeface="+mn-cs"/>
              </a:rPr>
              <a:t>Measured</a:t>
            </a:r>
            <a:r>
              <a:rPr kumimoji="0" lang="de-DE" sz="2400" b="1" i="0" u="none" strike="noStrike" kern="1200" cap="none" spc="0" normalizeH="0" baseline="0" noProof="0" dirty="0">
                <a:ln>
                  <a:noFill/>
                </a:ln>
                <a:solidFill>
                  <a:srgbClr val="0000FF"/>
                </a:solidFill>
                <a:effectLst/>
                <a:uLnTx/>
                <a:uFillTx/>
                <a:latin typeface="Arial"/>
                <a:ea typeface="+mn-ea"/>
                <a:cs typeface="+mn-cs"/>
              </a:rPr>
              <a:t> and </a:t>
            </a:r>
            <a:r>
              <a:rPr kumimoji="0" lang="de-DE" sz="2400" b="1" i="0" u="none" strike="noStrike" kern="1200" cap="none" spc="0" normalizeH="0" baseline="0" noProof="0" dirty="0" err="1">
                <a:ln>
                  <a:noFill/>
                </a:ln>
                <a:solidFill>
                  <a:srgbClr val="0000FF"/>
                </a:solidFill>
                <a:effectLst/>
                <a:uLnTx/>
                <a:uFillTx/>
                <a:latin typeface="Arial"/>
                <a:ea typeface="+mn-ea"/>
                <a:cs typeface="+mn-cs"/>
              </a:rPr>
              <a:t>Calculated</a:t>
            </a:r>
            <a:r>
              <a:rPr kumimoji="0" lang="de-DE" sz="2400" b="1" i="0" u="none" strike="noStrike" kern="1200" cap="none" spc="0" normalizeH="0" baseline="0" noProof="0" dirty="0">
                <a:ln>
                  <a:noFill/>
                </a:ln>
                <a:solidFill>
                  <a:srgbClr val="0000FF"/>
                </a:solidFill>
                <a:effectLst/>
                <a:uLnTx/>
                <a:uFillTx/>
                <a:latin typeface="Arial"/>
                <a:ea typeface="+mn-ea"/>
                <a:cs typeface="+mn-cs"/>
              </a:rPr>
              <a:t> </a:t>
            </a:r>
            <a:r>
              <a:rPr kumimoji="0" lang="de-DE" sz="2400" b="1" i="0" u="none" strike="noStrike" kern="1200" cap="none" spc="0" normalizeH="0" baseline="0" noProof="0" dirty="0" err="1">
                <a:ln>
                  <a:noFill/>
                </a:ln>
                <a:solidFill>
                  <a:srgbClr val="0000FF"/>
                </a:solidFill>
                <a:effectLst/>
                <a:uLnTx/>
                <a:uFillTx/>
                <a:latin typeface="Arial"/>
                <a:ea typeface="+mn-ea"/>
                <a:cs typeface="+mn-cs"/>
              </a:rPr>
              <a:t>Vibrations</a:t>
            </a:r>
            <a:r>
              <a:rPr kumimoji="0" lang="de-DE" sz="2400" b="1" i="0" u="none" strike="noStrike" kern="1200" cap="none" spc="0" normalizeH="0" baseline="0" noProof="0" dirty="0">
                <a:ln>
                  <a:noFill/>
                </a:ln>
                <a:solidFill>
                  <a:srgbClr val="0000FF"/>
                </a:solidFill>
                <a:effectLst/>
                <a:uLnTx/>
                <a:uFillTx/>
                <a:latin typeface="Arial"/>
                <a:ea typeface="+mn-ea"/>
                <a:cs typeface="+mn-cs"/>
              </a:rPr>
              <a:t> </a:t>
            </a:r>
            <a:r>
              <a:rPr kumimoji="0" lang="de-DE" sz="2400" b="1" i="0" u="none" strike="noStrike" kern="1200" cap="none" spc="0" normalizeH="0" baseline="0" noProof="0" dirty="0" err="1">
                <a:ln>
                  <a:noFill/>
                </a:ln>
                <a:solidFill>
                  <a:srgbClr val="0000FF"/>
                </a:solidFill>
                <a:effectLst/>
                <a:uLnTx/>
                <a:uFillTx/>
                <a:latin typeface="Arial"/>
                <a:ea typeface="+mn-ea"/>
                <a:cs typeface="+mn-cs"/>
              </a:rPr>
              <a:t>of</a:t>
            </a:r>
            <a:r>
              <a:rPr lang="de-DE" sz="2400" dirty="0">
                <a:solidFill>
                  <a:srgbClr val="0000FF"/>
                </a:solidFill>
                <a:latin typeface="Arial"/>
              </a:rPr>
              <a:t> </a:t>
            </a:r>
            <a:r>
              <a:rPr lang="de-DE" sz="2400" dirty="0" err="1">
                <a:solidFill>
                  <a:srgbClr val="0000FF"/>
                </a:solidFill>
                <a:latin typeface="Arial"/>
              </a:rPr>
              <a:t>the</a:t>
            </a:r>
            <a:r>
              <a:rPr kumimoji="0" lang="de-DE" sz="2400" b="1" i="0" u="none" strike="noStrike" kern="1200" cap="none" spc="0" normalizeH="0" baseline="0" noProof="0" dirty="0">
                <a:ln>
                  <a:noFill/>
                </a:ln>
                <a:solidFill>
                  <a:srgbClr val="0000FF"/>
                </a:solidFill>
                <a:effectLst/>
                <a:uLnTx/>
                <a:uFillTx/>
                <a:latin typeface="Arial"/>
                <a:ea typeface="+mn-ea"/>
                <a:cs typeface="+mn-cs"/>
              </a:rPr>
              <a:t> Horizontal </a:t>
            </a:r>
            <a:r>
              <a:rPr kumimoji="0" lang="de-DE" sz="2400" b="1" i="0" u="none" strike="noStrike" kern="1200" cap="none" spc="0" normalizeH="0" baseline="0" noProof="0" dirty="0" err="1">
                <a:ln>
                  <a:noFill/>
                </a:ln>
                <a:solidFill>
                  <a:srgbClr val="0000FF"/>
                </a:solidFill>
                <a:effectLst/>
                <a:uLnTx/>
                <a:uFillTx/>
                <a:latin typeface="Arial"/>
                <a:ea typeface="+mn-ea"/>
                <a:cs typeface="+mn-cs"/>
              </a:rPr>
              <a:t>Feedwater</a:t>
            </a:r>
            <a:r>
              <a:rPr kumimoji="0" lang="de-DE" sz="2400" b="1" i="0" u="none" strike="noStrike" kern="1200" cap="none" spc="0" normalizeH="0" baseline="0" noProof="0" dirty="0">
                <a:ln>
                  <a:noFill/>
                </a:ln>
                <a:solidFill>
                  <a:srgbClr val="0000FF"/>
                </a:solidFill>
                <a:effectLst/>
                <a:uLnTx/>
                <a:uFillTx/>
                <a:latin typeface="Arial"/>
                <a:ea typeface="+mn-ea"/>
                <a:cs typeface="+mn-cs"/>
              </a:rPr>
              <a:t> Pump OL3 </a:t>
            </a:r>
            <a:r>
              <a:rPr lang="de-DE" sz="2400" b="0" dirty="0" err="1">
                <a:latin typeface="Arial"/>
              </a:rPr>
              <a:t>Vibrations</a:t>
            </a:r>
            <a:r>
              <a:rPr lang="de-DE" sz="2400" b="0" dirty="0">
                <a:latin typeface="Arial"/>
              </a:rPr>
              <a:t> </a:t>
            </a:r>
            <a:r>
              <a:rPr lang="de-DE" sz="2400" b="0" dirty="0" err="1">
                <a:latin typeface="Arial"/>
              </a:rPr>
              <a:t>of</a:t>
            </a:r>
            <a:r>
              <a:rPr lang="de-DE" sz="2400" b="0" dirty="0">
                <a:latin typeface="Arial"/>
              </a:rPr>
              <a:t> </a:t>
            </a:r>
            <a:r>
              <a:rPr lang="de-DE" sz="2400" b="0" dirty="0" err="1">
                <a:latin typeface="Arial"/>
              </a:rPr>
              <a:t>the</a:t>
            </a:r>
            <a:r>
              <a:rPr lang="de-DE" sz="2400" b="0" dirty="0">
                <a:latin typeface="Arial"/>
              </a:rPr>
              <a:t> Pump </a:t>
            </a:r>
            <a:r>
              <a:rPr lang="de-DE" sz="2400" b="0" dirty="0" err="1">
                <a:latin typeface="Arial"/>
              </a:rPr>
              <a:t>Shaft</a:t>
            </a:r>
            <a:r>
              <a:rPr lang="de-DE" sz="2400" b="0" dirty="0">
                <a:latin typeface="Arial"/>
              </a:rPr>
              <a:t> at Rot. Speed 5589 </a:t>
            </a:r>
            <a:r>
              <a:rPr lang="de-DE" sz="2400" b="0" dirty="0" err="1">
                <a:latin typeface="Arial"/>
              </a:rPr>
              <a:t>rpm</a:t>
            </a:r>
            <a:r>
              <a:rPr lang="de-DE" sz="2400" b="0" dirty="0">
                <a:latin typeface="Arial"/>
              </a:rPr>
              <a:t> due </a:t>
            </a:r>
            <a:r>
              <a:rPr lang="de-DE" sz="2400" b="0" dirty="0" err="1">
                <a:latin typeface="Arial"/>
              </a:rPr>
              <a:t>to</a:t>
            </a:r>
            <a:r>
              <a:rPr lang="de-DE" sz="2400" b="0" dirty="0">
                <a:latin typeface="Arial"/>
              </a:rPr>
              <a:t> </a:t>
            </a:r>
            <a:r>
              <a:rPr lang="de-DE" sz="2400" b="0" dirty="0" err="1">
                <a:latin typeface="Arial"/>
              </a:rPr>
              <a:t>Unbalace</a:t>
            </a:r>
            <a:r>
              <a:rPr lang="de-DE" sz="2400" b="0" dirty="0">
                <a:latin typeface="Arial"/>
              </a:rPr>
              <a:t> Force 20 kN</a:t>
            </a:r>
            <a:endParaRPr kumimoji="0" lang="de-DE" sz="2400" b="0" i="0" u="none" strike="noStrike" kern="1200" cap="none" spc="0" normalizeH="0" baseline="0" noProof="0" dirty="0">
              <a:ln>
                <a:noFill/>
              </a:ln>
              <a:effectLst/>
              <a:uLnTx/>
              <a:uFillTx/>
              <a:latin typeface="Arial"/>
              <a:ea typeface="+mn-ea"/>
              <a:cs typeface="+mn-cs"/>
            </a:endParaRPr>
          </a:p>
        </p:txBody>
      </p:sp>
      <p:pic>
        <p:nvPicPr>
          <p:cNvPr id="3" name="Grafik 2" descr="Ein Bild, das Diagramm, Screenshot, Entwurf, Text enthält.&#10;&#10;Automatisch generierte Beschreibung">
            <a:extLst>
              <a:ext uri="{FF2B5EF4-FFF2-40B4-BE49-F238E27FC236}">
                <a16:creationId xmlns:a16="http://schemas.microsoft.com/office/drawing/2014/main" id="{EBC2EFDC-A63A-212C-EE28-EBA0F6AE62F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86858" y="1617133"/>
            <a:ext cx="5072075" cy="4309534"/>
          </a:xfrm>
          <a:prstGeom prst="rect">
            <a:avLst/>
          </a:prstGeom>
        </p:spPr>
      </p:pic>
      <p:pic>
        <p:nvPicPr>
          <p:cNvPr id="6" name="Grafik 5" descr="Ein Bild, das Text, Diagramm enthält.&#10;&#10;Automatisch generierte Beschreibung">
            <a:extLst>
              <a:ext uri="{FF2B5EF4-FFF2-40B4-BE49-F238E27FC236}">
                <a16:creationId xmlns:a16="http://schemas.microsoft.com/office/drawing/2014/main" id="{A285FB4F-36E6-B77A-CC08-35D3F5E027E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740400" y="1820332"/>
            <a:ext cx="6079067" cy="4106335"/>
          </a:xfrm>
          <a:prstGeom prst="rect">
            <a:avLst/>
          </a:prstGeom>
        </p:spPr>
      </p:pic>
      <p:sp>
        <p:nvSpPr>
          <p:cNvPr id="7" name="Textfeld 6">
            <a:extLst>
              <a:ext uri="{FF2B5EF4-FFF2-40B4-BE49-F238E27FC236}">
                <a16:creationId xmlns:a16="http://schemas.microsoft.com/office/drawing/2014/main" id="{7F32A748-D4A4-DF2C-0A59-03CB8BAD2328}"/>
              </a:ext>
            </a:extLst>
          </p:cNvPr>
          <p:cNvSpPr txBox="1"/>
          <p:nvPr/>
        </p:nvSpPr>
        <p:spPr>
          <a:xfrm>
            <a:off x="1157289" y="2412999"/>
            <a:ext cx="10454850" cy="430887"/>
          </a:xfrm>
          <a:prstGeom prst="rect">
            <a:avLst/>
          </a:prstGeom>
          <a:noFill/>
        </p:spPr>
        <p:txBody>
          <a:bodyPr wrap="none" rtlCol="0">
            <a:spAutoFit/>
          </a:bodyPr>
          <a:lstStyle/>
          <a:p>
            <a:r>
              <a:rPr lang="de-DE" sz="2200" dirty="0" err="1">
                <a:solidFill>
                  <a:srgbClr val="0000FF"/>
                </a:solidFill>
                <a:latin typeface="+mn-lt"/>
              </a:rPr>
              <a:t>Unbalance</a:t>
            </a:r>
            <a:r>
              <a:rPr lang="de-DE" sz="2200" dirty="0">
                <a:solidFill>
                  <a:srgbClr val="0000FF"/>
                </a:solidFill>
                <a:latin typeface="+mn-lt"/>
              </a:rPr>
              <a:t> </a:t>
            </a:r>
            <a:r>
              <a:rPr lang="de-DE" sz="2200" dirty="0" err="1">
                <a:solidFill>
                  <a:srgbClr val="0000FF"/>
                </a:solidFill>
                <a:latin typeface="+mn-lt"/>
              </a:rPr>
              <a:t>Excitation</a:t>
            </a:r>
            <a:r>
              <a:rPr lang="de-DE" sz="2200" dirty="0">
                <a:solidFill>
                  <a:srgbClr val="0000FF"/>
                </a:solidFill>
                <a:latin typeface="+mn-lt"/>
              </a:rPr>
              <a:t> Force 20 kN          </a:t>
            </a:r>
            <a:r>
              <a:rPr lang="de-DE" sz="2200" dirty="0" err="1">
                <a:solidFill>
                  <a:srgbClr val="0000FF"/>
                </a:solidFill>
                <a:latin typeface="+mn-lt"/>
              </a:rPr>
              <a:t>Shaft</a:t>
            </a:r>
            <a:r>
              <a:rPr lang="de-DE" sz="2200" dirty="0">
                <a:solidFill>
                  <a:srgbClr val="0000FF"/>
                </a:solidFill>
                <a:latin typeface="+mn-lt"/>
              </a:rPr>
              <a:t> </a:t>
            </a:r>
            <a:r>
              <a:rPr lang="de-DE" sz="2200" dirty="0" err="1">
                <a:solidFill>
                  <a:srgbClr val="0000FF"/>
                </a:solidFill>
                <a:latin typeface="+mn-lt"/>
              </a:rPr>
              <a:t>Vibrations</a:t>
            </a:r>
            <a:r>
              <a:rPr lang="de-DE" sz="2200" dirty="0">
                <a:solidFill>
                  <a:srgbClr val="0000FF"/>
                </a:solidFill>
                <a:latin typeface="+mn-lt"/>
              </a:rPr>
              <a:t> at Impeller: 200 µm</a:t>
            </a:r>
          </a:p>
        </p:txBody>
      </p:sp>
      <p:sp>
        <p:nvSpPr>
          <p:cNvPr id="8" name="Pfeil: nach rechts 7">
            <a:extLst>
              <a:ext uri="{FF2B5EF4-FFF2-40B4-BE49-F238E27FC236}">
                <a16:creationId xmlns:a16="http://schemas.microsoft.com/office/drawing/2014/main" id="{CCC271CE-C07D-ED49-3221-53D7F917F7F8}"/>
              </a:ext>
            </a:extLst>
          </p:cNvPr>
          <p:cNvSpPr/>
          <p:nvPr/>
        </p:nvSpPr>
        <p:spPr>
          <a:xfrm rot="4590494">
            <a:off x="2929003" y="4289682"/>
            <a:ext cx="910996" cy="247950"/>
          </a:xfrm>
          <a:prstGeom prst="rightArrow">
            <a:avLst>
              <a:gd name="adj1" fmla="val 57768"/>
              <a:gd name="adj2" fmla="val 50000"/>
            </a:avLst>
          </a:prstGeom>
          <a:solidFill>
            <a:srgbClr val="FF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89810066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feld 3">
            <a:extLst>
              <a:ext uri="{FF2B5EF4-FFF2-40B4-BE49-F238E27FC236}">
                <a16:creationId xmlns:a16="http://schemas.microsoft.com/office/drawing/2014/main" id="{7923EAD4-EDC3-9C6B-1C9C-745E8768308B}"/>
              </a:ext>
            </a:extLst>
          </p:cNvPr>
          <p:cNvSpPr txBox="1"/>
          <p:nvPr/>
        </p:nvSpPr>
        <p:spPr>
          <a:xfrm>
            <a:off x="484633" y="176163"/>
            <a:ext cx="11222734" cy="830997"/>
          </a:xfrm>
          <a:prstGeom prst="rect">
            <a:avLst/>
          </a:prstGeom>
          <a:noFill/>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de-DE" sz="2400" b="1" i="0" u="none" strike="noStrike" kern="1200" cap="none" spc="0" normalizeH="0" baseline="0" noProof="0" dirty="0" err="1">
                <a:ln>
                  <a:noFill/>
                </a:ln>
                <a:solidFill>
                  <a:srgbClr val="0000FF"/>
                </a:solidFill>
                <a:effectLst/>
                <a:uLnTx/>
                <a:uFillTx/>
                <a:latin typeface="Arial"/>
                <a:ea typeface="+mn-ea"/>
                <a:cs typeface="+mn-cs"/>
              </a:rPr>
              <a:t>Measured</a:t>
            </a:r>
            <a:r>
              <a:rPr kumimoji="0" lang="de-DE" sz="2400" b="1" i="0" u="none" strike="noStrike" kern="1200" cap="none" spc="0" normalizeH="0" baseline="0" noProof="0" dirty="0">
                <a:ln>
                  <a:noFill/>
                </a:ln>
                <a:solidFill>
                  <a:srgbClr val="0000FF"/>
                </a:solidFill>
                <a:effectLst/>
                <a:uLnTx/>
                <a:uFillTx/>
                <a:latin typeface="Arial"/>
                <a:ea typeface="+mn-ea"/>
                <a:cs typeface="+mn-cs"/>
              </a:rPr>
              <a:t> and </a:t>
            </a:r>
            <a:r>
              <a:rPr kumimoji="0" lang="de-DE" sz="2400" b="1" i="0" u="none" strike="noStrike" kern="1200" cap="none" spc="0" normalizeH="0" baseline="0" noProof="0" dirty="0" err="1">
                <a:ln>
                  <a:noFill/>
                </a:ln>
                <a:solidFill>
                  <a:srgbClr val="0000FF"/>
                </a:solidFill>
                <a:effectLst/>
                <a:uLnTx/>
                <a:uFillTx/>
                <a:latin typeface="Arial"/>
                <a:ea typeface="+mn-ea"/>
                <a:cs typeface="+mn-cs"/>
              </a:rPr>
              <a:t>Calculated</a:t>
            </a:r>
            <a:r>
              <a:rPr kumimoji="0" lang="de-DE" sz="2400" b="1" i="0" u="none" strike="noStrike" kern="1200" cap="none" spc="0" normalizeH="0" baseline="0" noProof="0" dirty="0">
                <a:ln>
                  <a:noFill/>
                </a:ln>
                <a:solidFill>
                  <a:srgbClr val="0000FF"/>
                </a:solidFill>
                <a:effectLst/>
                <a:uLnTx/>
                <a:uFillTx/>
                <a:latin typeface="Arial"/>
                <a:ea typeface="+mn-ea"/>
                <a:cs typeface="+mn-cs"/>
              </a:rPr>
              <a:t> </a:t>
            </a:r>
            <a:r>
              <a:rPr kumimoji="0" lang="de-DE" sz="2400" b="1" i="0" u="none" strike="noStrike" kern="1200" cap="none" spc="0" normalizeH="0" baseline="0" noProof="0" dirty="0" err="1">
                <a:ln>
                  <a:noFill/>
                </a:ln>
                <a:solidFill>
                  <a:srgbClr val="0000FF"/>
                </a:solidFill>
                <a:effectLst/>
                <a:uLnTx/>
                <a:uFillTx/>
                <a:latin typeface="Arial"/>
                <a:ea typeface="+mn-ea"/>
                <a:cs typeface="+mn-cs"/>
              </a:rPr>
              <a:t>Vibrations</a:t>
            </a:r>
            <a:r>
              <a:rPr kumimoji="0" lang="de-DE" sz="2400" b="1" i="0" u="none" strike="noStrike" kern="1200" cap="none" spc="0" normalizeH="0" baseline="0" noProof="0" dirty="0">
                <a:ln>
                  <a:noFill/>
                </a:ln>
                <a:solidFill>
                  <a:srgbClr val="0000FF"/>
                </a:solidFill>
                <a:effectLst/>
                <a:uLnTx/>
                <a:uFillTx/>
                <a:latin typeface="Arial"/>
                <a:ea typeface="+mn-ea"/>
                <a:cs typeface="+mn-cs"/>
              </a:rPr>
              <a:t> </a:t>
            </a:r>
            <a:r>
              <a:rPr kumimoji="0" lang="de-DE" sz="2400" b="1" i="0" u="none" strike="noStrike" kern="1200" cap="none" spc="0" normalizeH="0" baseline="0" noProof="0" dirty="0" err="1">
                <a:ln>
                  <a:noFill/>
                </a:ln>
                <a:solidFill>
                  <a:srgbClr val="0000FF"/>
                </a:solidFill>
                <a:effectLst/>
                <a:uLnTx/>
                <a:uFillTx/>
                <a:latin typeface="Arial"/>
                <a:ea typeface="+mn-ea"/>
                <a:cs typeface="+mn-cs"/>
              </a:rPr>
              <a:t>of</a:t>
            </a:r>
            <a:r>
              <a:rPr lang="de-DE" sz="2400" dirty="0">
                <a:solidFill>
                  <a:srgbClr val="0000FF"/>
                </a:solidFill>
                <a:latin typeface="Arial"/>
              </a:rPr>
              <a:t> </a:t>
            </a:r>
            <a:r>
              <a:rPr lang="de-DE" sz="2400" dirty="0" err="1">
                <a:solidFill>
                  <a:srgbClr val="0000FF"/>
                </a:solidFill>
                <a:latin typeface="Arial"/>
              </a:rPr>
              <a:t>the</a:t>
            </a:r>
            <a:r>
              <a:rPr kumimoji="0" lang="de-DE" sz="2400" b="1" i="0" u="none" strike="noStrike" kern="1200" cap="none" spc="0" normalizeH="0" baseline="0" noProof="0" dirty="0">
                <a:ln>
                  <a:noFill/>
                </a:ln>
                <a:solidFill>
                  <a:srgbClr val="0000FF"/>
                </a:solidFill>
                <a:effectLst/>
                <a:uLnTx/>
                <a:uFillTx/>
                <a:latin typeface="Arial"/>
                <a:ea typeface="+mn-ea"/>
                <a:cs typeface="+mn-cs"/>
              </a:rPr>
              <a:t> Horizontal </a:t>
            </a:r>
            <a:r>
              <a:rPr kumimoji="0" lang="de-DE" sz="2400" b="1" i="0" u="none" strike="noStrike" kern="1200" cap="none" spc="0" normalizeH="0" baseline="0" noProof="0" dirty="0" err="1">
                <a:ln>
                  <a:noFill/>
                </a:ln>
                <a:solidFill>
                  <a:srgbClr val="0000FF"/>
                </a:solidFill>
                <a:effectLst/>
                <a:uLnTx/>
                <a:uFillTx/>
                <a:latin typeface="Arial"/>
                <a:ea typeface="+mn-ea"/>
                <a:cs typeface="+mn-cs"/>
              </a:rPr>
              <a:t>Feedwater</a:t>
            </a:r>
            <a:r>
              <a:rPr kumimoji="0" lang="de-DE" sz="2400" b="1" i="0" u="none" strike="noStrike" kern="1200" cap="none" spc="0" normalizeH="0" baseline="0" noProof="0" dirty="0">
                <a:ln>
                  <a:noFill/>
                </a:ln>
                <a:solidFill>
                  <a:srgbClr val="0000FF"/>
                </a:solidFill>
                <a:effectLst/>
                <a:uLnTx/>
                <a:uFillTx/>
                <a:latin typeface="Arial"/>
                <a:ea typeface="+mn-ea"/>
                <a:cs typeface="+mn-cs"/>
              </a:rPr>
              <a:t> Pump OL3 </a:t>
            </a:r>
            <a:r>
              <a:rPr lang="de-DE" sz="2400" b="0" dirty="0" err="1">
                <a:latin typeface="Arial"/>
              </a:rPr>
              <a:t>Conclusions</a:t>
            </a:r>
            <a:endParaRPr kumimoji="0" lang="de-DE" sz="2400" b="0" i="0" u="none" strike="noStrike" kern="1200" cap="none" spc="0" normalizeH="0" baseline="0" noProof="0" dirty="0">
              <a:ln>
                <a:noFill/>
              </a:ln>
              <a:effectLst/>
              <a:uLnTx/>
              <a:uFillTx/>
              <a:latin typeface="Arial"/>
              <a:ea typeface="+mn-ea"/>
              <a:cs typeface="+mn-cs"/>
            </a:endParaRPr>
          </a:p>
        </p:txBody>
      </p:sp>
      <p:sp>
        <p:nvSpPr>
          <p:cNvPr id="2" name="Textfeld 1">
            <a:extLst>
              <a:ext uri="{FF2B5EF4-FFF2-40B4-BE49-F238E27FC236}">
                <a16:creationId xmlns:a16="http://schemas.microsoft.com/office/drawing/2014/main" id="{53550864-4BFD-712B-F2E6-A740411E50E5}"/>
              </a:ext>
            </a:extLst>
          </p:cNvPr>
          <p:cNvSpPr txBox="1"/>
          <p:nvPr/>
        </p:nvSpPr>
        <p:spPr>
          <a:xfrm>
            <a:off x="624115" y="1336842"/>
            <a:ext cx="10412853" cy="5175809"/>
          </a:xfrm>
          <a:prstGeom prst="rect">
            <a:avLst/>
          </a:prstGeom>
          <a:solidFill>
            <a:schemeClr val="lt1"/>
          </a:solidFill>
          <a:ln w="38100">
            <a:solidFill>
              <a:schemeClr val="bg1"/>
            </a:solidFill>
          </a:ln>
        </p:spPr>
        <p:txBody>
          <a:bodyPr rot="0" spcFirstLastPara="0" vert="horz" wrap="square" lIns="91440" tIns="45720" rIns="91440" bIns="45720" numCol="1" spcCol="0" rtlCol="0" fromWordArt="0" anchor="t" anchorCtr="0" forceAA="0" compatLnSpc="1">
            <a:prstTxWarp prst="textNoShape">
              <a:avLst/>
            </a:prstTxWarp>
            <a:noAutofit/>
          </a:bodyPr>
          <a:lstStyle/>
          <a:p>
            <a:pPr marL="342900" marR="0" lvl="0" indent="-342900" algn="l" defTabSz="914400" rtl="0" eaLnBrk="1" fontAlgn="auto" latinLnBrk="0" hangingPunct="1">
              <a:lnSpc>
                <a:spcPct val="107000"/>
              </a:lnSpc>
              <a:spcBef>
                <a:spcPts val="0"/>
              </a:spcBef>
              <a:spcAft>
                <a:spcPts val="800"/>
              </a:spcAft>
              <a:buClrTx/>
              <a:buSzTx/>
              <a:buFont typeface="Wingdings" panose="05000000000000000000" pitchFamily="2" charset="2"/>
              <a:buChar char="§"/>
              <a:tabLst/>
              <a:defRPr/>
            </a:pPr>
            <a:r>
              <a:rPr kumimoji="0" lang="de-DE" sz="2200" b="0" i="0" u="none" strike="noStrike" kern="100" cap="none" spc="0" normalizeH="0" baseline="0" noProof="0" dirty="0" err="1">
                <a:ln>
                  <a:noFill/>
                </a:ln>
                <a:effectLst/>
                <a:uLnTx/>
                <a:uFillTx/>
                <a:latin typeface="Arial" panose="020B0604020202020204" pitchFamily="34" charset="0"/>
                <a:ea typeface="Calibri" panose="020F0502020204030204" pitchFamily="34" charset="0"/>
                <a:cs typeface="Arial" panose="020B0604020202020204" pitchFamily="34" charset="0"/>
              </a:rPr>
              <a:t>Vibrations</a:t>
            </a:r>
            <a:r>
              <a:rPr kumimoji="0" lang="de-DE" sz="2200" b="0" i="0" u="none" strike="noStrike" kern="100" cap="none" spc="0" normalizeH="0" baseline="0" noProof="0" dirty="0">
                <a:ln>
                  <a:noFill/>
                </a:ln>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200" b="0" i="0" u="none" strike="noStrike" kern="100" cap="none" spc="0" normalizeH="0" baseline="0" noProof="0" dirty="0" err="1">
                <a:ln>
                  <a:noFill/>
                </a:ln>
                <a:effectLst/>
                <a:uLnTx/>
                <a:uFillTx/>
                <a:latin typeface="Arial" panose="020B0604020202020204" pitchFamily="34" charset="0"/>
                <a:ea typeface="Calibri" panose="020F0502020204030204" pitchFamily="34" charset="0"/>
                <a:cs typeface="Arial" panose="020B0604020202020204" pitchFamily="34" charset="0"/>
              </a:rPr>
              <a:t>of</a:t>
            </a:r>
            <a:r>
              <a:rPr kumimoji="0" lang="de-DE" sz="2200" b="0" i="0" u="none" strike="noStrike" kern="100" cap="none" spc="0" normalizeH="0" baseline="0" noProof="0" dirty="0">
                <a:ln>
                  <a:noFill/>
                </a:ln>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200" b="0" i="0" u="none" strike="noStrike" kern="100" cap="none" spc="0" normalizeH="0" baseline="0" noProof="0" dirty="0" err="1">
                <a:ln>
                  <a:noFill/>
                </a:ln>
                <a:effectLst/>
                <a:uLnTx/>
                <a:uFillTx/>
                <a:latin typeface="Arial" panose="020B0604020202020204" pitchFamily="34" charset="0"/>
                <a:ea typeface="Calibri" panose="020F0502020204030204" pitchFamily="34" charset="0"/>
                <a:cs typeface="Arial" panose="020B0604020202020204" pitchFamily="34" charset="0"/>
              </a:rPr>
              <a:t>the</a:t>
            </a:r>
            <a:r>
              <a:rPr kumimoji="0" lang="de-DE" sz="2200" b="0" i="0" u="none" strike="noStrike" kern="100" cap="none" spc="0" normalizeH="0" baseline="0" noProof="0" dirty="0">
                <a:ln>
                  <a:noFill/>
                </a:ln>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200" i="0" u="none" strike="noStrike" kern="100" cap="none" spc="0" normalizeH="0" baseline="0" noProof="0" dirty="0">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Boiler </a:t>
            </a:r>
            <a:r>
              <a:rPr lang="de-DE" sz="2200" kern="100" dirty="0">
                <a:solidFill>
                  <a:srgbClr val="0000FF"/>
                </a:solidFill>
                <a:latin typeface="Arial" panose="020B0604020202020204" pitchFamily="34" charset="0"/>
                <a:ea typeface="Calibri" panose="020F0502020204030204" pitchFamily="34" charset="0"/>
                <a:cs typeface="Arial" panose="020B0604020202020204" pitchFamily="34" charset="0"/>
              </a:rPr>
              <a:t>F</a:t>
            </a:r>
            <a:r>
              <a:rPr kumimoji="0" lang="de-DE" sz="2200" i="0" u="none" strike="noStrike" kern="100" cap="none" spc="0" normalizeH="0" baseline="0" noProof="0" dirty="0" err="1">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eed</a:t>
            </a:r>
            <a:r>
              <a:rPr kumimoji="0" lang="de-DE" sz="2200" i="0" u="none" strike="noStrike" kern="100" cap="none" spc="0" normalizeH="0" baseline="0" noProof="0" dirty="0">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 Pump  </a:t>
            </a:r>
            <a:r>
              <a:rPr kumimoji="0" lang="de-DE" sz="2200" b="0" i="0" u="none" strike="noStrike" kern="100" cap="none" spc="0" normalizeH="0" baseline="0" noProof="0" dirty="0" err="1">
                <a:ln>
                  <a:noFill/>
                </a:ln>
                <a:effectLst/>
                <a:uLnTx/>
                <a:uFillTx/>
                <a:latin typeface="Arial" panose="020B0604020202020204" pitchFamily="34" charset="0"/>
                <a:ea typeface="Calibri" panose="020F0502020204030204" pitchFamily="34" charset="0"/>
                <a:cs typeface="Arial" panose="020B0604020202020204" pitchFamily="34" charset="0"/>
              </a:rPr>
              <a:t>can</a:t>
            </a:r>
            <a:r>
              <a:rPr kumimoji="0" lang="de-DE" sz="2200" b="0" i="0" u="none" strike="noStrike" kern="100" cap="none" spc="0" normalizeH="0" baseline="0" noProof="0" dirty="0">
                <a:ln>
                  <a:noFill/>
                </a:ln>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200" b="0" i="0" u="none" strike="noStrike" kern="100" cap="none" spc="0" normalizeH="0" baseline="0" noProof="0" dirty="0" err="1">
                <a:ln>
                  <a:noFill/>
                </a:ln>
                <a:effectLst/>
                <a:uLnTx/>
                <a:uFillTx/>
                <a:latin typeface="Arial" panose="020B0604020202020204" pitchFamily="34" charset="0"/>
                <a:ea typeface="Calibri" panose="020F0502020204030204" pitchFamily="34" charset="0"/>
                <a:cs typeface="Arial" panose="020B0604020202020204" pitchFamily="34" charset="0"/>
              </a:rPr>
              <a:t>strongly</a:t>
            </a:r>
            <a:r>
              <a:rPr kumimoji="0" lang="de-DE" sz="2200" b="0" i="0" u="none" strike="noStrike" kern="100" cap="none" spc="0" normalizeH="0" baseline="0" noProof="0" dirty="0">
                <a:ln>
                  <a:noFill/>
                </a:ln>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200" b="0" i="0" u="none" strike="noStrike" kern="100" cap="none" spc="0" normalizeH="0" baseline="0" noProof="0" dirty="0" err="1">
                <a:ln>
                  <a:noFill/>
                </a:ln>
                <a:effectLst/>
                <a:uLnTx/>
                <a:uFillTx/>
                <a:latin typeface="Arial" panose="020B0604020202020204" pitchFamily="34" charset="0"/>
                <a:ea typeface="Calibri" panose="020F0502020204030204" pitchFamily="34" charset="0"/>
                <a:cs typeface="Arial" panose="020B0604020202020204" pitchFamily="34" charset="0"/>
              </a:rPr>
              <a:t>be</a:t>
            </a:r>
            <a:r>
              <a:rPr kumimoji="0" lang="de-DE" sz="2200" b="0" i="0" u="none" strike="noStrike" kern="100" cap="none" spc="0" normalizeH="0" baseline="0" noProof="0" dirty="0">
                <a:ln>
                  <a:noFill/>
                </a:ln>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200" b="0" i="0" u="none" strike="noStrike" kern="100" cap="none" spc="0" normalizeH="0" baseline="0" noProof="0" dirty="0" err="1">
                <a:ln>
                  <a:noFill/>
                </a:ln>
                <a:effectLst/>
                <a:uLnTx/>
                <a:uFillTx/>
                <a:latin typeface="Arial" panose="020B0604020202020204" pitchFamily="34" charset="0"/>
                <a:ea typeface="Calibri" panose="020F0502020204030204" pitchFamily="34" charset="0"/>
                <a:cs typeface="Arial" panose="020B0604020202020204" pitchFamily="34" charset="0"/>
              </a:rPr>
              <a:t>excited</a:t>
            </a:r>
            <a:r>
              <a:rPr kumimoji="0" lang="de-DE" sz="2200" b="0" i="0" u="none" strike="noStrike" kern="100" cap="none" spc="0" normalizeH="0" baseline="0" noProof="0" dirty="0">
                <a:ln>
                  <a:noFill/>
                </a:ln>
                <a:effectLst/>
                <a:uLnTx/>
                <a:uFillTx/>
                <a:latin typeface="Arial" panose="020B0604020202020204" pitchFamily="34" charset="0"/>
                <a:ea typeface="Calibri" panose="020F0502020204030204" pitchFamily="34" charset="0"/>
                <a:cs typeface="Arial" panose="020B0604020202020204" pitchFamily="34" charset="0"/>
              </a:rPr>
              <a:t> by </a:t>
            </a:r>
            <a:r>
              <a:rPr kumimoji="0" lang="de-DE" sz="2200" i="0" u="none" strike="noStrike" kern="100" cap="none" spc="0" normalizeH="0" baseline="0" noProof="0" dirty="0">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Fluid  Forces </a:t>
            </a:r>
            <a:r>
              <a:rPr kumimoji="0" lang="de-DE" sz="2200" b="0" i="0" u="none" strike="noStrike" kern="100" cap="none" spc="0" normalizeH="0" baseline="0" noProof="0" dirty="0" err="1">
                <a:ln>
                  <a:noFill/>
                </a:ln>
                <a:effectLst/>
                <a:uLnTx/>
                <a:uFillTx/>
                <a:latin typeface="Arial" panose="020B0604020202020204" pitchFamily="34" charset="0"/>
                <a:ea typeface="Calibri" panose="020F0502020204030204" pitchFamily="34" charset="0"/>
                <a:cs typeface="Arial" panose="020B0604020202020204" pitchFamily="34" charset="0"/>
              </a:rPr>
              <a:t>with</a:t>
            </a:r>
            <a:r>
              <a:rPr kumimoji="0" lang="de-DE" sz="2200" b="0" i="0" u="none" strike="noStrike" kern="100" cap="none" spc="0" normalizeH="0" baseline="0" noProof="0" dirty="0">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200" i="0" u="none" strike="noStrike" kern="100" cap="none" spc="0" normalizeH="0" baseline="0" noProof="0" dirty="0">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Vane Pass </a:t>
            </a:r>
            <a:r>
              <a:rPr kumimoji="0" lang="de-DE" sz="2200" i="0" u="none" strike="noStrike" kern="100" cap="none" spc="0" normalizeH="0" baseline="0" noProof="0" dirty="0" err="1">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Frequency</a:t>
            </a:r>
            <a:r>
              <a:rPr kumimoji="0" lang="de-DE" sz="2200" i="0" u="none" strike="noStrike" kern="100" cap="none" spc="0" normalizeH="0" baseline="0" noProof="0" dirty="0">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 VPF </a:t>
            </a:r>
            <a:r>
              <a:rPr kumimoji="0" lang="de-DE" sz="2200" i="0" u="none" strike="noStrike" kern="100" cap="none" spc="0" normalizeH="0" baseline="0" noProof="0" dirty="0" err="1">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of</a:t>
            </a:r>
            <a:r>
              <a:rPr kumimoji="0" lang="de-DE" sz="2200" i="0" u="none" strike="noStrike" kern="100" cap="none" spc="0" normalizeH="0" baseline="0" noProof="0" dirty="0">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 560 Hz and 2 VPF</a:t>
            </a:r>
            <a:r>
              <a:rPr lang="de-DE" sz="2200" b="0" kern="100" dirty="0">
                <a:solidFill>
                  <a:srgbClr val="0000FF"/>
                </a:solidFill>
                <a:latin typeface="Arial" panose="020B0604020202020204" pitchFamily="34" charset="0"/>
                <a:ea typeface="Calibri" panose="020F0502020204030204" pitchFamily="34" charset="0"/>
                <a:cs typeface="Arial" panose="020B0604020202020204" pitchFamily="34" charset="0"/>
              </a:rPr>
              <a:t> </a:t>
            </a:r>
            <a:r>
              <a:rPr lang="de-DE" sz="2200" kern="100" dirty="0">
                <a:solidFill>
                  <a:srgbClr val="0000FF"/>
                </a:solidFill>
                <a:latin typeface="Arial" panose="020B0604020202020204" pitchFamily="34" charset="0"/>
                <a:ea typeface="Calibri" panose="020F0502020204030204" pitchFamily="34" charset="0"/>
                <a:cs typeface="Arial" panose="020B0604020202020204" pitchFamily="34" charset="0"/>
              </a:rPr>
              <a:t>= 1120 Hz</a:t>
            </a:r>
            <a:r>
              <a:rPr kumimoji="0" lang="de-DE" sz="2200" b="0" i="0" u="none" strike="noStrike" kern="100" cap="none" spc="0" normalizeH="0" baseline="0" noProof="0" dirty="0">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200" i="0" u="none" strike="noStrike" kern="100" cap="none" spc="0" normalizeH="0" baseline="0" noProof="0" dirty="0" err="1">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Resonances</a:t>
            </a:r>
            <a:r>
              <a:rPr kumimoji="0" lang="de-DE" sz="2200" b="0" i="0" u="none" strike="noStrike" kern="100" cap="none" spc="0" normalizeH="0" baseline="0" noProof="0" dirty="0">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200" b="0" i="0" u="none" strike="noStrike" kern="100" cap="none" spc="0" normalizeH="0" baseline="0" noProof="0" dirty="0" err="1">
                <a:ln>
                  <a:noFill/>
                </a:ln>
                <a:effectLst/>
                <a:uLnTx/>
                <a:uFillTx/>
                <a:latin typeface="Arial" panose="020B0604020202020204" pitchFamily="34" charset="0"/>
                <a:ea typeface="Calibri" panose="020F0502020204030204" pitchFamily="34" charset="0"/>
                <a:cs typeface="Arial" panose="020B0604020202020204" pitchFamily="34" charset="0"/>
              </a:rPr>
              <a:t>may</a:t>
            </a:r>
            <a:r>
              <a:rPr kumimoji="0" lang="de-DE" sz="2200" b="0" i="0" u="none" strike="noStrike" kern="100" cap="none" spc="0" normalizeH="0" baseline="0" noProof="0" dirty="0">
                <a:ln>
                  <a:noFill/>
                </a:ln>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200" b="0" i="0" u="none" strike="noStrike" kern="100" cap="none" spc="0" normalizeH="0" baseline="0" noProof="0" dirty="0" err="1">
                <a:ln>
                  <a:noFill/>
                </a:ln>
                <a:effectLst/>
                <a:uLnTx/>
                <a:uFillTx/>
                <a:latin typeface="Arial" panose="020B0604020202020204" pitchFamily="34" charset="0"/>
                <a:ea typeface="Calibri" panose="020F0502020204030204" pitchFamily="34" charset="0"/>
                <a:cs typeface="Arial" panose="020B0604020202020204" pitchFamily="34" charset="0"/>
              </a:rPr>
              <a:t>occur</a:t>
            </a:r>
            <a:r>
              <a:rPr kumimoji="0" lang="de-DE" sz="2200" b="0" i="0" u="none" strike="noStrike" kern="100" cap="none" spc="0" normalizeH="0" baseline="0" noProof="0" dirty="0">
                <a:ln>
                  <a:noFill/>
                </a:ln>
                <a:effectLst/>
                <a:uLnTx/>
                <a:uFillTx/>
                <a:latin typeface="Arial" panose="020B0604020202020204" pitchFamily="34" charset="0"/>
                <a:ea typeface="Calibri" panose="020F0502020204030204" pitchFamily="34" charset="0"/>
                <a:cs typeface="Arial" panose="020B0604020202020204" pitchFamily="34" charset="0"/>
              </a:rPr>
              <a:t> </a:t>
            </a:r>
            <a:r>
              <a:rPr lang="de-DE" sz="2200" b="0" kern="100" dirty="0">
                <a:latin typeface="Arial" panose="020B0604020202020204" pitchFamily="34" charset="0"/>
                <a:ea typeface="Calibri" panose="020F0502020204030204" pitchFamily="34" charset="0"/>
                <a:cs typeface="Arial" panose="020B0604020202020204" pitchFamily="34" charset="0"/>
              </a:rPr>
              <a:t>at</a:t>
            </a:r>
            <a:r>
              <a:rPr kumimoji="0" lang="de-DE" sz="2200" b="0" i="0" u="none" strike="noStrike" kern="100" cap="none" spc="0" normalizeH="0" baseline="0" noProof="0" dirty="0">
                <a:ln>
                  <a:noFill/>
                </a:ln>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200" b="0" i="0" u="none" strike="noStrike" kern="100" cap="none" spc="0" normalizeH="0" baseline="0" noProof="0" dirty="0" err="1">
                <a:ln>
                  <a:noFill/>
                </a:ln>
                <a:effectLst/>
                <a:uLnTx/>
                <a:uFillTx/>
                <a:latin typeface="Arial" panose="020B0604020202020204" pitchFamily="34" charset="0"/>
                <a:ea typeface="Calibri" panose="020F0502020204030204" pitchFamily="34" charset="0"/>
                <a:cs typeface="Arial" panose="020B0604020202020204" pitchFamily="34" charset="0"/>
              </a:rPr>
              <a:t>this</a:t>
            </a:r>
            <a:r>
              <a:rPr kumimoji="0" lang="de-DE" sz="2200" b="0" i="0" u="none" strike="noStrike" kern="100" cap="none" spc="0" normalizeH="0" baseline="0" noProof="0" dirty="0">
                <a:ln>
                  <a:noFill/>
                </a:ln>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200" i="0" u="none" strike="noStrike" kern="100" cap="none" spc="0" normalizeH="0" baseline="0" noProof="0" dirty="0" err="1">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Frequencies</a:t>
            </a:r>
            <a:r>
              <a:rPr kumimoji="0" lang="de-DE" sz="2200" b="0" i="0" u="none" strike="noStrike" kern="100" cap="none" spc="0" normalizeH="0" baseline="0" noProof="0" dirty="0">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200" b="0" i="0" u="none" strike="noStrike" kern="100" cap="none" spc="0" normalizeH="0" baseline="0" noProof="0" dirty="0" err="1">
                <a:ln>
                  <a:noFill/>
                </a:ln>
                <a:effectLst/>
                <a:uLnTx/>
                <a:uFillTx/>
                <a:latin typeface="Arial" panose="020B0604020202020204" pitchFamily="34" charset="0"/>
                <a:ea typeface="Calibri" panose="020F0502020204030204" pitchFamily="34" charset="0"/>
                <a:cs typeface="Arial" panose="020B0604020202020204" pitchFamily="34" charset="0"/>
              </a:rPr>
              <a:t>because</a:t>
            </a:r>
            <a:r>
              <a:rPr kumimoji="0" lang="de-DE" sz="2200" b="0" i="0" u="none" strike="noStrike" kern="100" cap="none" spc="0" normalizeH="0" baseline="0" noProof="0" dirty="0">
                <a:ln>
                  <a:noFill/>
                </a:ln>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200" b="0" i="0" u="none" strike="noStrike" kern="100" cap="none" spc="0" normalizeH="0" baseline="0" noProof="0" dirty="0" err="1">
                <a:ln>
                  <a:noFill/>
                </a:ln>
                <a:effectLst/>
                <a:uLnTx/>
                <a:uFillTx/>
                <a:latin typeface="Arial" panose="020B0604020202020204" pitchFamily="34" charset="0"/>
                <a:ea typeface="Calibri" panose="020F0502020204030204" pitchFamily="34" charset="0"/>
                <a:cs typeface="Arial" panose="020B0604020202020204" pitchFamily="34" charset="0"/>
              </a:rPr>
              <a:t>the</a:t>
            </a:r>
            <a:r>
              <a:rPr kumimoji="0" lang="de-DE" sz="2200" b="0" i="0" u="none" strike="noStrike" kern="100" cap="none" spc="0" normalizeH="0" baseline="0" noProof="0" dirty="0">
                <a:ln>
                  <a:noFill/>
                </a:ln>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200" i="0" u="none" strike="noStrike" kern="100" cap="none" spc="0" normalizeH="0" baseline="0" noProof="0" dirty="0">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Natural </a:t>
            </a:r>
            <a:r>
              <a:rPr kumimoji="0" lang="de-DE" sz="2200" i="0" u="none" strike="noStrike" kern="100" cap="none" spc="0" normalizeH="0" baseline="0" noProof="0" dirty="0" err="1">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Frequencies</a:t>
            </a:r>
            <a:r>
              <a:rPr kumimoji="0" lang="de-DE" sz="2200" i="0" u="none" strike="noStrike" kern="100" cap="none" spc="0" normalizeH="0" baseline="0" noProof="0" dirty="0">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200" b="0" i="0" u="none" strike="noStrike" kern="100" cap="none" spc="0" normalizeH="0" baseline="0" noProof="0" dirty="0" err="1">
                <a:ln>
                  <a:noFill/>
                </a:ln>
                <a:effectLst/>
                <a:uLnTx/>
                <a:uFillTx/>
                <a:latin typeface="Arial" panose="020B0604020202020204" pitchFamily="34" charset="0"/>
                <a:ea typeface="Calibri" panose="020F0502020204030204" pitchFamily="34" charset="0"/>
                <a:cs typeface="Arial" panose="020B0604020202020204" pitchFamily="34" charset="0"/>
              </a:rPr>
              <a:t>of</a:t>
            </a:r>
            <a:r>
              <a:rPr kumimoji="0" lang="de-DE" sz="2200" b="0" i="0" u="none" strike="noStrike" kern="100" cap="none" spc="0" normalizeH="0" baseline="0" noProof="0" dirty="0">
                <a:ln>
                  <a:noFill/>
                </a:ln>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200" b="0" i="0" u="none" strike="noStrike" kern="100" cap="none" spc="0" normalizeH="0" baseline="0" noProof="0" dirty="0" err="1">
                <a:ln>
                  <a:noFill/>
                </a:ln>
                <a:effectLst/>
                <a:uLnTx/>
                <a:uFillTx/>
                <a:latin typeface="Arial" panose="020B0604020202020204" pitchFamily="34" charset="0"/>
                <a:ea typeface="Calibri" panose="020F0502020204030204" pitchFamily="34" charset="0"/>
                <a:cs typeface="Arial" panose="020B0604020202020204" pitchFamily="34" charset="0"/>
              </a:rPr>
              <a:t>the</a:t>
            </a:r>
            <a:r>
              <a:rPr kumimoji="0" lang="de-DE" sz="2200" b="0" i="0" u="none" strike="noStrike" kern="100" cap="none" spc="0" normalizeH="0" baseline="0" noProof="0" dirty="0">
                <a:ln>
                  <a:noFill/>
                </a:ln>
                <a:effectLst/>
                <a:uLnTx/>
                <a:uFillTx/>
                <a:latin typeface="Arial" panose="020B0604020202020204" pitchFamily="34" charset="0"/>
                <a:ea typeface="Calibri" panose="020F0502020204030204" pitchFamily="34" charset="0"/>
                <a:cs typeface="Arial" panose="020B0604020202020204" pitchFamily="34" charset="0"/>
              </a:rPr>
              <a:t> Pump </a:t>
            </a:r>
            <a:r>
              <a:rPr kumimoji="0" lang="de-DE" sz="2200" b="0" i="0" u="none" strike="noStrike" kern="100" cap="none" spc="0" normalizeH="0" baseline="0" noProof="0" dirty="0" err="1">
                <a:ln>
                  <a:noFill/>
                </a:ln>
                <a:effectLst/>
                <a:uLnTx/>
                <a:uFillTx/>
                <a:latin typeface="Arial" panose="020B0604020202020204" pitchFamily="34" charset="0"/>
                <a:ea typeface="Calibri" panose="020F0502020204030204" pitchFamily="34" charset="0"/>
                <a:cs typeface="Arial" panose="020B0604020202020204" pitchFamily="34" charset="0"/>
              </a:rPr>
              <a:t>Shaft</a:t>
            </a:r>
            <a:r>
              <a:rPr kumimoji="0" lang="de-DE" sz="2200" b="0" i="0" u="none" strike="noStrike" kern="100" cap="none" spc="0" normalizeH="0" baseline="0" noProof="0" dirty="0">
                <a:ln>
                  <a:noFill/>
                </a:ln>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200" b="0" i="0" u="none" strike="noStrike" kern="100" cap="none" spc="0" normalizeH="0" baseline="0" noProof="0" dirty="0" err="1">
                <a:ln>
                  <a:noFill/>
                </a:ln>
                <a:effectLst/>
                <a:uLnTx/>
                <a:uFillTx/>
                <a:latin typeface="Arial" panose="020B0604020202020204" pitchFamily="34" charset="0"/>
                <a:ea typeface="Calibri" panose="020F0502020204030204" pitchFamily="34" charset="0"/>
                <a:cs typeface="Arial" panose="020B0604020202020204" pitchFamily="34" charset="0"/>
              </a:rPr>
              <a:t>are</a:t>
            </a:r>
            <a:r>
              <a:rPr kumimoji="0" lang="de-DE" sz="2200" b="0" i="0" u="none" strike="noStrike" kern="100" cap="none" spc="0" normalizeH="0" baseline="0" noProof="0" dirty="0">
                <a:ln>
                  <a:noFill/>
                </a:ln>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200" b="0" i="0" u="none" strike="noStrike" kern="100" cap="none" spc="0" normalizeH="0" baseline="0" noProof="0" dirty="0" err="1">
                <a:ln>
                  <a:noFill/>
                </a:ln>
                <a:effectLst/>
                <a:uLnTx/>
                <a:uFillTx/>
                <a:latin typeface="Arial" panose="020B0604020202020204" pitchFamily="34" charset="0"/>
                <a:ea typeface="Calibri" panose="020F0502020204030204" pitchFamily="34" charset="0"/>
                <a:cs typeface="Arial" panose="020B0604020202020204" pitchFamily="34" charset="0"/>
              </a:rPr>
              <a:t>close</a:t>
            </a:r>
            <a:r>
              <a:rPr kumimoji="0" lang="de-DE" sz="2200" b="0" i="0" u="none" strike="noStrike" kern="100" cap="none" spc="0" normalizeH="0" baseline="0" noProof="0" dirty="0">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a:t>
            </a:r>
          </a:p>
          <a:p>
            <a:pPr marL="342900" marR="0" lvl="0" indent="-342900" algn="l" defTabSz="914400" rtl="0" eaLnBrk="1" fontAlgn="auto" latinLnBrk="0" hangingPunct="1">
              <a:lnSpc>
                <a:spcPct val="107000"/>
              </a:lnSpc>
              <a:spcBef>
                <a:spcPts val="0"/>
              </a:spcBef>
              <a:spcAft>
                <a:spcPts val="800"/>
              </a:spcAft>
              <a:buClrTx/>
              <a:buSzTx/>
              <a:buFont typeface="Wingdings" panose="05000000000000000000" pitchFamily="2" charset="2"/>
              <a:buChar char="§"/>
              <a:tabLst/>
              <a:defRPr/>
            </a:pPr>
            <a:endParaRPr kumimoji="0" lang="de-DE" sz="2200" b="0" i="0" u="none" strike="noStrike" kern="100" cap="none" spc="0" normalizeH="0" baseline="0" noProof="0" dirty="0">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endParaRPr>
          </a:p>
          <a:p>
            <a:pPr marL="342900" marR="0" lvl="0" indent="-342900" algn="l" defTabSz="914400" rtl="0" eaLnBrk="1" fontAlgn="auto" latinLnBrk="0" hangingPunct="1">
              <a:lnSpc>
                <a:spcPct val="107000"/>
              </a:lnSpc>
              <a:spcBef>
                <a:spcPts val="0"/>
              </a:spcBef>
              <a:spcAft>
                <a:spcPts val="800"/>
              </a:spcAft>
              <a:buClrTx/>
              <a:buSzTx/>
              <a:buFont typeface="Wingdings" panose="05000000000000000000" pitchFamily="2" charset="2"/>
              <a:buChar char="§"/>
              <a:tabLst/>
              <a:defRPr/>
            </a:pPr>
            <a:r>
              <a:rPr lang="de-DE" sz="2200" b="0" kern="100" dirty="0" err="1">
                <a:latin typeface="Arial" panose="020B0604020202020204" pitchFamily="34" charset="0"/>
                <a:ea typeface="Calibri" panose="020F0502020204030204" pitchFamily="34" charset="0"/>
                <a:cs typeface="Arial" panose="020B0604020202020204" pitchFamily="34" charset="0"/>
              </a:rPr>
              <a:t>Under</a:t>
            </a:r>
            <a:r>
              <a:rPr lang="de-DE" sz="2200" b="0" kern="100" dirty="0">
                <a:latin typeface="Arial" panose="020B0604020202020204" pitchFamily="34" charset="0"/>
                <a:ea typeface="Calibri" panose="020F0502020204030204" pitchFamily="34" charset="0"/>
                <a:cs typeface="Arial" panose="020B0604020202020204" pitchFamily="34" charset="0"/>
              </a:rPr>
              <a:t> </a:t>
            </a:r>
            <a:r>
              <a:rPr lang="de-DE" sz="2200" b="0" kern="100" dirty="0" err="1">
                <a:latin typeface="Arial" panose="020B0604020202020204" pitchFamily="34" charset="0"/>
                <a:ea typeface="Calibri" panose="020F0502020204030204" pitchFamily="34" charset="0"/>
                <a:cs typeface="Arial" panose="020B0604020202020204" pitchFamily="34" charset="0"/>
              </a:rPr>
              <a:t>special</a:t>
            </a:r>
            <a:r>
              <a:rPr lang="de-DE" sz="2200" b="0" kern="100" dirty="0">
                <a:latin typeface="Arial" panose="020B0604020202020204" pitchFamily="34" charset="0"/>
                <a:ea typeface="Calibri" panose="020F0502020204030204" pitchFamily="34" charset="0"/>
                <a:cs typeface="Arial" panose="020B0604020202020204" pitchFamily="34" charset="0"/>
              </a:rPr>
              <a:t> </a:t>
            </a:r>
            <a:r>
              <a:rPr lang="de-DE" sz="2200" b="0" kern="100" dirty="0" err="1">
                <a:latin typeface="Arial" panose="020B0604020202020204" pitchFamily="34" charset="0"/>
                <a:ea typeface="Calibri" panose="020F0502020204030204" pitchFamily="34" charset="0"/>
                <a:cs typeface="Arial" panose="020B0604020202020204" pitchFamily="34" charset="0"/>
              </a:rPr>
              <a:t>flow</a:t>
            </a:r>
            <a:r>
              <a:rPr lang="de-DE" sz="2200" b="0" kern="100" dirty="0">
                <a:latin typeface="Arial" panose="020B0604020202020204" pitchFamily="34" charset="0"/>
                <a:ea typeface="Calibri" panose="020F0502020204030204" pitchFamily="34" charset="0"/>
                <a:cs typeface="Arial" panose="020B0604020202020204" pitchFamily="34" charset="0"/>
              </a:rPr>
              <a:t> </a:t>
            </a:r>
            <a:r>
              <a:rPr lang="de-DE" sz="2200" b="0" kern="100" dirty="0" err="1">
                <a:latin typeface="Arial" panose="020B0604020202020204" pitchFamily="34" charset="0"/>
                <a:ea typeface="Calibri" panose="020F0502020204030204" pitchFamily="34" charset="0"/>
                <a:cs typeface="Arial" panose="020B0604020202020204" pitchFamily="34" charset="0"/>
              </a:rPr>
              <a:t>conditions</a:t>
            </a:r>
            <a:r>
              <a:rPr lang="de-DE" sz="2200" b="0" kern="100" dirty="0">
                <a:latin typeface="Arial" panose="020B0604020202020204" pitchFamily="34" charset="0"/>
                <a:ea typeface="Calibri" panose="020F0502020204030204" pitchFamily="34" charset="0"/>
                <a:cs typeface="Arial" panose="020B0604020202020204" pitchFamily="34" charset="0"/>
              </a:rPr>
              <a:t> </a:t>
            </a:r>
            <a:r>
              <a:rPr lang="de-DE" sz="2200" kern="100" dirty="0">
                <a:solidFill>
                  <a:srgbClr val="0000FF"/>
                </a:solidFill>
                <a:latin typeface="Arial" panose="020B0604020202020204" pitchFamily="34" charset="0"/>
                <a:ea typeface="Calibri" panose="020F0502020204030204" pitchFamily="34" charset="0"/>
                <a:cs typeface="Arial" panose="020B0604020202020204" pitchFamily="34" charset="0"/>
              </a:rPr>
              <a:t>Fluid Forces </a:t>
            </a:r>
            <a:r>
              <a:rPr lang="de-DE" sz="2200" b="0" kern="100" dirty="0">
                <a:latin typeface="Arial" panose="020B0604020202020204" pitchFamily="34" charset="0"/>
                <a:ea typeface="Calibri" panose="020F0502020204030204" pitchFamily="34" charset="0"/>
                <a:cs typeface="Arial" panose="020B0604020202020204" pitchFamily="34" charset="0"/>
              </a:rPr>
              <a:t>at </a:t>
            </a:r>
            <a:r>
              <a:rPr lang="de-DE" sz="2200" b="0" kern="100" dirty="0" err="1">
                <a:latin typeface="Arial" panose="020B0604020202020204" pitchFamily="34" charset="0"/>
                <a:ea typeface="Calibri" panose="020F0502020204030204" pitchFamily="34" charset="0"/>
                <a:cs typeface="Arial" panose="020B0604020202020204" pitchFamily="34" charset="0"/>
              </a:rPr>
              <a:t>the</a:t>
            </a:r>
            <a:r>
              <a:rPr lang="de-DE" sz="2200" b="0" kern="100" dirty="0">
                <a:latin typeface="Arial" panose="020B0604020202020204" pitchFamily="34" charset="0"/>
                <a:ea typeface="Calibri" panose="020F0502020204030204" pitchFamily="34" charset="0"/>
                <a:cs typeface="Arial" panose="020B0604020202020204" pitchFamily="34" charset="0"/>
              </a:rPr>
              <a:t> </a:t>
            </a:r>
            <a:r>
              <a:rPr lang="de-DE" sz="2200" b="0" kern="100" dirty="0" err="1">
                <a:latin typeface="Arial" panose="020B0604020202020204" pitchFamily="34" charset="0"/>
                <a:ea typeface="Calibri" panose="020F0502020204030204" pitchFamily="34" charset="0"/>
                <a:cs typeface="Arial" panose="020B0604020202020204" pitchFamily="34" charset="0"/>
              </a:rPr>
              <a:t>impeller</a:t>
            </a:r>
            <a:r>
              <a:rPr lang="de-DE" sz="2200" b="0" kern="100" dirty="0">
                <a:latin typeface="Arial" panose="020B0604020202020204" pitchFamily="34" charset="0"/>
                <a:ea typeface="Calibri" panose="020F0502020204030204" pitchFamily="34" charset="0"/>
                <a:cs typeface="Arial" panose="020B0604020202020204" pitchFamily="34" charset="0"/>
              </a:rPr>
              <a:t> </a:t>
            </a:r>
            <a:r>
              <a:rPr lang="de-DE" sz="2200" b="0" kern="100" dirty="0" err="1">
                <a:latin typeface="Arial" panose="020B0604020202020204" pitchFamily="34" charset="0"/>
                <a:ea typeface="Calibri" panose="020F0502020204030204" pitchFamily="34" charset="0"/>
                <a:cs typeface="Arial" panose="020B0604020202020204" pitchFamily="34" charset="0"/>
              </a:rPr>
              <a:t>can</a:t>
            </a:r>
            <a:r>
              <a:rPr lang="de-DE" sz="2200" b="0" kern="100" dirty="0">
                <a:latin typeface="Arial" panose="020B0604020202020204" pitchFamily="34" charset="0"/>
                <a:ea typeface="Calibri" panose="020F0502020204030204" pitchFamily="34" charset="0"/>
                <a:cs typeface="Arial" panose="020B0604020202020204" pitchFamily="34" charset="0"/>
              </a:rPr>
              <a:t> </a:t>
            </a:r>
            <a:r>
              <a:rPr lang="de-DE" sz="2200" b="0" kern="100" dirty="0" err="1">
                <a:latin typeface="Arial" panose="020B0604020202020204" pitchFamily="34" charset="0"/>
                <a:ea typeface="Calibri" panose="020F0502020204030204" pitchFamily="34" charset="0"/>
                <a:cs typeface="Arial" panose="020B0604020202020204" pitchFamily="34" charset="0"/>
              </a:rPr>
              <a:t>be</a:t>
            </a:r>
            <a:r>
              <a:rPr lang="de-DE" sz="2200" b="0" kern="100" dirty="0">
                <a:latin typeface="Arial" panose="020B0604020202020204" pitchFamily="34" charset="0"/>
                <a:ea typeface="Calibri" panose="020F0502020204030204" pitchFamily="34" charset="0"/>
                <a:cs typeface="Arial" panose="020B0604020202020204" pitchFamily="34" charset="0"/>
              </a:rPr>
              <a:t>    </a:t>
            </a:r>
            <a:r>
              <a:rPr lang="de-DE" sz="2200" kern="100" dirty="0" err="1">
                <a:solidFill>
                  <a:srgbClr val="0000FF"/>
                </a:solidFill>
                <a:latin typeface="Arial" panose="020B0604020202020204" pitchFamily="34" charset="0"/>
                <a:ea typeface="Calibri" panose="020F0502020204030204" pitchFamily="34" charset="0"/>
                <a:cs typeface="Arial" panose="020B0604020202020204" pitchFamily="34" charset="0"/>
              </a:rPr>
              <a:t>synchronous</a:t>
            </a:r>
            <a:r>
              <a:rPr lang="de-DE" sz="2200" b="0" kern="100" dirty="0">
                <a:solidFill>
                  <a:srgbClr val="0000FF"/>
                </a:solidFill>
                <a:latin typeface="Arial" panose="020B0604020202020204" pitchFamily="34" charset="0"/>
                <a:ea typeface="Calibri" panose="020F0502020204030204" pitchFamily="34" charset="0"/>
                <a:cs typeface="Arial" panose="020B0604020202020204" pitchFamily="34" charset="0"/>
              </a:rPr>
              <a:t> </a:t>
            </a:r>
            <a:r>
              <a:rPr lang="de-DE" sz="2200" b="0" kern="100" dirty="0" err="1">
                <a:latin typeface="Arial" panose="020B0604020202020204" pitchFamily="34" charset="0"/>
                <a:ea typeface="Calibri" panose="020F0502020204030204" pitchFamily="34" charset="0"/>
                <a:cs typeface="Arial" panose="020B0604020202020204" pitchFamily="34" charset="0"/>
              </a:rPr>
              <a:t>to</a:t>
            </a:r>
            <a:r>
              <a:rPr lang="de-DE" sz="2200" b="0" kern="100" dirty="0">
                <a:latin typeface="Arial" panose="020B0604020202020204" pitchFamily="34" charset="0"/>
                <a:ea typeface="Calibri" panose="020F0502020204030204" pitchFamily="34" charset="0"/>
                <a:cs typeface="Arial" panose="020B0604020202020204" pitchFamily="34" charset="0"/>
              </a:rPr>
              <a:t> </a:t>
            </a:r>
            <a:r>
              <a:rPr lang="de-DE" sz="2200" b="0" kern="100" dirty="0" err="1">
                <a:latin typeface="Arial" panose="020B0604020202020204" pitchFamily="34" charset="0"/>
                <a:ea typeface="Calibri" panose="020F0502020204030204" pitchFamily="34" charset="0"/>
                <a:cs typeface="Arial" panose="020B0604020202020204" pitchFamily="34" charset="0"/>
              </a:rPr>
              <a:t>the</a:t>
            </a:r>
            <a:r>
              <a:rPr lang="de-DE" sz="2200" b="0" kern="100" dirty="0">
                <a:latin typeface="Arial" panose="020B0604020202020204" pitchFamily="34" charset="0"/>
                <a:ea typeface="Calibri" panose="020F0502020204030204" pitchFamily="34" charset="0"/>
                <a:cs typeface="Arial" panose="020B0604020202020204" pitchFamily="34" charset="0"/>
              </a:rPr>
              <a:t> </a:t>
            </a:r>
            <a:r>
              <a:rPr lang="de-DE" sz="2200" kern="100" dirty="0" err="1">
                <a:solidFill>
                  <a:srgbClr val="0000FF"/>
                </a:solidFill>
                <a:latin typeface="Arial" panose="020B0604020202020204" pitchFamily="34" charset="0"/>
                <a:ea typeface="Calibri" panose="020F0502020204030204" pitchFamily="34" charset="0"/>
                <a:cs typeface="Arial" panose="020B0604020202020204" pitchFamily="34" charset="0"/>
              </a:rPr>
              <a:t>rotational</a:t>
            </a:r>
            <a:r>
              <a:rPr lang="de-DE" sz="2200" kern="100" dirty="0">
                <a:solidFill>
                  <a:srgbClr val="0000FF"/>
                </a:solidFill>
                <a:latin typeface="Arial" panose="020B0604020202020204" pitchFamily="34" charset="0"/>
                <a:ea typeface="Calibri" panose="020F0502020204030204" pitchFamily="34" charset="0"/>
                <a:cs typeface="Arial" panose="020B0604020202020204" pitchFamily="34" charset="0"/>
              </a:rPr>
              <a:t> </a:t>
            </a:r>
            <a:r>
              <a:rPr lang="de-DE" sz="2200" kern="100" dirty="0" err="1">
                <a:solidFill>
                  <a:srgbClr val="0000FF"/>
                </a:solidFill>
                <a:latin typeface="Arial" panose="020B0604020202020204" pitchFamily="34" charset="0"/>
                <a:ea typeface="Calibri" panose="020F0502020204030204" pitchFamily="34" charset="0"/>
                <a:cs typeface="Arial" panose="020B0604020202020204" pitchFamily="34" charset="0"/>
              </a:rPr>
              <a:t>frequency</a:t>
            </a:r>
            <a:r>
              <a:rPr lang="de-DE" sz="2200" kern="100" dirty="0">
                <a:solidFill>
                  <a:srgbClr val="0000FF"/>
                </a:solidFill>
                <a:latin typeface="Arial" panose="020B0604020202020204" pitchFamily="34" charset="0"/>
                <a:ea typeface="Calibri" panose="020F0502020204030204" pitchFamily="34" charset="0"/>
                <a:cs typeface="Arial" panose="020B0604020202020204" pitchFamily="34" charset="0"/>
              </a:rPr>
              <a:t> </a:t>
            </a:r>
            <a:r>
              <a:rPr lang="de-DE" sz="2200" b="0" kern="100" dirty="0" err="1">
                <a:latin typeface="Arial" panose="020B0604020202020204" pitchFamily="34" charset="0"/>
                <a:ea typeface="Calibri" panose="020F0502020204030204" pitchFamily="34" charset="0"/>
                <a:cs typeface="Arial" panose="020B0604020202020204" pitchFamily="34" charset="0"/>
              </a:rPr>
              <a:t>of</a:t>
            </a:r>
            <a:r>
              <a:rPr lang="de-DE" sz="2200" b="0" kern="100" dirty="0">
                <a:latin typeface="Arial" panose="020B0604020202020204" pitchFamily="34" charset="0"/>
                <a:ea typeface="Calibri" panose="020F0502020204030204" pitchFamily="34" charset="0"/>
                <a:cs typeface="Arial" panose="020B0604020202020204" pitchFamily="34" charset="0"/>
              </a:rPr>
              <a:t> </a:t>
            </a:r>
            <a:r>
              <a:rPr lang="de-DE" sz="2200" b="0" kern="100" dirty="0" err="1">
                <a:latin typeface="Arial" panose="020B0604020202020204" pitchFamily="34" charset="0"/>
                <a:ea typeface="Calibri" panose="020F0502020204030204" pitchFamily="34" charset="0"/>
                <a:cs typeface="Arial" panose="020B0604020202020204" pitchFamily="34" charset="0"/>
              </a:rPr>
              <a:t>the</a:t>
            </a:r>
            <a:r>
              <a:rPr lang="de-DE" sz="2200" b="0" kern="100" dirty="0">
                <a:latin typeface="Arial" panose="020B0604020202020204" pitchFamily="34" charset="0"/>
                <a:ea typeface="Calibri" panose="020F0502020204030204" pitchFamily="34" charset="0"/>
                <a:cs typeface="Arial" panose="020B0604020202020204" pitchFamily="34" charset="0"/>
              </a:rPr>
              <a:t> </a:t>
            </a:r>
            <a:r>
              <a:rPr lang="de-DE" sz="2200" b="0" kern="100" dirty="0" err="1">
                <a:latin typeface="Arial" panose="020B0604020202020204" pitchFamily="34" charset="0"/>
                <a:ea typeface="Calibri" panose="020F0502020204030204" pitchFamily="34" charset="0"/>
                <a:cs typeface="Arial" panose="020B0604020202020204" pitchFamily="34" charset="0"/>
              </a:rPr>
              <a:t>shaft</a:t>
            </a:r>
            <a:r>
              <a:rPr lang="de-DE" sz="2200" b="0" kern="100" dirty="0">
                <a:latin typeface="Arial" panose="020B0604020202020204" pitchFamily="34" charset="0"/>
                <a:ea typeface="Calibri" panose="020F0502020204030204" pitchFamily="34" charset="0"/>
                <a:cs typeface="Arial" panose="020B0604020202020204" pitchFamily="34" charset="0"/>
              </a:rPr>
              <a:t>.</a:t>
            </a:r>
            <a:r>
              <a:rPr kumimoji="0" lang="de-DE" sz="22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This </a:t>
            </a:r>
            <a:r>
              <a:rPr kumimoji="0" lang="de-DE" sz="2200" b="1" i="0" u="none" strike="noStrike" kern="100" cap="none" spc="0" normalizeH="0" baseline="0" noProof="0" dirty="0" err="1">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hydraulic</a:t>
            </a:r>
            <a:r>
              <a:rPr kumimoji="0" lang="de-DE" sz="2200" b="1" i="0" u="none" strike="noStrike" kern="100" cap="none" spc="0" normalizeH="0" baseline="0" noProof="0" dirty="0">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 Fluid </a:t>
            </a:r>
            <a:r>
              <a:rPr lang="de-DE" sz="2200" kern="100" dirty="0">
                <a:solidFill>
                  <a:srgbClr val="0000FF"/>
                </a:solidFill>
                <a:latin typeface="Arial" panose="020B0604020202020204" pitchFamily="34" charset="0"/>
                <a:ea typeface="Calibri" panose="020F0502020204030204" pitchFamily="34" charset="0"/>
                <a:cs typeface="Arial" panose="020B0604020202020204" pitchFamily="34" charset="0"/>
              </a:rPr>
              <a:t>F</a:t>
            </a:r>
            <a:r>
              <a:rPr kumimoji="0" lang="de-DE" sz="2200" b="1" i="0" u="none" strike="noStrike" kern="100" cap="none" spc="0" normalizeH="0" baseline="0" noProof="0" dirty="0" err="1">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orces</a:t>
            </a:r>
            <a:r>
              <a:rPr lang="de-DE" sz="2200" kern="100" dirty="0">
                <a:solidFill>
                  <a:srgbClr val="0000FF"/>
                </a:solidFill>
                <a:latin typeface="Arial" panose="020B0604020202020204" pitchFamily="34" charset="0"/>
                <a:ea typeface="Calibri" panose="020F0502020204030204" pitchFamily="34" charset="0"/>
                <a:cs typeface="Arial" panose="020B0604020202020204" pitchFamily="34" charset="0"/>
              </a:rPr>
              <a:t> </a:t>
            </a:r>
            <a:r>
              <a:rPr kumimoji="0" lang="de-DE" sz="2200" b="0" i="0" u="none" strike="noStrike" kern="100" cap="none" spc="0" normalizeH="0" baseline="0" noProof="0" dirty="0" err="1">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behave</a:t>
            </a:r>
            <a:r>
              <a:rPr kumimoji="0" lang="de-DE" sz="22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200" b="0" i="0" u="none" strike="noStrike" kern="100" cap="none" spc="0" normalizeH="0" baseline="0" noProof="0" dirty="0" err="1">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the</a:t>
            </a:r>
            <a:r>
              <a:rPr kumimoji="0" lang="de-DE" sz="22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 same </a:t>
            </a:r>
            <a:r>
              <a:rPr kumimoji="0" lang="de-DE" sz="2200" b="0" i="0" u="none" strike="noStrike" kern="100" cap="none" spc="0" normalizeH="0" baseline="0" noProof="0" dirty="0" err="1">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way</a:t>
            </a:r>
            <a:r>
              <a:rPr kumimoji="0" lang="de-DE" sz="22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200" b="0" i="0" u="none" strike="noStrike" kern="100" cap="none" spc="0" normalizeH="0" baseline="0" noProof="0" dirty="0" err="1">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as</a:t>
            </a:r>
            <a:r>
              <a:rPr kumimoji="0" lang="de-DE" sz="22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 a </a:t>
            </a:r>
            <a:r>
              <a:rPr lang="de-DE" sz="2200" kern="100" dirty="0">
                <a:solidFill>
                  <a:srgbClr val="0000FF"/>
                </a:solidFill>
                <a:latin typeface="Arial" panose="020B0604020202020204" pitchFamily="34" charset="0"/>
                <a:ea typeface="Calibri" panose="020F0502020204030204" pitchFamily="34" charset="0"/>
                <a:cs typeface="Arial" panose="020B0604020202020204" pitchFamily="34" charset="0"/>
              </a:rPr>
              <a:t>M</a:t>
            </a:r>
            <a:r>
              <a:rPr kumimoji="0" lang="de-DE" sz="2200" b="1" i="0" u="none" strike="noStrike" kern="100" cap="none" spc="0" normalizeH="0" baseline="0" noProof="0" dirty="0" err="1">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echanical</a:t>
            </a:r>
            <a:r>
              <a:rPr kumimoji="0" lang="de-DE" sz="2200" b="1" i="0" u="none" strike="noStrike" kern="100" cap="none" spc="0" normalizeH="0" baseline="0" noProof="0" dirty="0">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 </a:t>
            </a:r>
            <a:r>
              <a:rPr lang="de-DE" sz="2200" kern="100" dirty="0">
                <a:solidFill>
                  <a:srgbClr val="0000FF"/>
                </a:solidFill>
                <a:latin typeface="Arial" panose="020B0604020202020204" pitchFamily="34" charset="0"/>
                <a:ea typeface="Calibri" panose="020F0502020204030204" pitchFamily="34" charset="0"/>
                <a:cs typeface="Arial" panose="020B0604020202020204" pitchFamily="34" charset="0"/>
              </a:rPr>
              <a:t>U</a:t>
            </a:r>
            <a:r>
              <a:rPr kumimoji="0" lang="de-DE" sz="2200" b="1" i="0" u="none" strike="noStrike" kern="100" cap="none" spc="0" normalizeH="0" baseline="0" noProof="0" dirty="0" err="1">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nbalances</a:t>
            </a:r>
            <a:r>
              <a:rPr kumimoji="0" lang="de-DE" sz="2200" b="1" i="0" u="none" strike="noStrike" kern="100" cap="none" spc="0" normalizeH="0" baseline="0" noProof="0" dirty="0">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200" b="0" i="0" u="none" strike="noStrike" kern="100" cap="none" spc="0" normalizeH="0" baseline="0" noProof="0" dirty="0">
                <a:ln>
                  <a:noFill/>
                </a:ln>
                <a:effectLst/>
                <a:uLnTx/>
                <a:uFillTx/>
                <a:latin typeface="Arial" panose="020B0604020202020204" pitchFamily="34" charset="0"/>
                <a:ea typeface="Calibri" panose="020F0502020204030204" pitchFamily="34" charset="0"/>
                <a:cs typeface="Arial" panose="020B0604020202020204" pitchFamily="34" charset="0"/>
              </a:rPr>
              <a:t>and </a:t>
            </a:r>
            <a:r>
              <a:rPr kumimoji="0" lang="de-DE" sz="2200" b="0" i="0" u="none" strike="noStrike" kern="100" cap="none" spc="0" normalizeH="0" baseline="0" noProof="0" dirty="0" err="1">
                <a:ln>
                  <a:noFill/>
                </a:ln>
                <a:effectLst/>
                <a:uLnTx/>
                <a:uFillTx/>
                <a:latin typeface="Arial" panose="020B0604020202020204" pitchFamily="34" charset="0"/>
                <a:ea typeface="Calibri" panose="020F0502020204030204" pitchFamily="34" charset="0"/>
                <a:cs typeface="Arial" panose="020B0604020202020204" pitchFamily="34" charset="0"/>
              </a:rPr>
              <a:t>are</a:t>
            </a:r>
            <a:r>
              <a:rPr kumimoji="0" lang="de-DE" sz="2200" b="0" i="0" u="none" strike="noStrike" kern="100" cap="none" spc="0" normalizeH="0" baseline="0" noProof="0" dirty="0">
                <a:ln>
                  <a:noFill/>
                </a:ln>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200" b="0" i="0" u="none" strike="noStrike" kern="100" cap="none" spc="0" normalizeH="0" baseline="0" noProof="0" dirty="0" err="1">
                <a:ln>
                  <a:noFill/>
                </a:ln>
                <a:effectLst/>
                <a:uLnTx/>
                <a:uFillTx/>
                <a:latin typeface="Arial" panose="020B0604020202020204" pitchFamily="34" charset="0"/>
                <a:ea typeface="Calibri" panose="020F0502020204030204" pitchFamily="34" charset="0"/>
                <a:cs typeface="Arial" panose="020B0604020202020204" pitchFamily="34" charset="0"/>
              </a:rPr>
              <a:t>called</a:t>
            </a:r>
            <a:r>
              <a:rPr kumimoji="0" lang="de-DE" sz="2200" b="0" i="0" u="none" strike="noStrike" kern="100" cap="none" spc="0" normalizeH="0" baseline="0" noProof="0" dirty="0">
                <a:ln>
                  <a:noFill/>
                </a:ln>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200" b="1" i="0" u="none" strike="noStrike" kern="100" cap="none" spc="0" normalizeH="0" baseline="0" noProof="0" dirty="0" err="1">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Hydraulic</a:t>
            </a:r>
            <a:r>
              <a:rPr kumimoji="0" lang="de-DE" sz="2200" b="1" i="0" u="none" strike="noStrike" kern="100" cap="none" spc="0" normalizeH="0" baseline="0" noProof="0" dirty="0">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200" b="1" i="0" u="none" strike="noStrike" kern="100" cap="none" spc="0" normalizeH="0" baseline="0" noProof="0" dirty="0" err="1">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Unbalances</a:t>
            </a:r>
            <a:r>
              <a:rPr kumimoji="0" lang="de-DE" sz="2200" b="1" i="0" u="none" strike="noStrike" kern="100" cap="none" spc="0" normalizeH="0" baseline="0" noProof="0" dirty="0">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200" b="0" i="0" u="none" strike="noStrike" kern="100" cap="none" spc="0" normalizeH="0" baseline="0" noProof="0" dirty="0" err="1">
                <a:ln>
                  <a:noFill/>
                </a:ln>
                <a:effectLst/>
                <a:uLnTx/>
                <a:uFillTx/>
                <a:latin typeface="Arial" panose="020B0604020202020204" pitchFamily="34" charset="0"/>
                <a:ea typeface="Calibri" panose="020F0502020204030204" pitchFamily="34" charset="0"/>
                <a:cs typeface="Arial" panose="020B0604020202020204" pitchFamily="34" charset="0"/>
              </a:rPr>
              <a:t>They</a:t>
            </a:r>
            <a:r>
              <a:rPr kumimoji="0" lang="de-DE" sz="2200" b="0" i="0" u="none" strike="noStrike" kern="100" cap="none" spc="0" normalizeH="0" baseline="0" noProof="0" dirty="0">
                <a:ln>
                  <a:noFill/>
                </a:ln>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200" b="0" i="0" u="none" strike="noStrike" kern="100" cap="none" spc="0" normalizeH="0" baseline="0" noProof="0" dirty="0" err="1">
                <a:ln>
                  <a:noFill/>
                </a:ln>
                <a:effectLst/>
                <a:uLnTx/>
                <a:uFillTx/>
                <a:latin typeface="Arial" panose="020B0604020202020204" pitchFamily="34" charset="0"/>
                <a:ea typeface="Calibri" panose="020F0502020204030204" pitchFamily="34" charset="0"/>
                <a:cs typeface="Arial" panose="020B0604020202020204" pitchFamily="34" charset="0"/>
              </a:rPr>
              <a:t>may</a:t>
            </a:r>
            <a:r>
              <a:rPr kumimoji="0" lang="de-DE" sz="2200" b="0" i="0" u="none" strike="noStrike" kern="100" cap="none" spc="0" normalizeH="0" baseline="0" noProof="0" dirty="0">
                <a:ln>
                  <a:noFill/>
                </a:ln>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200" b="0" i="0" u="none" strike="noStrike" kern="100" cap="none" spc="0" normalizeH="0" baseline="0" noProof="0" dirty="0" err="1">
                <a:ln>
                  <a:noFill/>
                </a:ln>
                <a:effectLst/>
                <a:uLnTx/>
                <a:uFillTx/>
                <a:latin typeface="Arial" panose="020B0604020202020204" pitchFamily="34" charset="0"/>
                <a:ea typeface="Calibri" panose="020F0502020204030204" pitchFamily="34" charset="0"/>
                <a:cs typeface="Arial" panose="020B0604020202020204" pitchFamily="34" charset="0"/>
              </a:rPr>
              <a:t>be</a:t>
            </a:r>
            <a:r>
              <a:rPr kumimoji="0" lang="de-DE" sz="2200" b="0" i="0" u="none" strike="noStrike" kern="100" cap="none" spc="0" normalizeH="0" baseline="0" noProof="0" dirty="0">
                <a:ln>
                  <a:noFill/>
                </a:ln>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200" b="1" i="0" u="none" strike="noStrike" kern="100" cap="none" spc="0" normalizeH="0" baseline="0" noProof="0" dirty="0" err="1">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much</a:t>
            </a:r>
            <a:r>
              <a:rPr kumimoji="0" lang="de-DE" sz="2200" b="1" i="0" u="none" strike="noStrike" kern="100" cap="none" spc="0" normalizeH="0" baseline="0" noProof="0" dirty="0">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 larger </a:t>
            </a:r>
            <a:r>
              <a:rPr kumimoji="0" lang="de-DE" sz="2200" b="0" i="0" u="none" strike="noStrike" kern="100" cap="none" spc="0" normalizeH="0" baseline="0" noProof="0" dirty="0" err="1">
                <a:ln>
                  <a:noFill/>
                </a:ln>
                <a:effectLst/>
                <a:uLnTx/>
                <a:uFillTx/>
                <a:latin typeface="Arial" panose="020B0604020202020204" pitchFamily="34" charset="0"/>
                <a:ea typeface="Calibri" panose="020F0502020204030204" pitchFamily="34" charset="0"/>
                <a:cs typeface="Arial" panose="020B0604020202020204" pitchFamily="34" charset="0"/>
              </a:rPr>
              <a:t>than</a:t>
            </a:r>
            <a:r>
              <a:rPr kumimoji="0" lang="de-DE" sz="2200" b="1" i="0" u="none" strike="noStrike" kern="100" cap="none" spc="0" normalizeH="0" baseline="0" noProof="0" dirty="0">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200" b="1" i="0" u="none" strike="noStrike" kern="100" cap="none" spc="0" normalizeH="0" baseline="0" noProof="0" dirty="0" err="1">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Mechanical</a:t>
            </a:r>
            <a:r>
              <a:rPr kumimoji="0" lang="de-DE" sz="2200" b="1" i="0" u="none" strike="noStrike" kern="100" cap="none" spc="0" normalizeH="0" noProof="0" dirty="0">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200" b="1" i="0" u="none" strike="noStrike" kern="100" cap="none" spc="0" normalizeH="0" noProof="0" dirty="0" err="1">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Unbalances</a:t>
            </a:r>
            <a:endParaRPr kumimoji="0" lang="de-DE" sz="2200" b="1" i="0" u="none" strike="noStrike" kern="100" cap="none" spc="0" normalizeH="0" noProof="0" dirty="0">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endParaRPr>
          </a:p>
          <a:p>
            <a:pPr marR="0" lvl="0" algn="l" defTabSz="914400" rtl="0" eaLnBrk="1" fontAlgn="auto" latinLnBrk="0" hangingPunct="1">
              <a:lnSpc>
                <a:spcPct val="107000"/>
              </a:lnSpc>
              <a:spcBef>
                <a:spcPts val="0"/>
              </a:spcBef>
              <a:spcAft>
                <a:spcPts val="800"/>
              </a:spcAft>
              <a:buClrTx/>
              <a:buSzTx/>
              <a:tabLst/>
              <a:defRPr/>
            </a:pPr>
            <a:endParaRPr lang="de-DE" sz="2200" kern="100" dirty="0">
              <a:solidFill>
                <a:srgbClr val="0000FF"/>
              </a:solidFill>
              <a:latin typeface="Arial" panose="020B0604020202020204" pitchFamily="34" charset="0"/>
              <a:ea typeface="Calibri" panose="020F0502020204030204" pitchFamily="34" charset="0"/>
              <a:cs typeface="Arial" panose="020B0604020202020204" pitchFamily="34" charset="0"/>
            </a:endParaRPr>
          </a:p>
          <a:p>
            <a:pPr marL="342900" marR="0" lvl="0" indent="-342900" algn="l" defTabSz="914400" rtl="0" eaLnBrk="1" fontAlgn="auto" latinLnBrk="0" hangingPunct="1">
              <a:lnSpc>
                <a:spcPct val="107000"/>
              </a:lnSpc>
              <a:spcBef>
                <a:spcPts val="0"/>
              </a:spcBef>
              <a:spcAft>
                <a:spcPts val="800"/>
              </a:spcAft>
              <a:buClrTx/>
              <a:buSzTx/>
              <a:buFont typeface="Wingdings" panose="05000000000000000000" pitchFamily="2" charset="2"/>
              <a:buChar char="§"/>
              <a:tabLst/>
              <a:defRPr/>
            </a:pPr>
            <a:r>
              <a:rPr kumimoji="0" lang="de-DE" sz="2200" b="0" i="0" u="none" strike="noStrike" kern="100" cap="none" spc="0" normalizeH="0" noProof="0" dirty="0">
                <a:ln>
                  <a:noFill/>
                </a:ln>
                <a:effectLst/>
                <a:uLnTx/>
                <a:uFillTx/>
                <a:latin typeface="Arial" panose="020B0604020202020204" pitchFamily="34" charset="0"/>
                <a:ea typeface="Calibri" panose="020F0502020204030204" pitchFamily="34" charset="0"/>
                <a:cs typeface="Arial" panose="020B0604020202020204" pitchFamily="34" charset="0"/>
              </a:rPr>
              <a:t>The </a:t>
            </a:r>
            <a:r>
              <a:rPr kumimoji="0" lang="de-DE" sz="2200" b="0" i="0" u="none" strike="noStrike" kern="100" cap="none" spc="0" normalizeH="0" noProof="0" dirty="0" err="1">
                <a:ln>
                  <a:noFill/>
                </a:ln>
                <a:effectLst/>
                <a:uLnTx/>
                <a:uFillTx/>
                <a:latin typeface="Arial" panose="020B0604020202020204" pitchFamily="34" charset="0"/>
                <a:ea typeface="Calibri" panose="020F0502020204030204" pitchFamily="34" charset="0"/>
                <a:cs typeface="Arial" panose="020B0604020202020204" pitchFamily="34" charset="0"/>
              </a:rPr>
              <a:t>example</a:t>
            </a:r>
            <a:r>
              <a:rPr kumimoji="0" lang="de-DE" sz="2200" b="0" i="0" u="none" strike="noStrike" kern="100" cap="none" spc="0" normalizeH="0" noProof="0" dirty="0">
                <a:ln>
                  <a:noFill/>
                </a:ln>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200" b="0" i="0" u="none" strike="noStrike" kern="100" cap="none" spc="0" normalizeH="0" noProof="0" dirty="0" err="1">
                <a:ln>
                  <a:noFill/>
                </a:ln>
                <a:effectLst/>
                <a:uLnTx/>
                <a:uFillTx/>
                <a:latin typeface="Arial" panose="020B0604020202020204" pitchFamily="34" charset="0"/>
                <a:ea typeface="Calibri" panose="020F0502020204030204" pitchFamily="34" charset="0"/>
                <a:cs typeface="Arial" panose="020B0604020202020204" pitchFamily="34" charset="0"/>
              </a:rPr>
              <a:t>of</a:t>
            </a:r>
            <a:r>
              <a:rPr kumimoji="0" lang="de-DE" sz="2200" b="0" i="0" u="none" strike="noStrike" kern="100" cap="none" spc="0" normalizeH="0" noProof="0" dirty="0">
                <a:ln>
                  <a:noFill/>
                </a:ln>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200" b="0" i="0" u="none" strike="noStrike" kern="100" cap="none" spc="0" normalizeH="0" noProof="0" dirty="0" err="1">
                <a:ln>
                  <a:noFill/>
                </a:ln>
                <a:effectLst/>
                <a:uLnTx/>
                <a:uFillTx/>
                <a:latin typeface="Arial" panose="020B0604020202020204" pitchFamily="34" charset="0"/>
                <a:ea typeface="Calibri" panose="020F0502020204030204" pitchFamily="34" charset="0"/>
                <a:cs typeface="Arial" panose="020B0604020202020204" pitchFamily="34" charset="0"/>
              </a:rPr>
              <a:t>the</a:t>
            </a:r>
            <a:r>
              <a:rPr kumimoji="0" lang="de-DE" sz="2200" b="0" i="0" u="none" strike="noStrike" kern="100" cap="none" spc="0" normalizeH="0" noProof="0" dirty="0">
                <a:ln>
                  <a:noFill/>
                </a:ln>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200" b="1" i="0" u="none" strike="noStrike" kern="100" cap="none" spc="0" normalizeH="0" noProof="0" dirty="0" err="1">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Feedwater</a:t>
            </a:r>
            <a:r>
              <a:rPr kumimoji="0" lang="de-DE" sz="2200" b="1" i="0" u="none" strike="noStrike" kern="100" cap="none" spc="0" normalizeH="0" noProof="0" dirty="0">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 Pump OL3 </a:t>
            </a:r>
            <a:r>
              <a:rPr kumimoji="0" lang="de-DE" sz="2200" b="0" i="0" u="none" strike="noStrike" kern="100" cap="none" spc="0" normalizeH="0" noProof="0" dirty="0" err="1">
                <a:ln>
                  <a:noFill/>
                </a:ln>
                <a:effectLst/>
                <a:uLnTx/>
                <a:uFillTx/>
                <a:latin typeface="Arial" panose="020B0604020202020204" pitchFamily="34" charset="0"/>
                <a:ea typeface="Calibri" panose="020F0502020204030204" pitchFamily="34" charset="0"/>
                <a:cs typeface="Arial" panose="020B0604020202020204" pitchFamily="34" charset="0"/>
              </a:rPr>
              <a:t>shows</a:t>
            </a:r>
            <a:r>
              <a:rPr kumimoji="0" lang="de-DE" sz="2200" b="1" i="0" u="none" strike="noStrike" kern="100" cap="none" spc="0" normalizeH="0" noProof="0" dirty="0">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200" b="1" i="0" u="none" strike="noStrike" kern="100" cap="none" spc="0" normalizeH="0" noProof="0" dirty="0" err="1">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that</a:t>
            </a:r>
            <a:r>
              <a:rPr kumimoji="0" lang="de-DE" sz="2200" b="1" i="0" u="none" strike="noStrike" kern="100" cap="none" spc="0" normalizeH="0" noProof="0" dirty="0">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200" b="1" i="0" u="none" strike="noStrike" kern="100" cap="none" spc="0" normalizeH="0" noProof="0" dirty="0" err="1">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the</a:t>
            </a:r>
            <a:r>
              <a:rPr kumimoji="0" lang="de-DE" sz="2200" b="1" i="0" u="none" strike="noStrike" kern="100" cap="none" spc="0" normalizeH="0" noProof="0" dirty="0">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200" b="1" i="0" u="none" strike="noStrike" kern="100" cap="none" spc="0" normalizeH="0" noProof="0" dirty="0" err="1">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Unbalance</a:t>
            </a:r>
            <a:r>
              <a:rPr kumimoji="0" lang="de-DE" sz="2200" b="1" i="0" u="none" strike="noStrike" kern="100" cap="none" spc="0" normalizeH="0" noProof="0" dirty="0">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200" b="1" i="0" u="none" strike="noStrike" kern="100" cap="none" spc="0" normalizeH="0" noProof="0" dirty="0" err="1">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vibrations</a:t>
            </a:r>
            <a:r>
              <a:rPr kumimoji="0" lang="de-DE" sz="2200" b="1" i="0" u="none" strike="noStrike" kern="100" cap="none" spc="0" normalizeH="0" noProof="0" dirty="0">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200" b="0" i="0" u="none" strike="noStrike" kern="100" cap="none" spc="0" normalizeH="0" noProof="0" dirty="0" err="1">
                <a:ln>
                  <a:noFill/>
                </a:ln>
                <a:effectLst/>
                <a:uLnTx/>
                <a:uFillTx/>
                <a:latin typeface="Arial" panose="020B0604020202020204" pitchFamily="34" charset="0"/>
                <a:ea typeface="Calibri" panose="020F0502020204030204" pitchFamily="34" charset="0"/>
                <a:cs typeface="Arial" panose="020B0604020202020204" pitchFamily="34" charset="0"/>
              </a:rPr>
              <a:t>may</a:t>
            </a:r>
            <a:r>
              <a:rPr kumimoji="0" lang="de-DE" sz="2200" b="0" i="0" u="none" strike="noStrike" kern="100" cap="none" spc="0" normalizeH="0" noProof="0" dirty="0">
                <a:ln>
                  <a:noFill/>
                </a:ln>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200" b="0" i="0" u="none" strike="noStrike" kern="100" cap="none" spc="0" normalizeH="0" noProof="0" dirty="0" err="1">
                <a:ln>
                  <a:noFill/>
                </a:ln>
                <a:effectLst/>
                <a:uLnTx/>
                <a:uFillTx/>
                <a:latin typeface="Arial" panose="020B0604020202020204" pitchFamily="34" charset="0"/>
                <a:ea typeface="Calibri" panose="020F0502020204030204" pitchFamily="34" charset="0"/>
                <a:cs typeface="Arial" panose="020B0604020202020204" pitchFamily="34" charset="0"/>
              </a:rPr>
              <a:t>become</a:t>
            </a:r>
            <a:r>
              <a:rPr kumimoji="0" lang="de-DE" sz="2200" b="0" i="0" u="none" strike="noStrike" kern="100" cap="none" spc="0" normalizeH="0" noProof="0" dirty="0">
                <a:ln>
                  <a:noFill/>
                </a:ln>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200" b="1" i="0" u="none" strike="noStrike" kern="100" cap="none" spc="0" normalizeH="0" noProof="0" dirty="0">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large </a:t>
            </a:r>
            <a:r>
              <a:rPr kumimoji="0" lang="de-DE" sz="2200" b="0" i="0" u="none" strike="noStrike" kern="100" cap="none" spc="0" normalizeH="0" noProof="0" dirty="0">
                <a:ln>
                  <a:noFill/>
                </a:ln>
                <a:effectLst/>
                <a:uLnTx/>
                <a:uFillTx/>
                <a:latin typeface="Arial" panose="020B0604020202020204" pitchFamily="34" charset="0"/>
                <a:ea typeface="Calibri" panose="020F0502020204030204" pitchFamily="34" charset="0"/>
                <a:cs typeface="Arial" panose="020B0604020202020204" pitchFamily="34" charset="0"/>
              </a:rPr>
              <a:t>and </a:t>
            </a:r>
            <a:r>
              <a:rPr kumimoji="0" lang="de-DE" sz="2200" b="0" i="0" u="none" strike="noStrike" kern="100" cap="none" spc="0" normalizeH="0" noProof="0" dirty="0" err="1">
                <a:ln>
                  <a:noFill/>
                </a:ln>
                <a:effectLst/>
                <a:uLnTx/>
                <a:uFillTx/>
                <a:latin typeface="Arial" panose="020B0604020202020204" pitchFamily="34" charset="0"/>
                <a:ea typeface="Calibri" panose="020F0502020204030204" pitchFamily="34" charset="0"/>
                <a:cs typeface="Arial" panose="020B0604020202020204" pitchFamily="34" charset="0"/>
              </a:rPr>
              <a:t>have</a:t>
            </a:r>
            <a:r>
              <a:rPr kumimoji="0" lang="de-DE" sz="2200" b="0" i="0" u="none" strike="noStrike" kern="100" cap="none" spc="0" normalizeH="0" noProof="0" dirty="0">
                <a:ln>
                  <a:noFill/>
                </a:ln>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200" b="0" i="0" u="none" strike="noStrike" kern="100" cap="none" spc="0" normalizeH="0" noProof="0" dirty="0" err="1">
                <a:ln>
                  <a:noFill/>
                </a:ln>
                <a:effectLst/>
                <a:uLnTx/>
                <a:uFillTx/>
                <a:latin typeface="Arial" panose="020B0604020202020204" pitchFamily="34" charset="0"/>
                <a:ea typeface="Calibri" panose="020F0502020204030204" pitchFamily="34" charset="0"/>
                <a:cs typeface="Arial" panose="020B0604020202020204" pitchFamily="34" charset="0"/>
              </a:rPr>
              <a:t>the</a:t>
            </a:r>
            <a:r>
              <a:rPr kumimoji="0" lang="de-DE" sz="2200" b="0" i="0" u="none" strike="noStrike" kern="100" cap="none" spc="0" normalizeH="0" noProof="0" dirty="0">
                <a:ln>
                  <a:noFill/>
                </a:ln>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200" b="1" i="0" u="none" strike="noStrike" kern="100" cap="none" spc="0" normalizeH="0" noProof="0" dirty="0">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potential </a:t>
            </a:r>
            <a:r>
              <a:rPr kumimoji="0" lang="de-DE" sz="2200" b="0" i="0" u="none" strike="noStrike" kern="100" cap="none" spc="0" normalizeH="0" noProof="0" dirty="0" err="1">
                <a:ln>
                  <a:noFill/>
                </a:ln>
                <a:effectLst/>
                <a:uLnTx/>
                <a:uFillTx/>
                <a:latin typeface="Arial" panose="020B0604020202020204" pitchFamily="34" charset="0"/>
                <a:ea typeface="Calibri" panose="020F0502020204030204" pitchFamily="34" charset="0"/>
                <a:cs typeface="Arial" panose="020B0604020202020204" pitchFamily="34" charset="0"/>
              </a:rPr>
              <a:t>to</a:t>
            </a:r>
            <a:r>
              <a:rPr kumimoji="0" lang="de-DE" sz="2200" b="0" i="0" u="none" strike="noStrike" kern="100" cap="none" spc="0" normalizeH="0" noProof="0" dirty="0">
                <a:ln>
                  <a:noFill/>
                </a:ln>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200" b="0" i="0" u="none" strike="noStrike" kern="100" cap="none" spc="0" normalizeH="0" noProof="0" dirty="0" err="1">
                <a:ln>
                  <a:noFill/>
                </a:ln>
                <a:effectLst/>
                <a:uLnTx/>
                <a:uFillTx/>
                <a:latin typeface="Arial" panose="020B0604020202020204" pitchFamily="34" charset="0"/>
                <a:ea typeface="Calibri" panose="020F0502020204030204" pitchFamily="34" charset="0"/>
                <a:cs typeface="Arial" panose="020B0604020202020204" pitchFamily="34" charset="0"/>
              </a:rPr>
              <a:t>lead</a:t>
            </a:r>
            <a:r>
              <a:rPr kumimoji="0" lang="de-DE" sz="2200" b="0" i="0" u="none" strike="noStrike" kern="100" cap="none" spc="0" normalizeH="0" noProof="0" dirty="0">
                <a:ln>
                  <a:noFill/>
                </a:ln>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200" b="1" i="0" u="none" strike="noStrike" kern="100" cap="none" spc="0" normalizeH="0" noProof="0" dirty="0" err="1">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to</a:t>
            </a:r>
            <a:r>
              <a:rPr kumimoji="0" lang="de-DE" sz="2200" b="1" i="0" u="none" strike="noStrike" kern="100" cap="none" spc="0" normalizeH="0" noProof="0" dirty="0">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200" b="1" i="0" u="none" strike="noStrike" kern="100" cap="none" spc="0" normalizeH="0" noProof="0" dirty="0" err="1">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damages</a:t>
            </a:r>
            <a:r>
              <a:rPr lang="de-DE" sz="2200" kern="100" dirty="0">
                <a:solidFill>
                  <a:srgbClr val="0000FF"/>
                </a:solidFill>
                <a:latin typeface="Arial" panose="020B0604020202020204" pitchFamily="34" charset="0"/>
                <a:ea typeface="Calibri" panose="020F0502020204030204" pitchFamily="34" charset="0"/>
                <a:cs typeface="Arial" panose="020B0604020202020204" pitchFamily="34" charset="0"/>
              </a:rPr>
              <a:t>.</a:t>
            </a:r>
            <a:endParaRPr kumimoji="0" lang="de-DE" sz="2200" b="1" i="0" u="none" strike="noStrike" kern="100" cap="none" spc="0" normalizeH="0" noProof="0" dirty="0">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endParaRPr>
          </a:p>
          <a:p>
            <a:pPr marR="0" lvl="0" algn="l" defTabSz="914400" rtl="0" eaLnBrk="1" fontAlgn="auto" latinLnBrk="0" hangingPunct="1">
              <a:lnSpc>
                <a:spcPct val="107000"/>
              </a:lnSpc>
              <a:spcBef>
                <a:spcPts val="0"/>
              </a:spcBef>
              <a:spcAft>
                <a:spcPts val="800"/>
              </a:spcAft>
              <a:buClrTx/>
              <a:buSzTx/>
              <a:tabLst/>
              <a:defRPr/>
            </a:pPr>
            <a:r>
              <a:rPr lang="de-DE" sz="2200" kern="100" dirty="0">
                <a:solidFill>
                  <a:srgbClr val="0000FF"/>
                </a:solidFill>
                <a:latin typeface="Arial" panose="020B0604020202020204" pitchFamily="34" charset="0"/>
                <a:ea typeface="Calibri" panose="020F0502020204030204" pitchFamily="34" charset="0"/>
                <a:cs typeface="Arial" panose="020B0604020202020204" pitchFamily="34" charset="0"/>
              </a:rPr>
              <a:t> </a:t>
            </a:r>
          </a:p>
          <a:p>
            <a:pPr marL="342900" marR="0" lvl="0" indent="-342900" algn="l" defTabSz="914400" rtl="0" eaLnBrk="1" fontAlgn="auto" latinLnBrk="0" hangingPunct="1">
              <a:lnSpc>
                <a:spcPct val="107000"/>
              </a:lnSpc>
              <a:spcBef>
                <a:spcPts val="0"/>
              </a:spcBef>
              <a:spcAft>
                <a:spcPts val="800"/>
              </a:spcAft>
              <a:buClrTx/>
              <a:buSzTx/>
              <a:buFont typeface="Wingdings" panose="05000000000000000000" pitchFamily="2" charset="2"/>
              <a:buChar char="§"/>
              <a:tabLst/>
              <a:defRPr/>
            </a:pPr>
            <a:endParaRPr lang="de-DE" sz="2200" kern="100" dirty="0">
              <a:solidFill>
                <a:srgbClr val="0000FF"/>
              </a:solidFill>
              <a:latin typeface="Arial" panose="020B0604020202020204" pitchFamily="34" charset="0"/>
              <a:ea typeface="Calibri" panose="020F0502020204030204" pitchFamily="34" charset="0"/>
              <a:cs typeface="Arial" panose="020B0604020202020204" pitchFamily="34" charset="0"/>
            </a:endParaRPr>
          </a:p>
          <a:p>
            <a:pPr marL="342900" marR="0" lvl="0" indent="-342900" algn="l" defTabSz="914400" rtl="0" eaLnBrk="1" fontAlgn="auto" latinLnBrk="0" hangingPunct="1">
              <a:lnSpc>
                <a:spcPct val="107000"/>
              </a:lnSpc>
              <a:spcBef>
                <a:spcPts val="0"/>
              </a:spcBef>
              <a:spcAft>
                <a:spcPts val="800"/>
              </a:spcAft>
              <a:buClrTx/>
              <a:buSzTx/>
              <a:buFont typeface="Wingdings" panose="05000000000000000000" pitchFamily="2" charset="2"/>
              <a:buChar char="§"/>
              <a:tabLst/>
              <a:defRPr/>
            </a:pPr>
            <a:endParaRPr lang="de-DE" sz="2200" kern="100" dirty="0">
              <a:solidFill>
                <a:srgbClr val="0000FF"/>
              </a:solidFill>
              <a:latin typeface="Arial" panose="020B0604020202020204" pitchFamily="34" charset="0"/>
              <a:ea typeface="Calibri" panose="020F0502020204030204" pitchFamily="34" charset="0"/>
              <a:cs typeface="Arial" panose="020B0604020202020204" pitchFamily="34" charset="0"/>
            </a:endParaRPr>
          </a:p>
          <a:p>
            <a:pPr marL="342900" marR="0" lvl="0" indent="-342900" algn="l" defTabSz="914400" rtl="0" eaLnBrk="1" fontAlgn="auto" latinLnBrk="0" hangingPunct="1">
              <a:lnSpc>
                <a:spcPct val="107000"/>
              </a:lnSpc>
              <a:spcBef>
                <a:spcPts val="0"/>
              </a:spcBef>
              <a:spcAft>
                <a:spcPts val="800"/>
              </a:spcAft>
              <a:buClrTx/>
              <a:buSzTx/>
              <a:buFont typeface="Wingdings" panose="05000000000000000000" pitchFamily="2" charset="2"/>
              <a:buChar char="§"/>
              <a:tabLst/>
              <a:defRPr/>
            </a:pPr>
            <a:endParaRPr kumimoji="0" lang="de-DE" sz="2400" b="0" i="0" u="none" strike="noStrike" kern="100" cap="none" spc="0" normalizeH="0" baseline="0" noProof="0" dirty="0">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endParaRPr kumimoji="0" lang="de-DE" sz="2400" b="1" i="0" u="none" strike="noStrike" kern="100" cap="none" spc="0" normalizeH="0" baseline="0" noProof="0" dirty="0">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endParaRPr>
          </a:p>
          <a:p>
            <a:pPr marR="0" lvl="0" algn="l" defTabSz="914400" rtl="0" eaLnBrk="1" fontAlgn="auto" latinLnBrk="0" hangingPunct="1">
              <a:lnSpc>
                <a:spcPct val="107000"/>
              </a:lnSpc>
              <a:spcBef>
                <a:spcPts val="0"/>
              </a:spcBef>
              <a:spcAft>
                <a:spcPts val="800"/>
              </a:spcAft>
              <a:buClrTx/>
              <a:buSzTx/>
              <a:tabLst/>
              <a:defRPr/>
            </a:pPr>
            <a:r>
              <a:rPr lang="de-DE" sz="2000" b="0" kern="100" dirty="0">
                <a:latin typeface="Arial" panose="020B0604020202020204" pitchFamily="34" charset="0"/>
                <a:ea typeface="Calibri" panose="020F0502020204030204" pitchFamily="34" charset="0"/>
                <a:cs typeface="Arial" panose="020B0604020202020204" pitchFamily="34" charset="0"/>
              </a:rPr>
              <a:t>.</a:t>
            </a:r>
            <a:endParaRPr kumimoji="0" lang="de-DE" sz="2000" b="0" i="0" u="none" strike="noStrike" kern="100" cap="none" spc="0" normalizeH="0" baseline="0" noProof="0" dirty="0">
              <a:ln>
                <a:noFill/>
              </a:ln>
              <a:effectLst/>
              <a:uLnTx/>
              <a:uFillTx/>
              <a:latin typeface="Arial" panose="020B0604020202020204" pitchFamily="34" charset="0"/>
              <a:ea typeface="Calibri" panose="020F0502020204030204" pitchFamily="34" charset="0"/>
              <a:cs typeface="Arial" panose="020B0604020202020204" pitchFamily="34"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endParaRPr kumimoji="0" lang="de-DE" sz="24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de-DE" sz="24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  </a:t>
            </a:r>
          </a:p>
          <a:p>
            <a:pPr marL="0" marR="0" lvl="0" indent="0" algn="l" defTabSz="914400" rtl="0" eaLnBrk="1" fontAlgn="auto" latinLnBrk="0" hangingPunct="1">
              <a:lnSpc>
                <a:spcPct val="107000"/>
              </a:lnSpc>
              <a:spcBef>
                <a:spcPts val="0"/>
              </a:spcBef>
              <a:spcAft>
                <a:spcPts val="800"/>
              </a:spcAft>
              <a:buClrTx/>
              <a:buSzTx/>
              <a:buFontTx/>
              <a:buNone/>
              <a:tabLst/>
              <a:defRPr/>
            </a:pPr>
            <a:endParaRPr kumimoji="0" lang="de-DE" sz="24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6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Times New Roman" panose="02020603050405020304" pitchFamily="18" charset="0"/>
              </a:rPr>
              <a:t> </a:t>
            </a:r>
            <a:endParaRPr kumimoji="0" lang="de-DE" sz="1100" b="0" i="0" u="none" strike="noStrike" kern="1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6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Times New Roman" panose="02020603050405020304" pitchFamily="18" charset="0"/>
              </a:rPr>
              <a:t> </a:t>
            </a:r>
            <a:endParaRPr kumimoji="0" lang="de-DE" sz="1100" b="0" i="0" u="none" strike="noStrike" kern="1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6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Times New Roman" panose="02020603050405020304" pitchFamily="18" charset="0"/>
              </a:rPr>
              <a:t> </a:t>
            </a:r>
            <a:endParaRPr kumimoji="0" lang="de-DE" sz="1100" b="0" i="0" u="none" strike="noStrike" kern="1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6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Times New Roman" panose="02020603050405020304" pitchFamily="18" charset="0"/>
              </a:rPr>
              <a:t> </a:t>
            </a:r>
            <a:endParaRPr kumimoji="0" lang="de-DE" sz="1100" b="0" i="0" u="none" strike="noStrike" kern="1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6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Times New Roman" panose="02020603050405020304" pitchFamily="18" charset="0"/>
              </a:rPr>
              <a:t> </a:t>
            </a:r>
            <a:endParaRPr kumimoji="0" lang="de-DE" sz="1100" b="0" i="0" u="none" strike="noStrike" kern="1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6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Times New Roman" panose="02020603050405020304" pitchFamily="18" charset="0"/>
              </a:rPr>
              <a:t> </a:t>
            </a:r>
            <a:endParaRPr kumimoji="0" lang="de-DE" sz="1100" b="0" i="0" u="none" strike="noStrike" kern="1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6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Times New Roman" panose="02020603050405020304" pitchFamily="18" charset="0"/>
              </a:rPr>
              <a:t> </a:t>
            </a:r>
            <a:endParaRPr kumimoji="0" lang="de-DE" sz="1100" b="0" i="0" u="none" strike="noStrike" kern="1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6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Times New Roman" panose="02020603050405020304" pitchFamily="18" charset="0"/>
              </a:rPr>
              <a:t> </a:t>
            </a:r>
            <a:endParaRPr kumimoji="0" lang="de-DE" sz="1100" b="0" i="0" u="none" strike="noStrike" kern="1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6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Times New Roman" panose="02020603050405020304" pitchFamily="18" charset="0"/>
              </a:rPr>
              <a:t> </a:t>
            </a:r>
            <a:endParaRPr kumimoji="0" lang="de-DE" sz="1100" b="0" i="0" u="none" strike="noStrike" kern="1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6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Times New Roman" panose="02020603050405020304" pitchFamily="18" charset="0"/>
              </a:rPr>
              <a:t> </a:t>
            </a:r>
            <a:endParaRPr kumimoji="0" lang="de-DE" sz="1100" b="0" i="0" u="none" strike="noStrike" kern="1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6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Times New Roman" panose="02020603050405020304" pitchFamily="18" charset="0"/>
              </a:rPr>
              <a:t> </a:t>
            </a:r>
            <a:endParaRPr kumimoji="0" lang="de-DE" sz="1100" b="0" i="0" u="none" strike="noStrike" kern="1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1589533892"/>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78" name="Text Box 4">
            <a:extLst>
              <a:ext uri="{FF2B5EF4-FFF2-40B4-BE49-F238E27FC236}">
                <a16:creationId xmlns:a16="http://schemas.microsoft.com/office/drawing/2014/main" id="{D224346C-01DF-9E9F-0B1B-41768588750B}"/>
              </a:ext>
            </a:extLst>
          </p:cNvPr>
          <p:cNvSpPr txBox="1">
            <a:spLocks noChangeArrowheads="1"/>
          </p:cNvSpPr>
          <p:nvPr/>
        </p:nvSpPr>
        <p:spPr bwMode="auto">
          <a:xfrm>
            <a:off x="2254250" y="393700"/>
            <a:ext cx="6056313"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Font typeface="Wingdings" panose="05000000000000000000" pitchFamily="2" charset="2"/>
              <a:buChar char="§"/>
              <a:defRPr sz="2000">
                <a:solidFill>
                  <a:schemeClr val="tx1"/>
                </a:solidFill>
                <a:latin typeface="Arial" panose="020B0604020202020204" pitchFamily="34" charset="0"/>
              </a:defRPr>
            </a:lvl1pPr>
            <a:lvl2pPr marL="742950" indent="-285750">
              <a:spcBef>
                <a:spcPct val="20000"/>
              </a:spcBef>
              <a:buFont typeface="Wingdings" panose="05000000000000000000" pitchFamily="2" charset="2"/>
              <a:buChar char="§"/>
              <a:defRPr>
                <a:solidFill>
                  <a:schemeClr val="tx1"/>
                </a:solidFill>
                <a:latin typeface="Arial" panose="020B0604020202020204" pitchFamily="34" charset="0"/>
              </a:defRPr>
            </a:lvl2pPr>
            <a:lvl3pPr marL="1143000" indent="-228600">
              <a:spcBef>
                <a:spcPct val="20000"/>
              </a:spcBef>
              <a:buFont typeface="Wingdings" panose="05000000000000000000" pitchFamily="2" charset="2"/>
              <a:buChar char="§"/>
              <a:defRPr>
                <a:solidFill>
                  <a:schemeClr val="tx1"/>
                </a:solidFill>
                <a:latin typeface="Arial" panose="020B0604020202020204" pitchFamily="34" charset="0"/>
              </a:defRPr>
            </a:lvl3pPr>
            <a:lvl4pPr marL="1600200" indent="-228600">
              <a:spcBef>
                <a:spcPct val="20000"/>
              </a:spcBef>
              <a:buFont typeface="Wingdings" panose="05000000000000000000" pitchFamily="2" charset="2"/>
              <a:buChar char="§"/>
              <a:defRPr sz="1600">
                <a:solidFill>
                  <a:schemeClr val="tx1"/>
                </a:solidFill>
                <a:latin typeface="Arial" panose="020B0604020202020204" pitchFamily="34" charset="0"/>
              </a:defRPr>
            </a:lvl4pPr>
            <a:lvl5pPr marL="2057400" indent="-228600">
              <a:spcBef>
                <a:spcPct val="20000"/>
              </a:spcBef>
              <a:buFont typeface="Wingdings" panose="05000000000000000000" pitchFamily="2" charset="2"/>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16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de-DE" altLang="de-DE" sz="1800" b="1" i="0" u="none" strike="noStrike" kern="1200" cap="none" spc="0" normalizeH="0" baseline="0" noProof="0">
                <a:ln>
                  <a:noFill/>
                </a:ln>
                <a:solidFill>
                  <a:srgbClr val="003366"/>
                </a:solidFill>
                <a:effectLst/>
                <a:uLnTx/>
                <a:uFillTx/>
                <a:latin typeface="Verdana" panose="020B0604030504040204" pitchFamily="34" charset="0"/>
                <a:ea typeface="+mn-ea"/>
                <a:cs typeface="+mn-cs"/>
              </a:rPr>
              <a:t>Vorlesungen Mechatronik im Wintersemester</a:t>
            </a:r>
          </a:p>
        </p:txBody>
      </p:sp>
      <p:sp>
        <p:nvSpPr>
          <p:cNvPr id="75779" name="Titel 3">
            <a:extLst>
              <a:ext uri="{FF2B5EF4-FFF2-40B4-BE49-F238E27FC236}">
                <a16:creationId xmlns:a16="http://schemas.microsoft.com/office/drawing/2014/main" id="{6B7CB3D1-8792-524C-FF6F-C01F2E84B38A}"/>
              </a:ext>
            </a:extLst>
          </p:cNvPr>
          <p:cNvSpPr>
            <a:spLocks noGrp="1" noChangeArrowheads="1"/>
          </p:cNvSpPr>
          <p:nvPr>
            <p:ph type="ctrTitle"/>
          </p:nvPr>
        </p:nvSpPr>
        <p:spPr>
          <a:xfrm>
            <a:off x="722313" y="763588"/>
            <a:ext cx="9586912" cy="577850"/>
          </a:xfrm>
        </p:spPr>
        <p:txBody>
          <a:bodyPr/>
          <a:lstStyle/>
          <a:p>
            <a:r>
              <a:rPr lang="de-DE" altLang="de-DE" dirty="0" err="1"/>
              <a:t>Energiforsk</a:t>
            </a:r>
            <a:r>
              <a:rPr lang="de-DE" altLang="de-DE" dirty="0"/>
              <a:t> Project: Lectures in </a:t>
            </a:r>
            <a:r>
              <a:rPr lang="de-DE" altLang="de-DE" dirty="0" err="1"/>
              <a:t>the</a:t>
            </a:r>
            <a:r>
              <a:rPr lang="de-DE" altLang="de-DE" dirty="0"/>
              <a:t> Power Plants</a:t>
            </a:r>
            <a:br>
              <a:rPr lang="de-DE" altLang="de-DE" dirty="0"/>
            </a:br>
            <a:r>
              <a:rPr lang="de-DE" altLang="de-DE" dirty="0" err="1"/>
              <a:t>Fortum</a:t>
            </a:r>
            <a:r>
              <a:rPr lang="de-DE" altLang="de-DE" dirty="0"/>
              <a:t> (Helsinki), TVO (</a:t>
            </a:r>
            <a:r>
              <a:rPr lang="de-DE" altLang="de-DE" dirty="0" err="1"/>
              <a:t>Olkiluoto</a:t>
            </a:r>
            <a:r>
              <a:rPr lang="de-DE" altLang="de-DE" dirty="0"/>
              <a:t>), Jan./Febr. 2024</a:t>
            </a:r>
            <a:br>
              <a:rPr lang="de-DE" altLang="de-DE" dirty="0"/>
            </a:br>
            <a:br>
              <a:rPr lang="de-DE" altLang="de-DE" dirty="0"/>
            </a:br>
            <a:br>
              <a:rPr lang="de-DE" altLang="de-DE" dirty="0"/>
            </a:br>
            <a:r>
              <a:rPr lang="de-DE" altLang="de-DE" dirty="0"/>
              <a:t> </a:t>
            </a:r>
            <a:br>
              <a:rPr lang="de-DE" altLang="de-DE" dirty="0"/>
            </a:br>
            <a:r>
              <a:rPr lang="de-DE" altLang="de-DE" dirty="0"/>
              <a:t>                    </a:t>
            </a:r>
            <a:br>
              <a:rPr lang="de-DE" altLang="de-DE" dirty="0"/>
            </a:br>
            <a:r>
              <a:rPr lang="de-DE" altLang="de-DE" dirty="0"/>
              <a:t>                  </a:t>
            </a:r>
            <a:br>
              <a:rPr lang="de-DE" altLang="de-DE" dirty="0"/>
            </a:br>
            <a:r>
              <a:rPr lang="de-DE" altLang="de-DE" b="0" dirty="0"/>
              <a:t>Annual </a:t>
            </a:r>
            <a:r>
              <a:rPr lang="de-DE" altLang="de-DE" b="0" dirty="0" err="1"/>
              <a:t>Energiforsk</a:t>
            </a:r>
            <a:r>
              <a:rPr lang="de-DE" altLang="de-DE" b="0" dirty="0"/>
              <a:t> Seminar (10.11.21)</a:t>
            </a:r>
          </a:p>
        </p:txBody>
      </p:sp>
      <p:sp>
        <p:nvSpPr>
          <p:cNvPr id="7172" name="Textfeld 6">
            <a:extLst>
              <a:ext uri="{FF2B5EF4-FFF2-40B4-BE49-F238E27FC236}">
                <a16:creationId xmlns:a16="http://schemas.microsoft.com/office/drawing/2014/main" id="{F2DDC62D-9223-B99F-6D7C-C952A71135DF}"/>
              </a:ext>
            </a:extLst>
          </p:cNvPr>
          <p:cNvSpPr txBox="1">
            <a:spLocks noChangeArrowheads="1"/>
          </p:cNvSpPr>
          <p:nvPr/>
        </p:nvSpPr>
        <p:spPr bwMode="auto">
          <a:xfrm>
            <a:off x="722313" y="2928938"/>
            <a:ext cx="11155362" cy="2608262"/>
          </a:xfrm>
          <a:prstGeom prst="rect">
            <a:avLst/>
          </a:prstGeom>
          <a:noFill/>
          <a:ln>
            <a:noFill/>
          </a:ln>
        </p:spPr>
        <p:txBody>
          <a:bodyPr>
            <a:spAutoFit/>
          </a:bodyPr>
          <a:lstStyle>
            <a:lvl1pPr>
              <a:spcBef>
                <a:spcPct val="20000"/>
              </a:spcBef>
              <a:buFont typeface="Wingdings" panose="05000000000000000000" pitchFamily="2" charset="2"/>
              <a:buChar char="§"/>
              <a:defRPr sz="2000">
                <a:solidFill>
                  <a:schemeClr val="tx1"/>
                </a:solidFill>
                <a:latin typeface="Arial" panose="020B0604020202020204" pitchFamily="34" charset="0"/>
              </a:defRPr>
            </a:lvl1pPr>
            <a:lvl2pPr marL="742950" indent="-285750">
              <a:spcBef>
                <a:spcPct val="20000"/>
              </a:spcBef>
              <a:buFont typeface="Wingdings" panose="05000000000000000000" pitchFamily="2" charset="2"/>
              <a:buChar char="§"/>
              <a:defRPr>
                <a:solidFill>
                  <a:schemeClr val="tx1"/>
                </a:solidFill>
                <a:latin typeface="Arial" panose="020B0604020202020204" pitchFamily="34" charset="0"/>
              </a:defRPr>
            </a:lvl2pPr>
            <a:lvl3pPr marL="1143000" indent="-228600">
              <a:spcBef>
                <a:spcPct val="20000"/>
              </a:spcBef>
              <a:buFont typeface="Wingdings" panose="05000000000000000000" pitchFamily="2" charset="2"/>
              <a:buChar char="§"/>
              <a:defRPr>
                <a:solidFill>
                  <a:schemeClr val="tx1"/>
                </a:solidFill>
                <a:latin typeface="Arial" panose="020B0604020202020204" pitchFamily="34" charset="0"/>
              </a:defRPr>
            </a:lvl3pPr>
            <a:lvl4pPr marL="1600200" indent="-228600">
              <a:spcBef>
                <a:spcPct val="20000"/>
              </a:spcBef>
              <a:buFont typeface="Wingdings" panose="05000000000000000000" pitchFamily="2" charset="2"/>
              <a:buChar char="§"/>
              <a:defRPr sz="1600">
                <a:solidFill>
                  <a:schemeClr val="tx1"/>
                </a:solidFill>
                <a:latin typeface="Arial" panose="020B0604020202020204" pitchFamily="34" charset="0"/>
              </a:defRPr>
            </a:lvl4pPr>
            <a:lvl5pPr marL="2057400" indent="-228600">
              <a:spcBef>
                <a:spcPct val="20000"/>
              </a:spcBef>
              <a:buFont typeface="Wingdings" panose="05000000000000000000" pitchFamily="2" charset="2"/>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1600">
                <a:solidFill>
                  <a:schemeClr val="tx1"/>
                </a:solidFill>
                <a:latin typeface="Arial" panose="020B0604020202020204" pitchFamily="34" charset="0"/>
              </a:defRPr>
            </a:lvl9pPr>
          </a:lstStyle>
          <a:p>
            <a:pPr marL="0" marR="0" lvl="0" indent="0" algn="l" defTabSz="914400" rtl="0" eaLnBrk="0" fontAlgn="base" latinLnBrk="0" hangingPunct="0">
              <a:lnSpc>
                <a:spcPct val="107000"/>
              </a:lnSpc>
              <a:spcBef>
                <a:spcPct val="20000"/>
              </a:spcBef>
              <a:spcAft>
                <a:spcPts val="800"/>
              </a:spcAft>
              <a:buClrTx/>
              <a:buSzTx/>
              <a:buFont typeface="Wingdings" panose="05000000000000000000" pitchFamily="2" charset="2"/>
              <a:buNone/>
              <a:tabLst/>
              <a:defRPr/>
            </a:pPr>
            <a:r>
              <a:rPr kumimoji="0" lang="de-DE" altLang="de-DE" sz="2400" b="1" i="0" u="none" strike="noStrike" kern="1200" cap="none" spc="0" normalizeH="0" baseline="0" noProof="0" dirty="0" err="1">
                <a:ln>
                  <a:noFill/>
                </a:ln>
                <a:solidFill>
                  <a:srgbClr val="000000"/>
                </a:solidFill>
                <a:effectLst/>
                <a:uLnTx/>
                <a:uFillTx/>
                <a:latin typeface="Arial"/>
                <a:ea typeface="+mn-ea"/>
                <a:cs typeface="+mn-cs"/>
              </a:rPr>
              <a:t>Vibrations</a:t>
            </a:r>
            <a:r>
              <a:rPr kumimoji="0" lang="de-DE" altLang="de-DE" sz="2400" b="1" i="0" u="none" strike="noStrike" kern="1200" cap="none" spc="0" normalizeH="0" baseline="0" noProof="0" dirty="0">
                <a:ln>
                  <a:noFill/>
                </a:ln>
                <a:solidFill>
                  <a:srgbClr val="000000"/>
                </a:solidFill>
                <a:effectLst/>
                <a:uLnTx/>
                <a:uFillTx/>
                <a:latin typeface="Arial"/>
                <a:ea typeface="+mn-ea"/>
                <a:cs typeface="+mn-cs"/>
              </a:rPr>
              <a:t> </a:t>
            </a:r>
            <a:r>
              <a:rPr kumimoji="0" lang="de-DE" altLang="de-DE" sz="2400" b="1" i="0" u="none" strike="noStrike" kern="1200" cap="none" spc="0" normalizeH="0" baseline="0" noProof="0" dirty="0" err="1">
                <a:ln>
                  <a:noFill/>
                </a:ln>
                <a:solidFill>
                  <a:srgbClr val="000000"/>
                </a:solidFill>
                <a:effectLst/>
                <a:uLnTx/>
                <a:uFillTx/>
                <a:latin typeface="Arial"/>
                <a:ea typeface="+mn-ea"/>
                <a:cs typeface="+mn-cs"/>
              </a:rPr>
              <a:t>of</a:t>
            </a:r>
            <a:r>
              <a:rPr kumimoji="0" lang="de-DE" altLang="de-DE" sz="2400" b="1" i="0" u="none" strike="noStrike" kern="1200" cap="none" spc="0" normalizeH="0" baseline="0" noProof="0" dirty="0">
                <a:ln>
                  <a:noFill/>
                </a:ln>
                <a:solidFill>
                  <a:srgbClr val="000000"/>
                </a:solidFill>
                <a:effectLst/>
                <a:uLnTx/>
                <a:uFillTx/>
                <a:latin typeface="Arial"/>
                <a:ea typeface="+mn-ea"/>
                <a:cs typeface="+mn-cs"/>
              </a:rPr>
              <a:t> Pumps in </a:t>
            </a:r>
            <a:r>
              <a:rPr kumimoji="0" lang="de-DE" altLang="de-DE" sz="2400" b="1" i="0" u="none" strike="noStrike" kern="1200" cap="none" spc="0" normalizeH="0" baseline="0" noProof="0" dirty="0" err="1">
                <a:ln>
                  <a:noFill/>
                </a:ln>
                <a:solidFill>
                  <a:srgbClr val="000000"/>
                </a:solidFill>
                <a:effectLst/>
                <a:uLnTx/>
                <a:uFillTx/>
                <a:latin typeface="Arial"/>
                <a:ea typeface="+mn-ea"/>
                <a:cs typeface="+mn-cs"/>
              </a:rPr>
              <a:t>Nuclear</a:t>
            </a:r>
            <a:r>
              <a:rPr kumimoji="0" lang="de-DE" altLang="de-DE" sz="2400" b="1" i="0" u="none" strike="noStrike" kern="1200" cap="none" spc="0" normalizeH="0" baseline="0" noProof="0" dirty="0">
                <a:ln>
                  <a:noFill/>
                </a:ln>
                <a:solidFill>
                  <a:srgbClr val="000000"/>
                </a:solidFill>
                <a:effectLst/>
                <a:uLnTx/>
                <a:uFillTx/>
                <a:latin typeface="Arial"/>
                <a:ea typeface="+mn-ea"/>
                <a:cs typeface="+mn-cs"/>
              </a:rPr>
              <a:t> Power Plants</a:t>
            </a:r>
          </a:p>
          <a:p>
            <a:pPr marL="0" marR="0" lvl="0" indent="0" algn="l" defTabSz="914400" rtl="0" eaLnBrk="0" fontAlgn="base" latinLnBrk="0" hangingPunct="0">
              <a:lnSpc>
                <a:spcPct val="107000"/>
              </a:lnSpc>
              <a:spcBef>
                <a:spcPct val="20000"/>
              </a:spcBef>
              <a:spcAft>
                <a:spcPts val="800"/>
              </a:spcAft>
              <a:buClrTx/>
              <a:buSzTx/>
              <a:buFont typeface="Wingdings" panose="05000000000000000000" pitchFamily="2" charset="2"/>
              <a:buNone/>
              <a:tabLst/>
              <a:defRPr/>
            </a:pPr>
            <a:r>
              <a:rPr kumimoji="0" lang="de-DE" altLang="de-DE" sz="2400" b="1" i="0" u="none" strike="noStrike" kern="1200" cap="none" spc="0" normalizeH="0" baseline="0" noProof="0" dirty="0" err="1">
                <a:ln>
                  <a:noFill/>
                </a:ln>
                <a:solidFill>
                  <a:srgbClr val="000000"/>
                </a:solidFill>
                <a:effectLst/>
                <a:uLnTx/>
                <a:uFillTx/>
                <a:latin typeface="Arial"/>
                <a:ea typeface="Calibri" panose="020F0502020204030204" pitchFamily="34" charset="0"/>
                <a:cs typeface="Times New Roman" panose="02020603050405020304" pitchFamily="18" charset="0"/>
              </a:rPr>
              <a:t>Lecture</a:t>
            </a:r>
            <a:r>
              <a:rPr kumimoji="0" lang="de-DE" altLang="de-DE" sz="2400" b="1" i="0" u="none" strike="noStrike" kern="1200" cap="none" spc="0" normalizeH="0" baseline="0" noProof="0" dirty="0">
                <a:ln>
                  <a:noFill/>
                </a:ln>
                <a:solidFill>
                  <a:srgbClr val="000000"/>
                </a:solidFill>
                <a:effectLst/>
                <a:uLnTx/>
                <a:uFillTx/>
                <a:latin typeface="Arial"/>
                <a:ea typeface="Calibri" panose="020F0502020204030204" pitchFamily="34" charset="0"/>
                <a:cs typeface="Times New Roman" panose="02020603050405020304" pitchFamily="18" charset="0"/>
              </a:rPr>
              <a:t> </a:t>
            </a:r>
            <a:r>
              <a:rPr lang="de-DE" altLang="de-DE" sz="2400" dirty="0">
                <a:solidFill>
                  <a:srgbClr val="000000"/>
                </a:solidFill>
                <a:latin typeface="Arial"/>
                <a:ea typeface="Calibri" panose="020F0502020204030204" pitchFamily="34" charset="0"/>
                <a:cs typeface="Times New Roman" panose="02020603050405020304" pitchFamily="18" charset="0"/>
              </a:rPr>
              <a:t>IV</a:t>
            </a:r>
            <a:r>
              <a:rPr kumimoji="0" lang="de-DE" altLang="de-DE" sz="2400" b="1" i="0" u="none" strike="noStrike" kern="1200" cap="none" spc="0" normalizeH="0" baseline="0" noProof="0" dirty="0">
                <a:ln>
                  <a:noFill/>
                </a:ln>
                <a:solidFill>
                  <a:srgbClr val="000000"/>
                </a:solidFill>
                <a:effectLst/>
                <a:uLnTx/>
                <a:uFillTx/>
                <a:latin typeface="Arial"/>
                <a:ea typeface="Calibri" panose="020F0502020204030204" pitchFamily="34" charset="0"/>
                <a:cs typeface="Times New Roman" panose="02020603050405020304" pitchFamily="18" charset="0"/>
              </a:rPr>
              <a:t>  </a:t>
            </a:r>
            <a:r>
              <a:rPr kumimoji="0" lang="de-DE" altLang="de-DE" sz="2400" b="1" i="0" u="none" strike="noStrike" kern="1200" cap="none" spc="0" normalizeH="0" baseline="0" noProof="0" dirty="0" err="1">
                <a:ln>
                  <a:noFill/>
                </a:ln>
                <a:solidFill>
                  <a:srgbClr val="0000FF"/>
                </a:solidFill>
                <a:effectLst/>
                <a:uLnTx/>
                <a:uFillTx/>
                <a:latin typeface="Arial"/>
                <a:ea typeface="Calibri" panose="020F0502020204030204" pitchFamily="34" charset="0"/>
                <a:cs typeface="Times New Roman" panose="02020603050405020304" pitchFamily="18" charset="0"/>
              </a:rPr>
              <a:t>Vibrations</a:t>
            </a:r>
            <a:r>
              <a:rPr kumimoji="0" lang="de-DE" altLang="de-DE" sz="2400" b="1" i="0" u="none" strike="noStrike" kern="1200" cap="none" spc="0" normalizeH="0" baseline="0" noProof="0" dirty="0">
                <a:ln>
                  <a:noFill/>
                </a:ln>
                <a:solidFill>
                  <a:srgbClr val="0000FF"/>
                </a:solidFill>
                <a:effectLst/>
                <a:uLnTx/>
                <a:uFillTx/>
                <a:latin typeface="Arial"/>
                <a:ea typeface="Calibri" panose="020F0502020204030204" pitchFamily="34" charset="0"/>
                <a:cs typeface="Times New Roman" panose="02020603050405020304" pitchFamily="18" charset="0"/>
              </a:rPr>
              <a:t> </a:t>
            </a:r>
            <a:r>
              <a:rPr kumimoji="0" lang="de-DE" altLang="de-DE" sz="2400" b="1" i="0" u="none" strike="noStrike" kern="1200" cap="none" spc="0" normalizeH="0" baseline="0" noProof="0" dirty="0" err="1">
                <a:ln>
                  <a:noFill/>
                </a:ln>
                <a:solidFill>
                  <a:srgbClr val="0000FF"/>
                </a:solidFill>
                <a:effectLst/>
                <a:uLnTx/>
                <a:uFillTx/>
                <a:latin typeface="Arial"/>
                <a:ea typeface="Calibri" panose="020F0502020204030204" pitchFamily="34" charset="0"/>
                <a:cs typeface="Times New Roman" panose="02020603050405020304" pitchFamily="18" charset="0"/>
              </a:rPr>
              <a:t>of</a:t>
            </a:r>
            <a:r>
              <a:rPr kumimoji="0" lang="de-DE" altLang="de-DE" sz="2400" b="1" i="0" u="none" strike="noStrike" kern="1200" cap="none" spc="0" normalizeH="0" baseline="0" noProof="0" dirty="0">
                <a:ln>
                  <a:noFill/>
                </a:ln>
                <a:solidFill>
                  <a:srgbClr val="0000FF"/>
                </a:solidFill>
                <a:effectLst/>
                <a:uLnTx/>
                <a:uFillTx/>
                <a:latin typeface="Arial"/>
                <a:ea typeface="Calibri" panose="020F0502020204030204" pitchFamily="34" charset="0"/>
                <a:cs typeface="Times New Roman" panose="02020603050405020304" pitchFamily="18" charset="0"/>
              </a:rPr>
              <a:t> </a:t>
            </a:r>
            <a:r>
              <a:rPr kumimoji="0" lang="de-DE" altLang="de-DE" sz="2400" b="1" i="0" u="none" strike="noStrike" kern="1200" cap="none" spc="0" normalizeH="0" baseline="0" noProof="0" dirty="0" err="1">
                <a:ln>
                  <a:noFill/>
                </a:ln>
                <a:solidFill>
                  <a:srgbClr val="0000FF"/>
                </a:solidFill>
                <a:effectLst/>
                <a:uLnTx/>
                <a:uFillTx/>
                <a:latin typeface="Arial"/>
                <a:ea typeface="Calibri" panose="020F0502020204030204" pitchFamily="34" charset="0"/>
                <a:cs typeface="Times New Roman" panose="02020603050405020304" pitchFamily="18" charset="0"/>
              </a:rPr>
              <a:t>Feedwater</a:t>
            </a:r>
            <a:r>
              <a:rPr kumimoji="0" lang="de-DE" altLang="de-DE" sz="2400" b="1" i="0" u="none" strike="noStrike" kern="1200" cap="none" spc="0" normalizeH="0" baseline="0" noProof="0" dirty="0">
                <a:ln>
                  <a:noFill/>
                </a:ln>
                <a:solidFill>
                  <a:srgbClr val="0000FF"/>
                </a:solidFill>
                <a:effectLst/>
                <a:uLnTx/>
                <a:uFillTx/>
                <a:latin typeface="Arial"/>
                <a:ea typeface="Calibri" panose="020F0502020204030204" pitchFamily="34" charset="0"/>
                <a:cs typeface="Times New Roman" panose="02020603050405020304" pitchFamily="18" charset="0"/>
              </a:rPr>
              <a:t> Pumps in </a:t>
            </a:r>
            <a:r>
              <a:rPr kumimoji="0" lang="de-DE" altLang="de-DE" sz="2400" b="1" i="0" u="none" strike="noStrike" kern="1200" cap="none" spc="0" normalizeH="0" baseline="0" noProof="0" dirty="0" err="1">
                <a:ln>
                  <a:noFill/>
                </a:ln>
                <a:solidFill>
                  <a:srgbClr val="0000FF"/>
                </a:solidFill>
                <a:effectLst/>
                <a:uLnTx/>
                <a:uFillTx/>
                <a:latin typeface="Arial"/>
                <a:ea typeface="Calibri" panose="020F0502020204030204" pitchFamily="34" charset="0"/>
                <a:cs typeface="Times New Roman" panose="02020603050405020304" pitchFamily="18" charset="0"/>
              </a:rPr>
              <a:t>Nuclear</a:t>
            </a:r>
            <a:r>
              <a:rPr kumimoji="0" lang="de-DE" altLang="de-DE" sz="2400" b="1" i="0" u="none" strike="noStrike" kern="1200" cap="none" spc="0" normalizeH="0" baseline="0" noProof="0" dirty="0">
                <a:ln>
                  <a:noFill/>
                </a:ln>
                <a:solidFill>
                  <a:srgbClr val="0000FF"/>
                </a:solidFill>
                <a:effectLst/>
                <a:uLnTx/>
                <a:uFillTx/>
                <a:latin typeface="Arial"/>
                <a:ea typeface="Calibri" panose="020F0502020204030204" pitchFamily="34" charset="0"/>
                <a:cs typeface="Times New Roman" panose="02020603050405020304" pitchFamily="18" charset="0"/>
              </a:rPr>
              <a:t> Power Plants</a:t>
            </a: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de-DE" altLang="de-DE" sz="2400" b="1" i="0" u="none" strike="noStrike" kern="1200" cap="none" spc="0" normalizeH="0" baseline="0" noProof="0" dirty="0">
              <a:ln>
                <a:noFill/>
              </a:ln>
              <a:solidFill>
                <a:srgbClr val="000000"/>
              </a:solidFill>
              <a:effectLst/>
              <a:uLnTx/>
              <a:uFillTx/>
              <a:latin typeface="Verdana" panose="020B0604030504040204" pitchFamily="34" charset="0"/>
              <a:ea typeface="+mn-ea"/>
              <a:cs typeface="+mn-cs"/>
            </a:endParaRP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de-DE" altLang="de-DE" sz="2400" b="1" i="0" u="none" strike="noStrike" kern="1200" cap="none" spc="0" normalizeH="0" baseline="0" noProof="0" dirty="0">
              <a:ln>
                <a:noFill/>
              </a:ln>
              <a:solidFill>
                <a:srgbClr val="000000"/>
              </a:solidFill>
              <a:effectLst/>
              <a:uLnTx/>
              <a:uFillTx/>
              <a:latin typeface="Verdana" panose="020B0604030504040204" pitchFamily="34" charset="0"/>
              <a:ea typeface="+mn-ea"/>
              <a:cs typeface="+mn-cs"/>
            </a:endParaRPr>
          </a:p>
          <a:p>
            <a:pPr marL="0" marR="0" lvl="0" indent="0" algn="l" defTabSz="914400" rtl="0" eaLnBrk="1" fontAlgn="base" latinLnBrk="0" hangingPunct="1">
              <a:lnSpc>
                <a:spcPct val="100000"/>
              </a:lnSpc>
              <a:spcBef>
                <a:spcPts val="600"/>
              </a:spcBef>
              <a:spcAft>
                <a:spcPct val="0"/>
              </a:spcAft>
              <a:buClrTx/>
              <a:buSzTx/>
              <a:buFont typeface="Wingdings" panose="05000000000000000000" pitchFamily="2" charset="2"/>
              <a:buNone/>
              <a:tabLst/>
              <a:defRPr/>
            </a:pPr>
            <a:r>
              <a:rPr kumimoji="0" lang="de-DE" altLang="de-DE" sz="1800" b="1" i="0" u="none" strike="noStrike" kern="1200" cap="none" spc="0" normalizeH="0" baseline="0" noProof="0" dirty="0">
                <a:ln>
                  <a:noFill/>
                </a:ln>
                <a:solidFill>
                  <a:srgbClr val="000000"/>
                </a:solidFill>
                <a:effectLst/>
                <a:uLnTx/>
                <a:uFillTx/>
                <a:latin typeface="Verdana" panose="020B0604030504040204" pitchFamily="34" charset="0"/>
                <a:ea typeface="+mn-ea"/>
                <a:cs typeface="+mn-cs"/>
              </a:rPr>
              <a:t>Rainer Nordmann</a:t>
            </a:r>
          </a:p>
          <a:p>
            <a:pPr marL="0" marR="0" lvl="0" indent="0" algn="l" defTabSz="914400" rtl="0" eaLnBrk="1" fontAlgn="base" latinLnBrk="0" hangingPunct="1">
              <a:lnSpc>
                <a:spcPct val="100000"/>
              </a:lnSpc>
              <a:spcBef>
                <a:spcPts val="600"/>
              </a:spcBef>
              <a:spcAft>
                <a:spcPct val="0"/>
              </a:spcAft>
              <a:buClrTx/>
              <a:buSzTx/>
              <a:buFont typeface="Wingdings" panose="05000000000000000000" pitchFamily="2" charset="2"/>
              <a:buNone/>
              <a:tabLst/>
              <a:defRPr/>
            </a:pPr>
            <a:r>
              <a:rPr kumimoji="0" lang="de-DE" altLang="de-DE" sz="1800" b="1" i="0" u="none" strike="noStrike" kern="1200" cap="none" spc="0" normalizeH="0" baseline="0" noProof="0" dirty="0">
                <a:ln>
                  <a:noFill/>
                </a:ln>
                <a:solidFill>
                  <a:srgbClr val="000000"/>
                </a:solidFill>
                <a:effectLst/>
                <a:uLnTx/>
                <a:uFillTx/>
                <a:latin typeface="Verdana" panose="020B0604030504040204" pitchFamily="34" charset="0"/>
                <a:ea typeface="+mn-ea"/>
                <a:cs typeface="+mn-cs"/>
              </a:rPr>
              <a:t>Technische Universität Darmstadt</a:t>
            </a:r>
          </a:p>
        </p:txBody>
      </p:sp>
    </p:spTree>
    <p:extLst>
      <p:ext uri="{BB962C8B-B14F-4D97-AF65-F5344CB8AC3E}">
        <p14:creationId xmlns:p14="http://schemas.microsoft.com/office/powerpoint/2010/main" val="232336782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Grafik 1">
            <a:extLst>
              <a:ext uri="{FF2B5EF4-FFF2-40B4-BE49-F238E27FC236}">
                <a16:creationId xmlns:a16="http://schemas.microsoft.com/office/drawing/2014/main" id="{C42DEC32-0076-728B-D2B5-B0C124352E50}"/>
              </a:ext>
            </a:extLst>
          </p:cNvPr>
          <p:cNvPicPr>
            <a:picLocks noChangeAspect="1"/>
          </p:cNvPicPr>
          <p:nvPr/>
        </p:nvPicPr>
        <p:blipFill>
          <a:blip r:embed="rId3"/>
          <a:stretch>
            <a:fillRect/>
          </a:stretch>
        </p:blipFill>
        <p:spPr>
          <a:xfrm>
            <a:off x="2002971" y="1380585"/>
            <a:ext cx="7717971" cy="4584786"/>
          </a:xfrm>
          <a:prstGeom prst="rect">
            <a:avLst/>
          </a:prstGeom>
        </p:spPr>
      </p:pic>
      <p:sp>
        <p:nvSpPr>
          <p:cNvPr id="4" name="Textfeld 3">
            <a:extLst>
              <a:ext uri="{FF2B5EF4-FFF2-40B4-BE49-F238E27FC236}">
                <a16:creationId xmlns:a16="http://schemas.microsoft.com/office/drawing/2014/main" id="{4CF4917E-06C2-D4F1-E780-3451B1B72322}"/>
              </a:ext>
            </a:extLst>
          </p:cNvPr>
          <p:cNvSpPr txBox="1"/>
          <p:nvPr/>
        </p:nvSpPr>
        <p:spPr>
          <a:xfrm>
            <a:off x="504598" y="110457"/>
            <a:ext cx="8622873" cy="830997"/>
          </a:xfrm>
          <a:prstGeom prst="rect">
            <a:avLst/>
          </a:prstGeom>
          <a:noFill/>
        </p:spPr>
        <p:txBody>
          <a:bodyPr wrap="none" rtlCol="0">
            <a:spAutoFit/>
          </a:bodyPr>
          <a:lstStyle/>
          <a:p>
            <a:r>
              <a:rPr lang="de-DE" sz="2400" dirty="0">
                <a:solidFill>
                  <a:srgbClr val="0000FF"/>
                </a:solidFill>
                <a:latin typeface="+mn-lt"/>
              </a:rPr>
              <a:t>A </a:t>
            </a:r>
            <a:r>
              <a:rPr lang="de-DE" sz="2400" dirty="0" err="1">
                <a:solidFill>
                  <a:srgbClr val="0000FF"/>
                </a:solidFill>
                <a:latin typeface="+mn-lt"/>
              </a:rPr>
              <a:t>typical</a:t>
            </a:r>
            <a:r>
              <a:rPr lang="de-DE" sz="2400" dirty="0">
                <a:solidFill>
                  <a:srgbClr val="0000FF"/>
                </a:solidFill>
                <a:latin typeface="+mn-lt"/>
              </a:rPr>
              <a:t> Horizontal </a:t>
            </a:r>
            <a:r>
              <a:rPr lang="de-DE" sz="2400" dirty="0" err="1">
                <a:solidFill>
                  <a:srgbClr val="0000FF"/>
                </a:solidFill>
                <a:latin typeface="+mn-lt"/>
              </a:rPr>
              <a:t>Feedwater</a:t>
            </a:r>
            <a:r>
              <a:rPr lang="de-DE" sz="2400" dirty="0">
                <a:solidFill>
                  <a:srgbClr val="0000FF"/>
                </a:solidFill>
                <a:latin typeface="+mn-lt"/>
              </a:rPr>
              <a:t> Pump</a:t>
            </a:r>
          </a:p>
          <a:p>
            <a:r>
              <a:rPr lang="de-DE" sz="2400" b="0" dirty="0">
                <a:latin typeface="+mn-lt"/>
              </a:rPr>
              <a:t>Cross </a:t>
            </a:r>
            <a:r>
              <a:rPr lang="de-DE" sz="2400" b="0" dirty="0" err="1">
                <a:latin typeface="+mn-lt"/>
              </a:rPr>
              <a:t>Section</a:t>
            </a:r>
            <a:r>
              <a:rPr lang="de-DE" sz="2400" b="0" dirty="0">
                <a:latin typeface="+mn-lt"/>
              </a:rPr>
              <a:t> </a:t>
            </a:r>
            <a:r>
              <a:rPr lang="de-DE" sz="2400" b="0" dirty="0" err="1">
                <a:latin typeface="+mn-lt"/>
              </a:rPr>
              <a:t>with</a:t>
            </a:r>
            <a:r>
              <a:rPr lang="de-DE" sz="2400" b="0" dirty="0">
                <a:latin typeface="+mn-lt"/>
              </a:rPr>
              <a:t> Main Components </a:t>
            </a:r>
            <a:r>
              <a:rPr lang="de-DE" sz="2400" b="0" dirty="0" err="1">
                <a:latin typeface="+mn-lt"/>
              </a:rPr>
              <a:t>of</a:t>
            </a:r>
            <a:r>
              <a:rPr lang="de-DE" sz="2400" b="0" dirty="0">
                <a:latin typeface="+mn-lt"/>
              </a:rPr>
              <a:t> </a:t>
            </a:r>
            <a:r>
              <a:rPr lang="de-DE" sz="2400" b="0" dirty="0" err="1">
                <a:latin typeface="+mn-lt"/>
              </a:rPr>
              <a:t>the</a:t>
            </a:r>
            <a:r>
              <a:rPr lang="de-DE" sz="2400" b="0" dirty="0">
                <a:latin typeface="+mn-lt"/>
              </a:rPr>
              <a:t> Horizontal Pump </a:t>
            </a:r>
          </a:p>
        </p:txBody>
      </p:sp>
      <p:sp>
        <p:nvSpPr>
          <p:cNvPr id="3" name="Textfeld 2">
            <a:extLst>
              <a:ext uri="{FF2B5EF4-FFF2-40B4-BE49-F238E27FC236}">
                <a16:creationId xmlns:a16="http://schemas.microsoft.com/office/drawing/2014/main" id="{869EF2C8-C2B3-14EF-B593-3B184C168B16}"/>
              </a:ext>
            </a:extLst>
          </p:cNvPr>
          <p:cNvSpPr txBox="1"/>
          <p:nvPr/>
        </p:nvSpPr>
        <p:spPr>
          <a:xfrm>
            <a:off x="367990" y="1643744"/>
            <a:ext cx="11296440" cy="4401205"/>
          </a:xfrm>
          <a:prstGeom prst="rect">
            <a:avLst/>
          </a:prstGeom>
          <a:noFill/>
        </p:spPr>
        <p:txBody>
          <a:bodyPr wrap="square" rtlCol="0">
            <a:spAutoFit/>
          </a:bodyPr>
          <a:lstStyle/>
          <a:p>
            <a:r>
              <a:rPr lang="de-DE" sz="2000" b="0" dirty="0">
                <a:latin typeface="+mn-lt"/>
              </a:rPr>
              <a:t>     Pump </a:t>
            </a:r>
            <a:r>
              <a:rPr lang="de-DE" sz="2000" b="0" dirty="0" err="1">
                <a:latin typeface="+mn-lt"/>
              </a:rPr>
              <a:t>Casing</a:t>
            </a:r>
            <a:r>
              <a:rPr lang="de-DE" sz="2000" b="0" dirty="0">
                <a:latin typeface="+mn-lt"/>
              </a:rPr>
              <a:t> and Pipe                                             Impeller Seals</a:t>
            </a:r>
          </a:p>
          <a:p>
            <a:endParaRPr lang="de-DE" sz="2000" b="0" dirty="0">
              <a:latin typeface="+mn-lt"/>
            </a:endParaRPr>
          </a:p>
          <a:p>
            <a:endParaRPr lang="de-DE" sz="2000" b="0" dirty="0">
              <a:latin typeface="+mn-lt"/>
            </a:endParaRPr>
          </a:p>
          <a:p>
            <a:r>
              <a:rPr lang="de-DE" sz="2000" b="0" dirty="0">
                <a:latin typeface="+mn-lt"/>
              </a:rPr>
              <a:t>DE-</a:t>
            </a:r>
            <a:r>
              <a:rPr lang="de-DE" sz="2000" b="0" dirty="0" err="1">
                <a:latin typeface="+mn-lt"/>
              </a:rPr>
              <a:t>Bearing</a:t>
            </a:r>
            <a:r>
              <a:rPr lang="de-DE" sz="2000" b="0" dirty="0">
                <a:latin typeface="+mn-lt"/>
              </a:rPr>
              <a:t> Housing                                                                                       NDE-</a:t>
            </a:r>
            <a:r>
              <a:rPr lang="de-DE" sz="2000" b="0" dirty="0" err="1">
                <a:latin typeface="+mn-lt"/>
              </a:rPr>
              <a:t>Bearing</a:t>
            </a:r>
            <a:r>
              <a:rPr lang="de-DE" sz="2000" b="0" dirty="0">
                <a:latin typeface="+mn-lt"/>
              </a:rPr>
              <a:t> Housing                                                                        </a:t>
            </a:r>
            <a:r>
              <a:rPr lang="de-DE" sz="2000" b="0" dirty="0" err="1">
                <a:latin typeface="+mn-lt"/>
              </a:rPr>
              <a:t>with</a:t>
            </a:r>
            <a:r>
              <a:rPr lang="de-DE" sz="2000" b="0" dirty="0">
                <a:latin typeface="+mn-lt"/>
              </a:rPr>
              <a:t> Radial 4-Lobe                                                                                          </a:t>
            </a:r>
            <a:r>
              <a:rPr lang="de-DE" sz="2000" b="0" dirty="0" err="1">
                <a:latin typeface="+mn-lt"/>
              </a:rPr>
              <a:t>with</a:t>
            </a:r>
            <a:r>
              <a:rPr lang="de-DE" sz="2000" b="0" dirty="0">
                <a:latin typeface="+mn-lt"/>
              </a:rPr>
              <a:t> Radial 4-Lobe </a:t>
            </a:r>
          </a:p>
          <a:p>
            <a:r>
              <a:rPr lang="de-DE" sz="2000" b="0" dirty="0">
                <a:latin typeface="+mn-lt"/>
              </a:rPr>
              <a:t>Oil Film </a:t>
            </a:r>
            <a:r>
              <a:rPr lang="de-DE" sz="2000" b="0" dirty="0" err="1">
                <a:latin typeface="+mn-lt"/>
              </a:rPr>
              <a:t>Bearings</a:t>
            </a:r>
            <a:r>
              <a:rPr lang="de-DE" sz="2000" b="0" dirty="0">
                <a:latin typeface="+mn-lt"/>
              </a:rPr>
              <a:t>                                                                                             Oil Film </a:t>
            </a:r>
            <a:r>
              <a:rPr lang="de-DE" sz="2000" b="0" dirty="0" err="1">
                <a:latin typeface="+mn-lt"/>
              </a:rPr>
              <a:t>Bearings</a:t>
            </a:r>
            <a:endParaRPr lang="de-DE" sz="2000" b="0" dirty="0">
              <a:latin typeface="+mn-lt"/>
            </a:endParaRPr>
          </a:p>
          <a:p>
            <a:r>
              <a:rPr lang="de-DE" sz="2000" b="0" dirty="0">
                <a:latin typeface="+mn-lt"/>
              </a:rPr>
              <a:t>   </a:t>
            </a:r>
          </a:p>
          <a:p>
            <a:endParaRPr lang="de-DE" sz="2000" b="0" dirty="0">
              <a:latin typeface="+mn-lt"/>
            </a:endParaRPr>
          </a:p>
          <a:p>
            <a:r>
              <a:rPr lang="de-DE" sz="2000" b="0" dirty="0">
                <a:latin typeface="+mn-lt"/>
              </a:rPr>
              <a:t>Pump </a:t>
            </a:r>
            <a:r>
              <a:rPr lang="de-DE" sz="2000" b="0" dirty="0" err="1">
                <a:latin typeface="+mn-lt"/>
              </a:rPr>
              <a:t>Shaft</a:t>
            </a:r>
            <a:r>
              <a:rPr lang="de-DE" sz="2000" b="0" dirty="0">
                <a:latin typeface="+mn-lt"/>
              </a:rPr>
              <a:t>  </a:t>
            </a:r>
            <a:r>
              <a:rPr lang="de-DE" sz="2000" b="0" dirty="0" err="1">
                <a:latin typeface="+mn-lt"/>
              </a:rPr>
              <a:t>with</a:t>
            </a:r>
            <a:r>
              <a:rPr lang="de-DE" sz="2000" b="0" dirty="0">
                <a:latin typeface="+mn-lt"/>
              </a:rPr>
              <a:t> </a:t>
            </a:r>
          </a:p>
          <a:p>
            <a:r>
              <a:rPr lang="de-DE" sz="2000" b="0" dirty="0">
                <a:latin typeface="+mn-lt"/>
              </a:rPr>
              <a:t>Double Flow Impeller                                                                                      Axial Oil Film </a:t>
            </a:r>
            <a:r>
              <a:rPr lang="de-DE" sz="2000" b="0" dirty="0" err="1">
                <a:latin typeface="+mn-lt"/>
              </a:rPr>
              <a:t>Bearing</a:t>
            </a:r>
            <a:endParaRPr lang="de-DE" sz="2000" b="0" dirty="0">
              <a:latin typeface="+mn-lt"/>
            </a:endParaRPr>
          </a:p>
          <a:p>
            <a:endParaRPr lang="de-DE" sz="2000" b="0" dirty="0">
              <a:latin typeface="+mn-lt"/>
            </a:endParaRPr>
          </a:p>
          <a:p>
            <a:endParaRPr lang="de-DE" sz="2000" b="0" dirty="0">
              <a:latin typeface="+mn-lt"/>
            </a:endParaRPr>
          </a:p>
          <a:p>
            <a:endParaRPr lang="de-DE" sz="2000" b="0" dirty="0">
              <a:latin typeface="+mn-lt"/>
            </a:endParaRPr>
          </a:p>
          <a:p>
            <a:r>
              <a:rPr lang="de-DE" sz="2000" b="0" dirty="0">
                <a:latin typeface="+mn-lt"/>
              </a:rPr>
              <a:t>(Source: KSB Handbook)                                                            </a:t>
            </a:r>
            <a:r>
              <a:rPr lang="de-DE" sz="2000" dirty="0">
                <a:solidFill>
                  <a:srgbClr val="0000FF"/>
                </a:solidFill>
                <a:latin typeface="+mn-lt"/>
              </a:rPr>
              <a:t>This Pump type </a:t>
            </a:r>
            <a:r>
              <a:rPr lang="de-DE" sz="2000" dirty="0" err="1">
                <a:solidFill>
                  <a:srgbClr val="0000FF"/>
                </a:solidFill>
                <a:latin typeface="+mn-lt"/>
              </a:rPr>
              <a:t>is</a:t>
            </a:r>
            <a:r>
              <a:rPr lang="de-DE" sz="2000" dirty="0">
                <a:solidFill>
                  <a:srgbClr val="0000FF"/>
                </a:solidFill>
                <a:latin typeface="+mn-lt"/>
              </a:rPr>
              <a:t> </a:t>
            </a:r>
            <a:r>
              <a:rPr lang="de-DE" sz="2000" dirty="0" err="1">
                <a:solidFill>
                  <a:srgbClr val="0000FF"/>
                </a:solidFill>
                <a:latin typeface="+mn-lt"/>
              </a:rPr>
              <a:t>used</a:t>
            </a:r>
            <a:r>
              <a:rPr lang="de-DE" sz="2000" dirty="0">
                <a:solidFill>
                  <a:srgbClr val="0000FF"/>
                </a:solidFill>
                <a:latin typeface="+mn-lt"/>
              </a:rPr>
              <a:t> in OL3</a:t>
            </a:r>
          </a:p>
        </p:txBody>
      </p:sp>
      <p:cxnSp>
        <p:nvCxnSpPr>
          <p:cNvPr id="7" name="Gerader Verbinder 6">
            <a:extLst>
              <a:ext uri="{FF2B5EF4-FFF2-40B4-BE49-F238E27FC236}">
                <a16:creationId xmlns:a16="http://schemas.microsoft.com/office/drawing/2014/main" id="{6AE46F0E-F8CD-78B4-B59A-02F73BEC001F}"/>
              </a:ext>
            </a:extLst>
          </p:cNvPr>
          <p:cNvCxnSpPr>
            <a:cxnSpLocks/>
          </p:cNvCxnSpPr>
          <p:nvPr/>
        </p:nvCxnSpPr>
        <p:spPr>
          <a:xfrm>
            <a:off x="3568390" y="1873405"/>
            <a:ext cx="1215483" cy="390293"/>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 name="Gerader Verbinder 9">
            <a:extLst>
              <a:ext uri="{FF2B5EF4-FFF2-40B4-BE49-F238E27FC236}">
                <a16:creationId xmlns:a16="http://schemas.microsoft.com/office/drawing/2014/main" id="{B241FEBD-30A5-5849-1713-0017D1E3C990}"/>
              </a:ext>
            </a:extLst>
          </p:cNvPr>
          <p:cNvCxnSpPr>
            <a:cxnSpLocks/>
          </p:cNvCxnSpPr>
          <p:nvPr/>
        </p:nvCxnSpPr>
        <p:spPr>
          <a:xfrm flipV="1">
            <a:off x="5876693" y="2051824"/>
            <a:ext cx="1193180" cy="880947"/>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Gerader Verbinder 13">
            <a:extLst>
              <a:ext uri="{FF2B5EF4-FFF2-40B4-BE49-F238E27FC236}">
                <a16:creationId xmlns:a16="http://schemas.microsoft.com/office/drawing/2014/main" id="{960FCB8B-5F2C-87DB-68CB-3DF43EA9EB64}"/>
              </a:ext>
            </a:extLst>
          </p:cNvPr>
          <p:cNvCxnSpPr>
            <a:cxnSpLocks/>
          </p:cNvCxnSpPr>
          <p:nvPr/>
        </p:nvCxnSpPr>
        <p:spPr>
          <a:xfrm flipV="1">
            <a:off x="3155795" y="3880624"/>
            <a:ext cx="2007220" cy="557561"/>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Gerader Verbinder 16">
            <a:extLst>
              <a:ext uri="{FF2B5EF4-FFF2-40B4-BE49-F238E27FC236}">
                <a16:creationId xmlns:a16="http://schemas.microsoft.com/office/drawing/2014/main" id="{2A748552-D1BE-6468-AC6D-F3CCB5FC51AF}"/>
              </a:ext>
            </a:extLst>
          </p:cNvPr>
          <p:cNvCxnSpPr>
            <a:cxnSpLocks/>
          </p:cNvCxnSpPr>
          <p:nvPr/>
        </p:nvCxnSpPr>
        <p:spPr>
          <a:xfrm>
            <a:off x="8173844" y="3780263"/>
            <a:ext cx="691376" cy="54641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5177585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Text Box 2">
            <a:extLst>
              <a:ext uri="{FF2B5EF4-FFF2-40B4-BE49-F238E27FC236}">
                <a16:creationId xmlns:a16="http://schemas.microsoft.com/office/drawing/2014/main" id="{896FF4FB-62E4-5C12-B764-542BAF15E0DB}"/>
              </a:ext>
            </a:extLst>
          </p:cNvPr>
          <p:cNvSpPr txBox="1">
            <a:spLocks noChangeArrowheads="1"/>
          </p:cNvSpPr>
          <p:nvPr/>
        </p:nvSpPr>
        <p:spPr bwMode="auto">
          <a:xfrm>
            <a:off x="793636" y="101600"/>
            <a:ext cx="9820955" cy="8309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a:spcBef>
                <a:spcPct val="20000"/>
              </a:spcBef>
              <a:buFont typeface="Wingdings" panose="05000000000000000000" pitchFamily="2" charset="2"/>
              <a:buChar char="§"/>
              <a:defRPr sz="2000">
                <a:solidFill>
                  <a:schemeClr val="tx1"/>
                </a:solidFill>
                <a:latin typeface="Arial" panose="020B0604020202020204" pitchFamily="34" charset="0"/>
              </a:defRPr>
            </a:lvl1pPr>
            <a:lvl2pPr marL="742950" indent="-285750">
              <a:spcBef>
                <a:spcPct val="20000"/>
              </a:spcBef>
              <a:buFont typeface="Wingdings" panose="05000000000000000000" pitchFamily="2" charset="2"/>
              <a:buChar char="§"/>
              <a:defRPr>
                <a:solidFill>
                  <a:schemeClr val="tx1"/>
                </a:solidFill>
                <a:latin typeface="Arial" panose="020B0604020202020204" pitchFamily="34" charset="0"/>
              </a:defRPr>
            </a:lvl2pPr>
            <a:lvl3pPr marL="1143000" indent="-228600">
              <a:spcBef>
                <a:spcPct val="20000"/>
              </a:spcBef>
              <a:buFont typeface="Wingdings" panose="05000000000000000000" pitchFamily="2" charset="2"/>
              <a:buChar char="§"/>
              <a:defRPr>
                <a:solidFill>
                  <a:schemeClr val="tx1"/>
                </a:solidFill>
                <a:latin typeface="Arial" panose="020B0604020202020204" pitchFamily="34" charset="0"/>
              </a:defRPr>
            </a:lvl3pPr>
            <a:lvl4pPr marL="1600200" indent="-228600">
              <a:spcBef>
                <a:spcPct val="20000"/>
              </a:spcBef>
              <a:buFont typeface="Wingdings" panose="05000000000000000000" pitchFamily="2" charset="2"/>
              <a:buChar char="§"/>
              <a:defRPr sz="1600">
                <a:solidFill>
                  <a:schemeClr val="tx1"/>
                </a:solidFill>
                <a:latin typeface="Arial" panose="020B0604020202020204" pitchFamily="34" charset="0"/>
              </a:defRPr>
            </a:lvl4pPr>
            <a:lvl5pPr marL="2057400" indent="-228600">
              <a:spcBef>
                <a:spcPct val="20000"/>
              </a:spcBef>
              <a:buFont typeface="Wingdings" panose="05000000000000000000" pitchFamily="2" charset="2"/>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1600">
                <a:solidFill>
                  <a:schemeClr val="tx1"/>
                </a:solidFill>
                <a:latin typeface="Arial" panose="020B0604020202020204" pitchFamily="34" charset="0"/>
              </a:defRPr>
            </a:lvl9pPr>
          </a:lstStyle>
          <a:p>
            <a:pPr>
              <a:buNone/>
            </a:pPr>
            <a:r>
              <a:rPr lang="de-DE" sz="2400" dirty="0">
                <a:solidFill>
                  <a:srgbClr val="0000FF"/>
                </a:solidFill>
                <a:latin typeface="+mn-lt"/>
              </a:rPr>
              <a:t>A </a:t>
            </a:r>
            <a:r>
              <a:rPr lang="de-DE" sz="2400" dirty="0" err="1">
                <a:solidFill>
                  <a:srgbClr val="0000FF"/>
                </a:solidFill>
                <a:latin typeface="+mn-lt"/>
              </a:rPr>
              <a:t>typical</a:t>
            </a:r>
            <a:r>
              <a:rPr lang="de-DE" sz="2400" dirty="0">
                <a:solidFill>
                  <a:srgbClr val="0000FF"/>
                </a:solidFill>
                <a:latin typeface="+mn-lt"/>
              </a:rPr>
              <a:t> Horizontal </a:t>
            </a:r>
            <a:r>
              <a:rPr lang="de-DE" sz="2400" dirty="0" err="1">
                <a:solidFill>
                  <a:srgbClr val="0000FF"/>
                </a:solidFill>
                <a:latin typeface="+mn-lt"/>
              </a:rPr>
              <a:t>Feedwater</a:t>
            </a:r>
            <a:r>
              <a:rPr lang="de-DE" sz="2400" dirty="0">
                <a:solidFill>
                  <a:srgbClr val="0000FF"/>
                </a:solidFill>
                <a:latin typeface="+mn-lt"/>
              </a:rPr>
              <a:t> Pump                                                   </a:t>
            </a:r>
            <a:r>
              <a:rPr lang="de-DE" sz="2400" b="0" dirty="0" err="1">
                <a:latin typeface="+mn-lt"/>
              </a:rPr>
              <a:t>Pump</a:t>
            </a:r>
            <a:r>
              <a:rPr lang="de-DE" sz="2400" dirty="0">
                <a:solidFill>
                  <a:srgbClr val="0000FF"/>
                </a:solidFill>
                <a:latin typeface="+mn-lt"/>
              </a:rPr>
              <a:t> </a:t>
            </a:r>
            <a:r>
              <a:rPr lang="de-DE" sz="2400" b="0" dirty="0" err="1">
                <a:latin typeface="+mn-lt"/>
              </a:rPr>
              <a:t>Characteristics</a:t>
            </a:r>
            <a:r>
              <a:rPr lang="de-DE" sz="2400" b="0" dirty="0">
                <a:latin typeface="+mn-lt"/>
              </a:rPr>
              <a:t> </a:t>
            </a:r>
            <a:r>
              <a:rPr lang="de-DE" sz="2400" b="0" dirty="0" err="1">
                <a:latin typeface="+mn-lt"/>
              </a:rPr>
              <a:t>of</a:t>
            </a:r>
            <a:r>
              <a:rPr lang="de-DE" sz="2400" b="0" dirty="0">
                <a:latin typeface="+mn-lt"/>
              </a:rPr>
              <a:t> </a:t>
            </a:r>
            <a:r>
              <a:rPr lang="de-DE" sz="2400" b="0" dirty="0" err="1">
                <a:latin typeface="+mn-lt"/>
              </a:rPr>
              <a:t>the</a:t>
            </a:r>
            <a:r>
              <a:rPr lang="de-DE" sz="2400" b="0" dirty="0">
                <a:latin typeface="+mn-lt"/>
              </a:rPr>
              <a:t> OL3 </a:t>
            </a:r>
            <a:r>
              <a:rPr lang="de-DE" sz="2400" b="0" dirty="0" err="1">
                <a:latin typeface="+mn-lt"/>
              </a:rPr>
              <a:t>Feedwater</a:t>
            </a:r>
            <a:r>
              <a:rPr lang="de-DE" sz="2400" b="0" dirty="0">
                <a:latin typeface="+mn-lt"/>
              </a:rPr>
              <a:t> Pump</a:t>
            </a:r>
          </a:p>
        </p:txBody>
      </p:sp>
      <p:pic>
        <p:nvPicPr>
          <p:cNvPr id="2" name="Grafik 1">
            <a:extLst>
              <a:ext uri="{FF2B5EF4-FFF2-40B4-BE49-F238E27FC236}">
                <a16:creationId xmlns:a16="http://schemas.microsoft.com/office/drawing/2014/main" id="{B4C56102-EA1F-169C-04B6-E9B196D5549F}"/>
              </a:ext>
            </a:extLst>
          </p:cNvPr>
          <p:cNvPicPr>
            <a:picLocks noChangeAspect="1"/>
          </p:cNvPicPr>
          <p:nvPr/>
        </p:nvPicPr>
        <p:blipFill>
          <a:blip r:embed="rId3"/>
          <a:stretch>
            <a:fillRect/>
          </a:stretch>
        </p:blipFill>
        <p:spPr>
          <a:xfrm>
            <a:off x="413656" y="1828800"/>
            <a:ext cx="5357557" cy="4017364"/>
          </a:xfrm>
          <a:prstGeom prst="rect">
            <a:avLst/>
          </a:prstGeom>
        </p:spPr>
      </p:pic>
      <p:sp>
        <p:nvSpPr>
          <p:cNvPr id="3" name="Textfeld 2">
            <a:extLst>
              <a:ext uri="{FF2B5EF4-FFF2-40B4-BE49-F238E27FC236}">
                <a16:creationId xmlns:a16="http://schemas.microsoft.com/office/drawing/2014/main" id="{C70618CD-BAC1-37D8-E3E6-89A5107D4327}"/>
              </a:ext>
            </a:extLst>
          </p:cNvPr>
          <p:cNvSpPr txBox="1"/>
          <p:nvPr/>
        </p:nvSpPr>
        <p:spPr>
          <a:xfrm>
            <a:off x="5897154" y="2274838"/>
            <a:ext cx="5566349" cy="3046988"/>
          </a:xfrm>
          <a:prstGeom prst="rect">
            <a:avLst/>
          </a:prstGeom>
          <a:noFill/>
        </p:spPr>
        <p:txBody>
          <a:bodyPr wrap="square" rtlCol="0">
            <a:spAutoFit/>
          </a:bodyPr>
          <a:lstStyle/>
          <a:p>
            <a:r>
              <a:rPr lang="de-DE" sz="3200" b="0" baseline="-25000" dirty="0">
                <a:latin typeface="+mn-lt"/>
              </a:rPr>
              <a:t>Power    </a:t>
            </a:r>
            <a:r>
              <a:rPr lang="de-DE" sz="3200" baseline="-25000" dirty="0">
                <a:latin typeface="+mn-lt"/>
              </a:rPr>
              <a:t>                             </a:t>
            </a:r>
            <a:r>
              <a:rPr lang="de-DE" sz="3200" baseline="-25000" dirty="0">
                <a:solidFill>
                  <a:srgbClr val="0000FF"/>
                </a:solidFill>
                <a:latin typeface="+mn-lt"/>
              </a:rPr>
              <a:t>8000  KW</a:t>
            </a:r>
          </a:p>
          <a:p>
            <a:endParaRPr lang="de-DE" sz="3200" baseline="-25000" dirty="0">
              <a:latin typeface="+mn-lt"/>
            </a:endParaRPr>
          </a:p>
          <a:p>
            <a:r>
              <a:rPr lang="de-DE" sz="3200" b="0" baseline="-25000" dirty="0" err="1">
                <a:latin typeface="+mn-lt"/>
              </a:rPr>
              <a:t>Capacity</a:t>
            </a:r>
            <a:r>
              <a:rPr lang="de-DE" sz="3200" baseline="-25000" dirty="0">
                <a:latin typeface="+mn-lt"/>
              </a:rPr>
              <a:t>                             </a:t>
            </a:r>
            <a:r>
              <a:rPr lang="de-DE" sz="3200" baseline="-25000" dirty="0">
                <a:solidFill>
                  <a:srgbClr val="0000FF"/>
                </a:solidFill>
                <a:latin typeface="+mn-lt"/>
              </a:rPr>
              <a:t>4000 m3 /h</a:t>
            </a:r>
          </a:p>
          <a:p>
            <a:endParaRPr lang="de-DE" sz="3200" baseline="-25000" dirty="0">
              <a:latin typeface="+mn-lt"/>
            </a:endParaRPr>
          </a:p>
          <a:p>
            <a:r>
              <a:rPr lang="de-DE" sz="3200" b="0" baseline="-25000" dirty="0" err="1">
                <a:latin typeface="+mn-lt"/>
              </a:rPr>
              <a:t>Pressure</a:t>
            </a:r>
            <a:r>
              <a:rPr lang="de-DE" sz="3200" b="0" baseline="-25000" dirty="0">
                <a:latin typeface="+mn-lt"/>
              </a:rPr>
              <a:t> </a:t>
            </a:r>
            <a:r>
              <a:rPr lang="de-DE" sz="3200" baseline="-25000" dirty="0">
                <a:latin typeface="+mn-lt"/>
              </a:rPr>
              <a:t>                            </a:t>
            </a:r>
            <a:r>
              <a:rPr lang="de-DE" sz="3200" baseline="-25000" dirty="0">
                <a:solidFill>
                  <a:srgbClr val="0000FF"/>
                </a:solidFill>
                <a:latin typeface="+mn-lt"/>
              </a:rPr>
              <a:t>124 bar</a:t>
            </a:r>
          </a:p>
          <a:p>
            <a:endParaRPr lang="de-DE" sz="3200" baseline="-25000" dirty="0">
              <a:latin typeface="+mn-lt"/>
            </a:endParaRPr>
          </a:p>
          <a:p>
            <a:r>
              <a:rPr lang="de-DE" sz="3200" b="0" baseline="-25000" dirty="0" err="1">
                <a:latin typeface="+mn-lt"/>
              </a:rPr>
              <a:t>Temperature</a:t>
            </a:r>
            <a:r>
              <a:rPr lang="de-DE" sz="3200" b="0" baseline="-25000" dirty="0">
                <a:latin typeface="+mn-lt"/>
              </a:rPr>
              <a:t> </a:t>
            </a:r>
            <a:r>
              <a:rPr lang="de-DE" sz="3200" baseline="-25000" dirty="0">
                <a:latin typeface="+mn-lt"/>
              </a:rPr>
              <a:t>                      </a:t>
            </a:r>
            <a:r>
              <a:rPr lang="de-DE" sz="3200" baseline="-25000" dirty="0">
                <a:solidFill>
                  <a:srgbClr val="0000FF"/>
                </a:solidFill>
                <a:latin typeface="+mn-lt"/>
              </a:rPr>
              <a:t>176 °C</a:t>
            </a:r>
          </a:p>
          <a:p>
            <a:endParaRPr lang="de-DE" sz="3200" baseline="-25000" dirty="0">
              <a:latin typeface="+mn-lt"/>
            </a:endParaRPr>
          </a:p>
          <a:p>
            <a:r>
              <a:rPr lang="de-DE" sz="3200" b="0" baseline="-25000" dirty="0" err="1">
                <a:latin typeface="+mn-lt"/>
              </a:rPr>
              <a:t>Rotational</a:t>
            </a:r>
            <a:r>
              <a:rPr lang="de-DE" sz="3200" b="0" baseline="-25000" dirty="0">
                <a:latin typeface="+mn-lt"/>
              </a:rPr>
              <a:t> Speed              </a:t>
            </a:r>
            <a:r>
              <a:rPr lang="de-DE" sz="3200" baseline="-25000" dirty="0">
                <a:solidFill>
                  <a:srgbClr val="0000FF"/>
                </a:solidFill>
                <a:latin typeface="+mn-lt"/>
              </a:rPr>
              <a:t>5589  </a:t>
            </a:r>
            <a:r>
              <a:rPr lang="de-DE" sz="3200" baseline="-25000" dirty="0" err="1">
                <a:solidFill>
                  <a:srgbClr val="0000FF"/>
                </a:solidFill>
                <a:latin typeface="+mn-lt"/>
              </a:rPr>
              <a:t>rpm</a:t>
            </a:r>
            <a:endParaRPr lang="de-DE" sz="3200" baseline="-25000" dirty="0">
              <a:solidFill>
                <a:srgbClr val="0000FF"/>
              </a:solidFill>
              <a:latin typeface="+mn-lt"/>
            </a:endParaRPr>
          </a:p>
        </p:txBody>
      </p:sp>
    </p:spTree>
    <p:extLst>
      <p:ext uri="{BB962C8B-B14F-4D97-AF65-F5344CB8AC3E}">
        <p14:creationId xmlns:p14="http://schemas.microsoft.com/office/powerpoint/2010/main" val="24576269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Text Box 2">
            <a:extLst>
              <a:ext uri="{FF2B5EF4-FFF2-40B4-BE49-F238E27FC236}">
                <a16:creationId xmlns:a16="http://schemas.microsoft.com/office/drawing/2014/main" id="{896FF4FB-62E4-5C12-B764-542BAF15E0DB}"/>
              </a:ext>
            </a:extLst>
          </p:cNvPr>
          <p:cNvSpPr txBox="1">
            <a:spLocks noChangeArrowheads="1"/>
          </p:cNvSpPr>
          <p:nvPr/>
        </p:nvSpPr>
        <p:spPr bwMode="auto">
          <a:xfrm>
            <a:off x="793637" y="171462"/>
            <a:ext cx="9820955" cy="8309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a:spcBef>
                <a:spcPct val="20000"/>
              </a:spcBef>
              <a:buFont typeface="Wingdings" panose="05000000000000000000" pitchFamily="2" charset="2"/>
              <a:buChar char="§"/>
              <a:defRPr sz="2000">
                <a:solidFill>
                  <a:schemeClr val="tx1"/>
                </a:solidFill>
                <a:latin typeface="Arial" panose="020B0604020202020204" pitchFamily="34" charset="0"/>
              </a:defRPr>
            </a:lvl1pPr>
            <a:lvl2pPr marL="742950" indent="-285750">
              <a:spcBef>
                <a:spcPct val="20000"/>
              </a:spcBef>
              <a:buFont typeface="Wingdings" panose="05000000000000000000" pitchFamily="2" charset="2"/>
              <a:buChar char="§"/>
              <a:defRPr>
                <a:solidFill>
                  <a:schemeClr val="tx1"/>
                </a:solidFill>
                <a:latin typeface="Arial" panose="020B0604020202020204" pitchFamily="34" charset="0"/>
              </a:defRPr>
            </a:lvl2pPr>
            <a:lvl3pPr marL="1143000" indent="-228600">
              <a:spcBef>
                <a:spcPct val="20000"/>
              </a:spcBef>
              <a:buFont typeface="Wingdings" panose="05000000000000000000" pitchFamily="2" charset="2"/>
              <a:buChar char="§"/>
              <a:defRPr>
                <a:solidFill>
                  <a:schemeClr val="tx1"/>
                </a:solidFill>
                <a:latin typeface="Arial" panose="020B0604020202020204" pitchFamily="34" charset="0"/>
              </a:defRPr>
            </a:lvl3pPr>
            <a:lvl4pPr marL="1600200" indent="-228600">
              <a:spcBef>
                <a:spcPct val="20000"/>
              </a:spcBef>
              <a:buFont typeface="Wingdings" panose="05000000000000000000" pitchFamily="2" charset="2"/>
              <a:buChar char="§"/>
              <a:defRPr sz="1600">
                <a:solidFill>
                  <a:schemeClr val="tx1"/>
                </a:solidFill>
                <a:latin typeface="Arial" panose="020B0604020202020204" pitchFamily="34" charset="0"/>
              </a:defRPr>
            </a:lvl4pPr>
            <a:lvl5pPr marL="2057400" indent="-228600">
              <a:spcBef>
                <a:spcPct val="20000"/>
              </a:spcBef>
              <a:buFont typeface="Wingdings" panose="05000000000000000000" pitchFamily="2" charset="2"/>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1600">
                <a:solidFill>
                  <a:schemeClr val="tx1"/>
                </a:solidFill>
                <a:latin typeface="Arial" panose="020B0604020202020204" pitchFamily="34" charset="0"/>
              </a:defRPr>
            </a:lvl9pPr>
          </a:lstStyle>
          <a:p>
            <a:pPr>
              <a:buNone/>
            </a:pPr>
            <a:r>
              <a:rPr lang="de-DE" sz="2400" dirty="0">
                <a:solidFill>
                  <a:srgbClr val="0000FF"/>
                </a:solidFill>
                <a:latin typeface="+mn-lt"/>
              </a:rPr>
              <a:t>A </a:t>
            </a:r>
            <a:r>
              <a:rPr lang="de-DE" sz="2400" dirty="0" err="1">
                <a:solidFill>
                  <a:srgbClr val="0000FF"/>
                </a:solidFill>
                <a:latin typeface="+mn-lt"/>
              </a:rPr>
              <a:t>typical</a:t>
            </a:r>
            <a:r>
              <a:rPr lang="de-DE" sz="2400" dirty="0">
                <a:solidFill>
                  <a:srgbClr val="0000FF"/>
                </a:solidFill>
                <a:latin typeface="+mn-lt"/>
              </a:rPr>
              <a:t> Horizontal </a:t>
            </a:r>
            <a:r>
              <a:rPr lang="de-DE" sz="2400" dirty="0" err="1">
                <a:solidFill>
                  <a:srgbClr val="0000FF"/>
                </a:solidFill>
                <a:latin typeface="+mn-lt"/>
              </a:rPr>
              <a:t>Feedwater</a:t>
            </a:r>
            <a:r>
              <a:rPr lang="de-DE" sz="2400" dirty="0">
                <a:solidFill>
                  <a:srgbClr val="0000FF"/>
                </a:solidFill>
                <a:latin typeface="+mn-lt"/>
              </a:rPr>
              <a:t> Pump                                                   </a:t>
            </a:r>
            <a:r>
              <a:rPr lang="de-DE" sz="2400" b="0" dirty="0" err="1">
                <a:latin typeface="+mn-lt"/>
              </a:rPr>
              <a:t>Overview</a:t>
            </a:r>
            <a:r>
              <a:rPr lang="de-DE" sz="2400" b="0" dirty="0">
                <a:latin typeface="+mn-lt"/>
              </a:rPr>
              <a:t>: Vibration </a:t>
            </a:r>
            <a:r>
              <a:rPr lang="de-DE" sz="2400" b="0" dirty="0" err="1">
                <a:latin typeface="+mn-lt"/>
              </a:rPr>
              <a:t>Phenomena</a:t>
            </a:r>
            <a:r>
              <a:rPr lang="de-DE" sz="2400" b="0" dirty="0">
                <a:solidFill>
                  <a:srgbClr val="0000FF"/>
                </a:solidFill>
                <a:latin typeface="+mn-lt"/>
              </a:rPr>
              <a:t> </a:t>
            </a:r>
            <a:r>
              <a:rPr lang="de-DE" sz="2400" b="0" dirty="0">
                <a:latin typeface="+mn-lt"/>
              </a:rPr>
              <a:t>in </a:t>
            </a:r>
            <a:r>
              <a:rPr lang="de-DE" sz="2400" b="0" dirty="0" err="1">
                <a:latin typeface="+mn-lt"/>
              </a:rPr>
              <a:t>the</a:t>
            </a:r>
            <a:r>
              <a:rPr lang="de-DE" sz="2400" b="0" dirty="0">
                <a:latin typeface="+mn-lt"/>
              </a:rPr>
              <a:t> Horizontal </a:t>
            </a:r>
            <a:r>
              <a:rPr lang="de-DE" sz="2400" b="0" dirty="0" err="1">
                <a:latin typeface="+mn-lt"/>
              </a:rPr>
              <a:t>Feedwater</a:t>
            </a:r>
            <a:r>
              <a:rPr lang="de-DE" sz="2400" b="0" dirty="0">
                <a:latin typeface="+mn-lt"/>
              </a:rPr>
              <a:t> Pump</a:t>
            </a:r>
          </a:p>
        </p:txBody>
      </p:sp>
      <p:sp>
        <p:nvSpPr>
          <p:cNvPr id="16387" name="Text Box 9">
            <a:extLst>
              <a:ext uri="{FF2B5EF4-FFF2-40B4-BE49-F238E27FC236}">
                <a16:creationId xmlns:a16="http://schemas.microsoft.com/office/drawing/2014/main" id="{D632D7B0-B35F-F40D-0C71-ABE9FAC89084}"/>
              </a:ext>
            </a:extLst>
          </p:cNvPr>
          <p:cNvSpPr txBox="1">
            <a:spLocks noChangeArrowheads="1"/>
          </p:cNvSpPr>
          <p:nvPr/>
        </p:nvSpPr>
        <p:spPr bwMode="auto">
          <a:xfrm>
            <a:off x="6040439" y="1444626"/>
            <a:ext cx="4067332" cy="707886"/>
          </a:xfrm>
          <a:prstGeom prst="rect">
            <a:avLst/>
          </a:prstGeom>
          <a:noFill/>
          <a:ln w="28575">
            <a:solidFill>
              <a:schemeClr val="tx1"/>
            </a:solidFill>
            <a:miter lim="800000"/>
            <a:headEnd/>
            <a:tailEnd/>
          </a:ln>
          <a:effectLst/>
        </p:spPr>
        <p:txBody>
          <a:bodyPr wrap="none">
            <a:spAutoFit/>
          </a:bodyPr>
          <a:lstStyle>
            <a:lvl1pPr>
              <a:spcBef>
                <a:spcPct val="20000"/>
              </a:spcBef>
              <a:buFont typeface="Wingdings" panose="05000000000000000000" pitchFamily="2" charset="2"/>
              <a:buChar char="§"/>
              <a:defRPr sz="2000">
                <a:solidFill>
                  <a:schemeClr val="tx1"/>
                </a:solidFill>
                <a:latin typeface="Arial" panose="020B0604020202020204" pitchFamily="34" charset="0"/>
              </a:defRPr>
            </a:lvl1pPr>
            <a:lvl2pPr marL="742950" indent="-285750">
              <a:spcBef>
                <a:spcPct val="20000"/>
              </a:spcBef>
              <a:buFont typeface="Wingdings" panose="05000000000000000000" pitchFamily="2" charset="2"/>
              <a:buChar char="§"/>
              <a:defRPr>
                <a:solidFill>
                  <a:schemeClr val="tx1"/>
                </a:solidFill>
                <a:latin typeface="Arial" panose="020B0604020202020204" pitchFamily="34" charset="0"/>
              </a:defRPr>
            </a:lvl2pPr>
            <a:lvl3pPr marL="1143000" indent="-228600">
              <a:spcBef>
                <a:spcPct val="20000"/>
              </a:spcBef>
              <a:buFont typeface="Wingdings" panose="05000000000000000000" pitchFamily="2" charset="2"/>
              <a:buChar char="§"/>
              <a:defRPr>
                <a:solidFill>
                  <a:schemeClr val="tx1"/>
                </a:solidFill>
                <a:latin typeface="Arial" panose="020B0604020202020204" pitchFamily="34" charset="0"/>
              </a:defRPr>
            </a:lvl3pPr>
            <a:lvl4pPr marL="1600200" indent="-228600">
              <a:spcBef>
                <a:spcPct val="20000"/>
              </a:spcBef>
              <a:buFont typeface="Wingdings" panose="05000000000000000000" pitchFamily="2" charset="2"/>
              <a:buChar char="§"/>
              <a:defRPr sz="1600">
                <a:solidFill>
                  <a:schemeClr val="tx1"/>
                </a:solidFill>
                <a:latin typeface="Arial" panose="020B0604020202020204" pitchFamily="34" charset="0"/>
              </a:defRPr>
            </a:lvl4pPr>
            <a:lvl5pPr marL="2057400" indent="-228600">
              <a:spcBef>
                <a:spcPct val="20000"/>
              </a:spcBef>
              <a:buFont typeface="Wingdings" panose="05000000000000000000" pitchFamily="2" charset="2"/>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16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defRPr/>
            </a:pPr>
            <a:r>
              <a:rPr kumimoji="0" lang="en-GB" altLang="de-DE" sz="2000" b="1" i="0" u="none" strike="noStrike" kern="1200" cap="none" spc="0" normalizeH="0" baseline="0" noProof="0" dirty="0">
                <a:ln>
                  <a:noFill/>
                </a:ln>
                <a:solidFill>
                  <a:srgbClr val="000000"/>
                </a:solidFill>
                <a:effectLst/>
                <a:uLnTx/>
                <a:uFillTx/>
                <a:latin typeface="Arial"/>
                <a:ea typeface="+mn-ea"/>
                <a:cs typeface="+mn-cs"/>
              </a:rPr>
              <a:t> </a:t>
            </a:r>
            <a:r>
              <a:rPr kumimoji="0" lang="en-GB" altLang="de-DE" sz="2000" b="1" i="0" u="none" strike="noStrike" kern="1200" cap="none" spc="0" normalizeH="0" baseline="0" noProof="0" dirty="0">
                <a:ln>
                  <a:noFill/>
                </a:ln>
                <a:solidFill>
                  <a:srgbClr val="0000FF"/>
                </a:solidFill>
                <a:effectLst/>
                <a:uLnTx/>
                <a:uFillTx/>
                <a:latin typeface="Arial"/>
                <a:ea typeface="+mn-ea"/>
                <a:cs typeface="+mn-cs"/>
              </a:rPr>
              <a:t>Vibrations of Horizontal Pumps</a:t>
            </a:r>
          </a:p>
          <a:p>
            <a:pPr marL="0" marR="0" lvl="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defRPr/>
            </a:pPr>
            <a:r>
              <a:rPr kumimoji="0" lang="en-GB" altLang="de-DE" sz="2000" b="1" i="0" u="none" strike="noStrike" kern="1200" cap="none" spc="0" normalizeH="0" baseline="0" noProof="0" dirty="0">
                <a:ln>
                  <a:noFill/>
                </a:ln>
                <a:solidFill>
                  <a:srgbClr val="000000"/>
                </a:solidFill>
                <a:effectLst/>
                <a:uLnTx/>
                <a:uFillTx/>
                <a:latin typeface="Arial"/>
                <a:ea typeface="+mn-ea"/>
                <a:cs typeface="+mn-cs"/>
              </a:rPr>
              <a:t> </a:t>
            </a:r>
            <a:r>
              <a:rPr kumimoji="0" lang="en-GB" altLang="de-DE" sz="2000" b="0" i="0" u="none" strike="noStrike" kern="1200" cap="none" spc="0" normalizeH="0" baseline="0" noProof="0" dirty="0">
                <a:ln>
                  <a:noFill/>
                </a:ln>
                <a:solidFill>
                  <a:srgbClr val="000000"/>
                </a:solidFill>
                <a:effectLst/>
                <a:uLnTx/>
                <a:uFillTx/>
                <a:latin typeface="Arial"/>
                <a:ea typeface="+mn-ea"/>
                <a:cs typeface="+mn-cs"/>
              </a:rPr>
              <a:t>Fluid Dynamics &amp; Mechanics  </a:t>
            </a:r>
          </a:p>
        </p:txBody>
      </p:sp>
      <p:sp>
        <p:nvSpPr>
          <p:cNvPr id="15364" name="Line 10">
            <a:extLst>
              <a:ext uri="{FF2B5EF4-FFF2-40B4-BE49-F238E27FC236}">
                <a16:creationId xmlns:a16="http://schemas.microsoft.com/office/drawing/2014/main" id="{35FEA6B0-5AE5-77B2-5C56-9EE6A73BD6D4}"/>
              </a:ext>
            </a:extLst>
          </p:cNvPr>
          <p:cNvSpPr>
            <a:spLocks noChangeShapeType="1"/>
          </p:cNvSpPr>
          <p:nvPr/>
        </p:nvSpPr>
        <p:spPr bwMode="auto">
          <a:xfrm flipV="1">
            <a:off x="6471920" y="2147888"/>
            <a:ext cx="1719581" cy="693600"/>
          </a:xfrm>
          <a:prstGeom prst="line">
            <a:avLst/>
          </a:prstGeom>
          <a:noFill/>
          <a:ln w="19050">
            <a:solidFill>
              <a:srgbClr val="FF0000"/>
            </a:solidFill>
            <a:round/>
            <a:headEnd/>
            <a:tailEnd type="oval"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de-DE" sz="1800" b="1" i="0" u="none" strike="noStrike" kern="1200" cap="none" spc="0" normalizeH="0" baseline="0" noProof="0">
              <a:ln>
                <a:noFill/>
              </a:ln>
              <a:solidFill>
                <a:srgbClr val="000000"/>
              </a:solidFill>
              <a:effectLst/>
              <a:uLnTx/>
              <a:uFillTx/>
              <a:latin typeface="Verdana" panose="020B0604030504040204" pitchFamily="34" charset="0"/>
              <a:ea typeface="+mn-ea"/>
              <a:cs typeface="+mn-cs"/>
            </a:endParaRPr>
          </a:p>
        </p:txBody>
      </p:sp>
      <p:sp>
        <p:nvSpPr>
          <p:cNvPr id="15365" name="Line 11">
            <a:extLst>
              <a:ext uri="{FF2B5EF4-FFF2-40B4-BE49-F238E27FC236}">
                <a16:creationId xmlns:a16="http://schemas.microsoft.com/office/drawing/2014/main" id="{90B8A81E-8748-1C30-CD7A-1F03F9723638}"/>
              </a:ext>
            </a:extLst>
          </p:cNvPr>
          <p:cNvSpPr>
            <a:spLocks noChangeShapeType="1"/>
          </p:cNvSpPr>
          <p:nvPr/>
        </p:nvSpPr>
        <p:spPr bwMode="auto">
          <a:xfrm>
            <a:off x="8224838" y="2159000"/>
            <a:ext cx="754062" cy="584200"/>
          </a:xfrm>
          <a:prstGeom prst="line">
            <a:avLst/>
          </a:prstGeom>
          <a:noFill/>
          <a:ln w="19050">
            <a:solidFill>
              <a:srgbClr val="FF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de-DE" sz="1800" b="1" i="0" u="none" strike="noStrike" kern="1200" cap="none" spc="0" normalizeH="0" baseline="0" noProof="0">
              <a:ln>
                <a:noFill/>
              </a:ln>
              <a:solidFill>
                <a:srgbClr val="000000"/>
              </a:solidFill>
              <a:effectLst/>
              <a:uLnTx/>
              <a:uFillTx/>
              <a:latin typeface="Verdana" panose="020B0604030504040204" pitchFamily="34" charset="0"/>
              <a:ea typeface="+mn-ea"/>
              <a:cs typeface="+mn-cs"/>
            </a:endParaRPr>
          </a:p>
        </p:txBody>
      </p:sp>
      <p:sp>
        <p:nvSpPr>
          <p:cNvPr id="16390" name="Text Box 12">
            <a:extLst>
              <a:ext uri="{FF2B5EF4-FFF2-40B4-BE49-F238E27FC236}">
                <a16:creationId xmlns:a16="http://schemas.microsoft.com/office/drawing/2014/main" id="{B0CB5855-59AA-E2A4-89E1-55AAD5BCCE3C}"/>
              </a:ext>
            </a:extLst>
          </p:cNvPr>
          <p:cNvSpPr txBox="1">
            <a:spLocks noChangeArrowheads="1"/>
          </p:cNvSpPr>
          <p:nvPr/>
        </p:nvSpPr>
        <p:spPr bwMode="auto">
          <a:xfrm>
            <a:off x="5072664" y="2813844"/>
            <a:ext cx="2731838" cy="1015663"/>
          </a:xfrm>
          <a:prstGeom prst="rect">
            <a:avLst/>
          </a:prstGeom>
          <a:noFill/>
          <a:ln w="28575">
            <a:solidFill>
              <a:srgbClr val="FF0000"/>
            </a:solidFill>
          </a:ln>
          <a:effectLst/>
        </p:spPr>
        <p:txBody>
          <a:bodyPr wrap="none">
            <a:spAutoFit/>
          </a:bodyPr>
          <a:lstStyle>
            <a:lvl1pPr>
              <a:spcBef>
                <a:spcPct val="20000"/>
              </a:spcBef>
              <a:buFont typeface="Wingdings" panose="05000000000000000000" pitchFamily="2" charset="2"/>
              <a:buChar char="§"/>
              <a:defRPr sz="2000">
                <a:solidFill>
                  <a:schemeClr val="tx1"/>
                </a:solidFill>
                <a:latin typeface="Arial" panose="020B0604020202020204" pitchFamily="34" charset="0"/>
              </a:defRPr>
            </a:lvl1pPr>
            <a:lvl2pPr marL="742950" indent="-285750">
              <a:spcBef>
                <a:spcPct val="20000"/>
              </a:spcBef>
              <a:buFont typeface="Wingdings" panose="05000000000000000000" pitchFamily="2" charset="2"/>
              <a:buChar char="§"/>
              <a:defRPr>
                <a:solidFill>
                  <a:schemeClr val="tx1"/>
                </a:solidFill>
                <a:latin typeface="Arial" panose="020B0604020202020204" pitchFamily="34" charset="0"/>
              </a:defRPr>
            </a:lvl2pPr>
            <a:lvl3pPr marL="1143000" indent="-228600">
              <a:spcBef>
                <a:spcPct val="20000"/>
              </a:spcBef>
              <a:buFont typeface="Wingdings" panose="05000000000000000000" pitchFamily="2" charset="2"/>
              <a:buChar char="§"/>
              <a:defRPr>
                <a:solidFill>
                  <a:schemeClr val="tx1"/>
                </a:solidFill>
                <a:latin typeface="Arial" panose="020B0604020202020204" pitchFamily="34" charset="0"/>
              </a:defRPr>
            </a:lvl3pPr>
            <a:lvl4pPr marL="1600200" indent="-228600">
              <a:spcBef>
                <a:spcPct val="20000"/>
              </a:spcBef>
              <a:buFont typeface="Wingdings" panose="05000000000000000000" pitchFamily="2" charset="2"/>
              <a:buChar char="§"/>
              <a:defRPr sz="1600">
                <a:solidFill>
                  <a:schemeClr val="tx1"/>
                </a:solidFill>
                <a:latin typeface="Arial" panose="020B0604020202020204" pitchFamily="34" charset="0"/>
              </a:defRPr>
            </a:lvl4pPr>
            <a:lvl5pPr marL="2057400" indent="-228600">
              <a:spcBef>
                <a:spcPct val="20000"/>
              </a:spcBef>
              <a:buFont typeface="Wingdings" panose="05000000000000000000" pitchFamily="2" charset="2"/>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16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defRPr/>
            </a:pPr>
            <a:r>
              <a:rPr kumimoji="0" lang="en-GB" altLang="de-DE" sz="2000" i="0" u="none" strike="noStrike" kern="1200" cap="none" spc="0" normalizeH="0" baseline="0" noProof="0" dirty="0">
                <a:ln>
                  <a:noFill/>
                </a:ln>
                <a:solidFill>
                  <a:srgbClr val="0000FF"/>
                </a:solidFill>
                <a:effectLst/>
                <a:uLnTx/>
                <a:uFillTx/>
                <a:latin typeface="Arial"/>
                <a:ea typeface="+mn-ea"/>
                <a:cs typeface="+mn-cs"/>
              </a:rPr>
              <a:t>Strength of Materials</a:t>
            </a:r>
          </a:p>
          <a:p>
            <a:pPr marL="0" marR="0" lvl="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defRPr/>
            </a:pPr>
            <a:r>
              <a:rPr kumimoji="0" lang="en-GB" altLang="de-DE" sz="2000" b="0" i="0" u="none" strike="noStrike" kern="1200" cap="none" spc="0" normalizeH="0" baseline="0" noProof="0" dirty="0">
                <a:ln>
                  <a:noFill/>
                </a:ln>
                <a:solidFill>
                  <a:srgbClr val="000000"/>
                </a:solidFill>
                <a:effectLst/>
                <a:uLnTx/>
                <a:uFillTx/>
                <a:latin typeface="Arial"/>
                <a:ea typeface="+mn-ea"/>
                <a:cs typeface="+mn-cs"/>
              </a:rPr>
              <a:t>Stresses</a:t>
            </a:r>
          </a:p>
          <a:p>
            <a:pPr marL="0" marR="0" lvl="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defRPr/>
            </a:pPr>
            <a:r>
              <a:rPr lang="en-GB" altLang="de-DE" b="0" dirty="0">
                <a:solidFill>
                  <a:srgbClr val="000000"/>
                </a:solidFill>
                <a:latin typeface="Arial"/>
              </a:rPr>
              <a:t>Fracture Mechanics</a:t>
            </a:r>
            <a:endParaRPr kumimoji="0" lang="en-GB" altLang="de-DE" sz="2000" b="0" i="0" u="none" strike="noStrike" kern="1200" cap="none" spc="0" normalizeH="0" baseline="0" noProof="0" dirty="0">
              <a:ln>
                <a:noFill/>
              </a:ln>
              <a:solidFill>
                <a:srgbClr val="000000"/>
              </a:solidFill>
              <a:effectLst/>
              <a:uLnTx/>
              <a:uFillTx/>
              <a:latin typeface="Arial"/>
              <a:ea typeface="+mn-ea"/>
              <a:cs typeface="+mn-cs"/>
            </a:endParaRPr>
          </a:p>
        </p:txBody>
      </p:sp>
      <p:sp>
        <p:nvSpPr>
          <p:cNvPr id="16391" name="Text Box 13">
            <a:extLst>
              <a:ext uri="{FF2B5EF4-FFF2-40B4-BE49-F238E27FC236}">
                <a16:creationId xmlns:a16="http://schemas.microsoft.com/office/drawing/2014/main" id="{A8829C79-DA76-FC49-601C-572492F6EF75}"/>
              </a:ext>
            </a:extLst>
          </p:cNvPr>
          <p:cNvSpPr txBox="1">
            <a:spLocks noChangeArrowheads="1"/>
          </p:cNvSpPr>
          <p:nvPr/>
        </p:nvSpPr>
        <p:spPr bwMode="auto">
          <a:xfrm>
            <a:off x="7920198" y="2813844"/>
            <a:ext cx="2782887" cy="708025"/>
          </a:xfrm>
          <a:prstGeom prst="rect">
            <a:avLst/>
          </a:prstGeom>
          <a:noFill/>
          <a:ln w="28575">
            <a:solidFill>
              <a:srgbClr val="FF0000"/>
            </a:solidFill>
            <a:miter lim="800000"/>
            <a:headEnd/>
            <a:tailEnd/>
          </a:ln>
          <a:effectLst/>
        </p:spPr>
        <p:txBody>
          <a:bodyPr>
            <a:spAutoFit/>
          </a:bodyPr>
          <a:lstStyle>
            <a:lvl1pPr>
              <a:spcBef>
                <a:spcPct val="20000"/>
              </a:spcBef>
              <a:buFont typeface="Wingdings" panose="05000000000000000000" pitchFamily="2" charset="2"/>
              <a:buChar char="§"/>
              <a:defRPr sz="2000">
                <a:solidFill>
                  <a:schemeClr val="tx1"/>
                </a:solidFill>
                <a:latin typeface="Arial" panose="020B0604020202020204" pitchFamily="34" charset="0"/>
              </a:defRPr>
            </a:lvl1pPr>
            <a:lvl2pPr marL="742950" indent="-285750">
              <a:spcBef>
                <a:spcPct val="20000"/>
              </a:spcBef>
              <a:buFont typeface="Wingdings" panose="05000000000000000000" pitchFamily="2" charset="2"/>
              <a:buChar char="§"/>
              <a:defRPr>
                <a:solidFill>
                  <a:schemeClr val="tx1"/>
                </a:solidFill>
                <a:latin typeface="Arial" panose="020B0604020202020204" pitchFamily="34" charset="0"/>
              </a:defRPr>
            </a:lvl2pPr>
            <a:lvl3pPr marL="1143000" indent="-228600">
              <a:spcBef>
                <a:spcPct val="20000"/>
              </a:spcBef>
              <a:buFont typeface="Wingdings" panose="05000000000000000000" pitchFamily="2" charset="2"/>
              <a:buChar char="§"/>
              <a:defRPr>
                <a:solidFill>
                  <a:schemeClr val="tx1"/>
                </a:solidFill>
                <a:latin typeface="Arial" panose="020B0604020202020204" pitchFamily="34" charset="0"/>
              </a:defRPr>
            </a:lvl3pPr>
            <a:lvl4pPr marL="1600200" indent="-228600">
              <a:spcBef>
                <a:spcPct val="20000"/>
              </a:spcBef>
              <a:buFont typeface="Wingdings" panose="05000000000000000000" pitchFamily="2" charset="2"/>
              <a:buChar char="§"/>
              <a:defRPr sz="1600">
                <a:solidFill>
                  <a:schemeClr val="tx1"/>
                </a:solidFill>
                <a:latin typeface="Arial" panose="020B0604020202020204" pitchFamily="34" charset="0"/>
              </a:defRPr>
            </a:lvl4pPr>
            <a:lvl5pPr marL="2057400" indent="-228600">
              <a:spcBef>
                <a:spcPct val="20000"/>
              </a:spcBef>
              <a:buFont typeface="Wingdings" panose="05000000000000000000" pitchFamily="2" charset="2"/>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16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defRPr/>
            </a:pPr>
            <a:r>
              <a:rPr kumimoji="0" lang="en-GB" altLang="de-DE" sz="2000" b="1" i="0" u="none" strike="noStrike" kern="1200" cap="none" spc="0" normalizeH="0" baseline="0" noProof="0" dirty="0" err="1">
                <a:ln>
                  <a:noFill/>
                </a:ln>
                <a:solidFill>
                  <a:srgbClr val="0000FF"/>
                </a:solidFill>
                <a:effectLst/>
                <a:uLnTx/>
                <a:uFillTx/>
                <a:latin typeface="Arial"/>
                <a:ea typeface="+mn-ea"/>
                <a:cs typeface="+mn-cs"/>
              </a:rPr>
              <a:t>Rotordynamics</a:t>
            </a:r>
            <a:r>
              <a:rPr kumimoji="0" lang="en-GB" altLang="de-DE" sz="2000" b="1" i="0" u="none" strike="noStrike" kern="1200" cap="none" spc="0" normalizeH="0" baseline="0" noProof="0" dirty="0">
                <a:ln>
                  <a:noFill/>
                </a:ln>
                <a:solidFill>
                  <a:srgbClr val="FF0000"/>
                </a:solidFill>
                <a:effectLst/>
                <a:uLnTx/>
                <a:uFillTx/>
                <a:latin typeface="Arial"/>
                <a:ea typeface="+mn-ea"/>
                <a:cs typeface="+mn-cs"/>
              </a:rPr>
              <a:t> </a:t>
            </a:r>
            <a:r>
              <a:rPr kumimoji="0" lang="en-GB" altLang="de-DE" sz="2000" b="0" i="0" u="none" strike="noStrike" kern="1200" cap="none" spc="0" normalizeH="0" baseline="0" noProof="0" dirty="0">
                <a:ln>
                  <a:noFill/>
                </a:ln>
                <a:solidFill>
                  <a:srgbClr val="000000"/>
                </a:solidFill>
                <a:effectLst/>
                <a:uLnTx/>
                <a:uFillTx/>
                <a:latin typeface="Arial"/>
                <a:ea typeface="+mn-ea"/>
                <a:cs typeface="+mn-cs"/>
              </a:rPr>
              <a:t>with</a:t>
            </a:r>
          </a:p>
          <a:p>
            <a:pPr marL="0" marR="0" lvl="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defRPr/>
            </a:pPr>
            <a:r>
              <a:rPr kumimoji="0" lang="en-GB" altLang="de-DE" sz="2000" b="0" i="0" u="none" strike="noStrike" kern="1200" cap="none" spc="0" normalizeH="0" baseline="0" noProof="0" dirty="0">
                <a:ln>
                  <a:noFill/>
                </a:ln>
                <a:solidFill>
                  <a:srgbClr val="000000"/>
                </a:solidFill>
                <a:effectLst/>
                <a:uLnTx/>
                <a:uFillTx/>
                <a:latin typeface="Arial"/>
                <a:ea typeface="+mn-ea"/>
                <a:cs typeface="+mn-cs"/>
              </a:rPr>
              <a:t>Interaction Effects</a:t>
            </a:r>
          </a:p>
        </p:txBody>
      </p:sp>
      <p:sp>
        <p:nvSpPr>
          <p:cNvPr id="15368" name="Line 14">
            <a:extLst>
              <a:ext uri="{FF2B5EF4-FFF2-40B4-BE49-F238E27FC236}">
                <a16:creationId xmlns:a16="http://schemas.microsoft.com/office/drawing/2014/main" id="{114FB135-7AEE-B6C2-5441-3BEDCD928AC3}"/>
              </a:ext>
            </a:extLst>
          </p:cNvPr>
          <p:cNvSpPr>
            <a:spLocks noChangeShapeType="1"/>
          </p:cNvSpPr>
          <p:nvPr/>
        </p:nvSpPr>
        <p:spPr bwMode="auto">
          <a:xfrm flipV="1">
            <a:off x="6837364" y="3592514"/>
            <a:ext cx="2141537" cy="979487"/>
          </a:xfrm>
          <a:prstGeom prst="line">
            <a:avLst/>
          </a:prstGeom>
          <a:noFill/>
          <a:ln w="19050">
            <a:solidFill>
              <a:srgbClr val="FF0000"/>
            </a:solidFill>
            <a:round/>
            <a:headEnd/>
            <a:tailEnd type="oval"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de-DE" sz="1800" b="1" i="0" u="none" strike="noStrike" kern="1200" cap="none" spc="0" normalizeH="0" baseline="0" noProof="0">
              <a:ln>
                <a:noFill/>
              </a:ln>
              <a:solidFill>
                <a:srgbClr val="000000"/>
              </a:solidFill>
              <a:effectLst/>
              <a:uLnTx/>
              <a:uFillTx/>
              <a:latin typeface="Verdana" panose="020B0604030504040204" pitchFamily="34" charset="0"/>
              <a:ea typeface="+mn-ea"/>
              <a:cs typeface="+mn-cs"/>
            </a:endParaRPr>
          </a:p>
        </p:txBody>
      </p:sp>
      <p:sp>
        <p:nvSpPr>
          <p:cNvPr id="15369" name="Line 15">
            <a:extLst>
              <a:ext uri="{FF2B5EF4-FFF2-40B4-BE49-F238E27FC236}">
                <a16:creationId xmlns:a16="http://schemas.microsoft.com/office/drawing/2014/main" id="{0EC0B054-2C63-F6B8-9B66-D334C41048E9}"/>
              </a:ext>
            </a:extLst>
          </p:cNvPr>
          <p:cNvSpPr>
            <a:spLocks noChangeShapeType="1"/>
          </p:cNvSpPr>
          <p:nvPr/>
        </p:nvSpPr>
        <p:spPr bwMode="auto">
          <a:xfrm>
            <a:off x="8978901" y="3592514"/>
            <a:ext cx="658813" cy="979487"/>
          </a:xfrm>
          <a:prstGeom prst="line">
            <a:avLst/>
          </a:prstGeom>
          <a:noFill/>
          <a:ln w="19050">
            <a:solidFill>
              <a:srgbClr val="FF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de-DE" sz="1800" b="1" i="0" u="none" strike="noStrike" kern="1200" cap="none" spc="0" normalizeH="0" baseline="0" noProof="0">
              <a:ln>
                <a:noFill/>
              </a:ln>
              <a:solidFill>
                <a:srgbClr val="000000"/>
              </a:solidFill>
              <a:effectLst/>
              <a:uLnTx/>
              <a:uFillTx/>
              <a:latin typeface="Verdana" panose="020B0604030504040204" pitchFamily="34" charset="0"/>
              <a:ea typeface="+mn-ea"/>
              <a:cs typeface="+mn-cs"/>
            </a:endParaRPr>
          </a:p>
        </p:txBody>
      </p:sp>
      <p:sp>
        <p:nvSpPr>
          <p:cNvPr id="16394" name="Text Box 16">
            <a:extLst>
              <a:ext uri="{FF2B5EF4-FFF2-40B4-BE49-F238E27FC236}">
                <a16:creationId xmlns:a16="http://schemas.microsoft.com/office/drawing/2014/main" id="{46C6A7A9-CEBC-8360-0456-728339CDC2CE}"/>
              </a:ext>
            </a:extLst>
          </p:cNvPr>
          <p:cNvSpPr txBox="1">
            <a:spLocks noChangeArrowheads="1"/>
          </p:cNvSpPr>
          <p:nvPr/>
        </p:nvSpPr>
        <p:spPr bwMode="auto">
          <a:xfrm>
            <a:off x="5328216" y="4572001"/>
            <a:ext cx="3394869" cy="1631216"/>
          </a:xfrm>
          <a:prstGeom prst="rect">
            <a:avLst/>
          </a:prstGeom>
          <a:noFill/>
          <a:ln w="28575">
            <a:solidFill>
              <a:srgbClr val="FF0000"/>
            </a:solidFill>
            <a:miter lim="800000"/>
            <a:headEnd/>
            <a:tailEnd/>
          </a:ln>
          <a:effectLst/>
        </p:spPr>
        <p:txBody>
          <a:bodyPr wrap="square">
            <a:spAutoFit/>
          </a:bodyPr>
          <a:lstStyle>
            <a:lvl1pPr>
              <a:spcBef>
                <a:spcPct val="20000"/>
              </a:spcBef>
              <a:buFont typeface="Wingdings" panose="05000000000000000000" pitchFamily="2" charset="2"/>
              <a:buChar char="§"/>
              <a:defRPr sz="2000">
                <a:solidFill>
                  <a:schemeClr val="tx1"/>
                </a:solidFill>
                <a:latin typeface="Arial" panose="020B0604020202020204" pitchFamily="34" charset="0"/>
              </a:defRPr>
            </a:lvl1pPr>
            <a:lvl2pPr marL="742950" indent="-285750">
              <a:spcBef>
                <a:spcPct val="20000"/>
              </a:spcBef>
              <a:buFont typeface="Wingdings" panose="05000000000000000000" pitchFamily="2" charset="2"/>
              <a:buChar char="§"/>
              <a:defRPr>
                <a:solidFill>
                  <a:schemeClr val="tx1"/>
                </a:solidFill>
                <a:latin typeface="Arial" panose="020B0604020202020204" pitchFamily="34" charset="0"/>
              </a:defRPr>
            </a:lvl2pPr>
            <a:lvl3pPr marL="1143000" indent="-228600">
              <a:spcBef>
                <a:spcPct val="20000"/>
              </a:spcBef>
              <a:buFont typeface="Wingdings" panose="05000000000000000000" pitchFamily="2" charset="2"/>
              <a:buChar char="§"/>
              <a:defRPr>
                <a:solidFill>
                  <a:schemeClr val="tx1"/>
                </a:solidFill>
                <a:latin typeface="Arial" panose="020B0604020202020204" pitchFamily="34" charset="0"/>
              </a:defRPr>
            </a:lvl3pPr>
            <a:lvl4pPr marL="1600200" indent="-228600">
              <a:spcBef>
                <a:spcPct val="20000"/>
              </a:spcBef>
              <a:buFont typeface="Wingdings" panose="05000000000000000000" pitchFamily="2" charset="2"/>
              <a:buChar char="§"/>
              <a:defRPr sz="1600">
                <a:solidFill>
                  <a:schemeClr val="tx1"/>
                </a:solidFill>
                <a:latin typeface="Arial" panose="020B0604020202020204" pitchFamily="34" charset="0"/>
              </a:defRPr>
            </a:lvl4pPr>
            <a:lvl5pPr marL="2057400" indent="-228600">
              <a:spcBef>
                <a:spcPct val="20000"/>
              </a:spcBef>
              <a:buFont typeface="Wingdings" panose="05000000000000000000" pitchFamily="2" charset="2"/>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16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defRPr/>
            </a:pPr>
            <a:r>
              <a:rPr kumimoji="0" lang="en-GB" altLang="de-DE" sz="2000" b="0" i="0" u="none" strike="noStrike" kern="1200" cap="none" spc="0" normalizeH="0" baseline="0" noProof="0" dirty="0">
                <a:ln>
                  <a:noFill/>
                </a:ln>
                <a:solidFill>
                  <a:srgbClr val="0000FF"/>
                </a:solidFill>
                <a:effectLst/>
                <a:uLnTx/>
                <a:uFillTx/>
                <a:latin typeface="Arial"/>
                <a:ea typeface="+mn-ea"/>
                <a:cs typeface="+mn-cs"/>
              </a:rPr>
              <a:t>Unbalance</a:t>
            </a:r>
            <a:r>
              <a:rPr kumimoji="0" lang="en-GB" altLang="de-DE" sz="2000" b="0" i="0" u="none" strike="noStrike" kern="1200" cap="none" spc="0" normalizeH="0" baseline="0" noProof="0" dirty="0">
                <a:ln>
                  <a:noFill/>
                </a:ln>
                <a:solidFill>
                  <a:srgbClr val="000000"/>
                </a:solidFill>
                <a:effectLst/>
                <a:uLnTx/>
                <a:uFillTx/>
                <a:latin typeface="Arial"/>
                <a:ea typeface="+mn-ea"/>
                <a:cs typeface="+mn-cs"/>
              </a:rPr>
              <a:t> Vibrations, </a:t>
            </a:r>
          </a:p>
          <a:p>
            <a:pPr marL="0" marR="0" lvl="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defRPr/>
            </a:pPr>
            <a:r>
              <a:rPr kumimoji="0" lang="en-GB" altLang="de-DE" sz="2000" b="0" i="0" u="none" strike="noStrike" kern="1200" cap="none" spc="0" normalizeH="0" baseline="0" noProof="0" dirty="0">
                <a:ln>
                  <a:noFill/>
                </a:ln>
                <a:solidFill>
                  <a:srgbClr val="000000"/>
                </a:solidFill>
                <a:effectLst/>
                <a:uLnTx/>
                <a:uFillTx/>
                <a:latin typeface="Arial"/>
                <a:ea typeface="+mn-ea"/>
                <a:cs typeface="+mn-cs"/>
              </a:rPr>
              <a:t>Critical Speeds,</a:t>
            </a:r>
          </a:p>
          <a:p>
            <a:pPr marL="0" marR="0" lvl="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defRPr/>
            </a:pPr>
            <a:r>
              <a:rPr kumimoji="0" lang="en-GB" altLang="de-DE" sz="2000" b="0" i="0" u="none" strike="noStrike" kern="1200" cap="none" spc="0" normalizeH="0" baseline="0" noProof="0" dirty="0">
                <a:ln>
                  <a:noFill/>
                </a:ln>
                <a:solidFill>
                  <a:srgbClr val="000000"/>
                </a:solidFill>
                <a:effectLst/>
                <a:uLnTx/>
                <a:uFillTx/>
                <a:latin typeface="Arial"/>
                <a:ea typeface="+mn-ea"/>
                <a:cs typeface="+mn-cs"/>
              </a:rPr>
              <a:t>Vibrations due to </a:t>
            </a:r>
          </a:p>
          <a:p>
            <a:pPr marL="0" marR="0" lvl="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defRPr/>
            </a:pPr>
            <a:r>
              <a:rPr kumimoji="0" lang="en-GB" altLang="de-DE" sz="2000" b="0" i="0" u="none" strike="noStrike" kern="1200" cap="none" spc="0" normalizeH="0" baseline="0" noProof="0" dirty="0">
                <a:ln>
                  <a:noFill/>
                </a:ln>
                <a:solidFill>
                  <a:srgbClr val="0000FF"/>
                </a:solidFill>
                <a:effectLst/>
                <a:uLnTx/>
                <a:uFillTx/>
                <a:latin typeface="Arial"/>
                <a:ea typeface="+mn-ea"/>
                <a:cs typeface="+mn-cs"/>
              </a:rPr>
              <a:t>Rotor Fluid </a:t>
            </a:r>
            <a:r>
              <a:rPr kumimoji="0" lang="en-GB" altLang="de-DE" sz="2000" b="0" i="0" u="none" strike="noStrike" kern="1200" cap="none" spc="0" normalizeH="0" baseline="0" noProof="0" dirty="0">
                <a:ln>
                  <a:noFill/>
                </a:ln>
                <a:solidFill>
                  <a:srgbClr val="000000"/>
                </a:solidFill>
                <a:effectLst/>
                <a:uLnTx/>
                <a:uFillTx/>
                <a:latin typeface="Arial"/>
                <a:ea typeface="+mn-ea"/>
                <a:cs typeface="+mn-cs"/>
              </a:rPr>
              <a:t>Interactions and</a:t>
            </a:r>
          </a:p>
          <a:p>
            <a:pPr marL="0" marR="0" lvl="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defRPr/>
            </a:pPr>
            <a:r>
              <a:rPr kumimoji="0" lang="en-GB" altLang="de-DE" sz="2000" b="0" i="0" u="none" strike="noStrike" kern="1200" cap="none" spc="0" normalizeH="0" baseline="0" noProof="0" dirty="0">
                <a:ln>
                  <a:noFill/>
                </a:ln>
                <a:solidFill>
                  <a:srgbClr val="0000FF"/>
                </a:solidFill>
                <a:effectLst/>
                <a:uLnTx/>
                <a:uFillTx/>
                <a:latin typeface="Arial"/>
                <a:ea typeface="+mn-ea"/>
                <a:cs typeface="+mn-cs"/>
              </a:rPr>
              <a:t>Rotor Structure </a:t>
            </a:r>
            <a:r>
              <a:rPr kumimoji="0" lang="en-GB" altLang="de-DE" sz="2000" b="0" i="0" u="none" strike="noStrike" kern="1200" cap="none" spc="0" normalizeH="0" baseline="0" noProof="0" dirty="0">
                <a:ln>
                  <a:noFill/>
                </a:ln>
                <a:solidFill>
                  <a:srgbClr val="000000"/>
                </a:solidFill>
                <a:effectLst/>
                <a:uLnTx/>
                <a:uFillTx/>
                <a:latin typeface="Arial"/>
                <a:ea typeface="+mn-ea"/>
                <a:cs typeface="+mn-cs"/>
              </a:rPr>
              <a:t>Interactions</a:t>
            </a:r>
          </a:p>
        </p:txBody>
      </p:sp>
      <p:sp>
        <p:nvSpPr>
          <p:cNvPr id="16395" name="Text Box 17">
            <a:extLst>
              <a:ext uri="{FF2B5EF4-FFF2-40B4-BE49-F238E27FC236}">
                <a16:creationId xmlns:a16="http://schemas.microsoft.com/office/drawing/2014/main" id="{FF6FEDD2-9360-C04B-8864-457B0DA6BC90}"/>
              </a:ext>
            </a:extLst>
          </p:cNvPr>
          <p:cNvSpPr txBox="1">
            <a:spLocks noChangeArrowheads="1"/>
          </p:cNvSpPr>
          <p:nvPr/>
        </p:nvSpPr>
        <p:spPr bwMode="auto">
          <a:xfrm>
            <a:off x="9127899" y="4572001"/>
            <a:ext cx="1608137" cy="1323975"/>
          </a:xfrm>
          <a:prstGeom prst="rect">
            <a:avLst/>
          </a:prstGeom>
          <a:noFill/>
          <a:ln w="28575">
            <a:solidFill>
              <a:srgbClr val="FF0000"/>
            </a:solidFill>
            <a:miter lim="800000"/>
            <a:headEnd/>
            <a:tailEnd/>
          </a:ln>
          <a:effectLst/>
        </p:spPr>
        <p:txBody>
          <a:bodyPr>
            <a:spAutoFit/>
          </a:bodyPr>
          <a:lstStyle>
            <a:lvl1pPr>
              <a:spcBef>
                <a:spcPct val="20000"/>
              </a:spcBef>
              <a:buFont typeface="Wingdings" panose="05000000000000000000" pitchFamily="2" charset="2"/>
              <a:buChar char="§"/>
              <a:defRPr sz="2000">
                <a:solidFill>
                  <a:schemeClr val="tx1"/>
                </a:solidFill>
                <a:latin typeface="Arial" panose="020B0604020202020204" pitchFamily="34" charset="0"/>
              </a:defRPr>
            </a:lvl1pPr>
            <a:lvl2pPr marL="742950" indent="-285750">
              <a:spcBef>
                <a:spcPct val="20000"/>
              </a:spcBef>
              <a:buFont typeface="Wingdings" panose="05000000000000000000" pitchFamily="2" charset="2"/>
              <a:buChar char="§"/>
              <a:defRPr>
                <a:solidFill>
                  <a:schemeClr val="tx1"/>
                </a:solidFill>
                <a:latin typeface="Arial" panose="020B0604020202020204" pitchFamily="34" charset="0"/>
              </a:defRPr>
            </a:lvl2pPr>
            <a:lvl3pPr marL="1143000" indent="-228600">
              <a:spcBef>
                <a:spcPct val="20000"/>
              </a:spcBef>
              <a:buFont typeface="Wingdings" panose="05000000000000000000" pitchFamily="2" charset="2"/>
              <a:buChar char="§"/>
              <a:defRPr>
                <a:solidFill>
                  <a:schemeClr val="tx1"/>
                </a:solidFill>
                <a:latin typeface="Arial" panose="020B0604020202020204" pitchFamily="34" charset="0"/>
              </a:defRPr>
            </a:lvl3pPr>
            <a:lvl4pPr marL="1600200" indent="-228600">
              <a:spcBef>
                <a:spcPct val="20000"/>
              </a:spcBef>
              <a:buFont typeface="Wingdings" panose="05000000000000000000" pitchFamily="2" charset="2"/>
              <a:buChar char="§"/>
              <a:defRPr sz="1600">
                <a:solidFill>
                  <a:schemeClr val="tx1"/>
                </a:solidFill>
                <a:latin typeface="Arial" panose="020B0604020202020204" pitchFamily="34" charset="0"/>
              </a:defRPr>
            </a:lvl4pPr>
            <a:lvl5pPr marL="2057400" indent="-228600">
              <a:spcBef>
                <a:spcPct val="20000"/>
              </a:spcBef>
              <a:buFont typeface="Wingdings" panose="05000000000000000000" pitchFamily="2" charset="2"/>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16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defRPr/>
            </a:pPr>
            <a:r>
              <a:rPr kumimoji="0" lang="en-GB" altLang="de-DE" sz="2000" b="0" i="0" u="none" strike="noStrike" kern="1200" cap="none" spc="0" normalizeH="0" baseline="0" noProof="0" dirty="0">
                <a:ln>
                  <a:noFill/>
                </a:ln>
                <a:solidFill>
                  <a:srgbClr val="000000"/>
                </a:solidFill>
                <a:effectLst/>
                <a:uLnTx/>
                <a:uFillTx/>
                <a:latin typeface="Arial"/>
                <a:ea typeface="+mn-ea"/>
                <a:cs typeface="+mn-cs"/>
              </a:rPr>
              <a:t>Rotor </a:t>
            </a:r>
            <a:r>
              <a:rPr kumimoji="0" lang="en-GB" altLang="de-DE" sz="2000" b="0" i="0" u="none" strike="noStrike" kern="1200" cap="none" spc="0" normalizeH="0" baseline="0" noProof="0" dirty="0">
                <a:ln>
                  <a:noFill/>
                </a:ln>
                <a:solidFill>
                  <a:srgbClr val="0000FF"/>
                </a:solidFill>
                <a:effectLst/>
                <a:uLnTx/>
                <a:uFillTx/>
                <a:latin typeface="Arial"/>
                <a:ea typeface="+mn-ea"/>
                <a:cs typeface="+mn-cs"/>
              </a:rPr>
              <a:t>Instability</a:t>
            </a:r>
            <a:r>
              <a:rPr kumimoji="0" lang="en-GB" altLang="de-DE" sz="2000" b="0" i="0" u="none" strike="noStrike" kern="1200" cap="none" spc="0" normalizeH="0" baseline="0" noProof="0" dirty="0">
                <a:ln>
                  <a:noFill/>
                </a:ln>
                <a:solidFill>
                  <a:srgbClr val="000000"/>
                </a:solidFill>
                <a:effectLst/>
                <a:uLnTx/>
                <a:uFillTx/>
                <a:latin typeface="Arial"/>
                <a:ea typeface="+mn-ea"/>
                <a:cs typeface="+mn-cs"/>
              </a:rPr>
              <a:t>,</a:t>
            </a:r>
          </a:p>
          <a:p>
            <a:pPr marL="0" marR="0" lvl="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defRPr/>
            </a:pPr>
            <a:r>
              <a:rPr kumimoji="0" lang="en-GB" altLang="de-DE" sz="2000" b="0" i="0" u="none" strike="noStrike" kern="1200" cap="none" spc="0" normalizeH="0" baseline="0" noProof="0" dirty="0">
                <a:ln>
                  <a:noFill/>
                </a:ln>
                <a:solidFill>
                  <a:srgbClr val="000000"/>
                </a:solidFill>
                <a:effectLst/>
                <a:uLnTx/>
                <a:uFillTx/>
                <a:latin typeface="Arial"/>
                <a:ea typeface="+mn-ea"/>
                <a:cs typeface="+mn-cs"/>
              </a:rPr>
              <a:t>Whirl and Whip</a:t>
            </a:r>
          </a:p>
        </p:txBody>
      </p:sp>
      <p:pic>
        <p:nvPicPr>
          <p:cNvPr id="2" name="Grafik 1">
            <a:extLst>
              <a:ext uri="{FF2B5EF4-FFF2-40B4-BE49-F238E27FC236}">
                <a16:creationId xmlns:a16="http://schemas.microsoft.com/office/drawing/2014/main" id="{B4C56102-EA1F-169C-04B6-E9B196D5549F}"/>
              </a:ext>
            </a:extLst>
          </p:cNvPr>
          <p:cNvPicPr>
            <a:picLocks noChangeAspect="1"/>
          </p:cNvPicPr>
          <p:nvPr/>
        </p:nvPicPr>
        <p:blipFill>
          <a:blip r:embed="rId3"/>
          <a:stretch>
            <a:fillRect/>
          </a:stretch>
        </p:blipFill>
        <p:spPr>
          <a:xfrm>
            <a:off x="356409" y="1798569"/>
            <a:ext cx="4658407" cy="3701144"/>
          </a:xfrm>
          <a:prstGeom prst="rect">
            <a:avLst/>
          </a:prstGeom>
        </p:spPr>
      </p:pic>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el 3">
            <a:extLst>
              <a:ext uri="{FF2B5EF4-FFF2-40B4-BE49-F238E27FC236}">
                <a16:creationId xmlns:a16="http://schemas.microsoft.com/office/drawing/2014/main" id="{8EC3160C-2A66-E772-1B65-C360C8E9B60A}"/>
              </a:ext>
            </a:extLst>
          </p:cNvPr>
          <p:cNvSpPr txBox="1">
            <a:spLocks/>
          </p:cNvSpPr>
          <p:nvPr/>
        </p:nvSpPr>
        <p:spPr bwMode="auto">
          <a:xfrm>
            <a:off x="1893888" y="2555875"/>
            <a:ext cx="6877050" cy="838200"/>
          </a:xfrm>
          <a:prstGeom prst="rect">
            <a:avLst/>
          </a:prstGeom>
          <a:noFill/>
          <a:ln w="9525">
            <a:noFill/>
            <a:miter lim="800000"/>
            <a:headEnd/>
            <a:tailEnd/>
          </a:ln>
          <a:effectLst/>
        </p:spPr>
        <p:txBody>
          <a:bodyPr lIns="0" tIns="0" rIns="0" bIns="0"/>
          <a:lstStyle/>
          <a:p>
            <a:pPr marL="0" marR="0" lvl="0" indent="0" algn="l" defTabSz="914400" rtl="0" eaLnBrk="1" fontAlgn="base" latinLnBrk="0" hangingPunct="1">
              <a:lnSpc>
                <a:spcPct val="100000"/>
              </a:lnSpc>
              <a:spcBef>
                <a:spcPct val="0"/>
              </a:spcBef>
              <a:spcAft>
                <a:spcPct val="0"/>
              </a:spcAft>
              <a:buClrTx/>
              <a:buSzTx/>
              <a:buFontTx/>
              <a:buNone/>
              <a:tabLst/>
              <a:defRPr/>
            </a:pPr>
            <a:br>
              <a:rPr kumimoji="0" lang="de-DE" sz="2000" b="1" i="0" u="none" strike="noStrike" kern="0" cap="none" spc="0" normalizeH="0" baseline="0" noProof="0" dirty="0">
                <a:ln>
                  <a:noFill/>
                </a:ln>
                <a:solidFill>
                  <a:srgbClr val="000000"/>
                </a:solidFill>
                <a:effectLst/>
                <a:uLnTx/>
                <a:uFillTx/>
                <a:latin typeface="Arial"/>
                <a:ea typeface="+mn-ea"/>
                <a:cs typeface="+mn-cs"/>
              </a:rPr>
            </a:br>
            <a:r>
              <a:rPr kumimoji="0" lang="de-DE" sz="2000" b="1" i="0" u="none" strike="noStrike" kern="0" cap="none" spc="0" normalizeH="0" baseline="0" noProof="0" dirty="0">
                <a:ln>
                  <a:noFill/>
                </a:ln>
                <a:solidFill>
                  <a:srgbClr val="000000"/>
                </a:solidFill>
                <a:effectLst/>
                <a:uLnTx/>
                <a:uFillTx/>
                <a:latin typeface="Arial"/>
                <a:ea typeface="+mn-ea"/>
                <a:cs typeface="+mn-cs"/>
              </a:rPr>
              <a:t>		</a:t>
            </a:r>
          </a:p>
        </p:txBody>
      </p:sp>
      <p:sp>
        <p:nvSpPr>
          <p:cNvPr id="5" name="Textfeld 4">
            <a:extLst>
              <a:ext uri="{FF2B5EF4-FFF2-40B4-BE49-F238E27FC236}">
                <a16:creationId xmlns:a16="http://schemas.microsoft.com/office/drawing/2014/main" id="{07240E44-DC61-FF18-3D6B-E62916EA6331}"/>
              </a:ext>
            </a:extLst>
          </p:cNvPr>
          <p:cNvSpPr txBox="1">
            <a:spLocks noChangeArrowheads="1"/>
          </p:cNvSpPr>
          <p:nvPr/>
        </p:nvSpPr>
        <p:spPr bwMode="auto">
          <a:xfrm>
            <a:off x="785348" y="1097895"/>
            <a:ext cx="11020572" cy="5940088"/>
          </a:xfrm>
          <a:prstGeom prst="rect">
            <a:avLst/>
          </a:prstGeom>
          <a:noFill/>
          <a:ln>
            <a:noFill/>
          </a:ln>
        </p:spPr>
        <p:txBody>
          <a:bodyPr wrap="square">
            <a:spAutoFit/>
          </a:bodyPr>
          <a:lstStyle>
            <a:lvl1pPr marL="361950" indent="-361950" eaLnBrk="0" hangingPunct="0">
              <a:defRPr b="1">
                <a:solidFill>
                  <a:schemeClr val="tx1"/>
                </a:solidFill>
                <a:latin typeface="Verdana" pitchFamily="34" charset="0"/>
              </a:defRPr>
            </a:lvl1pPr>
            <a:lvl2pPr marL="742950" indent="-285750" eaLnBrk="0" hangingPunct="0">
              <a:defRPr b="1">
                <a:solidFill>
                  <a:schemeClr val="tx1"/>
                </a:solidFill>
                <a:latin typeface="Verdana" pitchFamily="34" charset="0"/>
              </a:defRPr>
            </a:lvl2pPr>
            <a:lvl3pPr marL="1143000" indent="-228600" eaLnBrk="0" hangingPunct="0">
              <a:defRPr b="1">
                <a:solidFill>
                  <a:schemeClr val="tx1"/>
                </a:solidFill>
                <a:latin typeface="Verdana" pitchFamily="34" charset="0"/>
              </a:defRPr>
            </a:lvl3pPr>
            <a:lvl4pPr marL="1600200" indent="-228600" eaLnBrk="0" hangingPunct="0">
              <a:defRPr b="1">
                <a:solidFill>
                  <a:schemeClr val="tx1"/>
                </a:solidFill>
                <a:latin typeface="Verdana" pitchFamily="34" charset="0"/>
              </a:defRPr>
            </a:lvl4pPr>
            <a:lvl5pPr marL="2057400" indent="-228600" eaLnBrk="0" hangingPunct="0">
              <a:defRPr b="1">
                <a:solidFill>
                  <a:schemeClr val="tx1"/>
                </a:solidFill>
                <a:latin typeface="Verdana" pitchFamily="34" charset="0"/>
              </a:defRPr>
            </a:lvl5pPr>
            <a:lvl6pPr marL="2514600" indent="-228600" eaLnBrk="0" fontAlgn="base" hangingPunct="0">
              <a:spcBef>
                <a:spcPct val="0"/>
              </a:spcBef>
              <a:spcAft>
                <a:spcPct val="0"/>
              </a:spcAft>
              <a:defRPr b="1">
                <a:solidFill>
                  <a:schemeClr val="tx1"/>
                </a:solidFill>
                <a:latin typeface="Verdana" pitchFamily="34" charset="0"/>
              </a:defRPr>
            </a:lvl6pPr>
            <a:lvl7pPr marL="2971800" indent="-228600" eaLnBrk="0" fontAlgn="base" hangingPunct="0">
              <a:spcBef>
                <a:spcPct val="0"/>
              </a:spcBef>
              <a:spcAft>
                <a:spcPct val="0"/>
              </a:spcAft>
              <a:defRPr b="1">
                <a:solidFill>
                  <a:schemeClr val="tx1"/>
                </a:solidFill>
                <a:latin typeface="Verdana" pitchFamily="34" charset="0"/>
              </a:defRPr>
            </a:lvl7pPr>
            <a:lvl8pPr marL="3429000" indent="-228600" eaLnBrk="0" fontAlgn="base" hangingPunct="0">
              <a:spcBef>
                <a:spcPct val="0"/>
              </a:spcBef>
              <a:spcAft>
                <a:spcPct val="0"/>
              </a:spcAft>
              <a:defRPr b="1">
                <a:solidFill>
                  <a:schemeClr val="tx1"/>
                </a:solidFill>
                <a:latin typeface="Verdana" pitchFamily="34" charset="0"/>
              </a:defRPr>
            </a:lvl8pPr>
            <a:lvl9pPr marL="3886200" indent="-228600" eaLnBrk="0" fontAlgn="base" hangingPunct="0">
              <a:spcBef>
                <a:spcPct val="0"/>
              </a:spcBef>
              <a:spcAft>
                <a:spcPct val="0"/>
              </a:spcAft>
              <a:defRPr b="1">
                <a:solidFill>
                  <a:schemeClr val="tx1"/>
                </a:solidFill>
                <a:latin typeface="Verdana"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de-DE" altLang="de-DE" sz="2000" b="1" i="0" u="none" strike="noStrike" kern="1200" cap="none" spc="0" normalizeH="0" baseline="0" noProof="0" dirty="0">
              <a:ln>
                <a:noFill/>
              </a:ln>
              <a:solidFill>
                <a:srgbClr val="000000"/>
              </a:solidFill>
              <a:effectLst/>
              <a:uLnTx/>
              <a:uFillTx/>
              <a:latin typeface="Arial" charset="0"/>
              <a:ea typeface="+mn-ea"/>
              <a:cs typeface="+mn-cs"/>
            </a:endParaRPr>
          </a:p>
          <a:p>
            <a:pPr marL="361950" marR="0" lvl="0" indent="-361950" algn="l" defTabSz="914400" rtl="0" eaLnBrk="1" fontAlgn="base" latinLnBrk="0" hangingPunct="1">
              <a:lnSpc>
                <a:spcPct val="100000"/>
              </a:lnSpc>
              <a:spcBef>
                <a:spcPct val="0"/>
              </a:spcBef>
              <a:spcAft>
                <a:spcPct val="0"/>
              </a:spcAft>
              <a:buClrTx/>
              <a:buSzTx/>
              <a:buFont typeface="Wingdings" pitchFamily="2" charset="2"/>
              <a:buChar char="Ø"/>
              <a:tabLst/>
              <a:defRPr/>
            </a:pPr>
            <a:r>
              <a:rPr kumimoji="0" lang="de-DE" altLang="de-DE" sz="2400" b="1" i="0" u="none" strike="noStrike" kern="1200" cap="none" spc="0" normalizeH="0" baseline="0" noProof="0" dirty="0" err="1">
                <a:ln>
                  <a:noFill/>
                </a:ln>
                <a:effectLst/>
                <a:uLnTx/>
                <a:uFillTx/>
                <a:latin typeface="Arial" charset="0"/>
                <a:ea typeface="+mn-ea"/>
                <a:cs typeface="+mn-cs"/>
              </a:rPr>
              <a:t>Vertical</a:t>
            </a:r>
            <a:r>
              <a:rPr kumimoji="0" lang="de-DE" altLang="de-DE" sz="2400" b="1" i="0" u="none" strike="noStrike" kern="1200" cap="none" spc="0" normalizeH="0" baseline="0" noProof="0" dirty="0">
                <a:ln>
                  <a:noFill/>
                </a:ln>
                <a:effectLst/>
                <a:uLnTx/>
                <a:uFillTx/>
                <a:latin typeface="Arial" charset="0"/>
                <a:ea typeface="+mn-ea"/>
                <a:cs typeface="+mn-cs"/>
              </a:rPr>
              <a:t> and Horizontal Pump</a:t>
            </a:r>
            <a:r>
              <a:rPr kumimoji="0" lang="de-DE" altLang="de-DE" sz="2400" b="1" i="0" u="none" strike="noStrike" kern="1200" cap="none" spc="0" normalizeH="0" noProof="0" dirty="0">
                <a:ln>
                  <a:noFill/>
                </a:ln>
                <a:effectLst/>
                <a:uLnTx/>
                <a:uFillTx/>
                <a:latin typeface="Arial" charset="0"/>
                <a:ea typeface="+mn-ea"/>
                <a:cs typeface="+mn-cs"/>
              </a:rPr>
              <a:t> Systems in </a:t>
            </a:r>
            <a:r>
              <a:rPr kumimoji="0" lang="de-DE" altLang="de-DE" sz="2400" b="1" i="0" u="none" strike="noStrike" kern="1200" cap="none" spc="0" normalizeH="0" noProof="0" dirty="0" err="1">
                <a:ln>
                  <a:noFill/>
                </a:ln>
                <a:effectLst/>
                <a:uLnTx/>
                <a:uFillTx/>
                <a:latin typeface="Arial" charset="0"/>
                <a:ea typeface="+mn-ea"/>
                <a:cs typeface="+mn-cs"/>
              </a:rPr>
              <a:t>Nuclear</a:t>
            </a:r>
            <a:r>
              <a:rPr kumimoji="0" lang="de-DE" altLang="de-DE" sz="2400" b="1" i="0" u="none" strike="noStrike" kern="1200" cap="none" spc="0" normalizeH="0" noProof="0" dirty="0">
                <a:ln>
                  <a:noFill/>
                </a:ln>
                <a:effectLst/>
                <a:uLnTx/>
                <a:uFillTx/>
                <a:latin typeface="Arial" charset="0"/>
                <a:ea typeface="+mn-ea"/>
                <a:cs typeface="+mn-cs"/>
              </a:rPr>
              <a:t> Power Plants</a:t>
            </a:r>
            <a:endParaRPr kumimoji="0" lang="de-DE" altLang="de-DE" sz="2400" b="1" i="0" u="none" strike="noStrike" kern="1200" cap="none" spc="0" normalizeH="0" baseline="0" noProof="0" dirty="0">
              <a:ln>
                <a:noFill/>
              </a:ln>
              <a:effectLst/>
              <a:uLnTx/>
              <a:uFillTx/>
              <a:latin typeface="Arial" charset="0"/>
              <a:ea typeface="+mn-ea"/>
              <a:cs typeface="+mn-cs"/>
            </a:endParaRPr>
          </a:p>
          <a:p>
            <a:pPr marL="361950" marR="0" lvl="0" indent="-361950" algn="l" defTabSz="914400" rtl="0" eaLnBrk="1" fontAlgn="base" latinLnBrk="0" hangingPunct="1">
              <a:lnSpc>
                <a:spcPct val="100000"/>
              </a:lnSpc>
              <a:spcBef>
                <a:spcPct val="0"/>
              </a:spcBef>
              <a:spcAft>
                <a:spcPct val="0"/>
              </a:spcAft>
              <a:buClrTx/>
              <a:buSzTx/>
              <a:buFont typeface="Wingdings" pitchFamily="2" charset="2"/>
              <a:buChar char="Ø"/>
              <a:tabLst/>
              <a:defRPr/>
            </a:pPr>
            <a:endParaRPr kumimoji="0" lang="de-DE" altLang="de-DE" sz="2400" b="1" i="0" u="none" strike="noStrike" kern="1200" cap="none" spc="0" normalizeH="0" baseline="0" noProof="0" dirty="0">
              <a:ln>
                <a:noFill/>
              </a:ln>
              <a:solidFill>
                <a:srgbClr val="000000"/>
              </a:solidFill>
              <a:effectLst/>
              <a:uLnTx/>
              <a:uFillTx/>
              <a:latin typeface="Arial" charset="0"/>
              <a:ea typeface="+mn-ea"/>
              <a:cs typeface="+mn-cs"/>
            </a:endParaRPr>
          </a:p>
          <a:p>
            <a:pPr marL="361950" marR="0" lvl="0" indent="-361950" algn="l" defTabSz="914400" rtl="0" eaLnBrk="1" fontAlgn="base" latinLnBrk="0" hangingPunct="1">
              <a:lnSpc>
                <a:spcPct val="100000"/>
              </a:lnSpc>
              <a:spcBef>
                <a:spcPct val="0"/>
              </a:spcBef>
              <a:spcAft>
                <a:spcPct val="0"/>
              </a:spcAft>
              <a:buClrTx/>
              <a:buSzTx/>
              <a:buFont typeface="Wingdings" pitchFamily="2" charset="2"/>
              <a:buChar char="Ø"/>
              <a:tabLst/>
              <a:defRPr/>
            </a:pPr>
            <a:r>
              <a:rPr kumimoji="0" lang="de-DE" altLang="de-DE" sz="2400" b="1" i="0" u="none" strike="noStrike" kern="1200" cap="none" spc="0" normalizeH="0" baseline="0" noProof="0" dirty="0">
                <a:ln>
                  <a:noFill/>
                </a:ln>
                <a:effectLst/>
                <a:uLnTx/>
                <a:uFillTx/>
                <a:latin typeface="Arial" charset="0"/>
                <a:ea typeface="+mn-ea"/>
                <a:cs typeface="+mn-cs"/>
              </a:rPr>
              <a:t>A </a:t>
            </a:r>
            <a:r>
              <a:rPr kumimoji="0" lang="de-DE" altLang="de-DE" sz="2400" b="1" i="0" u="none" strike="noStrike" kern="1200" cap="none" spc="0" normalizeH="0" baseline="0" noProof="0" dirty="0" err="1">
                <a:ln>
                  <a:noFill/>
                </a:ln>
                <a:effectLst/>
                <a:uLnTx/>
                <a:uFillTx/>
                <a:latin typeface="Arial" charset="0"/>
                <a:ea typeface="+mn-ea"/>
                <a:cs typeface="+mn-cs"/>
              </a:rPr>
              <a:t>typical</a:t>
            </a:r>
            <a:r>
              <a:rPr kumimoji="0" lang="de-DE" altLang="de-DE" sz="2400" b="1" i="0" u="none" strike="noStrike" kern="1200" cap="none" spc="0" normalizeH="0" baseline="0" noProof="0" dirty="0">
                <a:ln>
                  <a:noFill/>
                </a:ln>
                <a:effectLst/>
                <a:uLnTx/>
                <a:uFillTx/>
                <a:latin typeface="Arial" charset="0"/>
                <a:ea typeface="+mn-ea"/>
                <a:cs typeface="+mn-cs"/>
              </a:rPr>
              <a:t>  Horizontal </a:t>
            </a:r>
            <a:r>
              <a:rPr kumimoji="0" lang="de-DE" altLang="de-DE" sz="2400" b="1" i="0" u="none" strike="noStrike" kern="1200" cap="none" spc="0" normalizeH="0" baseline="0" noProof="0" dirty="0" err="1">
                <a:ln>
                  <a:noFill/>
                </a:ln>
                <a:effectLst/>
                <a:uLnTx/>
                <a:uFillTx/>
                <a:latin typeface="Arial" charset="0"/>
                <a:ea typeface="+mn-ea"/>
                <a:cs typeface="+mn-cs"/>
              </a:rPr>
              <a:t>Feedwater</a:t>
            </a:r>
            <a:r>
              <a:rPr kumimoji="0" lang="de-DE" altLang="de-DE" sz="2400" b="1" i="0" u="none" strike="noStrike" kern="1200" cap="none" spc="0" normalizeH="0" baseline="0" noProof="0" dirty="0">
                <a:ln>
                  <a:noFill/>
                </a:ln>
                <a:effectLst/>
                <a:uLnTx/>
                <a:uFillTx/>
                <a:latin typeface="Arial" charset="0"/>
                <a:ea typeface="+mn-ea"/>
                <a:cs typeface="+mn-cs"/>
              </a:rPr>
              <a:t> Pump</a:t>
            </a:r>
          </a:p>
          <a:p>
            <a:pPr marL="0" marR="0" lvl="0" indent="0" algn="l" defTabSz="914400" rtl="0" eaLnBrk="1" fontAlgn="base" latinLnBrk="0" hangingPunct="1">
              <a:lnSpc>
                <a:spcPct val="100000"/>
              </a:lnSpc>
              <a:spcBef>
                <a:spcPct val="0"/>
              </a:spcBef>
              <a:spcAft>
                <a:spcPct val="0"/>
              </a:spcAft>
              <a:buClrTx/>
              <a:buSzTx/>
              <a:tabLst/>
              <a:defRPr/>
            </a:pPr>
            <a:endParaRPr kumimoji="0" lang="de-DE" altLang="de-DE" sz="2400" b="1" i="0" u="none" strike="noStrike" kern="1200" cap="none" spc="0" normalizeH="0" baseline="0" noProof="0" dirty="0">
              <a:ln>
                <a:noFill/>
              </a:ln>
              <a:solidFill>
                <a:srgbClr val="0000FF"/>
              </a:solidFill>
              <a:effectLst/>
              <a:uLnTx/>
              <a:uFillTx/>
              <a:latin typeface="Arial" charset="0"/>
              <a:ea typeface="+mn-ea"/>
              <a:cs typeface="+mn-cs"/>
            </a:endParaRPr>
          </a:p>
          <a:p>
            <a:pPr marL="361950" marR="0" lvl="0" indent="-361950" algn="l" defTabSz="914400" rtl="0" eaLnBrk="1" fontAlgn="base" latinLnBrk="0" hangingPunct="1">
              <a:lnSpc>
                <a:spcPct val="100000"/>
              </a:lnSpc>
              <a:spcBef>
                <a:spcPct val="0"/>
              </a:spcBef>
              <a:spcAft>
                <a:spcPct val="0"/>
              </a:spcAft>
              <a:buClrTx/>
              <a:buSzTx/>
              <a:buFont typeface="Wingdings" pitchFamily="2" charset="2"/>
              <a:buChar char="Ø"/>
              <a:tabLst/>
              <a:defRPr/>
            </a:pPr>
            <a:r>
              <a:rPr kumimoji="0" lang="de-DE" altLang="de-DE" sz="2400" b="1" i="0" u="none" strike="noStrike" kern="1200" cap="none" spc="0" normalizeH="0" baseline="0" noProof="0" dirty="0">
                <a:ln>
                  <a:noFill/>
                </a:ln>
                <a:solidFill>
                  <a:srgbClr val="0000FF"/>
                </a:solidFill>
                <a:effectLst/>
                <a:uLnTx/>
                <a:uFillTx/>
                <a:latin typeface="Arial" charset="0"/>
                <a:ea typeface="+mn-ea"/>
                <a:cs typeface="+mn-cs"/>
              </a:rPr>
              <a:t>Lateral </a:t>
            </a:r>
            <a:r>
              <a:rPr kumimoji="0" lang="de-DE" altLang="de-DE" sz="2400" b="1" i="0" u="none" strike="noStrike" kern="1200" cap="none" spc="0" normalizeH="0" baseline="0" noProof="0" dirty="0" err="1">
                <a:ln>
                  <a:noFill/>
                </a:ln>
                <a:solidFill>
                  <a:srgbClr val="0000FF"/>
                </a:solidFill>
                <a:effectLst/>
                <a:uLnTx/>
                <a:uFillTx/>
                <a:latin typeface="Arial" charset="0"/>
                <a:ea typeface="+mn-ea"/>
                <a:cs typeface="+mn-cs"/>
              </a:rPr>
              <a:t>Vibrations</a:t>
            </a:r>
            <a:r>
              <a:rPr kumimoji="0" lang="de-DE" altLang="de-DE" sz="2400" b="1" i="0" u="none" strike="noStrike" kern="1200" cap="none" spc="0" normalizeH="0" baseline="0" noProof="0" dirty="0">
                <a:ln>
                  <a:noFill/>
                </a:ln>
                <a:solidFill>
                  <a:srgbClr val="0000FF"/>
                </a:solidFill>
                <a:effectLst/>
                <a:uLnTx/>
                <a:uFillTx/>
                <a:latin typeface="Arial" charset="0"/>
                <a:ea typeface="+mn-ea"/>
                <a:cs typeface="+mn-cs"/>
              </a:rPr>
              <a:t> </a:t>
            </a:r>
            <a:r>
              <a:rPr kumimoji="0" lang="de-DE" altLang="de-DE" sz="2400" b="1" i="0" u="none" strike="noStrike" kern="1200" cap="none" spc="0" normalizeH="0" baseline="0" noProof="0" dirty="0" err="1">
                <a:ln>
                  <a:noFill/>
                </a:ln>
                <a:solidFill>
                  <a:srgbClr val="0000FF"/>
                </a:solidFill>
                <a:effectLst/>
                <a:uLnTx/>
                <a:uFillTx/>
                <a:latin typeface="Arial" charset="0"/>
                <a:ea typeface="+mn-ea"/>
                <a:cs typeface="+mn-cs"/>
              </a:rPr>
              <a:t>of</a:t>
            </a:r>
            <a:r>
              <a:rPr kumimoji="0" lang="de-DE" altLang="de-DE" sz="2400" b="1" i="0" u="none" strike="noStrike" kern="1200" cap="none" spc="0" normalizeH="0" baseline="0" noProof="0" dirty="0">
                <a:ln>
                  <a:noFill/>
                </a:ln>
                <a:solidFill>
                  <a:srgbClr val="0000FF"/>
                </a:solidFill>
                <a:effectLst/>
                <a:uLnTx/>
                <a:uFillTx/>
                <a:latin typeface="Arial" charset="0"/>
                <a:ea typeface="+mn-ea"/>
                <a:cs typeface="+mn-cs"/>
              </a:rPr>
              <a:t> </a:t>
            </a:r>
            <a:r>
              <a:rPr kumimoji="0" lang="de-DE" altLang="de-DE" sz="2400" b="1" i="0" u="none" strike="noStrike" kern="1200" cap="none" spc="0" normalizeH="0" baseline="0" noProof="0" dirty="0" err="1">
                <a:ln>
                  <a:noFill/>
                </a:ln>
                <a:solidFill>
                  <a:srgbClr val="0000FF"/>
                </a:solidFill>
                <a:effectLst/>
                <a:uLnTx/>
                <a:uFillTx/>
                <a:latin typeface="Arial" charset="0"/>
                <a:ea typeface="+mn-ea"/>
                <a:cs typeface="+mn-cs"/>
              </a:rPr>
              <a:t>the</a:t>
            </a:r>
            <a:r>
              <a:rPr kumimoji="0" lang="de-DE" altLang="de-DE" sz="2400" b="1" i="0" u="none" strike="noStrike" kern="1200" cap="none" spc="0" normalizeH="0" baseline="0" noProof="0" dirty="0">
                <a:ln>
                  <a:noFill/>
                </a:ln>
                <a:solidFill>
                  <a:srgbClr val="0000FF"/>
                </a:solidFill>
                <a:effectLst/>
                <a:uLnTx/>
                <a:uFillTx/>
                <a:latin typeface="Arial" charset="0"/>
                <a:ea typeface="+mn-ea"/>
                <a:cs typeface="+mn-cs"/>
              </a:rPr>
              <a:t> Horizontal </a:t>
            </a:r>
            <a:r>
              <a:rPr kumimoji="0" lang="de-DE" altLang="de-DE" sz="2400" b="1" i="0" u="none" strike="noStrike" kern="1200" cap="none" spc="0" normalizeH="0" baseline="0" noProof="0" dirty="0" err="1">
                <a:ln>
                  <a:noFill/>
                </a:ln>
                <a:solidFill>
                  <a:srgbClr val="0000FF"/>
                </a:solidFill>
                <a:effectLst/>
                <a:uLnTx/>
                <a:uFillTx/>
                <a:latin typeface="Arial" charset="0"/>
                <a:ea typeface="+mn-ea"/>
                <a:cs typeface="+mn-cs"/>
              </a:rPr>
              <a:t>Feedwater</a:t>
            </a:r>
            <a:r>
              <a:rPr kumimoji="0" lang="de-DE" altLang="de-DE" sz="2400" b="1" i="0" u="none" strike="noStrike" kern="1200" cap="none" spc="0" normalizeH="0" baseline="0" noProof="0" dirty="0">
                <a:ln>
                  <a:noFill/>
                </a:ln>
                <a:solidFill>
                  <a:srgbClr val="0000FF"/>
                </a:solidFill>
                <a:effectLst/>
                <a:uLnTx/>
                <a:uFillTx/>
                <a:latin typeface="Arial" charset="0"/>
                <a:ea typeface="+mn-ea"/>
                <a:cs typeface="+mn-cs"/>
              </a:rPr>
              <a:t> Pump</a:t>
            </a:r>
          </a:p>
          <a:p>
            <a:pPr marL="361950" marR="0" lvl="0" indent="-361950" algn="l" defTabSz="914400" rtl="0" eaLnBrk="1" fontAlgn="base" latinLnBrk="0" hangingPunct="1">
              <a:lnSpc>
                <a:spcPct val="100000"/>
              </a:lnSpc>
              <a:spcBef>
                <a:spcPct val="0"/>
              </a:spcBef>
              <a:spcAft>
                <a:spcPct val="0"/>
              </a:spcAft>
              <a:buClrTx/>
              <a:buSzTx/>
              <a:buFont typeface="Wingdings" pitchFamily="2" charset="2"/>
              <a:buChar char="Ø"/>
              <a:tabLst/>
              <a:defRPr/>
            </a:pPr>
            <a:endParaRPr kumimoji="0" lang="de-DE" altLang="de-DE" sz="2400" b="1" i="0" u="none" strike="noStrike" kern="1200" cap="none" spc="0" normalizeH="0" baseline="0" noProof="0" dirty="0">
              <a:ln>
                <a:noFill/>
              </a:ln>
              <a:solidFill>
                <a:srgbClr val="000000"/>
              </a:solidFill>
              <a:effectLst/>
              <a:uLnTx/>
              <a:uFillTx/>
              <a:latin typeface="Arial" charset="0"/>
              <a:ea typeface="+mn-ea"/>
              <a:cs typeface="+mn-cs"/>
            </a:endParaRPr>
          </a:p>
          <a:p>
            <a:pPr marL="361950" marR="0" lvl="0" indent="-361950" algn="l" defTabSz="914400" rtl="0" eaLnBrk="1" fontAlgn="base" latinLnBrk="0" hangingPunct="1">
              <a:lnSpc>
                <a:spcPct val="100000"/>
              </a:lnSpc>
              <a:spcBef>
                <a:spcPct val="0"/>
              </a:spcBef>
              <a:spcAft>
                <a:spcPct val="0"/>
              </a:spcAft>
              <a:buClrTx/>
              <a:buSzTx/>
              <a:buFont typeface="Wingdings" pitchFamily="2" charset="2"/>
              <a:buChar char="Ø"/>
              <a:tabLst/>
              <a:defRPr/>
            </a:pPr>
            <a:r>
              <a:rPr kumimoji="0" lang="de-DE" altLang="de-DE" sz="2400" b="1" i="0" u="none" strike="noStrike" kern="1200" cap="none" spc="0" normalizeH="0" baseline="0" noProof="0" dirty="0">
                <a:ln>
                  <a:noFill/>
                </a:ln>
                <a:solidFill>
                  <a:srgbClr val="000000"/>
                </a:solidFill>
                <a:effectLst/>
                <a:uLnTx/>
                <a:uFillTx/>
                <a:latin typeface="Arial" charset="0"/>
                <a:ea typeface="+mn-ea"/>
                <a:cs typeface="+mn-cs"/>
              </a:rPr>
              <a:t>Modelling </a:t>
            </a:r>
            <a:r>
              <a:rPr kumimoji="0" lang="de-DE" altLang="de-DE" sz="2400" b="1" i="0" u="none" strike="noStrike" kern="1200" cap="none" spc="0" normalizeH="0" baseline="0" noProof="0" dirty="0" err="1">
                <a:ln>
                  <a:noFill/>
                </a:ln>
                <a:solidFill>
                  <a:srgbClr val="000000"/>
                </a:solidFill>
                <a:effectLst/>
                <a:uLnTx/>
                <a:uFillTx/>
                <a:latin typeface="Arial" charset="0"/>
                <a:ea typeface="+mn-ea"/>
                <a:cs typeface="+mn-cs"/>
              </a:rPr>
              <a:t>of</a:t>
            </a:r>
            <a:r>
              <a:rPr kumimoji="0" lang="de-DE" altLang="de-DE" sz="2400" b="1" i="0" u="none" strike="noStrike" kern="1200" cap="none" spc="0" normalizeH="0" baseline="0" noProof="0" dirty="0">
                <a:ln>
                  <a:noFill/>
                </a:ln>
                <a:solidFill>
                  <a:srgbClr val="000000"/>
                </a:solidFill>
                <a:effectLst/>
                <a:uLnTx/>
                <a:uFillTx/>
                <a:latin typeface="Arial" charset="0"/>
                <a:ea typeface="+mn-ea"/>
                <a:cs typeface="+mn-cs"/>
              </a:rPr>
              <a:t> </a:t>
            </a:r>
            <a:r>
              <a:rPr lang="de-DE" altLang="de-DE" sz="2400" noProof="0" dirty="0" err="1">
                <a:solidFill>
                  <a:srgbClr val="000000"/>
                </a:solidFill>
                <a:latin typeface="Arial" charset="0"/>
              </a:rPr>
              <a:t>the</a:t>
            </a:r>
            <a:r>
              <a:rPr kumimoji="0" lang="de-DE" altLang="de-DE" sz="2400" b="1" i="0" u="none" strike="noStrike" kern="1200" cap="none" spc="0" normalizeH="0" baseline="0" noProof="0" dirty="0">
                <a:ln>
                  <a:noFill/>
                </a:ln>
                <a:solidFill>
                  <a:srgbClr val="000000"/>
                </a:solidFill>
                <a:effectLst/>
                <a:uLnTx/>
                <a:uFillTx/>
                <a:latin typeface="Arial" charset="0"/>
                <a:ea typeface="+mn-ea"/>
                <a:cs typeface="+mn-cs"/>
              </a:rPr>
              <a:t> Horizontal </a:t>
            </a:r>
            <a:r>
              <a:rPr kumimoji="0" lang="de-DE" altLang="de-DE" sz="2400" b="1" i="0" u="none" strike="noStrike" kern="1200" cap="none" spc="0" normalizeH="0" baseline="0" noProof="0" dirty="0" err="1">
                <a:ln>
                  <a:noFill/>
                </a:ln>
                <a:solidFill>
                  <a:srgbClr val="000000"/>
                </a:solidFill>
                <a:effectLst/>
                <a:uLnTx/>
                <a:uFillTx/>
                <a:latin typeface="Arial" charset="0"/>
                <a:ea typeface="+mn-ea"/>
                <a:cs typeface="+mn-cs"/>
              </a:rPr>
              <a:t>Feedwater</a:t>
            </a:r>
            <a:r>
              <a:rPr kumimoji="0" lang="de-DE" altLang="de-DE" sz="2400" b="1" i="0" u="none" strike="noStrike" kern="1200" cap="none" spc="0" normalizeH="0" baseline="0" noProof="0" dirty="0">
                <a:ln>
                  <a:noFill/>
                </a:ln>
                <a:solidFill>
                  <a:srgbClr val="000000"/>
                </a:solidFill>
                <a:effectLst/>
                <a:uLnTx/>
                <a:uFillTx/>
                <a:latin typeface="Arial" charset="0"/>
                <a:ea typeface="+mn-ea"/>
                <a:cs typeface="+mn-cs"/>
              </a:rPr>
              <a:t> Pump </a:t>
            </a:r>
            <a:r>
              <a:rPr kumimoji="0" lang="de-DE" altLang="de-DE" sz="2400" b="1" i="0" u="none" strike="noStrike" kern="1200" cap="none" spc="0" normalizeH="0" baseline="0" noProof="0" dirty="0" err="1">
                <a:ln>
                  <a:noFill/>
                </a:ln>
                <a:solidFill>
                  <a:srgbClr val="000000"/>
                </a:solidFill>
                <a:effectLst/>
                <a:uLnTx/>
                <a:uFillTx/>
                <a:latin typeface="Arial" charset="0"/>
                <a:ea typeface="+mn-ea"/>
                <a:cs typeface="+mn-cs"/>
              </a:rPr>
              <a:t>with</a:t>
            </a:r>
            <a:r>
              <a:rPr kumimoji="0" lang="de-DE" altLang="de-DE" sz="2400" b="1" i="0" u="none" strike="noStrike" kern="1200" cap="none" spc="0" normalizeH="0" baseline="0" noProof="0" dirty="0">
                <a:ln>
                  <a:noFill/>
                </a:ln>
                <a:solidFill>
                  <a:srgbClr val="000000"/>
                </a:solidFill>
                <a:effectLst/>
                <a:uLnTx/>
                <a:uFillTx/>
                <a:latin typeface="Arial" charset="0"/>
                <a:ea typeface="+mn-ea"/>
                <a:cs typeface="+mn-cs"/>
              </a:rPr>
              <a:t> Interactions</a:t>
            </a:r>
          </a:p>
          <a:p>
            <a:pPr marL="0" marR="0" lvl="0" indent="0" algn="l" defTabSz="914400" rtl="0" eaLnBrk="1" fontAlgn="base" latinLnBrk="0" hangingPunct="1">
              <a:lnSpc>
                <a:spcPct val="100000"/>
              </a:lnSpc>
              <a:spcBef>
                <a:spcPct val="0"/>
              </a:spcBef>
              <a:spcAft>
                <a:spcPct val="0"/>
              </a:spcAft>
              <a:buClrTx/>
              <a:buSzTx/>
              <a:tabLst/>
              <a:defRPr/>
            </a:pPr>
            <a:endParaRPr kumimoji="0" lang="de-DE" altLang="de-DE" sz="2400" b="1" i="0" u="none" strike="noStrike" kern="1200" cap="none" spc="0" normalizeH="0" baseline="0" noProof="0" dirty="0">
              <a:ln>
                <a:noFill/>
              </a:ln>
              <a:solidFill>
                <a:srgbClr val="000000"/>
              </a:solidFill>
              <a:effectLst/>
              <a:uLnTx/>
              <a:uFillTx/>
              <a:latin typeface="Arial" charset="0"/>
              <a:ea typeface="+mn-ea"/>
              <a:cs typeface="+mn-cs"/>
            </a:endParaRPr>
          </a:p>
          <a:p>
            <a:pPr marL="361950" marR="0" lvl="0" indent="-361950" algn="l" defTabSz="914400" rtl="0" eaLnBrk="1" fontAlgn="base" latinLnBrk="0" hangingPunct="1">
              <a:lnSpc>
                <a:spcPct val="100000"/>
              </a:lnSpc>
              <a:spcBef>
                <a:spcPct val="0"/>
              </a:spcBef>
              <a:spcAft>
                <a:spcPct val="0"/>
              </a:spcAft>
              <a:buClrTx/>
              <a:buSzTx/>
              <a:buFont typeface="Wingdings" pitchFamily="2" charset="2"/>
              <a:buChar char="Ø"/>
              <a:tabLst/>
              <a:defRPr/>
            </a:pPr>
            <a:r>
              <a:rPr kumimoji="0" lang="de-DE" altLang="de-DE" sz="2400" b="1" i="0" u="none" strike="noStrike" kern="1200" cap="none" spc="0" normalizeH="0" baseline="0" noProof="0" dirty="0">
                <a:ln>
                  <a:noFill/>
                </a:ln>
                <a:solidFill>
                  <a:srgbClr val="000000"/>
                </a:solidFill>
                <a:effectLst/>
                <a:uLnTx/>
                <a:uFillTx/>
                <a:latin typeface="Arial" charset="0"/>
                <a:ea typeface="+mn-ea"/>
                <a:cs typeface="+mn-cs"/>
              </a:rPr>
              <a:t>Monitoring </a:t>
            </a:r>
            <a:r>
              <a:rPr kumimoji="0" lang="de-DE" altLang="de-DE" sz="2400" b="1" i="0" u="none" strike="noStrike" kern="1200" cap="none" spc="0" normalizeH="0" baseline="0" noProof="0" dirty="0" err="1">
                <a:ln>
                  <a:noFill/>
                </a:ln>
                <a:solidFill>
                  <a:srgbClr val="000000"/>
                </a:solidFill>
                <a:effectLst/>
                <a:uLnTx/>
                <a:uFillTx/>
                <a:latin typeface="Arial" charset="0"/>
                <a:ea typeface="+mn-ea"/>
                <a:cs typeface="+mn-cs"/>
              </a:rPr>
              <a:t>of</a:t>
            </a:r>
            <a:r>
              <a:rPr kumimoji="0" lang="de-DE" altLang="de-DE" sz="2400" b="1" i="0" u="none" strike="noStrike" kern="1200" cap="none" spc="0" normalizeH="0" baseline="0" noProof="0" dirty="0">
                <a:ln>
                  <a:noFill/>
                </a:ln>
                <a:solidFill>
                  <a:srgbClr val="000000"/>
                </a:solidFill>
                <a:effectLst/>
                <a:uLnTx/>
                <a:uFillTx/>
                <a:latin typeface="Arial" charset="0"/>
                <a:ea typeface="+mn-ea"/>
                <a:cs typeface="+mn-cs"/>
              </a:rPr>
              <a:t> </a:t>
            </a:r>
            <a:r>
              <a:rPr lang="de-DE" altLang="de-DE" sz="2400" dirty="0" err="1">
                <a:solidFill>
                  <a:srgbClr val="000000"/>
                </a:solidFill>
                <a:latin typeface="Arial" charset="0"/>
              </a:rPr>
              <a:t>the</a:t>
            </a:r>
            <a:r>
              <a:rPr kumimoji="0" lang="de-DE" altLang="de-DE" sz="2400" b="1" i="0" u="none" strike="noStrike" kern="1200" cap="none" spc="0" normalizeH="0" baseline="0" noProof="0" dirty="0">
                <a:ln>
                  <a:noFill/>
                </a:ln>
                <a:solidFill>
                  <a:srgbClr val="000000"/>
                </a:solidFill>
                <a:effectLst/>
                <a:uLnTx/>
                <a:uFillTx/>
                <a:latin typeface="Arial" charset="0"/>
                <a:ea typeface="+mn-ea"/>
                <a:cs typeface="+mn-cs"/>
              </a:rPr>
              <a:t> Horizontal </a:t>
            </a:r>
            <a:r>
              <a:rPr kumimoji="0" lang="de-DE" altLang="de-DE" sz="2400" b="1" i="0" u="none" strike="noStrike" kern="1200" cap="none" spc="0" normalizeH="0" baseline="0" noProof="0" dirty="0" err="1">
                <a:ln>
                  <a:noFill/>
                </a:ln>
                <a:solidFill>
                  <a:srgbClr val="000000"/>
                </a:solidFill>
                <a:effectLst/>
                <a:uLnTx/>
                <a:uFillTx/>
                <a:latin typeface="Arial" charset="0"/>
                <a:ea typeface="+mn-ea"/>
                <a:cs typeface="+mn-cs"/>
              </a:rPr>
              <a:t>Feedwater</a:t>
            </a:r>
            <a:r>
              <a:rPr kumimoji="0" lang="de-DE" altLang="de-DE" sz="2400" b="1" i="0" u="none" strike="noStrike" kern="1200" cap="none" spc="0" normalizeH="0" baseline="0" noProof="0" dirty="0">
                <a:ln>
                  <a:noFill/>
                </a:ln>
                <a:solidFill>
                  <a:srgbClr val="000000"/>
                </a:solidFill>
                <a:effectLst/>
                <a:uLnTx/>
                <a:uFillTx/>
                <a:latin typeface="Arial" charset="0"/>
                <a:ea typeface="+mn-ea"/>
                <a:cs typeface="+mn-cs"/>
              </a:rPr>
              <a:t> Pump OL3 </a:t>
            </a:r>
            <a:r>
              <a:rPr kumimoji="0" lang="de-DE" altLang="de-DE" sz="2400" b="1" i="0" u="none" strike="noStrike" kern="1200" cap="none" spc="0" normalizeH="0" baseline="0" noProof="0" dirty="0" err="1">
                <a:ln>
                  <a:noFill/>
                </a:ln>
                <a:solidFill>
                  <a:srgbClr val="000000"/>
                </a:solidFill>
                <a:effectLst/>
                <a:uLnTx/>
                <a:uFillTx/>
                <a:latin typeface="Arial" charset="0"/>
                <a:ea typeface="+mn-ea"/>
                <a:cs typeface="+mn-cs"/>
              </a:rPr>
              <a:t>during</a:t>
            </a:r>
            <a:r>
              <a:rPr kumimoji="0" lang="de-DE" altLang="de-DE" sz="2400" b="1" i="0" u="none" strike="noStrike" kern="1200" cap="none" spc="0" normalizeH="0" baseline="0" noProof="0" dirty="0">
                <a:ln>
                  <a:noFill/>
                </a:ln>
                <a:solidFill>
                  <a:srgbClr val="000000"/>
                </a:solidFill>
                <a:effectLst/>
                <a:uLnTx/>
                <a:uFillTx/>
                <a:latin typeface="Arial" charset="0"/>
                <a:ea typeface="+mn-ea"/>
                <a:cs typeface="+mn-cs"/>
              </a:rPr>
              <a:t> Operation</a:t>
            </a:r>
          </a:p>
          <a:p>
            <a:pPr marL="0" marR="0" lvl="0" indent="0" algn="l" defTabSz="914400" rtl="0" eaLnBrk="1" fontAlgn="base" latinLnBrk="0" hangingPunct="1">
              <a:lnSpc>
                <a:spcPct val="100000"/>
              </a:lnSpc>
              <a:spcBef>
                <a:spcPct val="0"/>
              </a:spcBef>
              <a:spcAft>
                <a:spcPct val="0"/>
              </a:spcAft>
              <a:buClrTx/>
              <a:buSzTx/>
              <a:tabLst/>
              <a:defRPr/>
            </a:pPr>
            <a:endParaRPr kumimoji="0" lang="de-DE" altLang="de-DE" sz="2400" b="1" i="0" u="none" strike="noStrike" kern="1200" cap="none" spc="0" normalizeH="0" baseline="0" noProof="0" dirty="0">
              <a:ln>
                <a:noFill/>
              </a:ln>
              <a:solidFill>
                <a:srgbClr val="000000"/>
              </a:solidFill>
              <a:effectLst/>
              <a:uLnTx/>
              <a:uFillTx/>
              <a:latin typeface="Arial" charset="0"/>
              <a:ea typeface="+mn-ea"/>
              <a:cs typeface="+mn-cs"/>
            </a:endParaRPr>
          </a:p>
          <a:p>
            <a:pPr marL="361950" marR="0" lvl="0" indent="-361950" algn="l" defTabSz="914400" rtl="0" eaLnBrk="1" fontAlgn="base" latinLnBrk="0" hangingPunct="1">
              <a:lnSpc>
                <a:spcPct val="100000"/>
              </a:lnSpc>
              <a:spcBef>
                <a:spcPct val="0"/>
              </a:spcBef>
              <a:spcAft>
                <a:spcPct val="0"/>
              </a:spcAft>
              <a:buClrTx/>
              <a:buSzTx/>
              <a:buFont typeface="Wingdings" pitchFamily="2" charset="2"/>
              <a:buChar char="Ø"/>
              <a:tabLst/>
              <a:defRPr/>
            </a:pPr>
            <a:r>
              <a:rPr kumimoji="0" lang="de-DE" altLang="de-DE" sz="2400" b="1" i="0" u="none" strike="noStrike" kern="1200" cap="none" spc="0" normalizeH="0" baseline="0" noProof="0" dirty="0">
                <a:ln>
                  <a:noFill/>
                </a:ln>
                <a:solidFill>
                  <a:srgbClr val="000000"/>
                </a:solidFill>
                <a:effectLst/>
                <a:uLnTx/>
                <a:uFillTx/>
                <a:latin typeface="Arial" charset="0"/>
                <a:ea typeface="+mn-ea"/>
                <a:cs typeface="+mn-cs"/>
              </a:rPr>
              <a:t>Vibration</a:t>
            </a:r>
            <a:r>
              <a:rPr kumimoji="0" lang="de-DE" altLang="de-DE" sz="2400" b="1" i="0" u="none" strike="noStrike" kern="1200" cap="none" spc="0" normalizeH="0" noProof="0" dirty="0">
                <a:ln>
                  <a:noFill/>
                </a:ln>
                <a:solidFill>
                  <a:srgbClr val="000000"/>
                </a:solidFill>
                <a:effectLst/>
                <a:uLnTx/>
                <a:uFillTx/>
                <a:latin typeface="Arial" charset="0"/>
                <a:ea typeface="+mn-ea"/>
                <a:cs typeface="+mn-cs"/>
              </a:rPr>
              <a:t> </a:t>
            </a:r>
            <a:r>
              <a:rPr kumimoji="0" lang="de-DE" altLang="de-DE" sz="2400" b="1" i="0" u="none" strike="noStrike" kern="1200" cap="none" spc="0" normalizeH="0" noProof="0" dirty="0" err="1">
                <a:ln>
                  <a:noFill/>
                </a:ln>
                <a:solidFill>
                  <a:srgbClr val="000000"/>
                </a:solidFill>
                <a:effectLst/>
                <a:uLnTx/>
                <a:uFillTx/>
                <a:latin typeface="Arial" charset="0"/>
                <a:ea typeface="+mn-ea"/>
                <a:cs typeface="+mn-cs"/>
              </a:rPr>
              <a:t>Phenomena</a:t>
            </a:r>
            <a:r>
              <a:rPr kumimoji="0" lang="de-DE" altLang="de-DE" sz="2400" b="1" i="0" u="none" strike="noStrike" kern="1200" cap="none" spc="0" normalizeH="0" noProof="0" dirty="0">
                <a:ln>
                  <a:noFill/>
                </a:ln>
                <a:solidFill>
                  <a:srgbClr val="000000"/>
                </a:solidFill>
                <a:effectLst/>
                <a:uLnTx/>
                <a:uFillTx/>
                <a:latin typeface="Arial" charset="0"/>
                <a:ea typeface="+mn-ea"/>
                <a:cs typeface="+mn-cs"/>
              </a:rPr>
              <a:t> </a:t>
            </a:r>
            <a:r>
              <a:rPr kumimoji="0" lang="de-DE" altLang="de-DE" sz="2400" b="1" i="0" u="none" strike="noStrike" kern="1200" cap="none" spc="0" normalizeH="0" noProof="0" dirty="0" err="1">
                <a:ln>
                  <a:noFill/>
                </a:ln>
                <a:solidFill>
                  <a:srgbClr val="000000"/>
                </a:solidFill>
                <a:effectLst/>
                <a:uLnTx/>
                <a:uFillTx/>
                <a:latin typeface="Arial" charset="0"/>
                <a:ea typeface="+mn-ea"/>
                <a:cs typeface="+mn-cs"/>
              </a:rPr>
              <a:t>of</a:t>
            </a:r>
            <a:r>
              <a:rPr kumimoji="0" lang="de-DE" altLang="de-DE" sz="2400" b="1" i="0" u="none" strike="noStrike" kern="1200" cap="none" spc="0" normalizeH="0" noProof="0" dirty="0">
                <a:ln>
                  <a:noFill/>
                </a:ln>
                <a:solidFill>
                  <a:srgbClr val="000000"/>
                </a:solidFill>
                <a:effectLst/>
                <a:uLnTx/>
                <a:uFillTx/>
                <a:latin typeface="Arial" charset="0"/>
                <a:ea typeface="+mn-ea"/>
                <a:cs typeface="+mn-cs"/>
              </a:rPr>
              <a:t> </a:t>
            </a:r>
            <a:r>
              <a:rPr kumimoji="0" lang="de-DE" altLang="de-DE" sz="2400" b="1" i="0" u="none" strike="noStrike" kern="1200" cap="none" spc="0" normalizeH="0" noProof="0" dirty="0" err="1">
                <a:ln>
                  <a:noFill/>
                </a:ln>
                <a:solidFill>
                  <a:srgbClr val="000000"/>
                </a:solidFill>
                <a:effectLst/>
                <a:uLnTx/>
                <a:uFillTx/>
                <a:latin typeface="Arial" charset="0"/>
                <a:ea typeface="+mn-ea"/>
                <a:cs typeface="+mn-cs"/>
              </a:rPr>
              <a:t>the</a:t>
            </a:r>
            <a:r>
              <a:rPr kumimoji="0" lang="de-DE" altLang="de-DE" sz="2400" b="1" i="0" u="none" strike="noStrike" kern="1200" cap="none" spc="0" normalizeH="0" noProof="0" dirty="0">
                <a:ln>
                  <a:noFill/>
                </a:ln>
                <a:solidFill>
                  <a:srgbClr val="000000"/>
                </a:solidFill>
                <a:effectLst/>
                <a:uLnTx/>
                <a:uFillTx/>
                <a:latin typeface="Arial" charset="0"/>
                <a:ea typeface="+mn-ea"/>
                <a:cs typeface="+mn-cs"/>
              </a:rPr>
              <a:t> Horizontal </a:t>
            </a:r>
            <a:r>
              <a:rPr kumimoji="0" lang="de-DE" altLang="de-DE" sz="2400" b="1" i="0" u="none" strike="noStrike" kern="1200" cap="none" spc="0" normalizeH="0" noProof="0" dirty="0" err="1">
                <a:ln>
                  <a:noFill/>
                </a:ln>
                <a:solidFill>
                  <a:srgbClr val="000000"/>
                </a:solidFill>
                <a:effectLst/>
                <a:uLnTx/>
                <a:uFillTx/>
                <a:latin typeface="Arial" charset="0"/>
                <a:ea typeface="+mn-ea"/>
                <a:cs typeface="+mn-cs"/>
              </a:rPr>
              <a:t>Feedwater</a:t>
            </a:r>
            <a:r>
              <a:rPr kumimoji="0" lang="de-DE" altLang="de-DE" sz="2400" b="1" i="0" u="none" strike="noStrike" kern="1200" cap="none" spc="0" normalizeH="0" noProof="0" dirty="0">
                <a:ln>
                  <a:noFill/>
                </a:ln>
                <a:solidFill>
                  <a:srgbClr val="000000"/>
                </a:solidFill>
                <a:effectLst/>
                <a:uLnTx/>
                <a:uFillTx/>
                <a:latin typeface="Arial" charset="0"/>
                <a:ea typeface="+mn-ea"/>
                <a:cs typeface="+mn-cs"/>
              </a:rPr>
              <a:t> Pump OL3</a:t>
            </a:r>
          </a:p>
          <a:p>
            <a:pPr marL="361950" marR="0" lvl="0" indent="-361950" algn="l" defTabSz="914400" rtl="0" eaLnBrk="1" fontAlgn="base" latinLnBrk="0" hangingPunct="1">
              <a:lnSpc>
                <a:spcPct val="100000"/>
              </a:lnSpc>
              <a:spcBef>
                <a:spcPct val="0"/>
              </a:spcBef>
              <a:spcAft>
                <a:spcPct val="0"/>
              </a:spcAft>
              <a:buClrTx/>
              <a:buSzTx/>
              <a:buFont typeface="Wingdings" pitchFamily="2" charset="2"/>
              <a:buChar char="Ø"/>
              <a:tabLst/>
              <a:defRPr/>
            </a:pPr>
            <a:endParaRPr lang="de-DE" altLang="de-DE" sz="2400" dirty="0">
              <a:solidFill>
                <a:srgbClr val="000000"/>
              </a:solidFill>
              <a:latin typeface="Arial" charset="0"/>
            </a:endParaRPr>
          </a:p>
          <a:p>
            <a:pPr marL="361950" marR="0" lvl="0" indent="-361950" algn="l" defTabSz="914400" rtl="0" eaLnBrk="1" fontAlgn="base" latinLnBrk="0" hangingPunct="1">
              <a:lnSpc>
                <a:spcPct val="100000"/>
              </a:lnSpc>
              <a:spcBef>
                <a:spcPct val="0"/>
              </a:spcBef>
              <a:spcAft>
                <a:spcPct val="0"/>
              </a:spcAft>
              <a:buClrTx/>
              <a:buSzTx/>
              <a:buFont typeface="Wingdings" pitchFamily="2" charset="2"/>
              <a:buChar char="Ø"/>
              <a:tabLst/>
              <a:defRPr/>
            </a:pPr>
            <a:r>
              <a:rPr kumimoji="0" lang="de-DE" altLang="de-DE" sz="2400" b="1" i="0" u="none" strike="noStrike" kern="1200" cap="none" spc="0" normalizeH="0" noProof="0" dirty="0" err="1">
                <a:ln>
                  <a:noFill/>
                </a:ln>
                <a:solidFill>
                  <a:srgbClr val="000000"/>
                </a:solidFill>
                <a:effectLst/>
                <a:uLnTx/>
                <a:uFillTx/>
                <a:latin typeface="Arial" charset="0"/>
                <a:ea typeface="+mn-ea"/>
                <a:cs typeface="+mn-cs"/>
              </a:rPr>
              <a:t>Measured</a:t>
            </a:r>
            <a:r>
              <a:rPr kumimoji="0" lang="de-DE" altLang="de-DE" sz="2400" b="1" i="0" u="none" strike="noStrike" kern="1200" cap="none" spc="0" normalizeH="0" noProof="0" dirty="0">
                <a:ln>
                  <a:noFill/>
                </a:ln>
                <a:solidFill>
                  <a:srgbClr val="000000"/>
                </a:solidFill>
                <a:effectLst/>
                <a:uLnTx/>
                <a:uFillTx/>
                <a:latin typeface="Arial" charset="0"/>
                <a:ea typeface="+mn-ea"/>
                <a:cs typeface="+mn-cs"/>
              </a:rPr>
              <a:t> and </a:t>
            </a:r>
            <a:r>
              <a:rPr kumimoji="0" lang="de-DE" altLang="de-DE" sz="2400" b="1" i="0" u="none" strike="noStrike" kern="1200" cap="none" spc="0" normalizeH="0" noProof="0" dirty="0" err="1">
                <a:ln>
                  <a:noFill/>
                </a:ln>
                <a:solidFill>
                  <a:srgbClr val="000000"/>
                </a:solidFill>
                <a:effectLst/>
                <a:uLnTx/>
                <a:uFillTx/>
                <a:latin typeface="Arial" charset="0"/>
                <a:ea typeface="+mn-ea"/>
                <a:cs typeface="+mn-cs"/>
              </a:rPr>
              <a:t>Calculated</a:t>
            </a:r>
            <a:r>
              <a:rPr kumimoji="0" lang="de-DE" altLang="de-DE" sz="2400" b="1" i="0" u="none" strike="noStrike" kern="1200" cap="none" spc="0" normalizeH="0" noProof="0" dirty="0">
                <a:ln>
                  <a:noFill/>
                </a:ln>
                <a:solidFill>
                  <a:srgbClr val="000000"/>
                </a:solidFill>
                <a:effectLst/>
                <a:uLnTx/>
                <a:uFillTx/>
                <a:latin typeface="Arial" charset="0"/>
                <a:ea typeface="+mn-ea"/>
                <a:cs typeface="+mn-cs"/>
              </a:rPr>
              <a:t> </a:t>
            </a:r>
            <a:r>
              <a:rPr kumimoji="0" lang="de-DE" altLang="de-DE" sz="2400" b="1" i="0" u="none" strike="noStrike" kern="1200" cap="none" spc="0" normalizeH="0" noProof="0" dirty="0" err="1">
                <a:ln>
                  <a:noFill/>
                </a:ln>
                <a:solidFill>
                  <a:srgbClr val="000000"/>
                </a:solidFill>
                <a:effectLst/>
                <a:uLnTx/>
                <a:uFillTx/>
                <a:latin typeface="Arial" charset="0"/>
                <a:ea typeface="+mn-ea"/>
                <a:cs typeface="+mn-cs"/>
              </a:rPr>
              <a:t>Vibrations</a:t>
            </a:r>
            <a:r>
              <a:rPr kumimoji="0" lang="de-DE" altLang="de-DE" sz="2400" b="1" i="0" u="none" strike="noStrike" kern="1200" cap="none" spc="0" normalizeH="0" noProof="0" dirty="0">
                <a:ln>
                  <a:noFill/>
                </a:ln>
                <a:solidFill>
                  <a:srgbClr val="000000"/>
                </a:solidFill>
                <a:effectLst/>
                <a:uLnTx/>
                <a:uFillTx/>
                <a:latin typeface="Arial" charset="0"/>
                <a:ea typeface="+mn-ea"/>
                <a:cs typeface="+mn-cs"/>
              </a:rPr>
              <a:t> </a:t>
            </a:r>
            <a:r>
              <a:rPr kumimoji="0" lang="de-DE" altLang="de-DE" sz="2400" b="1" i="0" u="none" strike="noStrike" kern="1200" cap="none" spc="0" normalizeH="0" noProof="0" dirty="0" err="1">
                <a:ln>
                  <a:noFill/>
                </a:ln>
                <a:solidFill>
                  <a:srgbClr val="000000"/>
                </a:solidFill>
                <a:effectLst/>
                <a:uLnTx/>
                <a:uFillTx/>
                <a:latin typeface="Arial" charset="0"/>
                <a:ea typeface="+mn-ea"/>
                <a:cs typeface="+mn-cs"/>
              </a:rPr>
              <a:t>of</a:t>
            </a:r>
            <a:r>
              <a:rPr kumimoji="0" lang="de-DE" altLang="de-DE" sz="2400" b="1" i="0" u="none" strike="noStrike" kern="1200" cap="none" spc="0" normalizeH="0" noProof="0" dirty="0">
                <a:ln>
                  <a:noFill/>
                </a:ln>
                <a:solidFill>
                  <a:srgbClr val="000000"/>
                </a:solidFill>
                <a:effectLst/>
                <a:uLnTx/>
                <a:uFillTx/>
                <a:latin typeface="Arial" charset="0"/>
                <a:ea typeface="+mn-ea"/>
                <a:cs typeface="+mn-cs"/>
              </a:rPr>
              <a:t> </a:t>
            </a:r>
            <a:r>
              <a:rPr kumimoji="0" lang="de-DE" altLang="de-DE" sz="2400" b="1" i="0" u="none" strike="noStrike" kern="1200" cap="none" spc="0" normalizeH="0" noProof="0" dirty="0" err="1">
                <a:ln>
                  <a:noFill/>
                </a:ln>
                <a:solidFill>
                  <a:srgbClr val="000000"/>
                </a:solidFill>
                <a:effectLst/>
                <a:uLnTx/>
                <a:uFillTx/>
                <a:latin typeface="Arial" charset="0"/>
                <a:ea typeface="+mn-ea"/>
                <a:cs typeface="+mn-cs"/>
              </a:rPr>
              <a:t>the</a:t>
            </a:r>
            <a:r>
              <a:rPr kumimoji="0" lang="de-DE" altLang="de-DE" sz="2400" b="1" i="0" u="none" strike="noStrike" kern="1200" cap="none" spc="0" normalizeH="0" noProof="0" dirty="0">
                <a:ln>
                  <a:noFill/>
                </a:ln>
                <a:solidFill>
                  <a:srgbClr val="000000"/>
                </a:solidFill>
                <a:effectLst/>
                <a:uLnTx/>
                <a:uFillTx/>
                <a:latin typeface="Arial" charset="0"/>
                <a:ea typeface="+mn-ea"/>
                <a:cs typeface="+mn-cs"/>
              </a:rPr>
              <a:t> </a:t>
            </a:r>
            <a:r>
              <a:rPr kumimoji="0" lang="de-DE" altLang="de-DE" sz="2400" b="1" i="0" u="none" strike="noStrike" kern="1200" cap="none" spc="0" normalizeH="0" noProof="0" dirty="0" err="1">
                <a:ln>
                  <a:noFill/>
                </a:ln>
                <a:solidFill>
                  <a:srgbClr val="000000"/>
                </a:solidFill>
                <a:effectLst/>
                <a:uLnTx/>
                <a:uFillTx/>
                <a:latin typeface="Arial" charset="0"/>
                <a:ea typeface="+mn-ea"/>
                <a:cs typeface="+mn-cs"/>
              </a:rPr>
              <a:t>Feedwater</a:t>
            </a:r>
            <a:r>
              <a:rPr kumimoji="0" lang="de-DE" altLang="de-DE" sz="2400" b="1" i="0" u="none" strike="noStrike" kern="1200" cap="none" spc="0" normalizeH="0" noProof="0" dirty="0">
                <a:ln>
                  <a:noFill/>
                </a:ln>
                <a:solidFill>
                  <a:srgbClr val="000000"/>
                </a:solidFill>
                <a:effectLst/>
                <a:uLnTx/>
                <a:uFillTx/>
                <a:latin typeface="Arial" charset="0"/>
                <a:ea typeface="+mn-ea"/>
                <a:cs typeface="+mn-cs"/>
              </a:rPr>
              <a:t> Pump OL3</a:t>
            </a:r>
          </a:p>
          <a:p>
            <a:pPr marL="361950" marR="0" lvl="0" indent="-361950" algn="l" defTabSz="914400" rtl="0" eaLnBrk="1" fontAlgn="base" latinLnBrk="0" hangingPunct="1">
              <a:lnSpc>
                <a:spcPct val="100000"/>
              </a:lnSpc>
              <a:spcBef>
                <a:spcPct val="0"/>
              </a:spcBef>
              <a:spcAft>
                <a:spcPct val="0"/>
              </a:spcAft>
              <a:buClrTx/>
              <a:buSzTx/>
              <a:buFont typeface="Wingdings" pitchFamily="2" charset="2"/>
              <a:buChar char="Ø"/>
              <a:tabLst/>
              <a:defRPr/>
            </a:pPr>
            <a:endParaRPr lang="de-DE" altLang="de-DE" sz="2400" baseline="0" dirty="0">
              <a:solidFill>
                <a:srgbClr val="000000"/>
              </a:solidFill>
              <a:latin typeface="Arial" charset="0"/>
            </a:endParaRPr>
          </a:p>
          <a:p>
            <a:pPr marL="0" marR="0" lvl="0" indent="0" algn="l" defTabSz="914400" rtl="0" eaLnBrk="1" fontAlgn="base" latinLnBrk="0" hangingPunct="1">
              <a:lnSpc>
                <a:spcPct val="100000"/>
              </a:lnSpc>
              <a:spcBef>
                <a:spcPct val="0"/>
              </a:spcBef>
              <a:spcAft>
                <a:spcPct val="0"/>
              </a:spcAft>
              <a:buClrTx/>
              <a:buSzTx/>
              <a:tabLst/>
              <a:defRPr/>
            </a:pPr>
            <a:endParaRPr lang="de-DE" altLang="de-DE" sz="2400" baseline="0" dirty="0">
              <a:solidFill>
                <a:srgbClr val="000000"/>
              </a:solidFill>
              <a:latin typeface="Arial" charset="0"/>
            </a:endParaRPr>
          </a:p>
        </p:txBody>
      </p:sp>
      <p:sp>
        <p:nvSpPr>
          <p:cNvPr id="47108" name="Rechteck 1">
            <a:extLst>
              <a:ext uri="{FF2B5EF4-FFF2-40B4-BE49-F238E27FC236}">
                <a16:creationId xmlns:a16="http://schemas.microsoft.com/office/drawing/2014/main" id="{73D62BC3-6968-894E-0025-EA65A3EC0C0F}"/>
              </a:ext>
            </a:extLst>
          </p:cNvPr>
          <p:cNvSpPr>
            <a:spLocks noChangeArrowheads="1"/>
          </p:cNvSpPr>
          <p:nvPr/>
        </p:nvSpPr>
        <p:spPr bwMode="auto">
          <a:xfrm>
            <a:off x="688208" y="266785"/>
            <a:ext cx="10815584" cy="4893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b="1">
                <a:solidFill>
                  <a:schemeClr val="tx1"/>
                </a:solidFill>
                <a:latin typeface="Verdana" panose="020B0604030504040204" pitchFamily="34" charset="0"/>
              </a:defRPr>
            </a:lvl1pPr>
            <a:lvl2pPr marL="742950" indent="-285750">
              <a:defRPr b="1">
                <a:solidFill>
                  <a:schemeClr val="tx1"/>
                </a:solidFill>
                <a:latin typeface="Verdana" panose="020B0604030504040204" pitchFamily="34" charset="0"/>
              </a:defRPr>
            </a:lvl2pPr>
            <a:lvl3pPr marL="1143000" indent="-228600">
              <a:defRPr b="1">
                <a:solidFill>
                  <a:schemeClr val="tx1"/>
                </a:solidFill>
                <a:latin typeface="Verdana" panose="020B0604030504040204" pitchFamily="34" charset="0"/>
              </a:defRPr>
            </a:lvl3pPr>
            <a:lvl4pPr marL="1600200" indent="-228600">
              <a:defRPr b="1">
                <a:solidFill>
                  <a:schemeClr val="tx1"/>
                </a:solidFill>
                <a:latin typeface="Verdana" panose="020B0604030504040204" pitchFamily="34" charset="0"/>
              </a:defRPr>
            </a:lvl4pPr>
            <a:lvl5pPr marL="2057400" indent="-228600">
              <a:defRPr b="1">
                <a:solidFill>
                  <a:schemeClr val="tx1"/>
                </a:solidFill>
                <a:latin typeface="Verdana" panose="020B0604030504040204" pitchFamily="34" charset="0"/>
              </a:defRPr>
            </a:lvl5pPr>
            <a:lvl6pPr marL="2514600" indent="-228600" eaLnBrk="0" fontAlgn="base" hangingPunct="0">
              <a:spcBef>
                <a:spcPct val="0"/>
              </a:spcBef>
              <a:spcAft>
                <a:spcPct val="0"/>
              </a:spcAft>
              <a:defRPr b="1">
                <a:solidFill>
                  <a:schemeClr val="tx1"/>
                </a:solidFill>
                <a:latin typeface="Verdana" panose="020B0604030504040204" pitchFamily="34" charset="0"/>
              </a:defRPr>
            </a:lvl6pPr>
            <a:lvl7pPr marL="2971800" indent="-228600" eaLnBrk="0" fontAlgn="base" hangingPunct="0">
              <a:spcBef>
                <a:spcPct val="0"/>
              </a:spcBef>
              <a:spcAft>
                <a:spcPct val="0"/>
              </a:spcAft>
              <a:defRPr b="1">
                <a:solidFill>
                  <a:schemeClr val="tx1"/>
                </a:solidFill>
                <a:latin typeface="Verdana" panose="020B0604030504040204" pitchFamily="34" charset="0"/>
              </a:defRPr>
            </a:lvl7pPr>
            <a:lvl8pPr marL="3429000" indent="-228600" eaLnBrk="0" fontAlgn="base" hangingPunct="0">
              <a:spcBef>
                <a:spcPct val="0"/>
              </a:spcBef>
              <a:spcAft>
                <a:spcPct val="0"/>
              </a:spcAft>
              <a:defRPr b="1">
                <a:solidFill>
                  <a:schemeClr val="tx1"/>
                </a:solidFill>
                <a:latin typeface="Verdana" panose="020B0604030504040204" pitchFamily="34" charset="0"/>
              </a:defRPr>
            </a:lvl8pPr>
            <a:lvl9pPr marL="3886200" indent="-228600" eaLnBrk="0" fontAlgn="base" hangingPunct="0">
              <a:spcBef>
                <a:spcPct val="0"/>
              </a:spcBef>
              <a:spcAft>
                <a:spcPct val="0"/>
              </a:spcAft>
              <a:defRPr b="1">
                <a:solidFill>
                  <a:schemeClr val="tx1"/>
                </a:solidFill>
                <a:latin typeface="Verdana" panose="020B0604030504040204" pitchFamily="34" charset="0"/>
              </a:defRPr>
            </a:lvl9pPr>
          </a:lstStyle>
          <a:p>
            <a:pPr marL="0" marR="0" lvl="0" indent="0" algn="l" defTabSz="914400" rtl="0" eaLnBrk="0" fontAlgn="base" latinLnBrk="0" hangingPunct="0">
              <a:lnSpc>
                <a:spcPct val="107000"/>
              </a:lnSpc>
              <a:spcBef>
                <a:spcPct val="0"/>
              </a:spcBef>
              <a:spcAft>
                <a:spcPts val="800"/>
              </a:spcAft>
              <a:buClrTx/>
              <a:buSzTx/>
              <a:buFont typeface="Wingdings" panose="05000000000000000000" pitchFamily="2" charset="2"/>
              <a:buNone/>
              <a:tabLst/>
              <a:defRPr/>
            </a:pPr>
            <a:r>
              <a:rPr kumimoji="0" lang="de-DE" altLang="de-DE" sz="2600" b="1" i="0" u="none" strike="noStrike" kern="1200" cap="none" spc="0" normalizeH="0" baseline="0" noProof="0" dirty="0" err="1">
                <a:ln>
                  <a:noFill/>
                </a:ln>
                <a:solidFill>
                  <a:srgbClr val="000000"/>
                </a:solidFill>
                <a:effectLst/>
                <a:uLnTx/>
                <a:uFillTx/>
                <a:latin typeface="Arial"/>
                <a:ea typeface="+mn-ea"/>
                <a:cs typeface="+mn-cs"/>
              </a:rPr>
              <a:t>Lecture</a:t>
            </a:r>
            <a:r>
              <a:rPr kumimoji="0" lang="de-DE" altLang="de-DE" sz="2600" b="1" i="0" u="none" strike="noStrike" kern="1200" cap="none" spc="0" normalizeH="0" baseline="0" noProof="0" dirty="0">
                <a:ln>
                  <a:noFill/>
                </a:ln>
                <a:solidFill>
                  <a:srgbClr val="000000"/>
                </a:solidFill>
                <a:effectLst/>
                <a:uLnTx/>
                <a:uFillTx/>
                <a:latin typeface="Arial"/>
                <a:ea typeface="+mn-ea"/>
                <a:cs typeface="+mn-cs"/>
              </a:rPr>
              <a:t> IV  </a:t>
            </a:r>
            <a:r>
              <a:rPr kumimoji="0" lang="de-DE" altLang="de-DE" sz="2600" b="1" i="0" u="none" strike="noStrike" kern="1200" cap="none" spc="0" normalizeH="0" baseline="0" noProof="0" dirty="0" err="1">
                <a:ln>
                  <a:noFill/>
                </a:ln>
                <a:solidFill>
                  <a:srgbClr val="0000FF"/>
                </a:solidFill>
                <a:effectLst/>
                <a:uLnTx/>
                <a:uFillTx/>
                <a:latin typeface="Arial"/>
                <a:ea typeface="+mn-ea"/>
                <a:cs typeface="+mn-cs"/>
              </a:rPr>
              <a:t>Vibrations</a:t>
            </a:r>
            <a:r>
              <a:rPr kumimoji="0" lang="de-DE" altLang="de-DE" sz="2600" b="1" i="0" u="none" strike="noStrike" kern="1200" cap="none" spc="0" normalizeH="0" baseline="0" noProof="0" dirty="0">
                <a:ln>
                  <a:noFill/>
                </a:ln>
                <a:solidFill>
                  <a:srgbClr val="0000FF"/>
                </a:solidFill>
                <a:effectLst/>
                <a:uLnTx/>
                <a:uFillTx/>
                <a:latin typeface="Arial"/>
                <a:ea typeface="+mn-ea"/>
                <a:cs typeface="+mn-cs"/>
              </a:rPr>
              <a:t> </a:t>
            </a:r>
            <a:r>
              <a:rPr kumimoji="0" lang="de-DE" altLang="de-DE" sz="2600" b="1" i="0" u="none" strike="noStrike" kern="1200" cap="none" spc="0" normalizeH="0" baseline="0" noProof="0" dirty="0" err="1">
                <a:ln>
                  <a:noFill/>
                </a:ln>
                <a:solidFill>
                  <a:srgbClr val="0000FF"/>
                </a:solidFill>
                <a:effectLst/>
                <a:uLnTx/>
                <a:uFillTx/>
                <a:latin typeface="Arial"/>
                <a:ea typeface="+mn-ea"/>
                <a:cs typeface="+mn-cs"/>
              </a:rPr>
              <a:t>of</a:t>
            </a:r>
            <a:r>
              <a:rPr kumimoji="0" lang="de-DE" altLang="de-DE" sz="2600" b="1" i="0" u="none" strike="noStrike" kern="1200" cap="none" spc="0" normalizeH="0" baseline="0" noProof="0" dirty="0">
                <a:ln>
                  <a:noFill/>
                </a:ln>
                <a:solidFill>
                  <a:srgbClr val="0000FF"/>
                </a:solidFill>
                <a:effectLst/>
                <a:uLnTx/>
                <a:uFillTx/>
                <a:latin typeface="Arial"/>
                <a:ea typeface="+mn-ea"/>
                <a:cs typeface="+mn-cs"/>
              </a:rPr>
              <a:t> </a:t>
            </a:r>
            <a:r>
              <a:rPr kumimoji="0" lang="de-DE" altLang="de-DE" sz="2600" b="1" i="0" u="none" strike="noStrike" kern="1200" cap="none" spc="0" normalizeH="0" baseline="0" noProof="0" dirty="0" err="1">
                <a:ln>
                  <a:noFill/>
                </a:ln>
                <a:solidFill>
                  <a:srgbClr val="0000FF"/>
                </a:solidFill>
                <a:effectLst/>
                <a:uLnTx/>
                <a:uFillTx/>
                <a:latin typeface="Arial"/>
                <a:ea typeface="+mn-ea"/>
                <a:cs typeface="+mn-cs"/>
              </a:rPr>
              <a:t>Feedwater</a:t>
            </a:r>
            <a:r>
              <a:rPr kumimoji="0" lang="de-DE" altLang="de-DE" sz="2600" b="1" i="0" u="none" strike="noStrike" kern="1200" cap="none" spc="0" normalizeH="0" baseline="0" noProof="0" dirty="0">
                <a:ln>
                  <a:noFill/>
                </a:ln>
                <a:solidFill>
                  <a:srgbClr val="0000FF"/>
                </a:solidFill>
                <a:effectLst/>
                <a:uLnTx/>
                <a:uFillTx/>
                <a:latin typeface="Arial"/>
                <a:ea typeface="+mn-ea"/>
                <a:cs typeface="+mn-cs"/>
              </a:rPr>
              <a:t> Pumps in </a:t>
            </a:r>
            <a:r>
              <a:rPr kumimoji="0" lang="de-DE" altLang="de-DE" sz="2600" b="1" i="0" u="none" strike="noStrike" kern="1200" cap="none" spc="0" normalizeH="0" baseline="0" noProof="0" dirty="0" err="1">
                <a:ln>
                  <a:noFill/>
                </a:ln>
                <a:solidFill>
                  <a:srgbClr val="0000FF"/>
                </a:solidFill>
                <a:effectLst/>
                <a:uLnTx/>
                <a:uFillTx/>
                <a:latin typeface="Arial"/>
                <a:ea typeface="+mn-ea"/>
                <a:cs typeface="+mn-cs"/>
              </a:rPr>
              <a:t>Nuclear</a:t>
            </a:r>
            <a:r>
              <a:rPr kumimoji="0" lang="de-DE" altLang="de-DE" sz="2600" b="1" i="0" u="none" strike="noStrike" kern="1200" cap="none" spc="0" normalizeH="0" baseline="0" noProof="0" dirty="0">
                <a:ln>
                  <a:noFill/>
                </a:ln>
                <a:solidFill>
                  <a:srgbClr val="0000FF"/>
                </a:solidFill>
                <a:effectLst/>
                <a:uLnTx/>
                <a:uFillTx/>
                <a:latin typeface="Arial"/>
                <a:ea typeface="+mn-ea"/>
                <a:cs typeface="+mn-cs"/>
              </a:rPr>
              <a:t> Power Plants</a:t>
            </a:r>
          </a:p>
        </p:txBody>
      </p:sp>
    </p:spTree>
    <p:extLst>
      <p:ext uri="{BB962C8B-B14F-4D97-AF65-F5344CB8AC3E}">
        <p14:creationId xmlns:p14="http://schemas.microsoft.com/office/powerpoint/2010/main" val="1991903759"/>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2" presetClass="entr" presetSubtype="8"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left)">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utoUpdateAnimBg="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Titel 1">
            <a:extLst>
              <a:ext uri="{FF2B5EF4-FFF2-40B4-BE49-F238E27FC236}">
                <a16:creationId xmlns:a16="http://schemas.microsoft.com/office/drawing/2014/main" id="{4E4D27B8-C455-375F-84C1-C78B8D138E63}"/>
              </a:ext>
            </a:extLst>
          </p:cNvPr>
          <p:cNvSpPr txBox="1">
            <a:spLocks/>
          </p:cNvSpPr>
          <p:nvPr/>
        </p:nvSpPr>
        <p:spPr bwMode="auto">
          <a:xfrm>
            <a:off x="1919289" y="153989"/>
            <a:ext cx="6865937" cy="7127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a:spcBef>
                <a:spcPct val="20000"/>
              </a:spcBef>
              <a:buFont typeface="Wingdings" panose="05000000000000000000" pitchFamily="2" charset="2"/>
              <a:buChar char="§"/>
              <a:defRPr sz="2000">
                <a:solidFill>
                  <a:schemeClr val="tx1"/>
                </a:solidFill>
                <a:latin typeface="Arial" panose="020B0604020202020204" pitchFamily="34" charset="0"/>
              </a:defRPr>
            </a:lvl1pPr>
            <a:lvl2pPr marL="742950" indent="-285750">
              <a:spcBef>
                <a:spcPct val="20000"/>
              </a:spcBef>
              <a:buFont typeface="Wingdings" panose="05000000000000000000" pitchFamily="2" charset="2"/>
              <a:buChar char="§"/>
              <a:defRPr>
                <a:solidFill>
                  <a:schemeClr val="tx1"/>
                </a:solidFill>
                <a:latin typeface="Arial" panose="020B0604020202020204" pitchFamily="34" charset="0"/>
              </a:defRPr>
            </a:lvl2pPr>
            <a:lvl3pPr marL="1143000" indent="-228600">
              <a:spcBef>
                <a:spcPct val="20000"/>
              </a:spcBef>
              <a:buFont typeface="Wingdings" panose="05000000000000000000" pitchFamily="2" charset="2"/>
              <a:buChar char="§"/>
              <a:defRPr>
                <a:solidFill>
                  <a:schemeClr val="tx1"/>
                </a:solidFill>
                <a:latin typeface="Arial" panose="020B0604020202020204" pitchFamily="34" charset="0"/>
              </a:defRPr>
            </a:lvl3pPr>
            <a:lvl4pPr marL="1600200" indent="-228600">
              <a:spcBef>
                <a:spcPct val="20000"/>
              </a:spcBef>
              <a:buFont typeface="Wingdings" panose="05000000000000000000" pitchFamily="2" charset="2"/>
              <a:buChar char="§"/>
              <a:defRPr sz="1600">
                <a:solidFill>
                  <a:schemeClr val="tx1"/>
                </a:solidFill>
                <a:latin typeface="Arial" panose="020B0604020202020204" pitchFamily="34" charset="0"/>
              </a:defRPr>
            </a:lvl4pPr>
            <a:lvl5pPr marL="2057400" indent="-228600">
              <a:spcBef>
                <a:spcPct val="20000"/>
              </a:spcBef>
              <a:buFont typeface="Wingdings" panose="05000000000000000000" pitchFamily="2" charset="2"/>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1600">
                <a:solidFill>
                  <a:schemeClr val="tx1"/>
                </a:solidFill>
                <a:latin typeface="Arial" panose="020B0604020202020204" pitchFamily="34" charset="0"/>
              </a:defRPr>
            </a:lvl9pPr>
          </a:lstStyle>
          <a:p>
            <a:pPr eaLnBrk="1" hangingPunct="1">
              <a:spcBef>
                <a:spcPct val="0"/>
              </a:spcBef>
              <a:buNone/>
            </a:pPr>
            <a:endParaRPr lang="de-DE" altLang="de-DE" sz="2400">
              <a:solidFill>
                <a:srgbClr val="034694"/>
              </a:solidFill>
            </a:endParaRPr>
          </a:p>
        </p:txBody>
      </p:sp>
      <p:sp>
        <p:nvSpPr>
          <p:cNvPr id="2" name="Textfeld 4">
            <a:extLst>
              <a:ext uri="{FF2B5EF4-FFF2-40B4-BE49-F238E27FC236}">
                <a16:creationId xmlns:a16="http://schemas.microsoft.com/office/drawing/2014/main" id="{49E9BC5F-0A13-EF4C-2FC5-76639107DDE6}"/>
              </a:ext>
            </a:extLst>
          </p:cNvPr>
          <p:cNvSpPr txBox="1">
            <a:spLocks noChangeArrowheads="1"/>
          </p:cNvSpPr>
          <p:nvPr/>
        </p:nvSpPr>
        <p:spPr bwMode="auto">
          <a:xfrm>
            <a:off x="1235710" y="1194811"/>
            <a:ext cx="9726930" cy="5170646"/>
          </a:xfrm>
          <a:prstGeom prst="rect">
            <a:avLst/>
          </a:prstGeom>
          <a:noFill/>
          <a:ln>
            <a:noFill/>
          </a:ln>
        </p:spPr>
        <p:txBody>
          <a:bodyPr wrap="square">
            <a:spAutoFit/>
          </a:bodyPr>
          <a:lstStyle>
            <a:lvl1pPr marL="361950" indent="-361950">
              <a:defRPr>
                <a:solidFill>
                  <a:schemeClr val="tx1"/>
                </a:solidFill>
                <a:latin typeface="Arial" charset="0"/>
              </a:defRPr>
            </a:lvl1pPr>
            <a:lvl2pPr marL="714375" indent="-257175">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eaLnBrk="1" hangingPunct="1">
              <a:buClr>
                <a:srgbClr val="CC0000"/>
              </a:buClr>
              <a:buSzPct val="130000"/>
              <a:buFontTx/>
              <a:buChar char="•"/>
              <a:defRPr/>
            </a:pPr>
            <a:r>
              <a:rPr lang="de-DE" altLang="de-DE" sz="2200" b="0" dirty="0" err="1">
                <a:solidFill>
                  <a:srgbClr val="000000"/>
                </a:solidFill>
              </a:rPr>
              <a:t>How</a:t>
            </a:r>
            <a:r>
              <a:rPr lang="de-DE" altLang="de-DE" sz="2200" b="0" dirty="0">
                <a:solidFill>
                  <a:srgbClr val="000000"/>
                </a:solidFill>
              </a:rPr>
              <a:t> </a:t>
            </a:r>
            <a:r>
              <a:rPr lang="de-DE" altLang="de-DE" sz="2200" b="0" dirty="0" err="1">
                <a:solidFill>
                  <a:srgbClr val="000000"/>
                </a:solidFill>
              </a:rPr>
              <a:t>is</a:t>
            </a:r>
            <a:r>
              <a:rPr lang="de-DE" altLang="de-DE" sz="2200" b="0" dirty="0">
                <a:solidFill>
                  <a:srgbClr val="000000"/>
                </a:solidFill>
              </a:rPr>
              <a:t> </a:t>
            </a:r>
            <a:r>
              <a:rPr lang="de-DE" altLang="de-DE" sz="2200" b="0" dirty="0" err="1">
                <a:solidFill>
                  <a:srgbClr val="000000"/>
                </a:solidFill>
              </a:rPr>
              <a:t>the</a:t>
            </a:r>
            <a:r>
              <a:rPr lang="de-DE" altLang="de-DE" sz="2200" b="0" dirty="0">
                <a:solidFill>
                  <a:srgbClr val="000000"/>
                </a:solidFill>
              </a:rPr>
              <a:t> </a:t>
            </a:r>
            <a:r>
              <a:rPr lang="de-DE" altLang="de-DE" sz="2200" b="0" dirty="0" err="1">
                <a:solidFill>
                  <a:srgbClr val="000000"/>
                </a:solidFill>
              </a:rPr>
              <a:t>influence</a:t>
            </a:r>
            <a:r>
              <a:rPr lang="de-DE" altLang="de-DE" sz="2200" b="0" dirty="0">
                <a:solidFill>
                  <a:srgbClr val="000000"/>
                </a:solidFill>
              </a:rPr>
              <a:t> </a:t>
            </a:r>
            <a:r>
              <a:rPr lang="de-DE" altLang="de-DE" sz="2200" b="0" dirty="0" err="1">
                <a:solidFill>
                  <a:srgbClr val="000000"/>
                </a:solidFill>
              </a:rPr>
              <a:t>of</a:t>
            </a:r>
            <a:r>
              <a:rPr lang="de-DE" altLang="de-DE" sz="2200" b="0" dirty="0">
                <a:solidFill>
                  <a:srgbClr val="000000"/>
                </a:solidFill>
              </a:rPr>
              <a:t> </a:t>
            </a:r>
            <a:r>
              <a:rPr lang="de-DE" altLang="de-DE" sz="2200" dirty="0">
                <a:solidFill>
                  <a:srgbClr val="0000FF"/>
                </a:solidFill>
              </a:rPr>
              <a:t>time </a:t>
            </a:r>
            <a:r>
              <a:rPr lang="de-DE" altLang="de-DE" sz="2200" dirty="0" err="1">
                <a:solidFill>
                  <a:srgbClr val="0000FF"/>
                </a:solidFill>
              </a:rPr>
              <a:t>dependent</a:t>
            </a:r>
            <a:r>
              <a:rPr lang="de-DE" altLang="de-DE" sz="2200" dirty="0">
                <a:solidFill>
                  <a:srgbClr val="0000FF"/>
                </a:solidFill>
              </a:rPr>
              <a:t> Forces </a:t>
            </a:r>
            <a:r>
              <a:rPr lang="de-DE" altLang="de-DE" sz="2200" b="0" dirty="0">
                <a:solidFill>
                  <a:srgbClr val="000000"/>
                </a:solidFill>
              </a:rPr>
              <a:t>on</a:t>
            </a:r>
            <a:r>
              <a:rPr lang="de-DE" altLang="de-DE" sz="2200" b="0" dirty="0">
                <a:solidFill>
                  <a:srgbClr val="FF0000"/>
                </a:solidFill>
              </a:rPr>
              <a:t> </a:t>
            </a:r>
            <a:r>
              <a:rPr lang="de-DE" altLang="de-DE" sz="2200" b="0" dirty="0" err="1">
                <a:solidFill>
                  <a:srgbClr val="000000"/>
                </a:solidFill>
              </a:rPr>
              <a:t>the</a:t>
            </a:r>
            <a:r>
              <a:rPr lang="de-DE" altLang="de-DE" sz="2200" b="0" dirty="0">
                <a:solidFill>
                  <a:srgbClr val="000000"/>
                </a:solidFill>
              </a:rPr>
              <a:t> </a:t>
            </a:r>
            <a:r>
              <a:rPr lang="de-DE" altLang="de-DE" sz="2200" b="0" dirty="0" err="1">
                <a:solidFill>
                  <a:srgbClr val="000000"/>
                </a:solidFill>
              </a:rPr>
              <a:t>dynamic</a:t>
            </a:r>
            <a:r>
              <a:rPr lang="de-DE" altLang="de-DE" sz="2200" b="0" dirty="0">
                <a:solidFill>
                  <a:srgbClr val="000000"/>
                </a:solidFill>
              </a:rPr>
              <a:t> </a:t>
            </a:r>
            <a:r>
              <a:rPr lang="de-DE" altLang="de-DE" sz="2200" b="0" dirty="0" err="1">
                <a:solidFill>
                  <a:srgbClr val="000000"/>
                </a:solidFill>
              </a:rPr>
              <a:t>behavior</a:t>
            </a:r>
            <a:r>
              <a:rPr lang="de-DE" altLang="de-DE" sz="2200" b="0" dirty="0">
                <a:solidFill>
                  <a:srgbClr val="000000"/>
                </a:solidFill>
              </a:rPr>
              <a:t> </a:t>
            </a:r>
            <a:r>
              <a:rPr lang="de-DE" altLang="de-DE" sz="2200" b="0" dirty="0" err="1">
                <a:solidFill>
                  <a:srgbClr val="000000"/>
                </a:solidFill>
              </a:rPr>
              <a:t>of</a:t>
            </a:r>
            <a:r>
              <a:rPr lang="de-DE" altLang="de-DE" sz="2200" b="0" dirty="0">
                <a:solidFill>
                  <a:srgbClr val="000000"/>
                </a:solidFill>
              </a:rPr>
              <a:t> </a:t>
            </a:r>
            <a:r>
              <a:rPr lang="de-DE" altLang="de-DE" sz="2200" b="0" dirty="0" err="1">
                <a:solidFill>
                  <a:srgbClr val="000000"/>
                </a:solidFill>
              </a:rPr>
              <a:t>the</a:t>
            </a:r>
            <a:r>
              <a:rPr lang="de-DE" altLang="de-DE" sz="2200" b="0" dirty="0">
                <a:solidFill>
                  <a:srgbClr val="000000"/>
                </a:solidFill>
              </a:rPr>
              <a:t> Pump?</a:t>
            </a:r>
          </a:p>
          <a:p>
            <a:pPr eaLnBrk="1" hangingPunct="1">
              <a:buClr>
                <a:srgbClr val="CC0000"/>
              </a:buClr>
              <a:buSzPct val="130000"/>
              <a:buFontTx/>
              <a:buChar char="•"/>
              <a:defRPr/>
            </a:pPr>
            <a:endParaRPr lang="de-DE" altLang="de-DE" sz="2200" dirty="0">
              <a:solidFill>
                <a:srgbClr val="000000"/>
              </a:solidFill>
            </a:endParaRPr>
          </a:p>
          <a:p>
            <a:pPr eaLnBrk="1" hangingPunct="1">
              <a:buClr>
                <a:srgbClr val="CC0000"/>
              </a:buClr>
              <a:buSzPct val="130000"/>
              <a:buFontTx/>
              <a:buChar char="•"/>
              <a:defRPr/>
            </a:pPr>
            <a:r>
              <a:rPr lang="de-DE" altLang="de-DE" sz="2200" b="0" dirty="0" err="1">
                <a:solidFill>
                  <a:srgbClr val="000000"/>
                </a:solidFill>
              </a:rPr>
              <a:t>Which</a:t>
            </a:r>
            <a:r>
              <a:rPr lang="de-DE" altLang="de-DE" sz="2200" dirty="0">
                <a:solidFill>
                  <a:srgbClr val="000000"/>
                </a:solidFill>
              </a:rPr>
              <a:t> </a:t>
            </a:r>
            <a:r>
              <a:rPr lang="de-DE" altLang="de-DE" sz="2200" dirty="0" err="1">
                <a:solidFill>
                  <a:srgbClr val="0000FF"/>
                </a:solidFill>
              </a:rPr>
              <a:t>Motions</a:t>
            </a:r>
            <a:r>
              <a:rPr lang="de-DE" altLang="de-DE" sz="2200" dirty="0">
                <a:solidFill>
                  <a:srgbClr val="0000FF"/>
                </a:solidFill>
              </a:rPr>
              <a:t> </a:t>
            </a:r>
            <a:r>
              <a:rPr lang="de-DE" altLang="de-DE" sz="2200" dirty="0" err="1">
                <a:solidFill>
                  <a:srgbClr val="0000FF"/>
                </a:solidFill>
              </a:rPr>
              <a:t>of</a:t>
            </a:r>
            <a:r>
              <a:rPr lang="de-DE" altLang="de-DE" sz="2200" dirty="0">
                <a:solidFill>
                  <a:srgbClr val="0000FF"/>
                </a:solidFill>
              </a:rPr>
              <a:t> Vibration </a:t>
            </a:r>
            <a:r>
              <a:rPr lang="de-DE" altLang="de-DE" sz="2200" b="0" dirty="0">
                <a:solidFill>
                  <a:srgbClr val="000000"/>
                </a:solidFill>
              </a:rPr>
              <a:t>and </a:t>
            </a:r>
            <a:r>
              <a:rPr lang="de-DE" altLang="de-DE" sz="2200" b="0" dirty="0" err="1">
                <a:solidFill>
                  <a:srgbClr val="000000"/>
                </a:solidFill>
              </a:rPr>
              <a:t>which</a:t>
            </a:r>
            <a:r>
              <a:rPr lang="de-DE" altLang="de-DE" sz="2200" b="0" dirty="0">
                <a:solidFill>
                  <a:srgbClr val="000000"/>
                </a:solidFill>
              </a:rPr>
              <a:t> </a:t>
            </a:r>
            <a:r>
              <a:rPr lang="de-DE" altLang="de-DE" sz="2200" dirty="0">
                <a:solidFill>
                  <a:srgbClr val="0000FF"/>
                </a:solidFill>
              </a:rPr>
              <a:t>Internal Stresses </a:t>
            </a:r>
            <a:r>
              <a:rPr lang="de-DE" altLang="de-DE" sz="2200" b="0" dirty="0" err="1"/>
              <a:t>act</a:t>
            </a:r>
            <a:r>
              <a:rPr lang="de-DE" altLang="de-DE" sz="2200" b="0" dirty="0"/>
              <a:t> on </a:t>
            </a:r>
          </a:p>
          <a:p>
            <a:pPr marL="0" indent="0" eaLnBrk="1" hangingPunct="1">
              <a:buClr>
                <a:srgbClr val="CC0000"/>
              </a:buClr>
              <a:buSzPct val="130000"/>
              <a:defRPr/>
            </a:pPr>
            <a:r>
              <a:rPr lang="de-DE" altLang="de-DE" sz="2200" dirty="0">
                <a:solidFill>
                  <a:srgbClr val="000000"/>
                </a:solidFill>
              </a:rPr>
              <a:t>     </a:t>
            </a:r>
            <a:r>
              <a:rPr lang="de-DE" altLang="de-DE" sz="2200" b="0" dirty="0" err="1">
                <a:solidFill>
                  <a:srgbClr val="000000"/>
                </a:solidFill>
              </a:rPr>
              <a:t>the</a:t>
            </a:r>
            <a:r>
              <a:rPr lang="de-DE" altLang="de-DE" sz="2200" b="0" dirty="0">
                <a:solidFill>
                  <a:srgbClr val="000000"/>
                </a:solidFill>
              </a:rPr>
              <a:t> </a:t>
            </a:r>
            <a:r>
              <a:rPr lang="de-DE" altLang="de-DE" sz="2200" b="0" dirty="0" err="1">
                <a:solidFill>
                  <a:srgbClr val="000000"/>
                </a:solidFill>
              </a:rPr>
              <a:t>rotating</a:t>
            </a:r>
            <a:r>
              <a:rPr lang="de-DE" altLang="de-DE" sz="2200" b="0" dirty="0">
                <a:solidFill>
                  <a:srgbClr val="000000"/>
                </a:solidFill>
              </a:rPr>
              <a:t> and on </a:t>
            </a:r>
            <a:r>
              <a:rPr lang="de-DE" altLang="de-DE" sz="2200" b="0" dirty="0" err="1">
                <a:solidFill>
                  <a:srgbClr val="000000"/>
                </a:solidFill>
              </a:rPr>
              <a:t>the</a:t>
            </a:r>
            <a:r>
              <a:rPr lang="de-DE" altLang="de-DE" sz="2200" b="0" dirty="0">
                <a:solidFill>
                  <a:srgbClr val="000000"/>
                </a:solidFill>
              </a:rPr>
              <a:t> non-</a:t>
            </a:r>
            <a:r>
              <a:rPr lang="de-DE" altLang="de-DE" sz="2200" b="0" dirty="0" err="1">
                <a:solidFill>
                  <a:srgbClr val="000000"/>
                </a:solidFill>
              </a:rPr>
              <a:t>rotating</a:t>
            </a:r>
            <a:r>
              <a:rPr lang="de-DE" altLang="de-DE" sz="2200" b="0" dirty="0">
                <a:solidFill>
                  <a:srgbClr val="000000"/>
                </a:solidFill>
              </a:rPr>
              <a:t> </a:t>
            </a:r>
            <a:r>
              <a:rPr lang="de-DE" altLang="de-DE" sz="2200" b="0" dirty="0" err="1">
                <a:solidFill>
                  <a:srgbClr val="000000"/>
                </a:solidFill>
              </a:rPr>
              <a:t>machine</a:t>
            </a:r>
            <a:r>
              <a:rPr lang="de-DE" altLang="de-DE" sz="2200" b="0" dirty="0">
                <a:solidFill>
                  <a:srgbClr val="000000"/>
                </a:solidFill>
              </a:rPr>
              <a:t> </a:t>
            </a:r>
            <a:r>
              <a:rPr lang="de-DE" altLang="de-DE" sz="2200" b="0" dirty="0" err="1">
                <a:solidFill>
                  <a:srgbClr val="000000"/>
                </a:solidFill>
              </a:rPr>
              <a:t>parts</a:t>
            </a:r>
            <a:r>
              <a:rPr lang="de-DE" altLang="de-DE" sz="2200" b="0" dirty="0">
                <a:solidFill>
                  <a:srgbClr val="000000"/>
                </a:solidFill>
              </a:rPr>
              <a:t> </a:t>
            </a:r>
            <a:r>
              <a:rPr lang="de-DE" altLang="de-DE" sz="2200" b="0" dirty="0" err="1">
                <a:solidFill>
                  <a:srgbClr val="000000"/>
                </a:solidFill>
              </a:rPr>
              <a:t>of</a:t>
            </a:r>
            <a:r>
              <a:rPr lang="de-DE" altLang="de-DE" sz="2200" b="0" dirty="0">
                <a:solidFill>
                  <a:srgbClr val="000000"/>
                </a:solidFill>
              </a:rPr>
              <a:t> </a:t>
            </a:r>
            <a:r>
              <a:rPr lang="de-DE" altLang="de-DE" sz="2200" b="0" dirty="0" err="1">
                <a:solidFill>
                  <a:srgbClr val="000000"/>
                </a:solidFill>
              </a:rPr>
              <a:t>the</a:t>
            </a:r>
            <a:r>
              <a:rPr lang="de-DE" altLang="de-DE" sz="2200" b="0" dirty="0">
                <a:solidFill>
                  <a:srgbClr val="000000"/>
                </a:solidFill>
              </a:rPr>
              <a:t> Pump?</a:t>
            </a:r>
          </a:p>
          <a:p>
            <a:pPr eaLnBrk="1" hangingPunct="1">
              <a:buClr>
                <a:srgbClr val="CC0000"/>
              </a:buClr>
              <a:buSzPct val="130000"/>
              <a:buFontTx/>
              <a:buChar char="•"/>
              <a:defRPr/>
            </a:pPr>
            <a:endParaRPr lang="de-DE" altLang="de-DE" sz="2200" dirty="0">
              <a:solidFill>
                <a:srgbClr val="000000"/>
              </a:solidFill>
            </a:endParaRPr>
          </a:p>
          <a:p>
            <a:pPr eaLnBrk="1" hangingPunct="1">
              <a:buClr>
                <a:srgbClr val="CC0000"/>
              </a:buClr>
              <a:buSzPct val="130000"/>
              <a:buFontTx/>
              <a:buChar char="•"/>
              <a:defRPr/>
            </a:pPr>
            <a:r>
              <a:rPr lang="de-DE" altLang="de-DE" sz="2200" b="0" dirty="0">
                <a:solidFill>
                  <a:srgbClr val="000000"/>
                </a:solidFill>
              </a:rPr>
              <a:t>Critical </a:t>
            </a:r>
            <a:r>
              <a:rPr lang="de-DE" altLang="de-DE" sz="2200" b="0" dirty="0" err="1">
                <a:solidFill>
                  <a:srgbClr val="000000"/>
                </a:solidFill>
              </a:rPr>
              <a:t>Conditions</a:t>
            </a:r>
            <a:r>
              <a:rPr lang="de-DE" altLang="de-DE" sz="2200" b="0" dirty="0">
                <a:solidFill>
                  <a:srgbClr val="000000"/>
                </a:solidFill>
              </a:rPr>
              <a:t> </a:t>
            </a:r>
            <a:r>
              <a:rPr lang="de-DE" altLang="de-DE" sz="2200" dirty="0">
                <a:solidFill>
                  <a:srgbClr val="0000FF"/>
                </a:solidFill>
              </a:rPr>
              <a:t>(</a:t>
            </a:r>
            <a:r>
              <a:rPr lang="de-DE" altLang="de-DE" sz="2200" dirty="0" err="1">
                <a:solidFill>
                  <a:srgbClr val="0000FF"/>
                </a:solidFill>
              </a:rPr>
              <a:t>Resonances</a:t>
            </a:r>
            <a:r>
              <a:rPr lang="de-DE" altLang="de-DE" sz="2200" dirty="0">
                <a:solidFill>
                  <a:srgbClr val="0000FF"/>
                </a:solidFill>
              </a:rPr>
              <a:t>, Critical Speeds, </a:t>
            </a:r>
            <a:r>
              <a:rPr lang="de-DE" altLang="de-DE" sz="2200" dirty="0" err="1">
                <a:solidFill>
                  <a:srgbClr val="FF0000"/>
                </a:solidFill>
              </a:rPr>
              <a:t>Instabilities</a:t>
            </a:r>
            <a:r>
              <a:rPr lang="de-DE" altLang="de-DE" sz="2200" dirty="0">
                <a:solidFill>
                  <a:srgbClr val="0000FF"/>
                </a:solidFill>
              </a:rPr>
              <a:t>)</a:t>
            </a:r>
            <a:r>
              <a:rPr lang="de-DE" altLang="de-DE" sz="2200" b="0" dirty="0">
                <a:solidFill>
                  <a:srgbClr val="000000"/>
                </a:solidFill>
              </a:rPr>
              <a:t>?</a:t>
            </a:r>
          </a:p>
          <a:p>
            <a:pPr eaLnBrk="1" hangingPunct="1">
              <a:buClr>
                <a:srgbClr val="CC0000"/>
              </a:buClr>
              <a:buSzPct val="130000"/>
              <a:buFontTx/>
              <a:buChar char="•"/>
              <a:defRPr/>
            </a:pPr>
            <a:endParaRPr lang="de-DE" altLang="de-DE" sz="2200" dirty="0">
              <a:solidFill>
                <a:srgbClr val="0000FF"/>
              </a:solidFill>
            </a:endParaRPr>
          </a:p>
          <a:p>
            <a:pPr eaLnBrk="1" hangingPunct="1">
              <a:buClr>
                <a:srgbClr val="CC0000"/>
              </a:buClr>
              <a:buSzPct val="130000"/>
              <a:buFontTx/>
              <a:buChar char="•"/>
              <a:defRPr/>
            </a:pPr>
            <a:r>
              <a:rPr lang="de-DE" altLang="de-DE" sz="2200" dirty="0">
                <a:solidFill>
                  <a:srgbClr val="0000FF"/>
                </a:solidFill>
              </a:rPr>
              <a:t>Can </a:t>
            </a:r>
            <a:r>
              <a:rPr lang="de-DE" altLang="de-DE" sz="2200" dirty="0" err="1">
                <a:solidFill>
                  <a:srgbClr val="0000FF"/>
                </a:solidFill>
              </a:rPr>
              <a:t>vibrations</a:t>
            </a:r>
            <a:r>
              <a:rPr lang="de-DE" altLang="de-DE" sz="2200" dirty="0">
                <a:solidFill>
                  <a:srgbClr val="0000FF"/>
                </a:solidFill>
              </a:rPr>
              <a:t> </a:t>
            </a:r>
            <a:r>
              <a:rPr lang="de-DE" altLang="de-DE" sz="2200" dirty="0" err="1">
                <a:solidFill>
                  <a:srgbClr val="0000FF"/>
                </a:solidFill>
              </a:rPr>
              <a:t>destroy</a:t>
            </a:r>
            <a:r>
              <a:rPr lang="de-DE" altLang="de-DE" sz="2200" dirty="0">
                <a:solidFill>
                  <a:srgbClr val="0000FF"/>
                </a:solidFill>
              </a:rPr>
              <a:t> </a:t>
            </a:r>
            <a:r>
              <a:rPr lang="de-DE" altLang="de-DE" sz="2200" dirty="0" err="1">
                <a:solidFill>
                  <a:srgbClr val="0000FF"/>
                </a:solidFill>
              </a:rPr>
              <a:t>machine</a:t>
            </a:r>
            <a:r>
              <a:rPr lang="de-DE" altLang="de-DE" sz="2200" dirty="0">
                <a:solidFill>
                  <a:srgbClr val="0000FF"/>
                </a:solidFill>
              </a:rPr>
              <a:t> </a:t>
            </a:r>
            <a:r>
              <a:rPr lang="de-DE" altLang="de-DE" sz="2200" dirty="0" err="1">
                <a:solidFill>
                  <a:srgbClr val="0000FF"/>
                </a:solidFill>
              </a:rPr>
              <a:t>parts</a:t>
            </a:r>
            <a:r>
              <a:rPr lang="de-DE" altLang="de-DE" sz="2200" dirty="0">
                <a:solidFill>
                  <a:srgbClr val="0000FF"/>
                </a:solidFill>
              </a:rPr>
              <a:t>?</a:t>
            </a:r>
            <a:br>
              <a:rPr lang="de-DE" altLang="de-DE" sz="2200" dirty="0">
                <a:solidFill>
                  <a:srgbClr val="000000"/>
                </a:solidFill>
              </a:rPr>
            </a:br>
            <a:r>
              <a:rPr lang="de-DE" sz="2200" b="0" dirty="0" err="1">
                <a:solidFill>
                  <a:srgbClr val="000000"/>
                </a:solidFill>
              </a:rPr>
              <a:t>Rubbing</a:t>
            </a:r>
            <a:r>
              <a:rPr lang="de-DE" sz="2200" b="0" dirty="0">
                <a:solidFill>
                  <a:srgbClr val="000000"/>
                </a:solidFill>
              </a:rPr>
              <a:t>, </a:t>
            </a:r>
            <a:r>
              <a:rPr lang="de-DE" sz="2200" b="0" dirty="0" err="1">
                <a:solidFill>
                  <a:srgbClr val="000000"/>
                </a:solidFill>
              </a:rPr>
              <a:t>Shaft</a:t>
            </a:r>
            <a:r>
              <a:rPr lang="de-DE" sz="2200" b="0" dirty="0">
                <a:solidFill>
                  <a:srgbClr val="000000"/>
                </a:solidFill>
              </a:rPr>
              <a:t> and  Impeller </a:t>
            </a:r>
            <a:r>
              <a:rPr lang="de-DE" sz="2200" b="0" dirty="0" err="1">
                <a:solidFill>
                  <a:srgbClr val="000000"/>
                </a:solidFill>
              </a:rPr>
              <a:t>cracks</a:t>
            </a:r>
            <a:r>
              <a:rPr lang="de-DE" sz="2200" b="0" dirty="0">
                <a:solidFill>
                  <a:srgbClr val="000000"/>
                </a:solidFill>
              </a:rPr>
              <a:t>, </a:t>
            </a:r>
            <a:r>
              <a:rPr lang="de-DE" sz="2200" b="0" dirty="0" err="1">
                <a:solidFill>
                  <a:srgbClr val="000000"/>
                </a:solidFill>
              </a:rPr>
              <a:t>Bearing</a:t>
            </a:r>
            <a:r>
              <a:rPr lang="de-DE" sz="2200" b="0" dirty="0">
                <a:solidFill>
                  <a:srgbClr val="000000"/>
                </a:solidFill>
              </a:rPr>
              <a:t> and Seal </a:t>
            </a:r>
            <a:r>
              <a:rPr lang="de-DE" sz="2200" b="0" dirty="0" err="1">
                <a:solidFill>
                  <a:srgbClr val="000000"/>
                </a:solidFill>
              </a:rPr>
              <a:t>damages</a:t>
            </a:r>
            <a:r>
              <a:rPr lang="de-DE" sz="2200" b="0" dirty="0">
                <a:solidFill>
                  <a:srgbClr val="000000"/>
                </a:solidFill>
              </a:rPr>
              <a:t>, large </a:t>
            </a:r>
            <a:r>
              <a:rPr lang="de-DE" sz="2200" b="0" dirty="0" err="1">
                <a:solidFill>
                  <a:srgbClr val="000000"/>
                </a:solidFill>
              </a:rPr>
              <a:t>deformations</a:t>
            </a:r>
            <a:r>
              <a:rPr lang="de-DE" sz="2200" b="0" dirty="0">
                <a:solidFill>
                  <a:srgbClr val="000000"/>
                </a:solidFill>
              </a:rPr>
              <a:t>,…</a:t>
            </a:r>
          </a:p>
          <a:p>
            <a:pPr eaLnBrk="1" hangingPunct="1">
              <a:buClr>
                <a:srgbClr val="CC0000"/>
              </a:buClr>
              <a:buSzPct val="130000"/>
              <a:buFontTx/>
              <a:buChar char="•"/>
              <a:defRPr/>
            </a:pPr>
            <a:endParaRPr lang="de-DE" altLang="de-DE" sz="2200" dirty="0">
              <a:solidFill>
                <a:srgbClr val="000000"/>
              </a:solidFill>
            </a:endParaRPr>
          </a:p>
          <a:p>
            <a:pPr eaLnBrk="1" hangingPunct="1">
              <a:buClr>
                <a:srgbClr val="CC0000"/>
              </a:buClr>
              <a:buSzPct val="130000"/>
              <a:buFontTx/>
              <a:buChar char="•"/>
              <a:defRPr/>
            </a:pPr>
            <a:r>
              <a:rPr lang="de-DE" altLang="de-DE" sz="2200" b="0" dirty="0" err="1">
                <a:solidFill>
                  <a:srgbClr val="000000"/>
                </a:solidFill>
              </a:rPr>
              <a:t>Which</a:t>
            </a:r>
            <a:r>
              <a:rPr lang="de-DE" altLang="de-DE" sz="2200" dirty="0">
                <a:solidFill>
                  <a:srgbClr val="000000"/>
                </a:solidFill>
              </a:rPr>
              <a:t> </a:t>
            </a:r>
            <a:r>
              <a:rPr lang="de-DE" altLang="de-DE" sz="2200" dirty="0">
                <a:solidFill>
                  <a:srgbClr val="0000FF"/>
                </a:solidFill>
              </a:rPr>
              <a:t>Interactions </a:t>
            </a:r>
            <a:r>
              <a:rPr lang="de-DE" altLang="de-DE" sz="2200" b="0" dirty="0" err="1">
                <a:solidFill>
                  <a:srgbClr val="000000"/>
                </a:solidFill>
              </a:rPr>
              <a:t>have</a:t>
            </a:r>
            <a:r>
              <a:rPr lang="de-DE" altLang="de-DE" sz="2200" b="0" dirty="0">
                <a:solidFill>
                  <a:srgbClr val="000000"/>
                </a:solidFill>
              </a:rPr>
              <a:t> </a:t>
            </a:r>
            <a:r>
              <a:rPr lang="de-DE" altLang="de-DE" sz="2200" b="0" dirty="0" err="1">
                <a:solidFill>
                  <a:srgbClr val="000000"/>
                </a:solidFill>
              </a:rPr>
              <a:t>to</a:t>
            </a:r>
            <a:r>
              <a:rPr lang="de-DE" altLang="de-DE" sz="2200" b="0" dirty="0">
                <a:solidFill>
                  <a:srgbClr val="000000"/>
                </a:solidFill>
              </a:rPr>
              <a:t> </a:t>
            </a:r>
            <a:r>
              <a:rPr lang="de-DE" altLang="de-DE" sz="2200" b="0" dirty="0" err="1">
                <a:solidFill>
                  <a:srgbClr val="000000"/>
                </a:solidFill>
              </a:rPr>
              <a:t>be</a:t>
            </a:r>
            <a:r>
              <a:rPr lang="de-DE" altLang="de-DE" sz="2200" b="0" dirty="0">
                <a:solidFill>
                  <a:srgbClr val="000000"/>
                </a:solidFill>
              </a:rPr>
              <a:t> </a:t>
            </a:r>
            <a:r>
              <a:rPr lang="de-DE" altLang="de-DE" sz="2200" b="0" dirty="0" err="1">
                <a:solidFill>
                  <a:srgbClr val="000000"/>
                </a:solidFill>
              </a:rPr>
              <a:t>considered</a:t>
            </a:r>
            <a:r>
              <a:rPr lang="de-DE" altLang="de-DE" sz="2200" b="0" dirty="0">
                <a:solidFill>
                  <a:srgbClr val="000000"/>
                </a:solidFill>
              </a:rPr>
              <a:t>?</a:t>
            </a:r>
            <a:br>
              <a:rPr lang="de-DE" altLang="de-DE" sz="2200" dirty="0">
                <a:solidFill>
                  <a:srgbClr val="000000"/>
                </a:solidFill>
              </a:rPr>
            </a:br>
            <a:r>
              <a:rPr lang="de-DE" altLang="de-DE" sz="2200" dirty="0">
                <a:solidFill>
                  <a:srgbClr val="0000FF"/>
                </a:solidFill>
              </a:rPr>
              <a:t>Fluid </a:t>
            </a:r>
            <a:r>
              <a:rPr lang="de-DE" altLang="de-DE" sz="2200" dirty="0" err="1">
                <a:solidFill>
                  <a:srgbClr val="0000FF"/>
                </a:solidFill>
              </a:rPr>
              <a:t>Structure</a:t>
            </a:r>
            <a:r>
              <a:rPr lang="de-DE" altLang="de-DE" sz="2200" dirty="0">
                <a:solidFill>
                  <a:srgbClr val="0000FF"/>
                </a:solidFill>
              </a:rPr>
              <a:t> </a:t>
            </a:r>
            <a:r>
              <a:rPr lang="de-DE" altLang="de-DE" sz="2200" b="0" dirty="0">
                <a:solidFill>
                  <a:srgbClr val="000000"/>
                </a:solidFill>
              </a:rPr>
              <a:t>Interactions  FSI (Impeller, </a:t>
            </a:r>
            <a:r>
              <a:rPr lang="de-DE" altLang="de-DE" sz="2200" b="0" dirty="0" err="1">
                <a:solidFill>
                  <a:srgbClr val="000000"/>
                </a:solidFill>
              </a:rPr>
              <a:t>bearings</a:t>
            </a:r>
            <a:r>
              <a:rPr lang="de-DE" altLang="de-DE" sz="2200" b="0" dirty="0">
                <a:solidFill>
                  <a:srgbClr val="000000"/>
                </a:solidFill>
              </a:rPr>
              <a:t>, </a:t>
            </a:r>
            <a:r>
              <a:rPr lang="de-DE" altLang="de-DE" sz="2200" b="0" dirty="0" err="1">
                <a:solidFill>
                  <a:srgbClr val="000000"/>
                </a:solidFill>
              </a:rPr>
              <a:t>seals</a:t>
            </a:r>
            <a:r>
              <a:rPr lang="de-DE" altLang="de-DE" sz="2200" b="0" dirty="0">
                <a:solidFill>
                  <a:srgbClr val="000000"/>
                </a:solidFill>
              </a:rPr>
              <a:t>), </a:t>
            </a:r>
          </a:p>
          <a:p>
            <a:pPr marL="0" indent="0" eaLnBrk="1" hangingPunct="1">
              <a:buClr>
                <a:srgbClr val="CC0000"/>
              </a:buClr>
              <a:buSzPct val="130000"/>
              <a:defRPr/>
            </a:pPr>
            <a:r>
              <a:rPr lang="de-DE" altLang="de-DE" sz="2200" dirty="0">
                <a:solidFill>
                  <a:srgbClr val="000000"/>
                </a:solidFill>
              </a:rPr>
              <a:t>     </a:t>
            </a:r>
            <a:r>
              <a:rPr lang="de-DE" altLang="de-DE" sz="2200" dirty="0">
                <a:solidFill>
                  <a:srgbClr val="0000FF"/>
                </a:solidFill>
              </a:rPr>
              <a:t>Rotor </a:t>
            </a:r>
            <a:r>
              <a:rPr lang="de-DE" altLang="de-DE" sz="2200" dirty="0" err="1">
                <a:solidFill>
                  <a:srgbClr val="0000FF"/>
                </a:solidFill>
              </a:rPr>
              <a:t>Structure</a:t>
            </a:r>
            <a:r>
              <a:rPr lang="de-DE" altLang="de-DE" sz="2200" dirty="0">
                <a:solidFill>
                  <a:srgbClr val="0000FF"/>
                </a:solidFill>
              </a:rPr>
              <a:t> </a:t>
            </a:r>
            <a:r>
              <a:rPr lang="de-DE" altLang="de-DE" sz="2200" b="0" dirty="0">
                <a:solidFill>
                  <a:srgbClr val="000000"/>
                </a:solidFill>
              </a:rPr>
              <a:t>Interaction RSI (Pump </a:t>
            </a:r>
            <a:r>
              <a:rPr lang="de-DE" altLang="de-DE" sz="2200" b="0" dirty="0" err="1">
                <a:solidFill>
                  <a:srgbClr val="000000"/>
                </a:solidFill>
              </a:rPr>
              <a:t>casing</a:t>
            </a:r>
            <a:r>
              <a:rPr lang="de-DE" altLang="de-DE" sz="2200" b="0" dirty="0">
                <a:solidFill>
                  <a:srgbClr val="000000"/>
                </a:solidFill>
              </a:rPr>
              <a:t>)</a:t>
            </a:r>
          </a:p>
        </p:txBody>
      </p:sp>
      <p:sp>
        <p:nvSpPr>
          <p:cNvPr id="21508" name="Textfeld 4">
            <a:extLst>
              <a:ext uri="{FF2B5EF4-FFF2-40B4-BE49-F238E27FC236}">
                <a16:creationId xmlns:a16="http://schemas.microsoft.com/office/drawing/2014/main" id="{B9208179-6262-3BE6-0B08-F60C11ED0C12}"/>
              </a:ext>
            </a:extLst>
          </p:cNvPr>
          <p:cNvSpPr txBox="1">
            <a:spLocks noChangeArrowheads="1"/>
          </p:cNvSpPr>
          <p:nvPr/>
        </p:nvSpPr>
        <p:spPr bwMode="auto">
          <a:xfrm>
            <a:off x="1127579" y="153989"/>
            <a:ext cx="8826500" cy="83026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61950" indent="-361950">
              <a:spcBef>
                <a:spcPct val="20000"/>
              </a:spcBef>
              <a:buFont typeface="Wingdings" panose="05000000000000000000" pitchFamily="2" charset="2"/>
              <a:buChar char="§"/>
              <a:defRPr sz="2000">
                <a:solidFill>
                  <a:schemeClr val="tx1"/>
                </a:solidFill>
                <a:latin typeface="Arial" panose="020B0604020202020204" pitchFamily="34" charset="0"/>
              </a:defRPr>
            </a:lvl1pPr>
            <a:lvl2pPr marL="714375" indent="-257175">
              <a:spcBef>
                <a:spcPct val="20000"/>
              </a:spcBef>
              <a:buFont typeface="Wingdings" panose="05000000000000000000" pitchFamily="2" charset="2"/>
              <a:buChar char="§"/>
              <a:defRPr>
                <a:solidFill>
                  <a:schemeClr val="tx1"/>
                </a:solidFill>
                <a:latin typeface="Arial" panose="020B0604020202020204" pitchFamily="34" charset="0"/>
              </a:defRPr>
            </a:lvl2pPr>
            <a:lvl3pPr marL="1143000" indent="-228600">
              <a:spcBef>
                <a:spcPct val="20000"/>
              </a:spcBef>
              <a:buFont typeface="Wingdings" panose="05000000000000000000" pitchFamily="2" charset="2"/>
              <a:buChar char="§"/>
              <a:defRPr>
                <a:solidFill>
                  <a:schemeClr val="tx1"/>
                </a:solidFill>
                <a:latin typeface="Arial" panose="020B0604020202020204" pitchFamily="34" charset="0"/>
              </a:defRPr>
            </a:lvl3pPr>
            <a:lvl4pPr marL="1600200" indent="-228600">
              <a:spcBef>
                <a:spcPct val="20000"/>
              </a:spcBef>
              <a:buFont typeface="Wingdings" panose="05000000000000000000" pitchFamily="2" charset="2"/>
              <a:buChar char="§"/>
              <a:defRPr sz="1600">
                <a:solidFill>
                  <a:schemeClr val="tx1"/>
                </a:solidFill>
                <a:latin typeface="Arial" panose="020B0604020202020204" pitchFamily="34" charset="0"/>
              </a:defRPr>
            </a:lvl4pPr>
            <a:lvl5pPr marL="2057400" indent="-228600">
              <a:spcBef>
                <a:spcPct val="20000"/>
              </a:spcBef>
              <a:buFont typeface="Wingdings" panose="05000000000000000000" pitchFamily="2" charset="2"/>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1600">
                <a:solidFill>
                  <a:schemeClr val="tx1"/>
                </a:solidFill>
                <a:latin typeface="Arial" panose="020B0604020202020204" pitchFamily="34" charset="0"/>
              </a:defRPr>
            </a:lvl9pPr>
          </a:lstStyle>
          <a:p>
            <a:pPr eaLnBrk="1" hangingPunct="1">
              <a:spcBef>
                <a:spcPct val="0"/>
              </a:spcBef>
              <a:buNone/>
            </a:pPr>
            <a:r>
              <a:rPr lang="de-DE" altLang="de-DE" sz="2400" b="0" dirty="0">
                <a:solidFill>
                  <a:srgbClr val="000000"/>
                </a:solidFill>
              </a:rPr>
              <a:t> </a:t>
            </a:r>
            <a:r>
              <a:rPr lang="de-DE" altLang="de-DE" sz="2400" dirty="0">
                <a:solidFill>
                  <a:srgbClr val="0000FF"/>
                </a:solidFill>
              </a:rPr>
              <a:t>Lateral </a:t>
            </a:r>
            <a:r>
              <a:rPr lang="de-DE" altLang="de-DE" sz="2400" dirty="0" err="1">
                <a:solidFill>
                  <a:srgbClr val="0000FF"/>
                </a:solidFill>
              </a:rPr>
              <a:t>Vibrations</a:t>
            </a:r>
            <a:r>
              <a:rPr lang="de-DE" altLang="de-DE" sz="2400" dirty="0">
                <a:solidFill>
                  <a:srgbClr val="0000FF"/>
                </a:solidFill>
              </a:rPr>
              <a:t> </a:t>
            </a:r>
            <a:r>
              <a:rPr lang="de-DE" altLang="de-DE" sz="2400" dirty="0" err="1">
                <a:solidFill>
                  <a:srgbClr val="0000FF"/>
                </a:solidFill>
              </a:rPr>
              <a:t>of</a:t>
            </a:r>
            <a:r>
              <a:rPr lang="de-DE" altLang="de-DE" sz="2400" dirty="0">
                <a:solidFill>
                  <a:srgbClr val="0000FF"/>
                </a:solidFill>
              </a:rPr>
              <a:t>  </a:t>
            </a:r>
            <a:r>
              <a:rPr lang="de-DE" altLang="de-DE" sz="2400" dirty="0" err="1">
                <a:solidFill>
                  <a:srgbClr val="0000FF"/>
                </a:solidFill>
              </a:rPr>
              <a:t>the</a:t>
            </a:r>
            <a:r>
              <a:rPr lang="de-DE" altLang="de-DE" sz="2400" dirty="0">
                <a:solidFill>
                  <a:srgbClr val="0000FF"/>
                </a:solidFill>
              </a:rPr>
              <a:t> Horizontal </a:t>
            </a:r>
            <a:r>
              <a:rPr lang="de-DE" altLang="de-DE" sz="2400" dirty="0" err="1">
                <a:solidFill>
                  <a:srgbClr val="0000FF"/>
                </a:solidFill>
              </a:rPr>
              <a:t>Feedwater</a:t>
            </a:r>
            <a:r>
              <a:rPr lang="de-DE" altLang="de-DE" sz="2400" dirty="0">
                <a:solidFill>
                  <a:srgbClr val="0000FF"/>
                </a:solidFill>
              </a:rPr>
              <a:t> Pump</a:t>
            </a:r>
          </a:p>
          <a:p>
            <a:pPr eaLnBrk="1" hangingPunct="1">
              <a:spcBef>
                <a:spcPct val="0"/>
              </a:spcBef>
              <a:buNone/>
            </a:pPr>
            <a:r>
              <a:rPr lang="de-DE" altLang="de-DE" sz="2400" b="0" dirty="0">
                <a:solidFill>
                  <a:srgbClr val="000000"/>
                </a:solidFill>
              </a:rPr>
              <a:t> </a:t>
            </a:r>
            <a:r>
              <a:rPr lang="de-DE" altLang="de-DE" sz="2400" b="0" dirty="0"/>
              <a:t>Motivation </a:t>
            </a:r>
            <a:r>
              <a:rPr lang="de-DE" altLang="de-DE" sz="2400" b="0" dirty="0" err="1"/>
              <a:t>for</a:t>
            </a:r>
            <a:r>
              <a:rPr lang="de-DE" altLang="de-DE" sz="2400" b="0" dirty="0"/>
              <a:t> </a:t>
            </a:r>
            <a:r>
              <a:rPr lang="de-DE" altLang="de-DE" sz="2400" b="0" dirty="0" err="1"/>
              <a:t>Rotordynamic</a:t>
            </a:r>
            <a:r>
              <a:rPr lang="de-DE" altLang="de-DE" sz="2400" b="0" dirty="0"/>
              <a:t> </a:t>
            </a:r>
            <a:r>
              <a:rPr lang="de-DE" altLang="de-DE" sz="2400" b="0" dirty="0" err="1"/>
              <a:t>Investigations</a:t>
            </a:r>
            <a:endParaRPr lang="de-DE" altLang="de-DE" sz="2400" b="0" dirty="0"/>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WjoGmREjj0mFZ.RfinHoIA"/>
</p:tagLst>
</file>

<file path=ppt/theme/_rels/theme10.xml.rels><?xml version="1.0" encoding="UTF-8" standalone="yes"?>
<Relationships xmlns="http://schemas.openxmlformats.org/package/2006/relationships"><Relationship Id="rId1" Type="http://schemas.openxmlformats.org/officeDocument/2006/relationships/image" Target="../media/image10.png"/></Relationships>
</file>

<file path=ppt/theme/theme1.xml><?xml version="1.0" encoding="utf-8"?>
<a:theme xmlns:a="http://schemas.openxmlformats.org/drawingml/2006/main" name="powerpointvorlage">
  <a:themeElements>
    <a:clrScheme name="v1_TUD_Präsentation_rot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v1_TUD_Präsentation_rot">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v1_TUD_Präsentation_rot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v1_TUD_Präsentation_rot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v1_TUD_Präsentation_rot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v1_TUD_Präsentation_rot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v1_TUD_Präsentation_rot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v1_TUD_Präsentation_rot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v1_TUD_Präsentation_rot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v1_TUD_Präsentation_rot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v1_TUD_Präsentation_rot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v1_TUD_Präsentation_rot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v1_TUD_Präsentation_rot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v1_TUD_Präsentation_rot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10.xml><?xml version="1.0" encoding="utf-8"?>
<a:theme xmlns:a="http://schemas.openxmlformats.org/drawingml/2006/main" name="5_powerpointvorlage">
  <a:themeElements>
    <a:clrScheme name="v1_TUD_Präsentation_rot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v1_TUD_Präsentation_rot">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lipFill rotWithShape="1">
          <a:blip xmlns:r="http://schemas.openxmlformats.org/officeDocument/2006/relationships" r:embed="rId1"/>
          <a:stretch>
            <a:fillRect l="-1594" t="-12000" b="-29333"/>
          </a:stretch>
        </a:blipFill>
      </a:spPr>
      <a:bodyPr/>
      <a:lstStyle>
        <a:defPPr>
          <a:defRPr>
            <a:noFill/>
          </a:defRPr>
        </a:defPPr>
      </a:lstStyle>
    </a:spDef>
  </a:objectDefaults>
  <a:extraClrSchemeLst>
    <a:extraClrScheme>
      <a:clrScheme name="v1_TUD_Präsentation_rot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v1_TUD_Präsentation_rot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v1_TUD_Präsentation_rot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v1_TUD_Präsentation_rot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v1_TUD_Präsentation_rot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v1_TUD_Präsentation_rot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v1_TUD_Präsentation_rot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v1_TUD_Präsentation_rot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v1_TUD_Präsentation_rot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v1_TUD_Präsentation_rot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v1_TUD_Präsentation_rot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v1_TUD_Präsentation_rot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11.xml><?xml version="1.0" encoding="utf-8"?>
<a:theme xmlns:a="http://schemas.openxmlformats.org/drawingml/2006/main" name="8_powerpointvorlage">
  <a:themeElements>
    <a:clrScheme name="v1_TUD_Präsentation_rot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v1_TUD_Präsentation_rot">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v1_TUD_Präsentation_rot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v1_TUD_Präsentation_rot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v1_TUD_Präsentation_rot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v1_TUD_Präsentation_rot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v1_TUD_Präsentation_rot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v1_TUD_Präsentation_rot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v1_TUD_Präsentation_rot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v1_TUD_Präsentation_rot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v1_TUD_Präsentation_rot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v1_TUD_Präsentation_rot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v1_TUD_Präsentation_rot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v1_TUD_Präsentation_rot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12.xml><?xml version="1.0" encoding="utf-8"?>
<a:theme xmlns:a="http://schemas.openxmlformats.org/drawingml/2006/main" name="190821_Fachgebiete_16_9">
  <a:themeElements>
    <a:clrScheme name="Benutzerdefiniert 1">
      <a:dk1>
        <a:srgbClr val="000000"/>
      </a:dk1>
      <a:lt1>
        <a:srgbClr val="FFFFFF"/>
      </a:lt1>
      <a:dk2>
        <a:srgbClr val="004E73"/>
      </a:dk2>
      <a:lt2>
        <a:srgbClr val="808080"/>
      </a:lt2>
      <a:accent1>
        <a:srgbClr val="FDCA00"/>
      </a:accent1>
      <a:accent2>
        <a:srgbClr val="243471"/>
      </a:accent2>
      <a:accent3>
        <a:srgbClr val="C00000"/>
      </a:accent3>
      <a:accent4>
        <a:srgbClr val="000000"/>
      </a:accent4>
      <a:accent5>
        <a:srgbClr val="DAEDEF"/>
      </a:accent5>
      <a:accent6>
        <a:srgbClr val="0000FF"/>
      </a:accent6>
      <a:hlink>
        <a:srgbClr val="009999"/>
      </a:hlink>
      <a:folHlink>
        <a:srgbClr val="99CC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v1_TUD_Präsentation_rot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v1_TUD_Präsentation_rot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v1_TUD_Präsentation_rot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v1_TUD_Präsentation_rot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v1_TUD_Präsentation_rot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v1_TUD_Präsentation_rot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v1_TUD_Präsentation_rot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v1_TUD_Präsentation_rot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v1_TUD_Präsentation_rot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v1_TUD_Präsentation_rot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v1_TUD_Präsentation_rot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v1_TUD_Präsentation_rot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190821_Fachgebiete_16_9" id="{4167EB80-7A57-45AC-87C0-9710C95596CB}" vid="{AE9E3739-18FD-458E-840A-3D2AFF87B7F6}"/>
    </a:ext>
  </a:extLst>
</a:theme>
</file>

<file path=ppt/theme/theme13.xml><?xml version="1.0" encoding="utf-8"?>
<a:theme xmlns:a="http://schemas.openxmlformats.org/drawingml/2006/main" name="1_190821_Fachgebiete_16_9">
  <a:themeElements>
    <a:clrScheme name="Benutzerdefiniert 1">
      <a:dk1>
        <a:srgbClr val="000000"/>
      </a:dk1>
      <a:lt1>
        <a:srgbClr val="FFFFFF"/>
      </a:lt1>
      <a:dk2>
        <a:srgbClr val="004E73"/>
      </a:dk2>
      <a:lt2>
        <a:srgbClr val="808080"/>
      </a:lt2>
      <a:accent1>
        <a:srgbClr val="FDCA00"/>
      </a:accent1>
      <a:accent2>
        <a:srgbClr val="243471"/>
      </a:accent2>
      <a:accent3>
        <a:srgbClr val="C00000"/>
      </a:accent3>
      <a:accent4>
        <a:srgbClr val="000000"/>
      </a:accent4>
      <a:accent5>
        <a:srgbClr val="DAEDEF"/>
      </a:accent5>
      <a:accent6>
        <a:srgbClr val="0000FF"/>
      </a:accent6>
      <a:hlink>
        <a:srgbClr val="009999"/>
      </a:hlink>
      <a:folHlink>
        <a:srgbClr val="99CC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v1_TUD_Präsentation_rot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v1_TUD_Präsentation_rot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v1_TUD_Präsentation_rot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v1_TUD_Präsentation_rot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v1_TUD_Präsentation_rot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v1_TUD_Präsentation_rot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v1_TUD_Präsentation_rot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v1_TUD_Präsentation_rot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v1_TUD_Präsentation_rot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v1_TUD_Präsentation_rot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v1_TUD_Präsentation_rot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v1_TUD_Präsentation_rot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190821_Fachgebiete_16_9" id="{4167EB80-7A57-45AC-87C0-9710C95596CB}" vid="{AE9E3739-18FD-458E-840A-3D2AFF87B7F6}"/>
    </a:ext>
  </a:extLst>
</a:theme>
</file>

<file path=ppt/theme/theme14.xml><?xml version="1.0" encoding="utf-8"?>
<a:theme xmlns:a="http://schemas.openxmlformats.org/drawingml/2006/main" name="6_powerpointvorlage">
  <a:themeElements>
    <a:clrScheme name="v1_TUD_Präsentation_rot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v1_TUD_Präsentation_rot">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v1_TUD_Präsentation_rot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v1_TUD_Präsentation_rot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v1_TUD_Präsentation_rot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v1_TUD_Präsentation_rot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v1_TUD_Präsentation_rot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v1_TUD_Präsentation_rot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v1_TUD_Präsentation_rot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v1_TUD_Präsentation_rot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v1_TUD_Präsentation_rot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v1_TUD_Präsentation_rot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v1_TUD_Präsentation_rot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v1_TUD_Präsentation_rot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15.xml><?xml version="1.0" encoding="utf-8"?>
<a:theme xmlns:a="http://schemas.openxmlformats.org/drawingml/2006/main" name="7_powerpointvorlage">
  <a:themeElements>
    <a:clrScheme name="v1_TUD_Präsentation_rot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v1_TUD_Präsentation_rot">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v1_TUD_Präsentation_rot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v1_TUD_Präsentation_rot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v1_TUD_Präsentation_rot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v1_TUD_Präsentation_rot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v1_TUD_Präsentation_rot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v1_TUD_Präsentation_rot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v1_TUD_Präsentation_rot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v1_TUD_Präsentation_rot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v1_TUD_Präsentation_rot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v1_TUD_Präsentation_rot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v1_TUD_Präsentation_rot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v1_TUD_Präsentation_rot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16.xml><?xml version="1.0" encoding="utf-8"?>
<a:theme xmlns:a="http://schemas.openxmlformats.org/drawingml/2006/main" name="9_powerpointvorlage">
  <a:themeElements>
    <a:clrScheme name="v1_TUD_Präsentation_rot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v1_TUD_Präsentation_rot">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v1_TUD_Präsentation_rot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v1_TUD_Präsentation_rot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v1_TUD_Präsentation_rot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v1_TUD_Präsentation_rot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v1_TUD_Präsentation_rot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v1_TUD_Präsentation_rot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v1_TUD_Präsentation_rot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v1_TUD_Präsentation_rot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v1_TUD_Präsentation_rot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v1_TUD_Präsentation_rot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v1_TUD_Präsentation_rot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v1_TUD_Präsentation_rot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17.xml><?xml version="1.0" encoding="utf-8"?>
<a:theme xmlns:a="http://schemas.openxmlformats.org/drawingml/2006/main" name="11_powerpointvorlage">
  <a:themeElements>
    <a:clrScheme name="v1_TUD_Präsentation_rot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v1_TUD_Präsentation_rot">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v1_TUD_Präsentation_rot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v1_TUD_Präsentation_rot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v1_TUD_Präsentation_rot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v1_TUD_Präsentation_rot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v1_TUD_Präsentation_rot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v1_TUD_Präsentation_rot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v1_TUD_Präsentation_rot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v1_TUD_Präsentation_rot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v1_TUD_Präsentation_rot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v1_TUD_Präsentation_rot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v1_TUD_Präsentation_rot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v1_TUD_Präsentation_rot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18.xml><?xml version="1.0" encoding="utf-8"?>
<a:theme xmlns:a="http://schemas.openxmlformats.org/drawingml/2006/main" name="2_190821_Fachgebiete_16_9">
  <a:themeElements>
    <a:clrScheme name="Benutzerdefiniert 1">
      <a:dk1>
        <a:srgbClr val="000000"/>
      </a:dk1>
      <a:lt1>
        <a:srgbClr val="FFFFFF"/>
      </a:lt1>
      <a:dk2>
        <a:srgbClr val="004E73"/>
      </a:dk2>
      <a:lt2>
        <a:srgbClr val="808080"/>
      </a:lt2>
      <a:accent1>
        <a:srgbClr val="FDCA00"/>
      </a:accent1>
      <a:accent2>
        <a:srgbClr val="243471"/>
      </a:accent2>
      <a:accent3>
        <a:srgbClr val="C00000"/>
      </a:accent3>
      <a:accent4>
        <a:srgbClr val="000000"/>
      </a:accent4>
      <a:accent5>
        <a:srgbClr val="DAEDEF"/>
      </a:accent5>
      <a:accent6>
        <a:srgbClr val="0000FF"/>
      </a:accent6>
      <a:hlink>
        <a:srgbClr val="009999"/>
      </a:hlink>
      <a:folHlink>
        <a:srgbClr val="99CC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v1_TUD_Präsentation_rot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v1_TUD_Präsentation_rot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v1_TUD_Präsentation_rot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v1_TUD_Präsentation_rot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v1_TUD_Präsentation_rot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v1_TUD_Präsentation_rot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v1_TUD_Präsentation_rot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v1_TUD_Präsentation_rot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v1_TUD_Präsentation_rot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v1_TUD_Präsentation_rot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v1_TUD_Präsentation_rot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v1_TUD_Präsentation_rot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190821_Fachgebiete_16_9" id="{4167EB80-7A57-45AC-87C0-9710C95596CB}" vid="{AE9E3739-18FD-458E-840A-3D2AFF87B7F6}"/>
    </a:ext>
  </a:extLst>
</a:theme>
</file>

<file path=ppt/theme/theme19.xml><?xml version="1.0" encoding="utf-8"?>
<a:theme xmlns:a="http://schemas.openxmlformats.org/drawingml/2006/main" name="Larissa-Design">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powerpointvorlage">
  <a:themeElements>
    <a:clrScheme name="v1_TUD_Präsentation_rot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v1_TUD_Präsentation_rot">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v1_TUD_Präsentation_rot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v1_TUD_Präsentation_rot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v1_TUD_Präsentation_rot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v1_TUD_Präsentation_rot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v1_TUD_Präsentation_rot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v1_TUD_Präsentation_rot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v1_TUD_Präsentation_rot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v1_TUD_Präsentation_rot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v1_TUD_Präsentation_rot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v1_TUD_Präsentation_rot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v1_TUD_Präsentation_rot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v1_TUD_Präsentation_rot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0.xml><?xml version="1.0" encoding="utf-8"?>
<a:theme xmlns:a="http://schemas.openxmlformats.org/drawingml/2006/main" name="Larissa-Design">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2_powerpointvorlage">
  <a:themeElements>
    <a:clrScheme name="v1_TUD_Präsentation_rot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v1_TUD_Präsentation_rot">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v1_TUD_Präsentation_rot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v1_TUD_Präsentation_rot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v1_TUD_Präsentation_rot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v1_TUD_Präsentation_rot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v1_TUD_Präsentation_rot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v1_TUD_Präsentation_rot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v1_TUD_Präsentation_rot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v1_TUD_Präsentation_rot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v1_TUD_Präsentation_rot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v1_TUD_Präsentation_rot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v1_TUD_Präsentation_rot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v1_TUD_Präsentation_rot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3_powerpointvorlage">
  <a:themeElements>
    <a:clrScheme name="v1_TUD_Präsentation_rot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v1_TUD_Präsentation_rot">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v1_TUD_Präsentation_rot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v1_TUD_Präsentation_rot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v1_TUD_Präsentation_rot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v1_TUD_Präsentation_rot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v1_TUD_Präsentation_rot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v1_TUD_Präsentation_rot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v1_TUD_Präsentation_rot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v1_TUD_Präsentation_rot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v1_TUD_Präsentation_rot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v1_TUD_Präsentation_rot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v1_TUD_Präsentation_rot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v1_TUD_Präsentation_rot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4_powerpointvorlage">
  <a:themeElements>
    <a:clrScheme name="v1_TUD_Präsentation_rot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v1_TUD_Präsentation_rot">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v1_TUD_Präsentation_rot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v1_TUD_Präsentation_rot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v1_TUD_Präsentation_rot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v1_TUD_Präsentation_rot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v1_TUD_Präsentation_rot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v1_TUD_Präsentation_rot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v1_TUD_Präsentation_rot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v1_TUD_Präsentation_rot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v1_TUD_Präsentation_rot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v1_TUD_Präsentation_rot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v1_TUD_Präsentation_rot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v1_TUD_Präsentation_rot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1_24.07.03">
  <a:themeElements>
    <a:clrScheme name="1_24.07.03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1_24.07.03">
      <a:majorFont>
        <a:latin typeface="Times New Roman"/>
        <a:ea typeface=""/>
        <a:cs typeface=""/>
      </a:majorFont>
      <a:minorFont>
        <a:latin typeface="Times New Roman"/>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_24.07.03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1_24.07.03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1_24.07.03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1_24.07.03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1_24.07.03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1_24.07.03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1_24.07.03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VTT 2020 - CONTENT slides">
  <a:themeElements>
    <a:clrScheme name="VTT 2020.01">
      <a:dk1>
        <a:srgbClr val="F06E00"/>
      </a:dk1>
      <a:lt1>
        <a:srgbClr val="FFFFFF"/>
      </a:lt1>
      <a:dk2>
        <a:srgbClr val="005794"/>
      </a:dk2>
      <a:lt2>
        <a:srgbClr val="FFFFFF"/>
      </a:lt2>
      <a:accent1>
        <a:srgbClr val="F06E00"/>
      </a:accent1>
      <a:accent2>
        <a:srgbClr val="DBDBDB"/>
      </a:accent2>
      <a:accent3>
        <a:srgbClr val="005794"/>
      </a:accent3>
      <a:accent4>
        <a:srgbClr val="FFDC0F"/>
      </a:accent4>
      <a:accent5>
        <a:srgbClr val="115532"/>
      </a:accent5>
      <a:accent6>
        <a:srgbClr val="AFAFAF"/>
      </a:accent6>
      <a:hlink>
        <a:srgbClr val="005794"/>
      </a:hlink>
      <a:folHlink>
        <a:srgbClr val="AFAFA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83929D"/>
        </a:solidFill>
        <a:ln w="9525">
          <a:noFill/>
        </a:ln>
        <a:effectLst/>
      </a:spPr>
      <a:bodyPr rtlCol="0" anchor="ctr"/>
      <a:lstStyle>
        <a:defPPr algn="ctr">
          <a:defRPr/>
        </a:defPPr>
      </a:lstStyle>
      <a:style>
        <a:lnRef idx="1">
          <a:schemeClr val="dk1"/>
        </a:lnRef>
        <a:fillRef idx="3">
          <a:schemeClr val="dk1"/>
        </a:fillRef>
        <a:effectRef idx="2">
          <a:schemeClr val="dk1"/>
        </a:effectRef>
        <a:fontRef idx="minor">
          <a:schemeClr val="lt1"/>
        </a:fontRef>
      </a:style>
    </a:spDef>
    <a:lnDef>
      <a:spPr>
        <a:ln>
          <a:solidFill>
            <a:schemeClr val="tx1"/>
          </a:solidFill>
        </a:ln>
      </a:spPr>
      <a:bodyPr/>
      <a:lstStyle/>
      <a:style>
        <a:lnRef idx="1">
          <a:schemeClr val="dk1"/>
        </a:lnRef>
        <a:fillRef idx="0">
          <a:schemeClr val="dk1"/>
        </a:fillRef>
        <a:effectRef idx="0">
          <a:schemeClr val="dk1"/>
        </a:effectRef>
        <a:fontRef idx="minor">
          <a:schemeClr val="tx1"/>
        </a:fontRef>
      </a:style>
    </a:lnDef>
  </a:objectDefaults>
  <a:extraClrSchemeLst/>
  <a:extLst>
    <a:ext uri="{05A4C25C-085E-4340-85A3-A5531E510DB2}">
      <thm15:themeFamily xmlns:thm15="http://schemas.microsoft.com/office/thememl/2012/main" name="VTT_2020_City" id="{201493A6-33DF-4E25-B062-6DC87DC4F6BE}" vid="{3B750704-2562-4590-AFB9-18284BFE6D39}"/>
    </a:ext>
  </a:extLst>
</a:theme>
</file>

<file path=ppt/theme/theme8.xml><?xml version="1.0" encoding="utf-8"?>
<a:theme xmlns:a="http://schemas.openxmlformats.org/drawingml/2006/main" name="Default Design">
  <a:themeElements>
    <a:clrScheme name="Alstom Corporate Palette">
      <a:dk1>
        <a:srgbClr val="005881"/>
      </a:dk1>
      <a:lt1>
        <a:srgbClr val="C0C0C0"/>
      </a:lt1>
      <a:dk2>
        <a:srgbClr val="FFFFFF"/>
      </a:dk2>
      <a:lt2>
        <a:srgbClr val="777777"/>
      </a:lt2>
      <a:accent1>
        <a:srgbClr val="034694"/>
      </a:accent1>
      <a:accent2>
        <a:srgbClr val="ED1A3B"/>
      </a:accent2>
      <a:accent3>
        <a:srgbClr val="5A90A8"/>
      </a:accent3>
      <a:accent4>
        <a:srgbClr val="E56020"/>
      </a:accent4>
      <a:accent5>
        <a:srgbClr val="1A74B7"/>
      </a:accent5>
      <a:accent6>
        <a:srgbClr val="289546"/>
      </a:accent6>
      <a:hlink>
        <a:srgbClr val="9E0F60"/>
      </a:hlink>
      <a:folHlink>
        <a:srgbClr val="005881"/>
      </a:folHlink>
    </a:clrScheme>
    <a:fontScheme name="Default Design">
      <a:majorFont>
        <a:latin typeface="Alstom"/>
        <a:ea typeface=""/>
        <a:cs typeface=""/>
      </a:majorFont>
      <a:minorFont>
        <a:latin typeface="Alstom"/>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Default Design 13">
        <a:dk1>
          <a:srgbClr val="B2B2B2"/>
        </a:dk1>
        <a:lt1>
          <a:srgbClr val="B2B2B2"/>
        </a:lt1>
        <a:dk2>
          <a:srgbClr val="FFFFFF"/>
        </a:dk2>
        <a:lt2>
          <a:srgbClr val="777777"/>
        </a:lt2>
        <a:accent1>
          <a:srgbClr val="4D4D4D"/>
        </a:accent1>
        <a:accent2>
          <a:srgbClr val="809EA8"/>
        </a:accent2>
        <a:accent3>
          <a:srgbClr val="D5D5D5"/>
        </a:accent3>
        <a:accent4>
          <a:srgbClr val="979797"/>
        </a:accent4>
        <a:accent5>
          <a:srgbClr val="B2B2B2"/>
        </a:accent5>
        <a:accent6>
          <a:srgbClr val="738F98"/>
        </a:accent6>
        <a:hlink>
          <a:srgbClr val="FFCC66"/>
        </a:hlink>
        <a:folHlink>
          <a:srgbClr val="E9DCB9"/>
        </a:folHlink>
      </a:clrScheme>
      <a:clrMap bg1="lt1" tx1="dk1" bg2="lt2" tx2="dk2" accent1="accent1" accent2="accent2" accent3="accent3" accent4="accent4" accent5="accent5" accent6="accent6" hlink="hlink" folHlink="folHlink"/>
    </a:extraClrScheme>
    <a:extraClrScheme>
      <a:clrScheme name="Default Design 14">
        <a:dk1>
          <a:srgbClr val="111111"/>
        </a:dk1>
        <a:lt1>
          <a:srgbClr val="C0C0C0"/>
        </a:lt1>
        <a:dk2>
          <a:srgbClr val="FFFFFF"/>
        </a:dk2>
        <a:lt2>
          <a:srgbClr val="777777"/>
        </a:lt2>
        <a:accent1>
          <a:srgbClr val="6D8FA5"/>
        </a:accent1>
        <a:accent2>
          <a:srgbClr val="F19300"/>
        </a:accent2>
        <a:accent3>
          <a:srgbClr val="DCDCDC"/>
        </a:accent3>
        <a:accent4>
          <a:srgbClr val="0D0D0D"/>
        </a:accent4>
        <a:accent5>
          <a:srgbClr val="BAC6CF"/>
        </a:accent5>
        <a:accent6>
          <a:srgbClr val="DA8500"/>
        </a:accent6>
        <a:hlink>
          <a:srgbClr val="E21B1D"/>
        </a:hlink>
        <a:folHlink>
          <a:srgbClr val="005881"/>
        </a:folHlink>
      </a:clrScheme>
      <a:clrMap bg1="lt1" tx1="dk1" bg2="lt2" tx2="dk2" accent1="accent1" accent2="accent2" accent3="accent3" accent4="accent4" accent5="accent5" accent6="accent6" hlink="hlink" folHlink="folHlink"/>
    </a:extraClrScheme>
    <a:extraClrScheme>
      <a:clrScheme name="Default Design 15">
        <a:dk1>
          <a:srgbClr val="111111"/>
        </a:dk1>
        <a:lt1>
          <a:srgbClr val="C0C0C0"/>
        </a:lt1>
        <a:dk2>
          <a:srgbClr val="FFFFFF"/>
        </a:dk2>
        <a:lt2>
          <a:srgbClr val="777777"/>
        </a:lt2>
        <a:accent1>
          <a:srgbClr val="6D8FA5"/>
        </a:accent1>
        <a:accent2>
          <a:srgbClr val="F19300"/>
        </a:accent2>
        <a:accent3>
          <a:srgbClr val="DCDCDC"/>
        </a:accent3>
        <a:accent4>
          <a:srgbClr val="0D0D0D"/>
        </a:accent4>
        <a:accent5>
          <a:srgbClr val="BAC6CF"/>
        </a:accent5>
        <a:accent6>
          <a:srgbClr val="DA8500"/>
        </a:accent6>
        <a:hlink>
          <a:srgbClr val="9E0F60"/>
        </a:hlink>
        <a:folHlink>
          <a:srgbClr val="005881"/>
        </a:folHlink>
      </a:clrScheme>
      <a:clrMap bg1="lt1" tx1="dk1" bg2="lt2" tx2="dk2" accent1="accent1" accent2="accent2" accent3="accent3" accent4="accent4" accent5="accent5" accent6="accent6" hlink="hlink" folHlink="folHlink"/>
    </a:extraClrScheme>
    <a:extraClrScheme>
      <a:clrScheme name="Default Design 16">
        <a:dk1>
          <a:srgbClr val="5F5F5F"/>
        </a:dk1>
        <a:lt1>
          <a:srgbClr val="C0C0C0"/>
        </a:lt1>
        <a:dk2>
          <a:srgbClr val="FFFFFF"/>
        </a:dk2>
        <a:lt2>
          <a:srgbClr val="777777"/>
        </a:lt2>
        <a:accent1>
          <a:srgbClr val="6D8FA5"/>
        </a:accent1>
        <a:accent2>
          <a:srgbClr val="F19300"/>
        </a:accent2>
        <a:accent3>
          <a:srgbClr val="DCDCDC"/>
        </a:accent3>
        <a:accent4>
          <a:srgbClr val="505050"/>
        </a:accent4>
        <a:accent5>
          <a:srgbClr val="BAC6CF"/>
        </a:accent5>
        <a:accent6>
          <a:srgbClr val="DA8500"/>
        </a:accent6>
        <a:hlink>
          <a:srgbClr val="9E0F60"/>
        </a:hlink>
        <a:folHlink>
          <a:srgbClr val="005881"/>
        </a:folHlink>
      </a:clrScheme>
      <a:clrMap bg1="lt1" tx1="dk1" bg2="lt2" tx2="dk2" accent1="accent1" accent2="accent2" accent3="accent3" accent4="accent4" accent5="accent5" accent6="accent6" hlink="hlink" folHlink="folHlink"/>
    </a:extraClrScheme>
  </a:extraClrSchemeLst>
</a:theme>
</file>

<file path=ppt/theme/theme9.xml><?xml version="1.0" encoding="utf-8"?>
<a:theme xmlns:a="http://schemas.openxmlformats.org/drawingml/2006/main" name="One Alstom_Landscape">
  <a:themeElements>
    <a:clrScheme name="Alstom Corporate Palette">
      <a:dk1>
        <a:srgbClr val="5F5F5F"/>
      </a:dk1>
      <a:lt1>
        <a:srgbClr val="FFFFFF"/>
      </a:lt1>
      <a:dk2>
        <a:srgbClr val="FFFFFF"/>
      </a:dk2>
      <a:lt2>
        <a:srgbClr val="777777"/>
      </a:lt2>
      <a:accent1>
        <a:srgbClr val="034694"/>
      </a:accent1>
      <a:accent2>
        <a:srgbClr val="ED1A3B"/>
      </a:accent2>
      <a:accent3>
        <a:srgbClr val="5A90A8"/>
      </a:accent3>
      <a:accent4>
        <a:srgbClr val="E56020"/>
      </a:accent4>
      <a:accent5>
        <a:srgbClr val="1A74B7"/>
      </a:accent5>
      <a:accent6>
        <a:srgbClr val="289546"/>
      </a:accent6>
      <a:hlink>
        <a:srgbClr val="9E0F60"/>
      </a:hlink>
      <a:folHlink>
        <a:srgbClr val="005881"/>
      </a:folHlink>
    </a:clrScheme>
    <a:fontScheme name="Alstom Corporate Theme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a:defRPr sz="1200" dirty="0" smtClean="0">
            <a:latin typeface="Arial" pitchFamily="34" charset="0"/>
            <a:cs typeface="Arial" pitchFamily="34" charset="0"/>
          </a:defRPr>
        </a:defPPr>
      </a:lstStyle>
    </a:txDef>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Default Design 13">
        <a:dk1>
          <a:srgbClr val="B2B2B2"/>
        </a:dk1>
        <a:lt1>
          <a:srgbClr val="B2B2B2"/>
        </a:lt1>
        <a:dk2>
          <a:srgbClr val="FFFFFF"/>
        </a:dk2>
        <a:lt2>
          <a:srgbClr val="777777"/>
        </a:lt2>
        <a:accent1>
          <a:srgbClr val="4D4D4D"/>
        </a:accent1>
        <a:accent2>
          <a:srgbClr val="809EA8"/>
        </a:accent2>
        <a:accent3>
          <a:srgbClr val="D5D5D5"/>
        </a:accent3>
        <a:accent4>
          <a:srgbClr val="979797"/>
        </a:accent4>
        <a:accent5>
          <a:srgbClr val="B2B2B2"/>
        </a:accent5>
        <a:accent6>
          <a:srgbClr val="738F98"/>
        </a:accent6>
        <a:hlink>
          <a:srgbClr val="FFCC66"/>
        </a:hlink>
        <a:folHlink>
          <a:srgbClr val="E9DCB9"/>
        </a:folHlink>
      </a:clrScheme>
      <a:clrMap bg1="lt1" tx1="dk1" bg2="lt2" tx2="dk2" accent1="accent1" accent2="accent2" accent3="accent3" accent4="accent4" accent5="accent5" accent6="accent6" hlink="hlink" folHlink="folHlink"/>
    </a:extraClrScheme>
    <a:extraClrScheme>
      <a:clrScheme name="Default Design 14">
        <a:dk1>
          <a:srgbClr val="111111"/>
        </a:dk1>
        <a:lt1>
          <a:srgbClr val="C0C0C0"/>
        </a:lt1>
        <a:dk2>
          <a:srgbClr val="FFFFFF"/>
        </a:dk2>
        <a:lt2>
          <a:srgbClr val="777777"/>
        </a:lt2>
        <a:accent1>
          <a:srgbClr val="6D8FA5"/>
        </a:accent1>
        <a:accent2>
          <a:srgbClr val="F19300"/>
        </a:accent2>
        <a:accent3>
          <a:srgbClr val="DCDCDC"/>
        </a:accent3>
        <a:accent4>
          <a:srgbClr val="0D0D0D"/>
        </a:accent4>
        <a:accent5>
          <a:srgbClr val="BAC6CF"/>
        </a:accent5>
        <a:accent6>
          <a:srgbClr val="DA8500"/>
        </a:accent6>
        <a:hlink>
          <a:srgbClr val="E21B1D"/>
        </a:hlink>
        <a:folHlink>
          <a:srgbClr val="005881"/>
        </a:folHlink>
      </a:clrScheme>
      <a:clrMap bg1="lt1" tx1="dk1" bg2="lt2" tx2="dk2" accent1="accent1" accent2="accent2" accent3="accent3" accent4="accent4" accent5="accent5" accent6="accent6" hlink="hlink" folHlink="folHlink"/>
    </a:extraClrScheme>
    <a:extraClrScheme>
      <a:clrScheme name="Default Design 15">
        <a:dk1>
          <a:srgbClr val="111111"/>
        </a:dk1>
        <a:lt1>
          <a:srgbClr val="C0C0C0"/>
        </a:lt1>
        <a:dk2>
          <a:srgbClr val="FFFFFF"/>
        </a:dk2>
        <a:lt2>
          <a:srgbClr val="777777"/>
        </a:lt2>
        <a:accent1>
          <a:srgbClr val="6D8FA5"/>
        </a:accent1>
        <a:accent2>
          <a:srgbClr val="F19300"/>
        </a:accent2>
        <a:accent3>
          <a:srgbClr val="DCDCDC"/>
        </a:accent3>
        <a:accent4>
          <a:srgbClr val="0D0D0D"/>
        </a:accent4>
        <a:accent5>
          <a:srgbClr val="BAC6CF"/>
        </a:accent5>
        <a:accent6>
          <a:srgbClr val="DA8500"/>
        </a:accent6>
        <a:hlink>
          <a:srgbClr val="9E0F60"/>
        </a:hlink>
        <a:folHlink>
          <a:srgbClr val="005881"/>
        </a:folHlink>
      </a:clrScheme>
      <a:clrMap bg1="lt1" tx1="dk1" bg2="lt2" tx2="dk2" accent1="accent1" accent2="accent2" accent3="accent3" accent4="accent4" accent5="accent5" accent6="accent6" hlink="hlink" folHlink="folHlink"/>
    </a:extraClrScheme>
    <a:extraClrScheme>
      <a:clrScheme name="Default Design 16">
        <a:dk1>
          <a:srgbClr val="5F5F5F"/>
        </a:dk1>
        <a:lt1>
          <a:srgbClr val="C0C0C0"/>
        </a:lt1>
        <a:dk2>
          <a:srgbClr val="FFFFFF"/>
        </a:dk2>
        <a:lt2>
          <a:srgbClr val="777777"/>
        </a:lt2>
        <a:accent1>
          <a:srgbClr val="6D8FA5"/>
        </a:accent1>
        <a:accent2>
          <a:srgbClr val="F19300"/>
        </a:accent2>
        <a:accent3>
          <a:srgbClr val="DCDCDC"/>
        </a:accent3>
        <a:accent4>
          <a:srgbClr val="505050"/>
        </a:accent4>
        <a:accent5>
          <a:srgbClr val="BAC6CF"/>
        </a:accent5>
        <a:accent6>
          <a:srgbClr val="DA8500"/>
        </a:accent6>
        <a:hlink>
          <a:srgbClr val="9E0F60"/>
        </a:hlink>
        <a:folHlink>
          <a:srgbClr val="005881"/>
        </a:folHlink>
      </a:clrScheme>
      <a:clrMap bg1="lt1" tx1="dk1" bg2="lt2" tx2="dk2" accent1="accent1" accent2="accent2" accent3="accent3" accent4="accent4" accent5="accent5" accent6="accent6" hlink="hlink" folHlink="folHlink"/>
    </a:extraClrScheme>
  </a:extraClrSchemeLst>
</a:theme>
</file>

<file path=docProps/app.xml><?xml version="1.0" encoding="utf-8"?>
<Properties xmlns="http://schemas.openxmlformats.org/officeDocument/2006/extended-properties" xmlns:vt="http://schemas.openxmlformats.org/officeDocument/2006/docPropsVTypes">
  <TotalTime>0</TotalTime>
  <Words>3385</Words>
  <Application>Microsoft Office PowerPoint</Application>
  <PresentationFormat>Breitbild</PresentationFormat>
  <Paragraphs>579</Paragraphs>
  <Slides>45</Slides>
  <Notes>29</Notes>
  <HiddenSlides>0</HiddenSlides>
  <MMClips>0</MMClips>
  <ScaleCrop>false</ScaleCrop>
  <HeadingPairs>
    <vt:vector size="6" baseType="variant">
      <vt:variant>
        <vt:lpstr>Verwendete Schriftarten</vt:lpstr>
      </vt:variant>
      <vt:variant>
        <vt:i4>12</vt:i4>
      </vt:variant>
      <vt:variant>
        <vt:lpstr>Design</vt:lpstr>
      </vt:variant>
      <vt:variant>
        <vt:i4>18</vt:i4>
      </vt:variant>
      <vt:variant>
        <vt:lpstr>Folientitel</vt:lpstr>
      </vt:variant>
      <vt:variant>
        <vt:i4>45</vt:i4>
      </vt:variant>
    </vt:vector>
  </HeadingPairs>
  <TitlesOfParts>
    <vt:vector size="75" baseType="lpstr">
      <vt:lpstr>Alstom</vt:lpstr>
      <vt:lpstr>Arial</vt:lpstr>
      <vt:lpstr>Calibri</vt:lpstr>
      <vt:lpstr>Cambria Math</vt:lpstr>
      <vt:lpstr>Frutiger 55 Roman</vt:lpstr>
      <vt:lpstr>Frutiger LT Com 45 Light</vt:lpstr>
      <vt:lpstr>Frutiger LT Com 55 Roman</vt:lpstr>
      <vt:lpstr>Frutiger LT Com 65 Bold</vt:lpstr>
      <vt:lpstr>Times New Roman</vt:lpstr>
      <vt:lpstr>Verdana</vt:lpstr>
      <vt:lpstr>Wingdings</vt:lpstr>
      <vt:lpstr>Wingdings 2</vt:lpstr>
      <vt:lpstr>powerpointvorlage</vt:lpstr>
      <vt:lpstr>1_powerpointvorlage</vt:lpstr>
      <vt:lpstr>2_powerpointvorlage</vt:lpstr>
      <vt:lpstr>3_powerpointvorlage</vt:lpstr>
      <vt:lpstr>4_powerpointvorlage</vt:lpstr>
      <vt:lpstr>1_24.07.03</vt:lpstr>
      <vt:lpstr>VTT 2020 - CONTENT slides</vt:lpstr>
      <vt:lpstr>Default Design</vt:lpstr>
      <vt:lpstr>One Alstom_Landscape</vt:lpstr>
      <vt:lpstr>5_powerpointvorlage</vt:lpstr>
      <vt:lpstr>8_powerpointvorlage</vt:lpstr>
      <vt:lpstr>190821_Fachgebiete_16_9</vt:lpstr>
      <vt:lpstr>1_190821_Fachgebiete_16_9</vt:lpstr>
      <vt:lpstr>6_powerpointvorlage</vt:lpstr>
      <vt:lpstr>7_powerpointvorlage</vt:lpstr>
      <vt:lpstr>9_powerpointvorlage</vt:lpstr>
      <vt:lpstr>11_powerpointvorlage</vt:lpstr>
      <vt:lpstr>2_190821_Fachgebiete_16_9</vt:lpstr>
      <vt:lpstr>Energiforsk Project: Lectures in the Power Plants Fortum (Helsinki), TVO (Olkiluoto), Jan./Febr. 2024                                             Annual Energiforsk Seminar (10.11.21)</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Energiforsk Project: Lectures in the Power Plants Fortum (Helsinki), TVO (Olkiluoto), Jan./Febr. 2024                                             Annual Energiforsk Seminar (10.11.21)</vt:lpstr>
    </vt:vector>
  </TitlesOfParts>
  <Company>tud</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olie 1</dc:title>
  <dc:creator>backhaus</dc:creator>
  <cp:lastModifiedBy>Rainer Nordmann</cp:lastModifiedBy>
  <cp:revision>1204</cp:revision>
  <cp:lastPrinted>2024-01-28T09:01:33Z</cp:lastPrinted>
  <dcterms:created xsi:type="dcterms:W3CDTF">2003-11-24T08:10:32Z</dcterms:created>
  <dcterms:modified xsi:type="dcterms:W3CDTF">2024-01-28T18:40:42Z</dcterms:modified>
</cp:coreProperties>
</file>